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notesMasterIdLst>
    <p:notesMasterId r:id="rId222"/>
  </p:notesMasterIdLst>
  <p:sldIdLst>
    <p:sldId id="286" r:id="rId2"/>
    <p:sldId id="387" r:id="rId3"/>
    <p:sldId id="388" r:id="rId4"/>
    <p:sldId id="389" r:id="rId5"/>
    <p:sldId id="390" r:id="rId6"/>
    <p:sldId id="391" r:id="rId7"/>
    <p:sldId id="392" r:id="rId8"/>
    <p:sldId id="393" r:id="rId9"/>
    <p:sldId id="394" r:id="rId10"/>
    <p:sldId id="395" r:id="rId11"/>
    <p:sldId id="396" r:id="rId12"/>
    <p:sldId id="397" r:id="rId13"/>
    <p:sldId id="634" r:id="rId14"/>
    <p:sldId id="403" r:id="rId15"/>
    <p:sldId id="404" r:id="rId16"/>
    <p:sldId id="405" r:id="rId17"/>
    <p:sldId id="406" r:id="rId18"/>
    <p:sldId id="407" r:id="rId19"/>
    <p:sldId id="408" r:id="rId20"/>
    <p:sldId id="409" r:id="rId21"/>
    <p:sldId id="410" r:id="rId22"/>
    <p:sldId id="411" r:id="rId23"/>
    <p:sldId id="412" r:id="rId24"/>
    <p:sldId id="413" r:id="rId25"/>
    <p:sldId id="414" r:id="rId26"/>
    <p:sldId id="415" r:id="rId27"/>
    <p:sldId id="416" r:id="rId28"/>
    <p:sldId id="417" r:id="rId29"/>
    <p:sldId id="418" r:id="rId30"/>
    <p:sldId id="419" r:id="rId31"/>
    <p:sldId id="420" r:id="rId32"/>
    <p:sldId id="421" r:id="rId33"/>
    <p:sldId id="422" r:id="rId34"/>
    <p:sldId id="423" r:id="rId35"/>
    <p:sldId id="424" r:id="rId36"/>
    <p:sldId id="425" r:id="rId37"/>
    <p:sldId id="426" r:id="rId38"/>
    <p:sldId id="427" r:id="rId39"/>
    <p:sldId id="428" r:id="rId40"/>
    <p:sldId id="429" r:id="rId41"/>
    <p:sldId id="633" r:id="rId42"/>
    <p:sldId id="430" r:id="rId43"/>
    <p:sldId id="431" r:id="rId44"/>
    <p:sldId id="432" r:id="rId45"/>
    <p:sldId id="612" r:id="rId46"/>
    <p:sldId id="613" r:id="rId47"/>
    <p:sldId id="614" r:id="rId48"/>
    <p:sldId id="615" r:id="rId49"/>
    <p:sldId id="616" r:id="rId50"/>
    <p:sldId id="439" r:id="rId51"/>
    <p:sldId id="440" r:id="rId52"/>
    <p:sldId id="441" r:id="rId53"/>
    <p:sldId id="442" r:id="rId54"/>
    <p:sldId id="443" r:id="rId55"/>
    <p:sldId id="617" r:id="rId56"/>
    <p:sldId id="618" r:id="rId57"/>
    <p:sldId id="619" r:id="rId58"/>
    <p:sldId id="620" r:id="rId59"/>
    <p:sldId id="621" r:id="rId60"/>
    <p:sldId id="622" r:id="rId61"/>
    <p:sldId id="623" r:id="rId62"/>
    <p:sldId id="624" r:id="rId63"/>
    <p:sldId id="448" r:id="rId64"/>
    <p:sldId id="449" r:id="rId65"/>
    <p:sldId id="450" r:id="rId66"/>
    <p:sldId id="451" r:id="rId67"/>
    <p:sldId id="452" r:id="rId68"/>
    <p:sldId id="453" r:id="rId69"/>
    <p:sldId id="454" r:id="rId70"/>
    <p:sldId id="455" r:id="rId71"/>
    <p:sldId id="456" r:id="rId72"/>
    <p:sldId id="457" r:id="rId73"/>
    <p:sldId id="458" r:id="rId74"/>
    <p:sldId id="606" r:id="rId75"/>
    <p:sldId id="460" r:id="rId76"/>
    <p:sldId id="461" r:id="rId77"/>
    <p:sldId id="462" r:id="rId78"/>
    <p:sldId id="463" r:id="rId79"/>
    <p:sldId id="464" r:id="rId80"/>
    <p:sldId id="465" r:id="rId81"/>
    <p:sldId id="466" r:id="rId82"/>
    <p:sldId id="467" r:id="rId83"/>
    <p:sldId id="468" r:id="rId84"/>
    <p:sldId id="469" r:id="rId85"/>
    <p:sldId id="470" r:id="rId86"/>
    <p:sldId id="471" r:id="rId87"/>
    <p:sldId id="625" r:id="rId88"/>
    <p:sldId id="626" r:id="rId89"/>
    <p:sldId id="627" r:id="rId90"/>
    <p:sldId id="628" r:id="rId91"/>
    <p:sldId id="629" r:id="rId92"/>
    <p:sldId id="630" r:id="rId93"/>
    <p:sldId id="631" r:id="rId94"/>
    <p:sldId id="632" r:id="rId95"/>
    <p:sldId id="482" r:id="rId96"/>
    <p:sldId id="483" r:id="rId97"/>
    <p:sldId id="484" r:id="rId98"/>
    <p:sldId id="485" r:id="rId99"/>
    <p:sldId id="486" r:id="rId100"/>
    <p:sldId id="487" r:id="rId101"/>
    <p:sldId id="488" r:id="rId102"/>
    <p:sldId id="489" r:id="rId103"/>
    <p:sldId id="490" r:id="rId104"/>
    <p:sldId id="491" r:id="rId105"/>
    <p:sldId id="492" r:id="rId106"/>
    <p:sldId id="493" r:id="rId107"/>
    <p:sldId id="494" r:id="rId108"/>
    <p:sldId id="495" r:id="rId109"/>
    <p:sldId id="496" r:id="rId110"/>
    <p:sldId id="497" r:id="rId111"/>
    <p:sldId id="498" r:id="rId112"/>
    <p:sldId id="499" r:id="rId113"/>
    <p:sldId id="500" r:id="rId114"/>
    <p:sldId id="501" r:id="rId115"/>
    <p:sldId id="502" r:id="rId116"/>
    <p:sldId id="503" r:id="rId117"/>
    <p:sldId id="504" r:id="rId118"/>
    <p:sldId id="505" r:id="rId119"/>
    <p:sldId id="506" r:id="rId120"/>
    <p:sldId id="507" r:id="rId121"/>
    <p:sldId id="508" r:id="rId122"/>
    <p:sldId id="509" r:id="rId123"/>
    <p:sldId id="510" r:id="rId124"/>
    <p:sldId id="511" r:id="rId125"/>
    <p:sldId id="512" r:id="rId126"/>
    <p:sldId id="513" r:id="rId127"/>
    <p:sldId id="514" r:id="rId128"/>
    <p:sldId id="515" r:id="rId129"/>
    <p:sldId id="516" r:id="rId130"/>
    <p:sldId id="517" r:id="rId131"/>
    <p:sldId id="518" r:id="rId132"/>
    <p:sldId id="519" r:id="rId133"/>
    <p:sldId id="520" r:id="rId134"/>
    <p:sldId id="521" r:id="rId135"/>
    <p:sldId id="522" r:id="rId136"/>
    <p:sldId id="523" r:id="rId137"/>
    <p:sldId id="524" r:id="rId138"/>
    <p:sldId id="525" r:id="rId139"/>
    <p:sldId id="526" r:id="rId140"/>
    <p:sldId id="527" r:id="rId141"/>
    <p:sldId id="528" r:id="rId142"/>
    <p:sldId id="529" r:id="rId143"/>
    <p:sldId id="530" r:id="rId144"/>
    <p:sldId id="531" r:id="rId145"/>
    <p:sldId id="532" r:id="rId146"/>
    <p:sldId id="533" r:id="rId147"/>
    <p:sldId id="534" r:id="rId148"/>
    <p:sldId id="535" r:id="rId149"/>
    <p:sldId id="536" r:id="rId150"/>
    <p:sldId id="537" r:id="rId151"/>
    <p:sldId id="538" r:id="rId152"/>
    <p:sldId id="539" r:id="rId153"/>
    <p:sldId id="540" r:id="rId154"/>
    <p:sldId id="541" r:id="rId155"/>
    <p:sldId id="542" r:id="rId156"/>
    <p:sldId id="543" r:id="rId157"/>
    <p:sldId id="544" r:id="rId158"/>
    <p:sldId id="545" r:id="rId159"/>
    <p:sldId id="546" r:id="rId160"/>
    <p:sldId id="547" r:id="rId161"/>
    <p:sldId id="548" r:id="rId162"/>
    <p:sldId id="549" r:id="rId163"/>
    <p:sldId id="550" r:id="rId164"/>
    <p:sldId id="551" r:id="rId165"/>
    <p:sldId id="552" r:id="rId166"/>
    <p:sldId id="553" r:id="rId167"/>
    <p:sldId id="554" r:id="rId168"/>
    <p:sldId id="555" r:id="rId169"/>
    <p:sldId id="556" r:id="rId170"/>
    <p:sldId id="557" r:id="rId171"/>
    <p:sldId id="558" r:id="rId172"/>
    <p:sldId id="559" r:id="rId173"/>
    <p:sldId id="607" r:id="rId174"/>
    <p:sldId id="611" r:id="rId175"/>
    <p:sldId id="560" r:id="rId176"/>
    <p:sldId id="561" r:id="rId177"/>
    <p:sldId id="562" r:id="rId178"/>
    <p:sldId id="563" r:id="rId179"/>
    <p:sldId id="564" r:id="rId180"/>
    <p:sldId id="565" r:id="rId181"/>
    <p:sldId id="566" r:id="rId182"/>
    <p:sldId id="567" r:id="rId183"/>
    <p:sldId id="568" r:id="rId184"/>
    <p:sldId id="569" r:id="rId185"/>
    <p:sldId id="570" r:id="rId186"/>
    <p:sldId id="571" r:id="rId187"/>
    <p:sldId id="572" r:id="rId188"/>
    <p:sldId id="573" r:id="rId189"/>
    <p:sldId id="574" r:id="rId190"/>
    <p:sldId id="575" r:id="rId191"/>
    <p:sldId id="576" r:id="rId192"/>
    <p:sldId id="577" r:id="rId193"/>
    <p:sldId id="578" r:id="rId194"/>
    <p:sldId id="579" r:id="rId195"/>
    <p:sldId id="580" r:id="rId196"/>
    <p:sldId id="581" r:id="rId197"/>
    <p:sldId id="582" r:id="rId198"/>
    <p:sldId id="583" r:id="rId199"/>
    <p:sldId id="584" r:id="rId200"/>
    <p:sldId id="585" r:id="rId201"/>
    <p:sldId id="635" r:id="rId202"/>
    <p:sldId id="587" r:id="rId203"/>
    <p:sldId id="588" r:id="rId204"/>
    <p:sldId id="589" r:id="rId205"/>
    <p:sldId id="590" r:id="rId206"/>
    <p:sldId id="591" r:id="rId207"/>
    <p:sldId id="592" r:id="rId208"/>
    <p:sldId id="593" r:id="rId209"/>
    <p:sldId id="594" r:id="rId210"/>
    <p:sldId id="595" r:id="rId211"/>
    <p:sldId id="596" r:id="rId212"/>
    <p:sldId id="597" r:id="rId213"/>
    <p:sldId id="598" r:id="rId214"/>
    <p:sldId id="599" r:id="rId215"/>
    <p:sldId id="600" r:id="rId216"/>
    <p:sldId id="601" r:id="rId217"/>
    <p:sldId id="602" r:id="rId218"/>
    <p:sldId id="603" r:id="rId219"/>
    <p:sldId id="604" r:id="rId220"/>
    <p:sldId id="605" r:id="rId221"/>
  </p:sldIdLst>
  <p:sldSz cx="9906000" cy="6858000" type="A4"/>
  <p:notesSz cx="6807200" cy="9939338"/>
  <p:embeddedFontLst>
    <p:embeddedFont>
      <p:font typeface="나눔고딕" panose="020D0604000000000000" pitchFamily="50" charset="-127"/>
      <p:regular r:id="rId223"/>
      <p:bold r:id="rId224"/>
    </p:embeddedFont>
    <p:embeddedFont>
      <p:font typeface="Juice ITC" panose="04040403040A02020202" pitchFamily="82" charset="0"/>
      <p:regular r:id="rId225"/>
    </p:embeddedFont>
    <p:embeddedFont>
      <p:font typeface="HY헤드라인M" panose="02030600000101010101" pitchFamily="18" charset="-127"/>
      <p:regular r:id="rId226"/>
    </p:embeddedFont>
    <p:embeddedFont>
      <p:font typeface="Georgia" panose="02040502050405020303" pitchFamily="18" charset="0"/>
      <p:regular r:id="rId227"/>
      <p:bold r:id="rId228"/>
      <p:italic r:id="rId229"/>
      <p:boldItalic r:id="rId230"/>
    </p:embeddedFont>
    <p:embeddedFont>
      <p:font typeface="Calibri" panose="020F0502020204030204" pitchFamily="34" charset="0"/>
      <p:regular r:id="rId231"/>
      <p:bold r:id="rId232"/>
      <p:italic r:id="rId233"/>
      <p:boldItalic r:id="rId234"/>
    </p:embeddedFont>
    <p:embeddedFont>
      <p:font typeface="뫼비우스 Regular" panose="02000700060000000000" pitchFamily="2" charset="-127"/>
      <p:regular r:id="rId235"/>
    </p:embeddedFont>
    <p:embeddedFont>
      <p:font typeface="나눔스퀘어" panose="020B0600000101010101" pitchFamily="50" charset="-127"/>
      <p:regular r:id="rId236"/>
    </p:embeddedFont>
    <p:embeddedFont>
      <p:font typeface="Wingdings 2" panose="05020102010507070707" pitchFamily="18" charset="2"/>
      <p:regular r:id="rId237"/>
    </p:embeddedFont>
    <p:embeddedFont>
      <p:font typeface="Rix고딕 L" panose="02020603020101020101" pitchFamily="18" charset="-127"/>
      <p:regular r:id="rId238"/>
    </p:embeddedFont>
    <p:embeddedFont>
      <p:font typeface="Jokerman" panose="04090605060D06020702" pitchFamily="82" charset="0"/>
      <p:regular r:id="rId239"/>
    </p:embeddedFont>
    <p:embeddedFont>
      <p:font typeface="Tahoma" panose="020B0604030504040204" pitchFamily="34" charset="0"/>
      <p:regular r:id="rId240"/>
      <p:bold r:id="rId241"/>
    </p:embeddedFont>
    <p:embeddedFont>
      <p:font typeface="맑은 고딕" panose="020B0503020000020004" pitchFamily="50" charset="-127"/>
      <p:regular r:id="rId242"/>
      <p:bold r:id="rId243"/>
    </p:embeddedFont>
    <p:embeddedFont>
      <p:font typeface="나눔바른고딕" panose="020B0603020101020101" pitchFamily="50" charset="-127"/>
      <p:regular r:id="rId244"/>
      <p:bold r:id="rId245"/>
    </p:embeddedFont>
    <p:embeddedFont>
      <p:font typeface="나눔스퀘어 Bold" panose="020B0600000101010101" pitchFamily="50" charset="-127"/>
      <p:bold r:id="rId246"/>
    </p:embeddedFont>
    <p:embeddedFont>
      <p:font typeface="나눔스퀘어 ExtraBold" panose="020B0600000101010101" pitchFamily="50" charset="-127"/>
      <p:bold r:id="rId247"/>
    </p:embeddedFont>
    <p:embeddedFont>
      <p:font typeface="KoPub돋움체 Bold" panose="00000800000000000000" pitchFamily="2" charset="-127"/>
      <p:bold r:id="rId248"/>
    </p:embeddedFont>
    <p:embeddedFont>
      <p:font typeface="Javanese Text" panose="02000000000000000000" pitchFamily="2" charset="0"/>
      <p:regular r:id="rId249"/>
    </p:embeddedFont>
    <p:embeddedFont>
      <p:font typeface="KoPub돋움체 Medium" panose="00000600000000000000" pitchFamily="2" charset="-127"/>
      <p:regular r:id="rId250"/>
    </p:embeddedFont>
    <p:embeddedFont>
      <p:font typeface="Arial Unicode MS" panose="020B0604020202020204" pitchFamily="50" charset="-127"/>
      <p:regular r:id="rId251"/>
    </p:embeddedFont>
    <p:embeddedFont>
      <p:font typeface="KoPub돋움체 Light" panose="00000300000000000000" pitchFamily="2" charset="-127"/>
      <p:regular r:id="rId252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8F8F8"/>
    <a:srgbClr val="B2B2B2"/>
    <a:srgbClr val="038CDC"/>
    <a:srgbClr val="2FB0FF"/>
    <a:srgbClr val="79C9F9"/>
    <a:srgbClr val="22A8F0"/>
    <a:srgbClr val="000000"/>
    <a:srgbClr val="D3EDFD"/>
    <a:srgbClr val="FFE1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38" autoAdjust="0"/>
    <p:restoredTop sz="94660"/>
  </p:normalViewPr>
  <p:slideViewPr>
    <p:cSldViewPr>
      <p:cViewPr varScale="1">
        <p:scale>
          <a:sx n="134" d="100"/>
          <a:sy n="134" d="100"/>
        </p:scale>
        <p:origin x="330" y="120"/>
      </p:cViewPr>
      <p:guideLst>
        <p:guide orient="horz" pos="799"/>
        <p:guide orient="horz" pos="867"/>
        <p:guide pos="31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148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slide" Target="slides/slide204.xml"/><Relationship Id="rId226" Type="http://schemas.openxmlformats.org/officeDocument/2006/relationships/font" Target="fonts/font4.fntdata"/><Relationship Id="rId247" Type="http://schemas.openxmlformats.org/officeDocument/2006/relationships/font" Target="fonts/font25.fntdata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81" Type="http://schemas.openxmlformats.org/officeDocument/2006/relationships/slide" Target="slides/slide180.xml"/><Relationship Id="rId216" Type="http://schemas.openxmlformats.org/officeDocument/2006/relationships/slide" Target="slides/slide215.xml"/><Relationship Id="rId237" Type="http://schemas.openxmlformats.org/officeDocument/2006/relationships/font" Target="fonts/font15.fntdata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92" Type="http://schemas.openxmlformats.org/officeDocument/2006/relationships/slide" Target="slides/slide191.xml"/><Relationship Id="rId206" Type="http://schemas.openxmlformats.org/officeDocument/2006/relationships/slide" Target="slides/slide205.xml"/><Relationship Id="rId227" Type="http://schemas.openxmlformats.org/officeDocument/2006/relationships/font" Target="fonts/font5.fntdata"/><Relationship Id="rId248" Type="http://schemas.openxmlformats.org/officeDocument/2006/relationships/font" Target="fonts/font26.fntdata"/><Relationship Id="rId12" Type="http://schemas.openxmlformats.org/officeDocument/2006/relationships/slide" Target="slides/slide11.xml"/><Relationship Id="rId33" Type="http://schemas.openxmlformats.org/officeDocument/2006/relationships/slide" Target="slides/slide32.xml"/><Relationship Id="rId108" Type="http://schemas.openxmlformats.org/officeDocument/2006/relationships/slide" Target="slides/slide107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5" Type="http://schemas.openxmlformats.org/officeDocument/2006/relationships/slide" Target="slides/slide74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61" Type="http://schemas.openxmlformats.org/officeDocument/2006/relationships/slide" Target="slides/slide160.xml"/><Relationship Id="rId182" Type="http://schemas.openxmlformats.org/officeDocument/2006/relationships/slide" Target="slides/slide181.xml"/><Relationship Id="rId217" Type="http://schemas.openxmlformats.org/officeDocument/2006/relationships/slide" Target="slides/slide216.xml"/><Relationship Id="rId6" Type="http://schemas.openxmlformats.org/officeDocument/2006/relationships/slide" Target="slides/slide5.xml"/><Relationship Id="rId238" Type="http://schemas.openxmlformats.org/officeDocument/2006/relationships/font" Target="fonts/font16.fntdata"/><Relationship Id="rId23" Type="http://schemas.openxmlformats.org/officeDocument/2006/relationships/slide" Target="slides/slide22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5" Type="http://schemas.openxmlformats.org/officeDocument/2006/relationships/slide" Target="slides/slide64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51" Type="http://schemas.openxmlformats.org/officeDocument/2006/relationships/slide" Target="slides/slide150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7" Type="http://schemas.openxmlformats.org/officeDocument/2006/relationships/slide" Target="slides/slide206.xml"/><Relationship Id="rId228" Type="http://schemas.openxmlformats.org/officeDocument/2006/relationships/font" Target="fonts/font6.fntdata"/><Relationship Id="rId249" Type="http://schemas.openxmlformats.org/officeDocument/2006/relationships/font" Target="fonts/font27.fntdata"/><Relationship Id="rId13" Type="http://schemas.openxmlformats.org/officeDocument/2006/relationships/slide" Target="slides/slide12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20" Type="http://schemas.openxmlformats.org/officeDocument/2006/relationships/slide" Target="slides/slide119.xml"/><Relationship Id="rId141" Type="http://schemas.openxmlformats.org/officeDocument/2006/relationships/slide" Target="slides/slide140.xml"/><Relationship Id="rId7" Type="http://schemas.openxmlformats.org/officeDocument/2006/relationships/slide" Target="slides/slide6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8" Type="http://schemas.openxmlformats.org/officeDocument/2006/relationships/slide" Target="slides/slide217.xml"/><Relationship Id="rId239" Type="http://schemas.openxmlformats.org/officeDocument/2006/relationships/font" Target="fonts/font17.fntdata"/><Relationship Id="rId250" Type="http://schemas.openxmlformats.org/officeDocument/2006/relationships/font" Target="fonts/font28.fntdata"/><Relationship Id="rId24" Type="http://schemas.openxmlformats.org/officeDocument/2006/relationships/slide" Target="slides/slide23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31" Type="http://schemas.openxmlformats.org/officeDocument/2006/relationships/slide" Target="slides/slide130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208" Type="http://schemas.openxmlformats.org/officeDocument/2006/relationships/slide" Target="slides/slide207.xml"/><Relationship Id="rId229" Type="http://schemas.openxmlformats.org/officeDocument/2006/relationships/font" Target="fonts/font7.fntdata"/><Relationship Id="rId240" Type="http://schemas.openxmlformats.org/officeDocument/2006/relationships/font" Target="fonts/font18.fntdata"/><Relationship Id="rId14" Type="http://schemas.openxmlformats.org/officeDocument/2006/relationships/slide" Target="slides/slide13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8" Type="http://schemas.openxmlformats.org/officeDocument/2006/relationships/slide" Target="slides/slide7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219" Type="http://schemas.openxmlformats.org/officeDocument/2006/relationships/slide" Target="slides/slide218.xml"/><Relationship Id="rId230" Type="http://schemas.openxmlformats.org/officeDocument/2006/relationships/font" Target="fonts/font8.fntdata"/><Relationship Id="rId251" Type="http://schemas.openxmlformats.org/officeDocument/2006/relationships/font" Target="fonts/font29.fntdata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95" Type="http://schemas.openxmlformats.org/officeDocument/2006/relationships/slide" Target="slides/slide194.xml"/><Relationship Id="rId209" Type="http://schemas.openxmlformats.org/officeDocument/2006/relationships/slide" Target="slides/slide208.xml"/><Relationship Id="rId220" Type="http://schemas.openxmlformats.org/officeDocument/2006/relationships/slide" Target="slides/slide219.xml"/><Relationship Id="rId241" Type="http://schemas.openxmlformats.org/officeDocument/2006/relationships/font" Target="fonts/font19.fntdata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78" Type="http://schemas.openxmlformats.org/officeDocument/2006/relationships/slide" Target="slides/slide77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64" Type="http://schemas.openxmlformats.org/officeDocument/2006/relationships/slide" Target="slides/slide163.xml"/><Relationship Id="rId185" Type="http://schemas.openxmlformats.org/officeDocument/2006/relationships/slide" Target="slides/slide184.xml"/><Relationship Id="rId9" Type="http://schemas.openxmlformats.org/officeDocument/2006/relationships/slide" Target="slides/slide8.xml"/><Relationship Id="rId210" Type="http://schemas.openxmlformats.org/officeDocument/2006/relationships/slide" Target="slides/slide209.xml"/><Relationship Id="rId26" Type="http://schemas.openxmlformats.org/officeDocument/2006/relationships/slide" Target="slides/slide25.xml"/><Relationship Id="rId231" Type="http://schemas.openxmlformats.org/officeDocument/2006/relationships/font" Target="fonts/font9.fntdata"/><Relationship Id="rId252" Type="http://schemas.openxmlformats.org/officeDocument/2006/relationships/font" Target="fonts/font30.fntdata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slide" Target="slides/slide199.xml"/><Relationship Id="rId16" Type="http://schemas.openxmlformats.org/officeDocument/2006/relationships/slide" Target="slides/slide15.xml"/><Relationship Id="rId221" Type="http://schemas.openxmlformats.org/officeDocument/2006/relationships/slide" Target="slides/slide220.xml"/><Relationship Id="rId242" Type="http://schemas.openxmlformats.org/officeDocument/2006/relationships/font" Target="fonts/font20.fntdata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186" Type="http://schemas.openxmlformats.org/officeDocument/2006/relationships/slide" Target="slides/slide185.xml"/><Relationship Id="rId211" Type="http://schemas.openxmlformats.org/officeDocument/2006/relationships/slide" Target="slides/slide210.xml"/><Relationship Id="rId232" Type="http://schemas.openxmlformats.org/officeDocument/2006/relationships/font" Target="fonts/font10.fntdata"/><Relationship Id="rId253" Type="http://schemas.openxmlformats.org/officeDocument/2006/relationships/presProps" Target="presProps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slide" Target="slides/slide175.xml"/><Relationship Id="rId197" Type="http://schemas.openxmlformats.org/officeDocument/2006/relationships/slide" Target="slides/slide196.xml"/><Relationship Id="rId201" Type="http://schemas.openxmlformats.org/officeDocument/2006/relationships/slide" Target="slides/slide200.xml"/><Relationship Id="rId222" Type="http://schemas.openxmlformats.org/officeDocument/2006/relationships/notesMaster" Target="notesMasters/notesMaster1.xml"/><Relationship Id="rId243" Type="http://schemas.openxmlformats.org/officeDocument/2006/relationships/font" Target="fonts/font21.fntdata"/><Relationship Id="rId17" Type="http://schemas.openxmlformats.org/officeDocument/2006/relationships/slide" Target="slides/slide16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24" Type="http://schemas.openxmlformats.org/officeDocument/2006/relationships/slide" Target="slides/slide123.xml"/><Relationship Id="rId70" Type="http://schemas.openxmlformats.org/officeDocument/2006/relationships/slide" Target="slides/slide69.xml"/><Relationship Id="rId91" Type="http://schemas.openxmlformats.org/officeDocument/2006/relationships/slide" Target="slides/slide90.xml"/><Relationship Id="rId145" Type="http://schemas.openxmlformats.org/officeDocument/2006/relationships/slide" Target="slides/slide144.xml"/><Relationship Id="rId166" Type="http://schemas.openxmlformats.org/officeDocument/2006/relationships/slide" Target="slides/slide165.xml"/><Relationship Id="rId187" Type="http://schemas.openxmlformats.org/officeDocument/2006/relationships/slide" Target="slides/slide186.xml"/><Relationship Id="rId1" Type="http://schemas.openxmlformats.org/officeDocument/2006/relationships/slideMaster" Target="slideMasters/slideMaster1.xml"/><Relationship Id="rId212" Type="http://schemas.openxmlformats.org/officeDocument/2006/relationships/slide" Target="slides/slide211.xml"/><Relationship Id="rId233" Type="http://schemas.openxmlformats.org/officeDocument/2006/relationships/font" Target="fonts/font11.fntdata"/><Relationship Id="rId254" Type="http://schemas.openxmlformats.org/officeDocument/2006/relationships/viewProps" Target="viewProps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60" Type="http://schemas.openxmlformats.org/officeDocument/2006/relationships/slide" Target="slides/slide59.xml"/><Relationship Id="rId81" Type="http://schemas.openxmlformats.org/officeDocument/2006/relationships/slide" Target="slides/slide80.xml"/><Relationship Id="rId135" Type="http://schemas.openxmlformats.org/officeDocument/2006/relationships/slide" Target="slides/slide134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slide" Target="slides/slide197.xml"/><Relationship Id="rId202" Type="http://schemas.openxmlformats.org/officeDocument/2006/relationships/slide" Target="slides/slide201.xml"/><Relationship Id="rId223" Type="http://schemas.openxmlformats.org/officeDocument/2006/relationships/font" Target="fonts/font1.fntdata"/><Relationship Id="rId244" Type="http://schemas.openxmlformats.org/officeDocument/2006/relationships/font" Target="fonts/font22.fntdata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50" Type="http://schemas.openxmlformats.org/officeDocument/2006/relationships/slide" Target="slides/slide49.xml"/><Relationship Id="rId104" Type="http://schemas.openxmlformats.org/officeDocument/2006/relationships/slide" Target="slides/slide103.xml"/><Relationship Id="rId125" Type="http://schemas.openxmlformats.org/officeDocument/2006/relationships/slide" Target="slides/slide124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13" Type="http://schemas.openxmlformats.org/officeDocument/2006/relationships/slide" Target="slides/slide212.xml"/><Relationship Id="rId234" Type="http://schemas.openxmlformats.org/officeDocument/2006/relationships/font" Target="fonts/font12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55" Type="http://schemas.openxmlformats.org/officeDocument/2006/relationships/theme" Target="theme/theme1.xml"/><Relationship Id="rId40" Type="http://schemas.openxmlformats.org/officeDocument/2006/relationships/slide" Target="slides/slide39.xml"/><Relationship Id="rId115" Type="http://schemas.openxmlformats.org/officeDocument/2006/relationships/slide" Target="slides/slide114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9" Type="http://schemas.openxmlformats.org/officeDocument/2006/relationships/slide" Target="slides/slide198.xml"/><Relationship Id="rId203" Type="http://schemas.openxmlformats.org/officeDocument/2006/relationships/slide" Target="slides/slide202.xml"/><Relationship Id="rId19" Type="http://schemas.openxmlformats.org/officeDocument/2006/relationships/slide" Target="slides/slide18.xml"/><Relationship Id="rId224" Type="http://schemas.openxmlformats.org/officeDocument/2006/relationships/font" Target="fonts/font2.fntdata"/><Relationship Id="rId245" Type="http://schemas.openxmlformats.org/officeDocument/2006/relationships/font" Target="fonts/font23.fntdata"/><Relationship Id="rId30" Type="http://schemas.openxmlformats.org/officeDocument/2006/relationships/slide" Target="slides/slide2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189" Type="http://schemas.openxmlformats.org/officeDocument/2006/relationships/slide" Target="slides/slide188.xml"/><Relationship Id="rId3" Type="http://schemas.openxmlformats.org/officeDocument/2006/relationships/slide" Target="slides/slide2.xml"/><Relationship Id="rId214" Type="http://schemas.openxmlformats.org/officeDocument/2006/relationships/slide" Target="slides/slide213.xml"/><Relationship Id="rId235" Type="http://schemas.openxmlformats.org/officeDocument/2006/relationships/font" Target="fonts/font13.fntdata"/><Relationship Id="rId256" Type="http://schemas.openxmlformats.org/officeDocument/2006/relationships/tableStyles" Target="tableStyles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179" Type="http://schemas.openxmlformats.org/officeDocument/2006/relationships/slide" Target="slides/slide178.xml"/><Relationship Id="rId190" Type="http://schemas.openxmlformats.org/officeDocument/2006/relationships/slide" Target="slides/slide189.xml"/><Relationship Id="rId204" Type="http://schemas.openxmlformats.org/officeDocument/2006/relationships/slide" Target="slides/slide203.xml"/><Relationship Id="rId225" Type="http://schemas.openxmlformats.org/officeDocument/2006/relationships/font" Target="fonts/font3.fntdata"/><Relationship Id="rId246" Type="http://schemas.openxmlformats.org/officeDocument/2006/relationships/font" Target="fonts/font24.fntdata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94" Type="http://schemas.openxmlformats.org/officeDocument/2006/relationships/slide" Target="slides/slide93.xml"/><Relationship Id="rId148" Type="http://schemas.openxmlformats.org/officeDocument/2006/relationships/slide" Target="slides/slide147.xml"/><Relationship Id="rId169" Type="http://schemas.openxmlformats.org/officeDocument/2006/relationships/slide" Target="slides/slide168.xml"/><Relationship Id="rId4" Type="http://schemas.openxmlformats.org/officeDocument/2006/relationships/slide" Target="slides/slide3.xml"/><Relationship Id="rId180" Type="http://schemas.openxmlformats.org/officeDocument/2006/relationships/slide" Target="slides/slide179.xml"/><Relationship Id="rId215" Type="http://schemas.openxmlformats.org/officeDocument/2006/relationships/slide" Target="slides/slide214.xml"/><Relationship Id="rId236" Type="http://schemas.openxmlformats.org/officeDocument/2006/relationships/font" Target="fonts/font1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53685;&#54633;%20&#47928;&#49436;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210-4C13-BA3C-13AAA8BC19F6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210-4C13-BA3C-13AAA8BC19F6}"/>
              </c:ext>
            </c:extLst>
          </c:dPt>
          <c:dPt>
            <c:idx val="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210-4C13-BA3C-13AAA8BC19F6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210-4C13-BA3C-13AAA8BC19F6}"/>
              </c:ext>
            </c:extLst>
          </c:dPt>
          <c:dPt>
            <c:idx val="8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210-4C13-BA3C-13AAA8BC19F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7:$D$15</c:f>
              <c:strCache>
                <c:ptCount val="9"/>
                <c:pt idx="0">
                  <c:v>국내은행</c:v>
                </c:pt>
                <c:pt idx="1">
                  <c:v>생명보험</c:v>
                </c:pt>
                <c:pt idx="2">
                  <c:v>국내증권사</c:v>
                </c:pt>
                <c:pt idx="3">
                  <c:v>저축은행</c:v>
                </c:pt>
                <c:pt idx="4">
                  <c:v>카드사</c:v>
                </c:pt>
                <c:pt idx="5">
                  <c:v>리스사</c:v>
                </c:pt>
                <c:pt idx="6">
                  <c:v>할부금융사</c:v>
                </c:pt>
                <c:pt idx="7">
                  <c:v>신기술금융사</c:v>
                </c:pt>
                <c:pt idx="8">
                  <c:v>전체 업권 평균</c:v>
                </c:pt>
              </c:strCache>
            </c:strRef>
          </c:cat>
          <c:val>
            <c:numRef>
              <c:f>Sheet1!$E$7:$E$15</c:f>
              <c:numCache>
                <c:formatCode>0.00_ </c:formatCode>
                <c:ptCount val="9"/>
                <c:pt idx="0">
                  <c:v>2.42</c:v>
                </c:pt>
                <c:pt idx="1">
                  <c:v>2.2200000000000002</c:v>
                </c:pt>
                <c:pt idx="2">
                  <c:v>2.2200000000000002</c:v>
                </c:pt>
                <c:pt idx="3">
                  <c:v>2.02</c:v>
                </c:pt>
                <c:pt idx="4">
                  <c:v>2</c:v>
                </c:pt>
                <c:pt idx="5">
                  <c:v>1.81</c:v>
                </c:pt>
                <c:pt idx="6">
                  <c:v>1.84</c:v>
                </c:pt>
                <c:pt idx="7">
                  <c:v>1.66</c:v>
                </c:pt>
                <c:pt idx="8">
                  <c:v>1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210-4C13-BA3C-13AAA8BC19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77825416"/>
        <c:axId val="777825808"/>
      </c:barChart>
      <c:catAx>
        <c:axId val="777825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777825808"/>
        <c:crosses val="autoZero"/>
        <c:auto val="1"/>
        <c:lblAlgn val="ctr"/>
        <c:lblOffset val="100"/>
        <c:noMultiLvlLbl val="0"/>
      </c:catAx>
      <c:valAx>
        <c:axId val="777825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77782541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B007A-C98A-4A1A-9B99-D97238764C43}" type="datetimeFigureOut">
              <a:rPr lang="ko-KR" altLang="en-US" smtClean="0"/>
              <a:t>2019-07-1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B6AE7B-178D-4BD8-9B4D-42D336039779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56213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4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236466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5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003346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6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69866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6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602162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6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740201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8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628964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8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099725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8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275354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9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740486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9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18132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9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08006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4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343803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9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886711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9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070703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17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296573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20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537361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22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45991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4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73995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4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06713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4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69890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5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92218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5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552733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5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924288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6AE7B-178D-4BD8-9B4D-42D336039779}" type="slidenum">
              <a:rPr lang="ko-KR" altLang="en-US" smtClean="0"/>
              <a:t>5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58500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3914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>
            <a:extLst>
              <a:ext uri="{FF2B5EF4-FFF2-40B4-BE49-F238E27FC236}">
                <a16:creationId xmlns:a16="http://schemas.microsoft.com/office/drawing/2014/main" id="{B9D8A81D-03E4-40ED-90B2-497BE4BDB031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50" name="Rt0">
              <a:extLst>
                <a:ext uri="{FF2B5EF4-FFF2-40B4-BE49-F238E27FC236}">
                  <a16:creationId xmlns:a16="http://schemas.microsoft.com/office/drawing/2014/main" id="{24156E51-B391-413D-B9E5-BA9BC8135C43}"/>
                </a:ext>
              </a:extLst>
            </p:cNvPr>
            <p:cNvSpPr/>
            <p:nvPr userDrawn="1"/>
          </p:nvSpPr>
          <p:spPr>
            <a:xfrm>
              <a:off x="0" y="0"/>
              <a:ext cx="9906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3" name="Rt0">
              <a:extLst>
                <a:ext uri="{FF2B5EF4-FFF2-40B4-BE49-F238E27FC236}">
                  <a16:creationId xmlns:a16="http://schemas.microsoft.com/office/drawing/2014/main" id="{52A6C175-CB03-4159-8413-D278FA859F7D}"/>
                </a:ext>
              </a:extLst>
            </p:cNvPr>
            <p:cNvSpPr/>
            <p:nvPr userDrawn="1"/>
          </p:nvSpPr>
          <p:spPr>
            <a:xfrm>
              <a:off x="0" y="0"/>
              <a:ext cx="9906000" cy="11247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7449E4C8-1312-4A7B-9B92-7859AF52FA0D}"/>
              </a:ext>
            </a:extLst>
          </p:cNvPr>
          <p:cNvSpPr/>
          <p:nvPr userDrawn="1"/>
        </p:nvSpPr>
        <p:spPr>
          <a:xfrm>
            <a:off x="4754978" y="6632877"/>
            <a:ext cx="432048" cy="1207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50D6999-D5CC-44D6-8812-229E7628C6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3846" y="6609609"/>
            <a:ext cx="655678" cy="167284"/>
          </a:xfrm>
          <a:prstGeom prst="rect">
            <a:avLst/>
          </a:prstGeom>
        </p:spPr>
      </p:pic>
      <p:sp>
        <p:nvSpPr>
          <p:cNvPr id="11" name="Rt4">
            <a:extLst>
              <a:ext uri="{FF2B5EF4-FFF2-40B4-BE49-F238E27FC236}">
                <a16:creationId xmlns:a16="http://schemas.microsoft.com/office/drawing/2014/main" id="{419B297D-343C-4591-9038-F5B37CE0BCD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064568" y="6631696"/>
            <a:ext cx="1041311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defTabSz="457200">
              <a:lnSpc>
                <a:spcPct val="100000"/>
              </a:lnSpc>
              <a:defRPr/>
            </a:pPr>
            <a:r>
              <a:rPr lang="ko-KR" altLang="en-US" sz="8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50000"/>
                  </a:scheme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자금세탁방지시스템  재구축</a:t>
            </a:r>
            <a:endParaRPr lang="ko-KR" altLang="en-US" sz="8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bg1">
                  <a:lumMod val="50000"/>
                </a:schemeClr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4755398" y="6630514"/>
            <a:ext cx="431208" cy="12311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ko-KR" sz="80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5F5F5F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defRPr>
            </a:lvl1pPr>
          </a:lstStyle>
          <a:p>
            <a:r>
              <a:rPr lang="en-US" altLang="ko-KR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 </a:t>
            </a:r>
            <a:r>
              <a:rPr lang="en-US" altLang="ko-KR" smtClean="0">
                <a:ln w="1270">
                  <a:solidFill>
                    <a:srgbClr val="4472C4">
                      <a:alpha val="0"/>
                    </a:srgbClr>
                  </a:solidFill>
                </a:ln>
              </a:rPr>
              <a:t>- </a:t>
            </a:r>
            <a:fld id="{FB38E40C-4F93-4E56-877A-C28EC1FFA5A5}" type="slidenum">
              <a:rPr smtClean="0">
                <a:ln w="1270">
                  <a:solidFill>
                    <a:srgbClr val="4472C4">
                      <a:alpha val="0"/>
                    </a:srgbClr>
                  </a:solidFill>
                </a:ln>
              </a:rPr>
              <a:pPr/>
              <a:t>‹#›</a:t>
            </a:fld>
            <a:endParaRPr lang="ko-KR" altLang="en-US" dirty="0">
              <a:ln w="1270">
                <a:solidFill>
                  <a:srgbClr val="4472C4">
                    <a:alpha val="0"/>
                  </a:srgbClr>
                </a:solidFill>
              </a:ln>
            </a:endParaRPr>
          </a:p>
        </p:txBody>
      </p:sp>
      <p:pic>
        <p:nvPicPr>
          <p:cNvPr id="41" name="Picture 5">
            <a:extLst>
              <a:ext uri="{FF2B5EF4-FFF2-40B4-BE49-F238E27FC236}">
                <a16:creationId xmlns:a16="http://schemas.microsoft.com/office/drawing/2014/main" id="{D3C2F2B1-3B48-4102-A1E5-0A0C67FBA4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AFEFF"/>
              </a:clrFrom>
              <a:clrTo>
                <a:srgbClr val="FA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476" y="6629373"/>
            <a:ext cx="792088" cy="127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236476" y="836712"/>
            <a:ext cx="9433048" cy="200055"/>
          </a:xfr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3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defRPr>
            </a:lvl1pPr>
          </a:lstStyle>
          <a:p>
            <a:pPr marL="0" lvl="0" defTabSz="457200" latinLnBrk="0">
              <a:buFont typeface="Wingdings" pitchFamily="2" charset="2"/>
            </a:pPr>
            <a:r>
              <a:rPr lang="ko-KR" altLang="en-US"/>
              <a:t>마스터 제목 스타일 편집</a:t>
            </a:r>
            <a:endParaRPr lang="en-US" dirty="0"/>
          </a:p>
        </p:txBody>
      </p: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00512B64-9C81-4618-9F45-C5BF8CA57BD1}"/>
              </a:ext>
            </a:extLst>
          </p:cNvPr>
          <p:cNvGrpSpPr/>
          <p:nvPr/>
        </p:nvGrpSpPr>
        <p:grpSpPr>
          <a:xfrm>
            <a:off x="5492141" y="72008"/>
            <a:ext cx="3780420" cy="188640"/>
            <a:chOff x="4880992" y="72008"/>
            <a:chExt cx="3780420" cy="188640"/>
          </a:xfrm>
        </p:grpSpPr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0E424BFA-342E-46A7-A636-C17C34539E77}"/>
                </a:ext>
              </a:extLst>
            </p:cNvPr>
            <p:cNvGrpSpPr/>
            <p:nvPr/>
          </p:nvGrpSpPr>
          <p:grpSpPr>
            <a:xfrm>
              <a:off x="4880992" y="72008"/>
              <a:ext cx="3780420" cy="188640"/>
              <a:chOff x="4880992" y="72008"/>
              <a:chExt cx="3780420" cy="260648"/>
            </a:xfrm>
          </p:grpSpPr>
          <p:sp>
            <p:nvSpPr>
              <p:cNvPr id="35" name="직사각형 34">
                <a:extLst>
                  <a:ext uri="{FF2B5EF4-FFF2-40B4-BE49-F238E27FC236}">
                    <a16:creationId xmlns:a16="http://schemas.microsoft.com/office/drawing/2014/main" id="{065E8BF7-48CE-420A-BDD2-7A332172C36E}"/>
                  </a:ext>
                </a:extLst>
              </p:cNvPr>
              <p:cNvSpPr/>
              <p:nvPr/>
            </p:nvSpPr>
            <p:spPr>
              <a:xfrm>
                <a:off x="4880992" y="72008"/>
                <a:ext cx="3780420" cy="260648"/>
              </a:xfrm>
              <a:prstGeom prst="rect">
                <a:avLst/>
              </a:prstGeom>
              <a:noFill/>
              <a:ln w="3810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sz="1463" kern="0" dirty="0">
                  <a:solidFill>
                    <a:srgbClr val="BD0032"/>
                  </a:solidFill>
                </a:endParaRPr>
              </a:p>
            </p:txBody>
          </p:sp>
          <p:grpSp>
            <p:nvGrpSpPr>
              <p:cNvPr id="38" name="그룹 37">
                <a:extLst>
                  <a:ext uri="{FF2B5EF4-FFF2-40B4-BE49-F238E27FC236}">
                    <a16:creationId xmlns:a16="http://schemas.microsoft.com/office/drawing/2014/main" id="{1AE8C684-AC34-4A29-BE6B-F6E267062574}"/>
                  </a:ext>
                </a:extLst>
              </p:cNvPr>
              <p:cNvGrpSpPr/>
              <p:nvPr/>
            </p:nvGrpSpPr>
            <p:grpSpPr>
              <a:xfrm>
                <a:off x="5961112" y="72008"/>
                <a:ext cx="2160240" cy="260647"/>
                <a:chOff x="5205028" y="1"/>
                <a:chExt cx="2160240" cy="476672"/>
              </a:xfrm>
            </p:grpSpPr>
            <p:cxnSp>
              <p:nvCxnSpPr>
                <p:cNvPr id="40" name="직선 연결선 39">
                  <a:extLst>
                    <a:ext uri="{FF2B5EF4-FFF2-40B4-BE49-F238E27FC236}">
                      <a16:creationId xmlns:a16="http://schemas.microsoft.com/office/drawing/2014/main" id="{634F62E9-5F35-4460-80E7-F27DF0C4C426}"/>
                    </a:ext>
                  </a:extLst>
                </p:cNvPr>
                <p:cNvCxnSpPr/>
                <p:nvPr/>
              </p:nvCxnSpPr>
              <p:spPr>
                <a:xfrm>
                  <a:off x="5745088" y="1"/>
                  <a:ext cx="0" cy="476672"/>
                </a:xfrm>
                <a:prstGeom prst="line">
                  <a:avLst/>
                </a:prstGeom>
                <a:noFill/>
                <a:ln w="3810">
                  <a:solidFill>
                    <a:schemeClr val="bg1">
                      <a:lumMod val="85000"/>
                    </a:schemeClr>
                  </a:solidFill>
                  <a:round/>
                  <a:headEnd/>
                  <a:tailEnd/>
                </a:ln>
              </p:spPr>
            </p:cxnSp>
            <p:cxnSp>
              <p:nvCxnSpPr>
                <p:cNvPr id="42" name="직선 연결선 41">
                  <a:extLst>
                    <a:ext uri="{FF2B5EF4-FFF2-40B4-BE49-F238E27FC236}">
                      <a16:creationId xmlns:a16="http://schemas.microsoft.com/office/drawing/2014/main" id="{090CF3B4-9ED6-4BE4-92E9-5114AD698F63}"/>
                    </a:ext>
                  </a:extLst>
                </p:cNvPr>
                <p:cNvCxnSpPr/>
                <p:nvPr/>
              </p:nvCxnSpPr>
              <p:spPr>
                <a:xfrm>
                  <a:off x="5205028" y="1"/>
                  <a:ext cx="0" cy="476672"/>
                </a:xfrm>
                <a:prstGeom prst="line">
                  <a:avLst/>
                </a:prstGeom>
                <a:noFill/>
                <a:ln w="3810">
                  <a:solidFill>
                    <a:schemeClr val="bg1">
                      <a:lumMod val="85000"/>
                    </a:schemeClr>
                  </a:solidFill>
                  <a:round/>
                  <a:headEnd/>
                  <a:tailEnd/>
                </a:ln>
              </p:spPr>
            </p:cxnSp>
            <p:cxnSp>
              <p:nvCxnSpPr>
                <p:cNvPr id="44" name="직선 연결선 43">
                  <a:extLst>
                    <a:ext uri="{FF2B5EF4-FFF2-40B4-BE49-F238E27FC236}">
                      <a16:creationId xmlns:a16="http://schemas.microsoft.com/office/drawing/2014/main" id="{1DE86DE2-00A8-4BE9-A038-A801365E8941}"/>
                    </a:ext>
                  </a:extLst>
                </p:cNvPr>
                <p:cNvCxnSpPr/>
                <p:nvPr/>
              </p:nvCxnSpPr>
              <p:spPr>
                <a:xfrm>
                  <a:off x="6285148" y="1"/>
                  <a:ext cx="0" cy="476672"/>
                </a:xfrm>
                <a:prstGeom prst="line">
                  <a:avLst/>
                </a:prstGeom>
                <a:noFill/>
                <a:ln w="3810">
                  <a:solidFill>
                    <a:schemeClr val="bg1">
                      <a:lumMod val="85000"/>
                    </a:schemeClr>
                  </a:solidFill>
                  <a:round/>
                  <a:headEnd/>
                  <a:tailEnd/>
                </a:ln>
              </p:spPr>
            </p:cxnSp>
            <p:cxnSp>
              <p:nvCxnSpPr>
                <p:cNvPr id="45" name="직선 연결선 44">
                  <a:extLst>
                    <a:ext uri="{FF2B5EF4-FFF2-40B4-BE49-F238E27FC236}">
                      <a16:creationId xmlns:a16="http://schemas.microsoft.com/office/drawing/2014/main" id="{A0C37376-E03E-4A2E-BF39-2CEADF915F10}"/>
                    </a:ext>
                  </a:extLst>
                </p:cNvPr>
                <p:cNvCxnSpPr/>
                <p:nvPr/>
              </p:nvCxnSpPr>
              <p:spPr>
                <a:xfrm>
                  <a:off x="6825208" y="1"/>
                  <a:ext cx="0" cy="476672"/>
                </a:xfrm>
                <a:prstGeom prst="line">
                  <a:avLst/>
                </a:prstGeom>
                <a:noFill/>
                <a:ln w="3810">
                  <a:solidFill>
                    <a:schemeClr val="bg1">
                      <a:lumMod val="85000"/>
                    </a:schemeClr>
                  </a:solidFill>
                  <a:round/>
                  <a:headEnd/>
                  <a:tailEnd/>
                </a:ln>
              </p:spPr>
            </p:cxnSp>
            <p:cxnSp>
              <p:nvCxnSpPr>
                <p:cNvPr id="53" name="직선 연결선 52">
                  <a:extLst>
                    <a:ext uri="{FF2B5EF4-FFF2-40B4-BE49-F238E27FC236}">
                      <a16:creationId xmlns:a16="http://schemas.microsoft.com/office/drawing/2014/main" id="{154F1224-CEE8-4AD5-8A46-A470CAE9B073}"/>
                    </a:ext>
                  </a:extLst>
                </p:cNvPr>
                <p:cNvCxnSpPr/>
                <p:nvPr/>
              </p:nvCxnSpPr>
              <p:spPr>
                <a:xfrm>
                  <a:off x="7365268" y="1"/>
                  <a:ext cx="0" cy="476672"/>
                </a:xfrm>
                <a:prstGeom prst="line">
                  <a:avLst/>
                </a:prstGeom>
                <a:noFill/>
                <a:ln w="3810">
                  <a:solidFill>
                    <a:schemeClr val="bg1">
                      <a:lumMod val="85000"/>
                    </a:schemeClr>
                  </a:solidFill>
                  <a:round/>
                  <a:headEnd/>
                  <a:tailEnd/>
                </a:ln>
              </p:spPr>
            </p:cxnSp>
          </p:grpSp>
        </p:grpSp>
        <p:sp>
          <p:nvSpPr>
            <p:cNvPr id="28" name="Text Box 535">
              <a:extLst>
                <a:ext uri="{FF2B5EF4-FFF2-40B4-BE49-F238E27FC236}">
                  <a16:creationId xmlns:a16="http://schemas.microsoft.com/office/drawing/2014/main" id="{DE4DA09B-E38B-4E22-AB01-82EAEC1D231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95076" y="89383"/>
              <a:ext cx="1118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A6A6A6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Ⅰ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A6A6A6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29" name="Text Box 535">
              <a:extLst>
                <a:ext uri="{FF2B5EF4-FFF2-40B4-BE49-F238E27FC236}">
                  <a16:creationId xmlns:a16="http://schemas.microsoft.com/office/drawing/2014/main" id="{7CA8A3CB-69AC-45F2-A4FF-08A0AD5270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35135" y="89383"/>
              <a:ext cx="1118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Ⅱ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30" name="Text Box 535">
              <a:extLst>
                <a:ext uri="{FF2B5EF4-FFF2-40B4-BE49-F238E27FC236}">
                  <a16:creationId xmlns:a16="http://schemas.microsoft.com/office/drawing/2014/main" id="{BB5F6348-B2AB-4AF0-AD29-F8B450409E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75195" y="89383"/>
              <a:ext cx="1118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Ⅲ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31" name="Text Box 535">
              <a:extLst>
                <a:ext uri="{FF2B5EF4-FFF2-40B4-BE49-F238E27FC236}">
                  <a16:creationId xmlns:a16="http://schemas.microsoft.com/office/drawing/2014/main" id="{8FAFBEF2-0321-48C9-8B5F-0F4E5491CB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15255" y="89383"/>
              <a:ext cx="1118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Ⅳ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32" name="Text Box 535">
              <a:extLst>
                <a:ext uri="{FF2B5EF4-FFF2-40B4-BE49-F238E27FC236}">
                  <a16:creationId xmlns:a16="http://schemas.microsoft.com/office/drawing/2014/main" id="{ED015237-0681-4198-8294-4896FDCAEF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55315" y="89383"/>
              <a:ext cx="1118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Ⅴ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33" name="Text Box 535">
              <a:extLst>
                <a:ext uri="{FF2B5EF4-FFF2-40B4-BE49-F238E27FC236}">
                  <a16:creationId xmlns:a16="http://schemas.microsoft.com/office/drawing/2014/main" id="{F9E1BCEB-5B8F-4A31-9B22-790813C377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95375" y="89383"/>
              <a:ext cx="1118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Ⅵ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34" name="Text Box 535">
              <a:extLst>
                <a:ext uri="{FF2B5EF4-FFF2-40B4-BE49-F238E27FC236}">
                  <a16:creationId xmlns:a16="http://schemas.microsoft.com/office/drawing/2014/main" id="{F5490F7D-0427-4B3B-9B1B-AD51E4B50B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35435" y="89383"/>
              <a:ext cx="1118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Ⅶ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grpSp>
        <p:nvGrpSpPr>
          <p:cNvPr id="73" name="그룹 72"/>
          <p:cNvGrpSpPr/>
          <p:nvPr userDrawn="1"/>
        </p:nvGrpSpPr>
        <p:grpSpPr>
          <a:xfrm>
            <a:off x="6573242" y="71695"/>
            <a:ext cx="540058" cy="296653"/>
            <a:chOff x="4736976" y="2805472"/>
            <a:chExt cx="540058" cy="296653"/>
          </a:xfrm>
        </p:grpSpPr>
        <p:sp>
          <p:nvSpPr>
            <p:cNvPr id="74" name="직사각형 73">
              <a:extLst>
                <a:ext uri="{FF2B5EF4-FFF2-40B4-BE49-F238E27FC236}">
                  <a16:creationId xmlns:a16="http://schemas.microsoft.com/office/drawing/2014/main" id="{EA1797B9-F733-4B09-A2EA-AA7D62970967}"/>
                </a:ext>
              </a:extLst>
            </p:cNvPr>
            <p:cNvSpPr/>
            <p:nvPr userDrawn="1"/>
          </p:nvSpPr>
          <p:spPr>
            <a:xfrm>
              <a:off x="4736976" y="2805472"/>
              <a:ext cx="540058" cy="188640"/>
            </a:xfrm>
            <a:prstGeom prst="rect">
              <a:avLst/>
            </a:prstGeom>
            <a:solidFill>
              <a:srgbClr val="BD003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ko-KR" altLang="en-US" sz="1463" kern="0" dirty="0">
                <a:solidFill>
                  <a:srgbClr val="BD0032"/>
                </a:solidFill>
              </a:endParaRPr>
            </a:p>
          </p:txBody>
        </p:sp>
        <p:sp>
          <p:nvSpPr>
            <p:cNvPr id="75" name="Text Box 535">
              <a:extLst>
                <a:ext uri="{FF2B5EF4-FFF2-40B4-BE49-F238E27FC236}">
                  <a16:creationId xmlns:a16="http://schemas.microsoft.com/office/drawing/2014/main" id="{DE4DA09B-E38B-4E22-AB01-82EAEC1D2315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4951061" y="2822848"/>
              <a:ext cx="11188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spc="-4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Ⅲ</a:t>
              </a:r>
              <a:endPara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530E2B06-67A0-40DA-874C-59090B2A493F}"/>
                </a:ext>
              </a:extLst>
            </p:cNvPr>
            <p:cNvSpPr/>
            <p:nvPr userDrawn="1"/>
          </p:nvSpPr>
          <p:spPr>
            <a:xfrm>
              <a:off x="4736976" y="2805473"/>
              <a:ext cx="540058" cy="80628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ko-KR" altLang="en-US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50" charset="-127"/>
              </a:endParaRPr>
            </a:p>
          </p:txBody>
        </p:sp>
        <p:sp>
          <p:nvSpPr>
            <p:cNvPr id="77" name="Text Box 535">
              <a:extLst>
                <a:ext uri="{FF2B5EF4-FFF2-40B4-BE49-F238E27FC236}">
                  <a16:creationId xmlns:a16="http://schemas.microsoft.com/office/drawing/2014/main" id="{A990F8BF-F440-4748-BFB6-EC005D8B6597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4876199" y="3009792"/>
              <a:ext cx="261610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t" anchorCtr="0">
              <a:spAutoFit/>
            </a:bodyPr>
            <a:lstStyle/>
            <a:p>
              <a:pPr algn="ctr">
                <a:defRPr/>
              </a:pPr>
              <a:r>
                <a:rPr lang="ko-KR" altLang="en-US" sz="600" spc="-4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BD0032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구축방안</a:t>
              </a:r>
              <a:endParaRPr lang="ko-KR" altLang="en-US" sz="6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36FA9D72-DE66-40DF-AA17-9E3F7A98F2D3}"/>
              </a:ext>
            </a:extLst>
          </p:cNvPr>
          <p:cNvGrpSpPr/>
          <p:nvPr userDrawn="1"/>
        </p:nvGrpSpPr>
        <p:grpSpPr>
          <a:xfrm>
            <a:off x="8567738" y="8890"/>
            <a:ext cx="1338262" cy="1115854"/>
            <a:chOff x="8567738" y="8890"/>
            <a:chExt cx="1338262" cy="1115854"/>
          </a:xfrm>
        </p:grpSpPr>
        <p:pic>
          <p:nvPicPr>
            <p:cNvPr id="47" name="LcS7">
              <a:extLst>
                <a:ext uri="{FF2B5EF4-FFF2-40B4-BE49-F238E27FC236}">
                  <a16:creationId xmlns:a16="http://schemas.microsoft.com/office/drawing/2014/main" id="{A890237F-ECC5-43E0-BFEB-3AA459750A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0607" r="13230"/>
            <a:stretch/>
          </p:blipFill>
          <p:spPr>
            <a:xfrm flipH="1">
              <a:off x="8567738" y="8890"/>
              <a:ext cx="1338262" cy="1115854"/>
            </a:xfrm>
            <a:prstGeom prst="rect">
              <a:avLst/>
            </a:prstGeom>
          </p:spPr>
        </p:pic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47FB34E8-3497-4BAF-8FE0-F5CF9AAD356E}"/>
                </a:ext>
              </a:extLst>
            </p:cNvPr>
            <p:cNvGrpSpPr/>
            <p:nvPr/>
          </p:nvGrpSpPr>
          <p:grpSpPr>
            <a:xfrm>
              <a:off x="8758725" y="516324"/>
              <a:ext cx="649188" cy="428400"/>
              <a:chOff x="8855369" y="517526"/>
              <a:chExt cx="647794" cy="427480"/>
            </a:xfrm>
          </p:grpSpPr>
          <p:grpSp>
            <p:nvGrpSpPr>
              <p:cNvPr id="49" name="그룹 48">
                <a:extLst>
                  <a:ext uri="{FF2B5EF4-FFF2-40B4-BE49-F238E27FC236}">
                    <a16:creationId xmlns:a16="http://schemas.microsoft.com/office/drawing/2014/main" id="{86FC0C43-86B2-411E-8C51-E2C82465A2C9}"/>
                  </a:ext>
                </a:extLst>
              </p:cNvPr>
              <p:cNvGrpSpPr/>
              <p:nvPr/>
            </p:nvGrpSpPr>
            <p:grpSpPr>
              <a:xfrm>
                <a:off x="8855369" y="517526"/>
                <a:ext cx="647794" cy="427480"/>
                <a:chOff x="6575425" y="140208"/>
                <a:chExt cx="2554035" cy="1685417"/>
              </a:xfrm>
            </p:grpSpPr>
            <p:grpSp>
              <p:nvGrpSpPr>
                <p:cNvPr id="52" name="그룹 51">
                  <a:extLst>
                    <a:ext uri="{FF2B5EF4-FFF2-40B4-BE49-F238E27FC236}">
                      <a16:creationId xmlns:a16="http://schemas.microsoft.com/office/drawing/2014/main" id="{8815CFAB-E9A4-4256-A88A-F6BDAD522E4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579753" y="140208"/>
                  <a:ext cx="2549707" cy="499918"/>
                  <a:chOff x="632520" y="1556792"/>
                  <a:chExt cx="8640960" cy="972108"/>
                </a:xfrm>
              </p:grpSpPr>
              <p:grpSp>
                <p:nvGrpSpPr>
                  <p:cNvPr id="69" name="그룹 68">
                    <a:extLst>
                      <a:ext uri="{FF2B5EF4-FFF2-40B4-BE49-F238E27FC236}">
                        <a16:creationId xmlns:a16="http://schemas.microsoft.com/office/drawing/2014/main" id="{B22A993F-64DE-472C-A994-EB3C5E66900E}"/>
                      </a:ext>
                    </a:extLst>
                  </p:cNvPr>
                  <p:cNvGrpSpPr/>
                  <p:nvPr/>
                </p:nvGrpSpPr>
                <p:grpSpPr>
                  <a:xfrm>
                    <a:off x="632520" y="1556792"/>
                    <a:ext cx="4320480" cy="900100"/>
                    <a:chOff x="632520" y="1556792"/>
                    <a:chExt cx="8640960" cy="900100"/>
                  </a:xfrm>
                </p:grpSpPr>
                <p:sp>
                  <p:nvSpPr>
                    <p:cNvPr id="72" name="직사각형 71">
                      <a:extLst>
                        <a:ext uri="{FF2B5EF4-FFF2-40B4-BE49-F238E27FC236}">
                          <a16:creationId xmlns:a16="http://schemas.microsoft.com/office/drawing/2014/main" id="{14EC3A6C-FAFF-4612-A20B-29C72F679B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520" y="2024844"/>
                      <a:ext cx="8640960" cy="432048"/>
                    </a:xfrm>
                    <a:prstGeom prst="rect">
                      <a:avLst/>
                    </a:prstGeom>
                    <a:solidFill>
                      <a:srgbClr val="B8AA97"/>
                    </a:solidFill>
                    <a:ln w="9525">
                      <a:noFill/>
                      <a:miter lim="800000"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pPr algn="ctr"/>
                      <a:endParaRPr lang="ko-KR" altLang="en-US" sz="1463" kern="0" dirty="0">
                        <a:solidFill>
                          <a:srgbClr val="BD0032"/>
                        </a:solidFill>
                      </a:endParaRPr>
                    </a:p>
                  </p:txBody>
                </p:sp>
                <p:sp>
                  <p:nvSpPr>
                    <p:cNvPr id="78" name="직사각형 77">
                      <a:extLst>
                        <a:ext uri="{FF2B5EF4-FFF2-40B4-BE49-F238E27FC236}">
                          <a16:creationId xmlns:a16="http://schemas.microsoft.com/office/drawing/2014/main" id="{120B013E-ACA8-4AD7-A973-3A4E83FBC4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520" y="1556792"/>
                      <a:ext cx="8640960" cy="486321"/>
                    </a:xfrm>
                    <a:prstGeom prst="rect">
                      <a:avLst/>
                    </a:prstGeom>
                    <a:gradFill>
                      <a:gsLst>
                        <a:gs pos="70000">
                          <a:srgbClr val="BD0032"/>
                        </a:gs>
                        <a:gs pos="100000">
                          <a:srgbClr val="920026"/>
                        </a:gs>
                      </a:gsLst>
                      <a:lin ang="5400000" scaled="1"/>
                    </a:gradFill>
                    <a:ln w="9525">
                      <a:noFill/>
                      <a:miter lim="800000"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pPr algn="ctr"/>
                      <a:endParaRPr lang="ko-KR" altLang="en-US" sz="1463" kern="0" dirty="0">
                        <a:solidFill>
                          <a:srgbClr val="BD0032"/>
                        </a:solidFill>
                      </a:endParaRPr>
                    </a:p>
                  </p:txBody>
                </p:sp>
              </p:grpSp>
              <p:sp>
                <p:nvSpPr>
                  <p:cNvPr id="70" name="화살표: 오각형 63">
                    <a:extLst>
                      <a:ext uri="{FF2B5EF4-FFF2-40B4-BE49-F238E27FC236}">
                        <a16:creationId xmlns:a16="http://schemas.microsoft.com/office/drawing/2014/main" id="{F4EAFC4A-E104-40C0-8613-FD528731826A}"/>
                      </a:ext>
                    </a:extLst>
                  </p:cNvPr>
                  <p:cNvSpPr/>
                  <p:nvPr/>
                </p:nvSpPr>
                <p:spPr>
                  <a:xfrm flipH="1">
                    <a:off x="4160918" y="1556792"/>
                    <a:ext cx="5112562" cy="972108"/>
                  </a:xfrm>
                  <a:prstGeom prst="homePlate">
                    <a:avLst>
                      <a:gd name="adj" fmla="val 42161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dirty="0"/>
                  </a:p>
                </p:txBody>
              </p:sp>
              <p:sp>
                <p:nvSpPr>
                  <p:cNvPr id="71" name="자유형: 도형 64">
                    <a:extLst>
                      <a:ext uri="{FF2B5EF4-FFF2-40B4-BE49-F238E27FC236}">
                        <a16:creationId xmlns:a16="http://schemas.microsoft.com/office/drawing/2014/main" id="{53C23B5D-D437-490F-9C71-4B8D7AB2BDAB}"/>
                      </a:ext>
                    </a:extLst>
                  </p:cNvPr>
                  <p:cNvSpPr/>
                  <p:nvPr/>
                </p:nvSpPr>
                <p:spPr>
                  <a:xfrm>
                    <a:off x="4160044" y="1559719"/>
                    <a:ext cx="5105401" cy="966787"/>
                  </a:xfrm>
                  <a:custGeom>
                    <a:avLst/>
                    <a:gdLst>
                      <a:gd name="connsiteX0" fmla="*/ 407194 w 5105400"/>
                      <a:gd name="connsiteY0" fmla="*/ 0 h 966787"/>
                      <a:gd name="connsiteX1" fmla="*/ 0 w 5105400"/>
                      <a:gd name="connsiteY1" fmla="*/ 481012 h 966787"/>
                      <a:gd name="connsiteX2" fmla="*/ 409575 w 5105400"/>
                      <a:gd name="connsiteY2" fmla="*/ 966787 h 966787"/>
                      <a:gd name="connsiteX3" fmla="*/ 5105400 w 5105400"/>
                      <a:gd name="connsiteY3" fmla="*/ 966787 h 966787"/>
                      <a:gd name="connsiteX0" fmla="*/ 700848 w 5105400"/>
                      <a:gd name="connsiteY0" fmla="*/ 0 h 966787"/>
                      <a:gd name="connsiteX1" fmla="*/ 0 w 5105400"/>
                      <a:gd name="connsiteY1" fmla="*/ 481012 h 966787"/>
                      <a:gd name="connsiteX2" fmla="*/ 409575 w 5105400"/>
                      <a:gd name="connsiteY2" fmla="*/ 966787 h 966787"/>
                      <a:gd name="connsiteX3" fmla="*/ 5105400 w 5105400"/>
                      <a:gd name="connsiteY3" fmla="*/ 966787 h 966787"/>
                      <a:gd name="connsiteX0" fmla="*/ 700848 w 5105400"/>
                      <a:gd name="connsiteY0" fmla="*/ 0 h 966787"/>
                      <a:gd name="connsiteX1" fmla="*/ 0 w 5105400"/>
                      <a:gd name="connsiteY1" fmla="*/ 481012 h 966787"/>
                      <a:gd name="connsiteX2" fmla="*/ 709101 w 5105400"/>
                      <a:gd name="connsiteY2" fmla="*/ 966787 h 966787"/>
                      <a:gd name="connsiteX3" fmla="*/ 5105400 w 5105400"/>
                      <a:gd name="connsiteY3" fmla="*/ 966787 h 966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105400" h="966787">
                        <a:moveTo>
                          <a:pt x="700848" y="0"/>
                        </a:moveTo>
                        <a:lnTo>
                          <a:pt x="0" y="481012"/>
                        </a:lnTo>
                        <a:lnTo>
                          <a:pt x="709101" y="966787"/>
                        </a:lnTo>
                        <a:lnTo>
                          <a:pt x="5105400" y="966787"/>
                        </a:lnTo>
                      </a:path>
                    </a:pathLst>
                  </a:custGeom>
                  <a:noFill/>
                  <a:ln w="2540" cap="rnd">
                    <a:solidFill>
                      <a:srgbClr val="B8A997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dirty="0"/>
                  </a:p>
                </p:txBody>
              </p:sp>
            </p:grpSp>
            <p:sp>
              <p:nvSpPr>
                <p:cNvPr id="68" name="자유형: 도형 61">
                  <a:extLst>
                    <a:ext uri="{FF2B5EF4-FFF2-40B4-BE49-F238E27FC236}">
                      <a16:creationId xmlns:a16="http://schemas.microsoft.com/office/drawing/2014/main" id="{E103A543-C84E-4EE6-B030-B2E234A2DCD0}"/>
                    </a:ext>
                  </a:extLst>
                </p:cNvPr>
                <p:cNvSpPr/>
                <p:nvPr/>
              </p:nvSpPr>
              <p:spPr>
                <a:xfrm>
                  <a:off x="6575425" y="142875"/>
                  <a:ext cx="2552700" cy="1682750"/>
                </a:xfrm>
                <a:custGeom>
                  <a:avLst/>
                  <a:gdLst>
                    <a:gd name="connsiteX0" fmla="*/ 2540000 w 2540000"/>
                    <a:gd name="connsiteY0" fmla="*/ 492125 h 1682750"/>
                    <a:gd name="connsiteX1" fmla="*/ 2540000 w 2540000"/>
                    <a:gd name="connsiteY1" fmla="*/ 1682750 h 1682750"/>
                    <a:gd name="connsiteX2" fmla="*/ 0 w 2540000"/>
                    <a:gd name="connsiteY2" fmla="*/ 1682750 h 1682750"/>
                    <a:gd name="connsiteX3" fmla="*/ 0 w 2540000"/>
                    <a:gd name="connsiteY3" fmla="*/ 0 h 1682750"/>
                    <a:gd name="connsiteX0" fmla="*/ 2540000 w 2540000"/>
                    <a:gd name="connsiteY0" fmla="*/ 496583 h 1682750"/>
                    <a:gd name="connsiteX1" fmla="*/ 2540000 w 2540000"/>
                    <a:gd name="connsiteY1" fmla="*/ 1682750 h 1682750"/>
                    <a:gd name="connsiteX2" fmla="*/ 0 w 2540000"/>
                    <a:gd name="connsiteY2" fmla="*/ 1682750 h 1682750"/>
                    <a:gd name="connsiteX3" fmla="*/ 0 w 2540000"/>
                    <a:gd name="connsiteY3" fmla="*/ 0 h 1682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40000" h="1682750">
                      <a:moveTo>
                        <a:pt x="2540000" y="496583"/>
                      </a:moveTo>
                      <a:lnTo>
                        <a:pt x="2540000" y="1682750"/>
                      </a:lnTo>
                      <a:lnTo>
                        <a:pt x="0" y="168275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2540" cap="rnd">
                  <a:solidFill>
                    <a:srgbClr val="B8A997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dirty="0"/>
                </a:p>
              </p:txBody>
            </p:sp>
          </p:grpSp>
          <p:pic>
            <p:nvPicPr>
              <p:cNvPr id="51" name="Picture 5">
                <a:extLst>
                  <a:ext uri="{FF2B5EF4-FFF2-40B4-BE49-F238E27FC236}">
                    <a16:creationId xmlns:a16="http://schemas.microsoft.com/office/drawing/2014/main" id="{09ADA508-3A4E-4232-BA36-356905D5DD5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AFEFF"/>
                  </a:clrFrom>
                  <a:clrTo>
                    <a:srgbClr val="FAFE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83784" y="558065"/>
                <a:ext cx="283458" cy="457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79" name="Text Box 3">
            <a:extLst>
              <a:ext uri="{FF2B5EF4-FFF2-40B4-BE49-F238E27FC236}">
                <a16:creationId xmlns:a16="http://schemas.microsoft.com/office/drawing/2014/main" id="{82E63A56-E528-464E-8663-CD30FD4DF4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12426" y="679804"/>
            <a:ext cx="54181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5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Global Digital</a:t>
            </a: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spc="-5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AML</a:t>
            </a:r>
            <a:endParaRPr lang="ko-KR" altLang="en-US" sz="800" spc="-5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784815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074DFEC4-AA20-446D-95CE-D169FB4B038C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6476" y="836712"/>
            <a:ext cx="9433048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lvl="0" defTabSz="4572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</a:pPr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30371" y="6630514"/>
            <a:ext cx="24525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lvl1pPr>
              <a:defRPr lang="ko-KR" altLang="en-US" sz="80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5F5F5F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defRPr>
            </a:lvl1pPr>
          </a:lstStyle>
          <a:p>
            <a:pPr algn="ctr"/>
            <a:fld id="{3DC40A3E-F5CA-407E-AADD-A11338E18F4C}" type="slidenum">
              <a:rPr lang="en-US" altLang="ko-KR" smtClean="0"/>
              <a:pPr algn="ctr"/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888168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lang="en-US" altLang="en-US" sz="1300" kern="1200" dirty="0">
          <a:ln w="1270">
            <a:solidFill>
              <a:schemeClr val="accent1">
                <a:alpha val="0"/>
              </a:schemeClr>
            </a:solidFill>
          </a:ln>
          <a:solidFill>
            <a:srgbClr val="000000"/>
          </a:solidFill>
          <a:latin typeface="나눔스퀘어 ExtraBold" panose="020B0600000101010101" pitchFamily="50" charset="-127"/>
          <a:ea typeface="나눔스퀘어 ExtraBold" panose="020B0600000101010101" pitchFamily="50" charset="-127"/>
          <a:cs typeface="+mn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53.pn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53.png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80.emf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54.png"/><Relationship Id="rId7" Type="http://schemas.openxmlformats.org/officeDocument/2006/relationships/image" Target="../media/image119.pn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11" Type="http://schemas.openxmlformats.org/officeDocument/2006/relationships/image" Target="../media/image52.png"/><Relationship Id="rId5" Type="http://schemas.openxmlformats.org/officeDocument/2006/relationships/image" Target="../media/image117.png"/><Relationship Id="rId10" Type="http://schemas.openxmlformats.org/officeDocument/2006/relationships/image" Target="../media/image48.png"/><Relationship Id="rId4" Type="http://schemas.openxmlformats.org/officeDocument/2006/relationships/image" Target="../media/image116.png"/><Relationship Id="rId9" Type="http://schemas.openxmlformats.org/officeDocument/2006/relationships/image" Target="../media/image53.png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emf"/><Relationship Id="rId2" Type="http://schemas.openxmlformats.org/officeDocument/2006/relationships/image" Target="../media/image182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184.png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8.png"/><Relationship Id="rId5" Type="http://schemas.openxmlformats.org/officeDocument/2006/relationships/image" Target="../media/image187.wmf"/><Relationship Id="rId4" Type="http://schemas.microsoft.com/office/2007/relationships/hdphoto" Target="../media/hdphoto6.wdp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png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png"/><Relationship Id="rId3" Type="http://schemas.openxmlformats.org/officeDocument/2006/relationships/image" Target="../media/image193.png"/><Relationship Id="rId7" Type="http://schemas.openxmlformats.org/officeDocument/2006/relationships/image" Target="../media/image197.png"/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6.png"/><Relationship Id="rId5" Type="http://schemas.openxmlformats.org/officeDocument/2006/relationships/image" Target="../media/image195.png"/><Relationship Id="rId10" Type="http://schemas.openxmlformats.org/officeDocument/2006/relationships/image" Target="../media/image48.png"/><Relationship Id="rId4" Type="http://schemas.openxmlformats.org/officeDocument/2006/relationships/image" Target="../media/image194.png"/><Relationship Id="rId9" Type="http://schemas.openxmlformats.org/officeDocument/2006/relationships/image" Target="../media/image199.png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3" Type="http://schemas.openxmlformats.org/officeDocument/2006/relationships/image" Target="../media/image52.png"/><Relationship Id="rId7" Type="http://schemas.openxmlformats.org/officeDocument/2006/relationships/image" Target="../media/image20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1.PNG"/><Relationship Id="rId5" Type="http://schemas.openxmlformats.org/officeDocument/2006/relationships/image" Target="../media/image200.png"/><Relationship Id="rId4" Type="http://schemas.openxmlformats.org/officeDocument/2006/relationships/image" Target="../media/image53.png"/><Relationship Id="rId9" Type="http://schemas.openxmlformats.org/officeDocument/2006/relationships/image" Target="../media/image48.png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0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0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microsoft.com/office/2007/relationships/hdphoto" Target="../media/hdphoto7.wdp"/><Relationship Id="rId7" Type="http://schemas.openxmlformats.org/officeDocument/2006/relationships/image" Target="../media/image51.png"/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0.png"/><Relationship Id="rId5" Type="http://schemas.openxmlformats.org/officeDocument/2006/relationships/image" Target="../media/image209.png"/><Relationship Id="rId4" Type="http://schemas.openxmlformats.org/officeDocument/2006/relationships/image" Target="../media/image208.PNG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11.png"/><Relationship Id="rId4" Type="http://schemas.openxmlformats.org/officeDocument/2006/relationships/image" Target="../media/image53.png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12.png"/><Relationship Id="rId4" Type="http://schemas.openxmlformats.org/officeDocument/2006/relationships/image" Target="../media/image53.png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21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5.png"/><Relationship Id="rId5" Type="http://schemas.openxmlformats.org/officeDocument/2006/relationships/image" Target="../media/image214.png"/><Relationship Id="rId4" Type="http://schemas.openxmlformats.org/officeDocument/2006/relationships/image" Target="../media/image213.png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17.png"/><Relationship Id="rId4" Type="http://schemas.openxmlformats.org/officeDocument/2006/relationships/image" Target="../media/image53.png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18.png"/><Relationship Id="rId4" Type="http://schemas.openxmlformats.org/officeDocument/2006/relationships/image" Target="../media/image53.png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19.png"/><Relationship Id="rId4" Type="http://schemas.openxmlformats.org/officeDocument/2006/relationships/image" Target="../media/image53.png"/></Relationships>
</file>

<file path=ppt/slides/_rels/slide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22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2.PNG"/><Relationship Id="rId5" Type="http://schemas.openxmlformats.org/officeDocument/2006/relationships/image" Target="../media/image221.PNG"/><Relationship Id="rId4" Type="http://schemas.openxmlformats.org/officeDocument/2006/relationships/image" Target="../media/image220.PNG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24.png"/><Relationship Id="rId4" Type="http://schemas.openxmlformats.org/officeDocument/2006/relationships/image" Target="../media/image53.png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25.png"/><Relationship Id="rId4" Type="http://schemas.openxmlformats.org/officeDocument/2006/relationships/image" Target="../media/image53.png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26.png"/><Relationship Id="rId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227.png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28.png"/><Relationship Id="rId4" Type="http://schemas.openxmlformats.org/officeDocument/2006/relationships/image" Target="../media/image53.png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29.png"/><Relationship Id="rId4" Type="http://schemas.openxmlformats.org/officeDocument/2006/relationships/image" Target="../media/image53.png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30.png"/><Relationship Id="rId4" Type="http://schemas.openxmlformats.org/officeDocument/2006/relationships/image" Target="../media/image53.png"/></Relationships>
</file>

<file path=ppt/slides/_rels/slide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234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3.PNG"/><Relationship Id="rId5" Type="http://schemas.openxmlformats.org/officeDocument/2006/relationships/image" Target="../media/image232.PNG"/><Relationship Id="rId4" Type="http://schemas.openxmlformats.org/officeDocument/2006/relationships/image" Target="../media/image231.PNG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35.png"/><Relationship Id="rId4" Type="http://schemas.openxmlformats.org/officeDocument/2006/relationships/image" Target="../media/image53.png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36.png"/><Relationship Id="rId4" Type="http://schemas.openxmlformats.org/officeDocument/2006/relationships/image" Target="../media/image53.png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37.png"/><Relationship Id="rId4" Type="http://schemas.openxmlformats.org/officeDocument/2006/relationships/image" Target="../media/image53.png"/></Relationships>
</file>

<file path=ppt/slides/_rels/slide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24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0.PNG"/><Relationship Id="rId5" Type="http://schemas.openxmlformats.org/officeDocument/2006/relationships/image" Target="../media/image239.png"/><Relationship Id="rId4" Type="http://schemas.openxmlformats.org/officeDocument/2006/relationships/image" Target="../media/image238.PNG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42.png"/><Relationship Id="rId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43.png"/><Relationship Id="rId4" Type="http://schemas.openxmlformats.org/officeDocument/2006/relationships/image" Target="../media/image53.png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7" Type="http://schemas.openxmlformats.org/officeDocument/2006/relationships/image" Target="../media/image48.png"/><Relationship Id="rId2" Type="http://schemas.openxmlformats.org/officeDocument/2006/relationships/image" Target="../media/image2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249.gif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8.png"/><Relationship Id="rId5" Type="http://schemas.openxmlformats.org/officeDocument/2006/relationships/image" Target="../media/image247.PNG"/><Relationship Id="rId4" Type="http://schemas.openxmlformats.org/officeDocument/2006/relationships/image" Target="../media/image246.PNG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50.png"/><Relationship Id="rId4" Type="http://schemas.openxmlformats.org/officeDocument/2006/relationships/image" Target="../media/image53.png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251.png"/><Relationship Id="rId4" Type="http://schemas.openxmlformats.org/officeDocument/2006/relationships/image" Target="../media/image53.png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7" Type="http://schemas.openxmlformats.org/officeDocument/2006/relationships/image" Target="../media/image48.png"/><Relationship Id="rId2" Type="http://schemas.openxmlformats.org/officeDocument/2006/relationships/image" Target="../media/image2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5.png"/><Relationship Id="rId3" Type="http://schemas.openxmlformats.org/officeDocument/2006/relationships/image" Target="../media/image52.png"/><Relationship Id="rId7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4.png"/><Relationship Id="rId5" Type="http://schemas.openxmlformats.org/officeDocument/2006/relationships/image" Target="../media/image54.png"/><Relationship Id="rId10" Type="http://schemas.openxmlformats.org/officeDocument/2006/relationships/image" Target="../media/image257.png"/><Relationship Id="rId4" Type="http://schemas.openxmlformats.org/officeDocument/2006/relationships/image" Target="../media/image53.png"/><Relationship Id="rId9" Type="http://schemas.openxmlformats.org/officeDocument/2006/relationships/image" Target="../media/image256.png"/></Relationships>
</file>

<file path=ppt/slides/_rels/slide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9.png"/><Relationship Id="rId3" Type="http://schemas.openxmlformats.org/officeDocument/2006/relationships/image" Target="../media/image52.png"/><Relationship Id="rId7" Type="http://schemas.openxmlformats.org/officeDocument/2006/relationships/image" Target="../media/image48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8.png"/><Relationship Id="rId5" Type="http://schemas.openxmlformats.org/officeDocument/2006/relationships/image" Target="../media/image54.png"/><Relationship Id="rId10" Type="http://schemas.openxmlformats.org/officeDocument/2006/relationships/image" Target="../media/image256.png"/><Relationship Id="rId4" Type="http://schemas.openxmlformats.org/officeDocument/2006/relationships/image" Target="../media/image53.png"/><Relationship Id="rId9" Type="http://schemas.openxmlformats.org/officeDocument/2006/relationships/image" Target="../media/image260.png"/></Relationships>
</file>

<file path=ppt/slides/_rels/slide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26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1.png"/><Relationship Id="rId11" Type="http://schemas.openxmlformats.org/officeDocument/2006/relationships/image" Target="../media/image265.png"/><Relationship Id="rId5" Type="http://schemas.openxmlformats.org/officeDocument/2006/relationships/image" Target="../media/image54.png"/><Relationship Id="rId10" Type="http://schemas.openxmlformats.org/officeDocument/2006/relationships/image" Target="../media/image264.png"/><Relationship Id="rId4" Type="http://schemas.openxmlformats.org/officeDocument/2006/relationships/image" Target="../media/image53.png"/><Relationship Id="rId9" Type="http://schemas.openxmlformats.org/officeDocument/2006/relationships/image" Target="../media/image263.png"/></Relationships>
</file>

<file path=ppt/slides/_rels/slide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8.png"/><Relationship Id="rId3" Type="http://schemas.openxmlformats.org/officeDocument/2006/relationships/image" Target="../media/image52.png"/><Relationship Id="rId7" Type="http://schemas.openxmlformats.org/officeDocument/2006/relationships/image" Target="../media/image267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6.png"/><Relationship Id="rId5" Type="http://schemas.openxmlformats.org/officeDocument/2006/relationships/image" Target="../media/image54.png"/><Relationship Id="rId10" Type="http://schemas.openxmlformats.org/officeDocument/2006/relationships/image" Target="../media/image48.png"/><Relationship Id="rId4" Type="http://schemas.openxmlformats.org/officeDocument/2006/relationships/image" Target="../media/image53.png"/><Relationship Id="rId9" Type="http://schemas.openxmlformats.org/officeDocument/2006/relationships/image" Target="../media/image26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2.png"/><Relationship Id="rId5" Type="http://schemas.openxmlformats.org/officeDocument/2006/relationships/image" Target="../media/image271.png"/><Relationship Id="rId4" Type="http://schemas.openxmlformats.org/officeDocument/2006/relationships/image" Target="../media/image270.png"/></Relationships>
</file>

<file path=ppt/slides/_rels/slide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2.png"/><Relationship Id="rId7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267.png"/><Relationship Id="rId9" Type="http://schemas.openxmlformats.org/officeDocument/2006/relationships/image" Target="../media/image48.png"/></Relationships>
</file>

<file path=ppt/slides/_rels/slide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274.png"/><Relationship Id="rId7" Type="http://schemas.openxmlformats.org/officeDocument/2006/relationships/image" Target="../media/image278.png"/><Relationship Id="rId2" Type="http://schemas.openxmlformats.org/officeDocument/2006/relationships/image" Target="../media/image27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7.png"/><Relationship Id="rId5" Type="http://schemas.openxmlformats.org/officeDocument/2006/relationships/image" Target="../media/image276.png"/><Relationship Id="rId4" Type="http://schemas.openxmlformats.org/officeDocument/2006/relationships/image" Target="../media/image275.png"/></Relationships>
</file>

<file path=ppt/slides/_rels/slide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2.png"/><Relationship Id="rId3" Type="http://schemas.openxmlformats.org/officeDocument/2006/relationships/image" Target="../media/image51.png"/><Relationship Id="rId7" Type="http://schemas.openxmlformats.org/officeDocument/2006/relationships/image" Target="../media/image281.png"/><Relationship Id="rId2" Type="http://schemas.openxmlformats.org/officeDocument/2006/relationships/image" Target="../media/image27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0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48.png"/></Relationships>
</file>

<file path=ppt/slides/_rels/slide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48.png"/><Relationship Id="rId3" Type="http://schemas.openxmlformats.org/officeDocument/2006/relationships/image" Target="../media/image284.png"/><Relationship Id="rId7" Type="http://schemas.openxmlformats.org/officeDocument/2006/relationships/image" Target="../media/image51.png"/><Relationship Id="rId12" Type="http://schemas.openxmlformats.org/officeDocument/2006/relationships/image" Target="../media/image267.png"/><Relationship Id="rId2" Type="http://schemas.openxmlformats.org/officeDocument/2006/relationships/image" Target="../media/image28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6.png"/><Relationship Id="rId11" Type="http://schemas.openxmlformats.org/officeDocument/2006/relationships/image" Target="../media/image54.png"/><Relationship Id="rId5" Type="http://schemas.openxmlformats.org/officeDocument/2006/relationships/image" Target="../media/image125.png"/><Relationship Id="rId15" Type="http://schemas.openxmlformats.org/officeDocument/2006/relationships/image" Target="../media/image287.png"/><Relationship Id="rId10" Type="http://schemas.openxmlformats.org/officeDocument/2006/relationships/image" Target="../media/image286.png"/><Relationship Id="rId4" Type="http://schemas.openxmlformats.org/officeDocument/2006/relationships/image" Target="../media/image285.PNG"/><Relationship Id="rId9" Type="http://schemas.openxmlformats.org/officeDocument/2006/relationships/image" Target="../media/image53.png"/><Relationship Id="rId14" Type="http://schemas.openxmlformats.org/officeDocument/2006/relationships/image" Target="../media/image116.png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8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jpeg"/><Relationship Id="rId2" Type="http://schemas.openxmlformats.org/officeDocument/2006/relationships/image" Target="../media/image28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291.png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3.png"/><Relationship Id="rId2" Type="http://schemas.openxmlformats.org/officeDocument/2006/relationships/image" Target="../media/image29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1.png"/><Relationship Id="rId4" Type="http://schemas.openxmlformats.org/officeDocument/2006/relationships/image" Target="../media/image294.png"/></Relationships>
</file>

<file path=ppt/slides/_rels/slide1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11.png"/><Relationship Id="rId7" Type="http://schemas.openxmlformats.org/officeDocument/2006/relationships/image" Target="../media/image53.png"/><Relationship Id="rId2" Type="http://schemas.openxmlformats.org/officeDocument/2006/relationships/image" Target="../media/image29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296.png"/></Relationships>
</file>

<file path=ppt/slides/_rels/slide1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7.png"/><Relationship Id="rId3" Type="http://schemas.openxmlformats.org/officeDocument/2006/relationships/image" Target="../media/image52.png"/><Relationship Id="rId7" Type="http://schemas.openxmlformats.org/officeDocument/2006/relationships/image" Target="../media/image249.gif"/><Relationship Id="rId12" Type="http://schemas.openxmlformats.org/officeDocument/2006/relationships/image" Target="../media/image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8.png"/><Relationship Id="rId11" Type="http://schemas.openxmlformats.org/officeDocument/2006/relationships/image" Target="../media/image299.gif"/><Relationship Id="rId5" Type="http://schemas.openxmlformats.org/officeDocument/2006/relationships/image" Target="../media/image54.png"/><Relationship Id="rId10" Type="http://schemas.openxmlformats.org/officeDocument/2006/relationships/hyperlink" Target="http://www.kfb.or.kr/" TargetMode="External"/><Relationship Id="rId4" Type="http://schemas.openxmlformats.org/officeDocument/2006/relationships/image" Target="../media/image53.png"/><Relationship Id="rId9" Type="http://schemas.openxmlformats.org/officeDocument/2006/relationships/image" Target="../media/image29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48.png"/><Relationship Id="rId7" Type="http://schemas.openxmlformats.org/officeDocument/2006/relationships/image" Target="../media/image54.png"/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117.png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png"/></Relationships>
</file>

<file path=ppt/slides/_rels/slide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1.jpeg"/><Relationship Id="rId1" Type="http://schemas.openxmlformats.org/officeDocument/2006/relationships/slideLayout" Target="../slideLayouts/slideLayout2.xml"/></Relationships>
</file>

<file path=ppt/slides/_rels/slide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303.png"/><Relationship Id="rId7" Type="http://schemas.openxmlformats.org/officeDocument/2006/relationships/image" Target="../media/image52.png"/><Relationship Id="rId2" Type="http://schemas.openxmlformats.org/officeDocument/2006/relationships/image" Target="../media/image30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305.png"/><Relationship Id="rId10" Type="http://schemas.openxmlformats.org/officeDocument/2006/relationships/image" Target="../media/image116.png"/><Relationship Id="rId4" Type="http://schemas.openxmlformats.org/officeDocument/2006/relationships/image" Target="../media/image304.png"/><Relationship Id="rId9" Type="http://schemas.openxmlformats.org/officeDocument/2006/relationships/image" Target="../media/image54.png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7.jpeg"/><Relationship Id="rId2" Type="http://schemas.openxmlformats.org/officeDocument/2006/relationships/image" Target="../media/image30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0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18.png"/></Relationships>
</file>

<file path=ppt/slides/_rels/slide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9.png"/><Relationship Id="rId1" Type="http://schemas.openxmlformats.org/officeDocument/2006/relationships/slideLayout" Target="../slideLayouts/slideLayout2.xml"/></Relationships>
</file>

<file path=ppt/slides/_rels/slide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5.png"/><Relationship Id="rId3" Type="http://schemas.openxmlformats.org/officeDocument/2006/relationships/image" Target="../media/image310.png"/><Relationship Id="rId7" Type="http://schemas.openxmlformats.org/officeDocument/2006/relationships/image" Target="../media/image314.png"/><Relationship Id="rId2" Type="http://schemas.openxmlformats.org/officeDocument/2006/relationships/image" Target="../media/image30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3.png"/><Relationship Id="rId5" Type="http://schemas.openxmlformats.org/officeDocument/2006/relationships/image" Target="../media/image312.png"/><Relationship Id="rId4" Type="http://schemas.openxmlformats.org/officeDocument/2006/relationships/image" Target="../media/image311.png"/><Relationship Id="rId9" Type="http://schemas.openxmlformats.org/officeDocument/2006/relationships/image" Target="../media/image316.png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8.jpeg"/><Relationship Id="rId2" Type="http://schemas.openxmlformats.org/officeDocument/2006/relationships/image" Target="../media/image317.jpeg"/><Relationship Id="rId1" Type="http://schemas.openxmlformats.org/officeDocument/2006/relationships/slideLayout" Target="../slideLayouts/slideLayout2.xml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0.png"/><Relationship Id="rId2" Type="http://schemas.openxmlformats.org/officeDocument/2006/relationships/image" Target="../media/image319.png"/><Relationship Id="rId1" Type="http://schemas.openxmlformats.org/officeDocument/2006/relationships/slideLayout" Target="../slideLayouts/slideLayout2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6.jpeg"/><Relationship Id="rId3" Type="http://schemas.openxmlformats.org/officeDocument/2006/relationships/image" Target="../media/image321.jpeg"/><Relationship Id="rId7" Type="http://schemas.openxmlformats.org/officeDocument/2006/relationships/image" Target="../media/image325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4.jpeg"/><Relationship Id="rId5" Type="http://schemas.openxmlformats.org/officeDocument/2006/relationships/image" Target="../media/image323.jpeg"/><Relationship Id="rId4" Type="http://schemas.openxmlformats.org/officeDocument/2006/relationships/image" Target="../media/image322.jpeg"/></Relationships>
</file>

<file path=ppt/slides/_rels/slide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7.png"/><Relationship Id="rId1" Type="http://schemas.openxmlformats.org/officeDocument/2006/relationships/slideLayout" Target="../slideLayouts/slideLayout2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9.png"/><Relationship Id="rId2" Type="http://schemas.openxmlformats.org/officeDocument/2006/relationships/image" Target="../media/image3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2.png"/><Relationship Id="rId5" Type="http://schemas.openxmlformats.org/officeDocument/2006/relationships/image" Target="../media/image331.png"/><Relationship Id="rId4" Type="http://schemas.openxmlformats.org/officeDocument/2006/relationships/image" Target="../media/image330.png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4.png"/><Relationship Id="rId2" Type="http://schemas.openxmlformats.org/officeDocument/2006/relationships/image" Target="../media/image333.png"/><Relationship Id="rId1" Type="http://schemas.openxmlformats.org/officeDocument/2006/relationships/slideLayout" Target="../slideLayouts/slideLayout2.xml"/></Relationships>
</file>

<file path=ppt/slides/_rels/slide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1.png"/><Relationship Id="rId13" Type="http://schemas.openxmlformats.org/officeDocument/2006/relationships/image" Target="../media/image346.wmf"/><Relationship Id="rId3" Type="http://schemas.openxmlformats.org/officeDocument/2006/relationships/image" Target="../media/image336.jpeg"/><Relationship Id="rId7" Type="http://schemas.openxmlformats.org/officeDocument/2006/relationships/image" Target="../media/image340.png"/><Relationship Id="rId12" Type="http://schemas.openxmlformats.org/officeDocument/2006/relationships/image" Target="../media/image345.png"/><Relationship Id="rId2" Type="http://schemas.openxmlformats.org/officeDocument/2006/relationships/image" Target="../media/image335.jpeg"/><Relationship Id="rId16" Type="http://schemas.openxmlformats.org/officeDocument/2006/relationships/image" Target="../media/image3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9.png"/><Relationship Id="rId11" Type="http://schemas.openxmlformats.org/officeDocument/2006/relationships/image" Target="../media/image344.jpeg"/><Relationship Id="rId5" Type="http://schemas.openxmlformats.org/officeDocument/2006/relationships/image" Target="../media/image338.png"/><Relationship Id="rId15" Type="http://schemas.openxmlformats.org/officeDocument/2006/relationships/image" Target="../media/image348.png"/><Relationship Id="rId10" Type="http://schemas.openxmlformats.org/officeDocument/2006/relationships/image" Target="../media/image343.png"/><Relationship Id="rId4" Type="http://schemas.openxmlformats.org/officeDocument/2006/relationships/image" Target="../media/image337.png"/><Relationship Id="rId9" Type="http://schemas.openxmlformats.org/officeDocument/2006/relationships/image" Target="../media/image342.png"/><Relationship Id="rId14" Type="http://schemas.openxmlformats.org/officeDocument/2006/relationships/image" Target="../media/image347.wmf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1.png"/><Relationship Id="rId2" Type="http://schemas.openxmlformats.org/officeDocument/2006/relationships/image" Target="../media/image35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352.png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4.png"/><Relationship Id="rId7" Type="http://schemas.openxmlformats.org/officeDocument/2006/relationships/image" Target="../media/image358.jpeg"/><Relationship Id="rId2" Type="http://schemas.openxmlformats.org/officeDocument/2006/relationships/image" Target="../media/image35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7.jpeg"/><Relationship Id="rId5" Type="http://schemas.openxmlformats.org/officeDocument/2006/relationships/image" Target="../media/image356.jpeg"/><Relationship Id="rId4" Type="http://schemas.openxmlformats.org/officeDocument/2006/relationships/image" Target="../media/image355.png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0.png"/><Relationship Id="rId2" Type="http://schemas.openxmlformats.org/officeDocument/2006/relationships/image" Target="../media/image35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1.jpeg"/><Relationship Id="rId4" Type="http://schemas.openxmlformats.org/officeDocument/2006/relationships/image" Target="../media/image355.png"/></Relationships>
</file>

<file path=ppt/slides/_rels/slide2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5.png"/><Relationship Id="rId3" Type="http://schemas.openxmlformats.org/officeDocument/2006/relationships/image" Target="../media/image52.png"/><Relationship Id="rId7" Type="http://schemas.openxmlformats.org/officeDocument/2006/relationships/image" Target="../media/image364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3.jpeg"/><Relationship Id="rId5" Type="http://schemas.openxmlformats.org/officeDocument/2006/relationships/image" Target="../media/image362.png"/><Relationship Id="rId10" Type="http://schemas.openxmlformats.org/officeDocument/2006/relationships/image" Target="../media/image309.png"/><Relationship Id="rId4" Type="http://schemas.openxmlformats.org/officeDocument/2006/relationships/image" Target="../media/image53.png"/><Relationship Id="rId9" Type="http://schemas.openxmlformats.org/officeDocument/2006/relationships/image" Target="../media/image366.png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8.png"/><Relationship Id="rId2" Type="http://schemas.openxmlformats.org/officeDocument/2006/relationships/image" Target="../media/image3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0.png"/><Relationship Id="rId5" Type="http://schemas.openxmlformats.org/officeDocument/2006/relationships/image" Target="../media/image309.png"/><Relationship Id="rId4" Type="http://schemas.openxmlformats.org/officeDocument/2006/relationships/image" Target="../media/image369.png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2.png"/><Relationship Id="rId2" Type="http://schemas.openxmlformats.org/officeDocument/2006/relationships/image" Target="../media/image37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9.png"/><Relationship Id="rId1" Type="http://schemas.openxmlformats.org/officeDocument/2006/relationships/slideLayout" Target="../slideLayouts/slideLayout2.xml"/></Relationships>
</file>

<file path=ppt/slides/_rels/slide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9.png"/><Relationship Id="rId1" Type="http://schemas.openxmlformats.org/officeDocument/2006/relationships/slideLayout" Target="../slideLayouts/slideLayout2.xml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9.png"/><Relationship Id="rId2" Type="http://schemas.openxmlformats.org/officeDocument/2006/relationships/image" Target="../media/image373.jpeg"/><Relationship Id="rId1" Type="http://schemas.openxmlformats.org/officeDocument/2006/relationships/slideLayout" Target="../slideLayouts/slideLayout2.xml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7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9.png"/><Relationship Id="rId4" Type="http://schemas.openxmlformats.org/officeDocument/2006/relationships/image" Target="../media/image52.png"/></Relationships>
</file>

<file path=ppt/slides/_rels/slide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5.jpeg"/><Relationship Id="rId1" Type="http://schemas.openxmlformats.org/officeDocument/2006/relationships/slideLayout" Target="../slideLayouts/slideLayout2.xml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76.png"/><Relationship Id="rId1" Type="http://schemas.openxmlformats.org/officeDocument/2006/relationships/slideLayout" Target="../slideLayouts/slideLayout2.xml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8.png"/><Relationship Id="rId2" Type="http://schemas.openxmlformats.org/officeDocument/2006/relationships/image" Target="../media/image37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78.png"/><Relationship Id="rId1" Type="http://schemas.openxmlformats.org/officeDocument/2006/relationships/slideLayout" Target="../slideLayouts/slideLayout2.xml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0.jpeg"/><Relationship Id="rId2" Type="http://schemas.openxmlformats.org/officeDocument/2006/relationships/image" Target="../media/image37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1.jpeg"/><Relationship Id="rId4" Type="http://schemas.openxmlformats.org/officeDocument/2006/relationships/image" Target="../media/image381.jpeg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3.jpeg"/><Relationship Id="rId2" Type="http://schemas.openxmlformats.org/officeDocument/2006/relationships/image" Target="../media/image382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50.png"/><Relationship Id="rId4" Type="http://schemas.openxmlformats.org/officeDocument/2006/relationships/image" Target="../media/image53.png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3.png"/><Relationship Id="rId7" Type="http://schemas.openxmlformats.org/officeDocument/2006/relationships/image" Target="../media/image51.png"/><Relationship Id="rId12" Type="http://schemas.openxmlformats.org/officeDocument/2006/relationships/image" Target="../media/image54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65.png"/><Relationship Id="rId10" Type="http://schemas.openxmlformats.org/officeDocument/2006/relationships/image" Target="../media/image52.png"/><Relationship Id="rId4" Type="http://schemas.openxmlformats.org/officeDocument/2006/relationships/image" Target="../media/image64.png"/><Relationship Id="rId9" Type="http://schemas.openxmlformats.org/officeDocument/2006/relationships/image" Target="../media/image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5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7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7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7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7" Type="http://schemas.openxmlformats.org/officeDocument/2006/relationships/image" Target="../media/image48.png"/><Relationship Id="rId2" Type="http://schemas.openxmlformats.org/officeDocument/2006/relationships/image" Target="../media/image76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png"/><Relationship Id="rId3" Type="http://schemas.openxmlformats.org/officeDocument/2006/relationships/image" Target="../media/image52.png"/><Relationship Id="rId7" Type="http://schemas.openxmlformats.org/officeDocument/2006/relationships/image" Target="../media/image83.png"/><Relationship Id="rId12" Type="http://schemas.openxmlformats.org/officeDocument/2006/relationships/image" Target="../media/image88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54.png"/><Relationship Id="rId10" Type="http://schemas.openxmlformats.org/officeDocument/2006/relationships/image" Target="../media/image86.png"/><Relationship Id="rId4" Type="http://schemas.openxmlformats.org/officeDocument/2006/relationships/image" Target="../media/image53.png"/><Relationship Id="rId9" Type="http://schemas.openxmlformats.org/officeDocument/2006/relationships/image" Target="../media/image85.png"/><Relationship Id="rId14" Type="http://schemas.openxmlformats.org/officeDocument/2006/relationships/image" Target="../media/image4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9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92.png"/><Relationship Id="rId7" Type="http://schemas.openxmlformats.org/officeDocument/2006/relationships/image" Target="../media/image53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93.png"/><Relationship Id="rId9" Type="http://schemas.openxmlformats.org/officeDocument/2006/relationships/image" Target="../media/image4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microsoft.com/office/2007/relationships/hdphoto" Target="../media/hdphoto2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29.png"/><Relationship Id="rId5" Type="http://schemas.openxmlformats.org/officeDocument/2006/relationships/image" Target="../media/image24.jpeg"/><Relationship Id="rId10" Type="http://schemas.microsoft.com/office/2007/relationships/hdphoto" Target="../media/hdphoto1.wdp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52.png"/><Relationship Id="rId7" Type="http://schemas.openxmlformats.org/officeDocument/2006/relationships/image" Target="../media/image95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png"/><Relationship Id="rId5" Type="http://schemas.openxmlformats.org/officeDocument/2006/relationships/image" Target="../media/image54.png"/><Relationship Id="rId10" Type="http://schemas.openxmlformats.org/officeDocument/2006/relationships/image" Target="../media/image48.png"/><Relationship Id="rId4" Type="http://schemas.openxmlformats.org/officeDocument/2006/relationships/image" Target="../media/image53.png"/><Relationship Id="rId9" Type="http://schemas.openxmlformats.org/officeDocument/2006/relationships/image" Target="../media/image97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emf"/><Relationship Id="rId2" Type="http://schemas.openxmlformats.org/officeDocument/2006/relationships/image" Target="../media/image10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102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2.png"/><Relationship Id="rId7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39.png"/><Relationship Id="rId5" Type="http://schemas.openxmlformats.org/officeDocument/2006/relationships/image" Target="../media/image34.jpeg"/><Relationship Id="rId10" Type="http://schemas.openxmlformats.org/officeDocument/2006/relationships/image" Target="../media/image38.png"/><Relationship Id="rId4" Type="http://schemas.openxmlformats.org/officeDocument/2006/relationships/image" Target="../media/image33.jpeg"/><Relationship Id="rId9" Type="http://schemas.openxmlformats.org/officeDocument/2006/relationships/image" Target="../media/image3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63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09.emf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openxmlformats.org/officeDocument/2006/relationships/image" Target="../media/image42.png"/><Relationship Id="rId12" Type="http://schemas.openxmlformats.org/officeDocument/2006/relationships/image" Target="../media/image34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eg"/><Relationship Id="rId11" Type="http://schemas.openxmlformats.org/officeDocument/2006/relationships/image" Target="../media/image37.png"/><Relationship Id="rId5" Type="http://schemas.openxmlformats.org/officeDocument/2006/relationships/image" Target="../media/image40.jpeg"/><Relationship Id="rId10" Type="http://schemas.microsoft.com/office/2007/relationships/hdphoto" Target="../media/hdphoto3.wdp"/><Relationship Id="rId4" Type="http://schemas.openxmlformats.org/officeDocument/2006/relationships/image" Target="../media/image33.jpeg"/><Relationship Id="rId9" Type="http://schemas.openxmlformats.org/officeDocument/2006/relationships/image" Target="../media/image43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52.png"/><Relationship Id="rId7" Type="http://schemas.openxmlformats.org/officeDocument/2006/relationships/image" Target="../media/image117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11" Type="http://schemas.openxmlformats.org/officeDocument/2006/relationships/image" Target="../media/image48.png"/><Relationship Id="rId5" Type="http://schemas.openxmlformats.org/officeDocument/2006/relationships/image" Target="../media/image54.png"/><Relationship Id="rId10" Type="http://schemas.openxmlformats.org/officeDocument/2006/relationships/image" Target="../media/image120.png"/><Relationship Id="rId4" Type="http://schemas.openxmlformats.org/officeDocument/2006/relationships/image" Target="../media/image53.png"/><Relationship Id="rId9" Type="http://schemas.openxmlformats.org/officeDocument/2006/relationships/image" Target="../media/image119.png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5.png"/><Relationship Id="rId11" Type="http://schemas.openxmlformats.org/officeDocument/2006/relationships/image" Target="../media/image130.png"/><Relationship Id="rId5" Type="http://schemas.openxmlformats.org/officeDocument/2006/relationships/image" Target="../media/image124.png"/><Relationship Id="rId10" Type="http://schemas.openxmlformats.org/officeDocument/2006/relationships/image" Target="../media/image129.png"/><Relationship Id="rId4" Type="http://schemas.openxmlformats.org/officeDocument/2006/relationships/image" Target="../media/image123.png"/><Relationship Id="rId9" Type="http://schemas.openxmlformats.org/officeDocument/2006/relationships/image" Target="../media/image128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png"/><Relationship Id="rId13" Type="http://schemas.openxmlformats.org/officeDocument/2006/relationships/image" Target="../media/image139.png"/><Relationship Id="rId1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117.png"/><Relationship Id="rId12" Type="http://schemas.openxmlformats.org/officeDocument/2006/relationships/image" Target="../media/image138.png"/><Relationship Id="rId17" Type="http://schemas.openxmlformats.org/officeDocument/2006/relationships/image" Target="../media/image143.png"/><Relationship Id="rId2" Type="http://schemas.openxmlformats.org/officeDocument/2006/relationships/image" Target="../media/image51.png"/><Relationship Id="rId16" Type="http://schemas.openxmlformats.org/officeDocument/2006/relationships/image" Target="../media/image1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11" Type="http://schemas.openxmlformats.org/officeDocument/2006/relationships/image" Target="../media/image137.png"/><Relationship Id="rId5" Type="http://schemas.openxmlformats.org/officeDocument/2006/relationships/image" Target="../media/image54.png"/><Relationship Id="rId15" Type="http://schemas.openxmlformats.org/officeDocument/2006/relationships/image" Target="../media/image141.png"/><Relationship Id="rId10" Type="http://schemas.openxmlformats.org/officeDocument/2006/relationships/image" Target="../media/image136.png"/><Relationship Id="rId4" Type="http://schemas.openxmlformats.org/officeDocument/2006/relationships/image" Target="../media/image53.png"/><Relationship Id="rId9" Type="http://schemas.openxmlformats.org/officeDocument/2006/relationships/image" Target="../media/image135.png"/><Relationship Id="rId14" Type="http://schemas.openxmlformats.org/officeDocument/2006/relationships/image" Target="../media/image14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144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6.png"/><Relationship Id="rId5" Type="http://schemas.openxmlformats.org/officeDocument/2006/relationships/image" Target="../media/image48.png"/><Relationship Id="rId4" Type="http://schemas.openxmlformats.org/officeDocument/2006/relationships/image" Target="../media/image145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33.jpe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7.png"/><Relationship Id="rId4" Type="http://schemas.openxmlformats.org/officeDocument/2006/relationships/image" Target="../media/image35.png"/><Relationship Id="rId9" Type="http://schemas.openxmlformats.org/officeDocument/2006/relationships/image" Target="../media/image34.jpeg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3" Type="http://schemas.openxmlformats.org/officeDocument/2006/relationships/image" Target="../media/image52.png"/><Relationship Id="rId7" Type="http://schemas.openxmlformats.org/officeDocument/2006/relationships/image" Target="../media/image1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1.png"/><Relationship Id="rId11" Type="http://schemas.openxmlformats.org/officeDocument/2006/relationships/image" Target="../media/image105.png"/><Relationship Id="rId5" Type="http://schemas.openxmlformats.org/officeDocument/2006/relationships/image" Target="../media/image150.png"/><Relationship Id="rId10" Type="http://schemas.openxmlformats.org/officeDocument/2006/relationships/image" Target="../media/image155.png"/><Relationship Id="rId4" Type="http://schemas.openxmlformats.org/officeDocument/2006/relationships/image" Target="../media/image149.png"/><Relationship Id="rId9" Type="http://schemas.openxmlformats.org/officeDocument/2006/relationships/image" Target="../media/image154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52.png"/><Relationship Id="rId7" Type="http://schemas.openxmlformats.org/officeDocument/2006/relationships/image" Target="../media/image117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11" Type="http://schemas.openxmlformats.org/officeDocument/2006/relationships/image" Target="../media/image48.png"/><Relationship Id="rId5" Type="http://schemas.openxmlformats.org/officeDocument/2006/relationships/image" Target="../media/image54.png"/><Relationship Id="rId10" Type="http://schemas.openxmlformats.org/officeDocument/2006/relationships/image" Target="../media/image120.png"/><Relationship Id="rId4" Type="http://schemas.openxmlformats.org/officeDocument/2006/relationships/image" Target="../media/image53.png"/><Relationship Id="rId9" Type="http://schemas.openxmlformats.org/officeDocument/2006/relationships/image" Target="../media/image119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158.png"/><Relationship Id="rId7" Type="http://schemas.openxmlformats.org/officeDocument/2006/relationships/image" Target="../media/image52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160.png"/><Relationship Id="rId10" Type="http://schemas.openxmlformats.org/officeDocument/2006/relationships/image" Target="../media/image48.png"/><Relationship Id="rId4" Type="http://schemas.openxmlformats.org/officeDocument/2006/relationships/image" Target="../media/image159.png"/><Relationship Id="rId9" Type="http://schemas.openxmlformats.org/officeDocument/2006/relationships/image" Target="../media/image54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162.png"/><Relationship Id="rId4" Type="http://schemas.openxmlformats.org/officeDocument/2006/relationships/image" Target="../media/image161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164.png"/><Relationship Id="rId4" Type="http://schemas.openxmlformats.org/officeDocument/2006/relationships/image" Target="../media/image163.pn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52.png"/><Relationship Id="rId7" Type="http://schemas.openxmlformats.org/officeDocument/2006/relationships/image" Target="../media/image167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6.png"/><Relationship Id="rId5" Type="http://schemas.openxmlformats.org/officeDocument/2006/relationships/image" Target="../media/image165.png"/><Relationship Id="rId4" Type="http://schemas.openxmlformats.org/officeDocument/2006/relationships/image" Target="../media/image164.png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3.jpeg"/><Relationship Id="rId7" Type="http://schemas.openxmlformats.org/officeDocument/2006/relationships/image" Target="../media/image4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wmf"/><Relationship Id="rId5" Type="http://schemas.openxmlformats.org/officeDocument/2006/relationships/image" Target="../media/image44.png"/><Relationship Id="rId4" Type="http://schemas.openxmlformats.org/officeDocument/2006/relationships/image" Target="../media/image32.png"/><Relationship Id="rId9" Type="http://schemas.openxmlformats.org/officeDocument/2006/relationships/image" Target="../media/image34.jpe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1.jpeg"/><Relationship Id="rId5" Type="http://schemas.openxmlformats.org/officeDocument/2006/relationships/image" Target="../media/image170.jpeg"/><Relationship Id="rId4" Type="http://schemas.openxmlformats.org/officeDocument/2006/relationships/image" Target="../media/image169.jpeg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5.png"/><Relationship Id="rId5" Type="http://schemas.openxmlformats.org/officeDocument/2006/relationships/image" Target="../media/image174.png"/><Relationship Id="rId4" Type="http://schemas.openxmlformats.org/officeDocument/2006/relationships/image" Target="../media/image173.png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.1 </a:t>
            </a:r>
            <a:r>
              <a:rPr lang="ko-KR" altLang="en-US" dirty="0" smtClean="0"/>
              <a:t>구축목표 </a:t>
            </a:r>
            <a:r>
              <a:rPr lang="ko-KR" altLang="en-US" dirty="0"/>
              <a:t>및 구축방안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56514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구축전략</a:t>
            </a: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1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선진 컨설팅 결과물과 타 금융기관에서의 성공적인 구축 경험을 적극 반영하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효율적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인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업무개선과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사용자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편의성 그리고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효율성이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향상 된 독립적 감사체계를 갖춘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적의  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을 목표로 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구축목표 및 구축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15" name="Picture 31" descr="4장-1-제안서"/>
          <p:cNvPicPr preferRelativeResize="0">
            <a:picLocks noChangeArrowheads="1"/>
          </p:cNvPicPr>
          <p:nvPr/>
        </p:nvPicPr>
        <p:blipFill>
          <a:blip r:embed="rId2" cstate="print"/>
          <a:srcRect t="16273" b="14050"/>
          <a:stretch>
            <a:fillRect/>
          </a:stretch>
        </p:blipFill>
        <p:spPr bwMode="auto">
          <a:xfrm>
            <a:off x="271928" y="2095611"/>
            <a:ext cx="9397596" cy="3883878"/>
          </a:xfrm>
          <a:prstGeom prst="rect">
            <a:avLst/>
          </a:prstGeom>
          <a:noFill/>
        </p:spPr>
      </p:pic>
      <p:sp>
        <p:nvSpPr>
          <p:cNvPr id="16" name="Rectangle 51"/>
          <p:cNvSpPr>
            <a:spLocks noChangeArrowheads="1"/>
          </p:cNvSpPr>
          <p:nvPr/>
        </p:nvSpPr>
        <p:spPr bwMode="auto">
          <a:xfrm>
            <a:off x="3028664" y="2430759"/>
            <a:ext cx="392735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820738" latinLnBrk="0"/>
            <a:r>
              <a:rPr lang="ko-KR" altLang="en-US" sz="2400" dirty="0" smtClean="0">
                <a:solidFill>
                  <a:srgbClr val="0033C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최적의 자금세탁방지시스템 </a:t>
            </a:r>
            <a:r>
              <a:rPr lang="ko-KR" altLang="en-US" sz="2400" dirty="0">
                <a:solidFill>
                  <a:srgbClr val="0033C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구축</a:t>
            </a:r>
            <a:endParaRPr lang="en-US" altLang="ko-KR" sz="2400" dirty="0">
              <a:solidFill>
                <a:srgbClr val="0033C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2774852" y="2429597"/>
            <a:ext cx="4428303" cy="135452"/>
            <a:chOff x="2774852" y="2429597"/>
            <a:chExt cx="4428303" cy="135452"/>
          </a:xfrm>
        </p:grpSpPr>
        <p:pic>
          <p:nvPicPr>
            <p:cNvPr id="17" name="Picture 52" descr="Untitled-2"/>
            <p:cNvPicPr>
              <a:picLocks noChangeAspect="1" noChangeArrowheads="1"/>
            </p:cNvPicPr>
            <p:nvPr/>
          </p:nvPicPr>
          <p:blipFill>
            <a:blip r:embed="rId3" cstate="print">
              <a:lum bright="-18000"/>
              <a:grayscl/>
            </a:blip>
            <a:srcRect/>
            <a:stretch>
              <a:fillRect/>
            </a:stretch>
          </p:blipFill>
          <p:spPr bwMode="auto">
            <a:xfrm>
              <a:off x="7041232" y="2429597"/>
              <a:ext cx="161923" cy="135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Picture 53" descr="Untitled-2"/>
            <p:cNvPicPr>
              <a:picLocks noChangeAspect="1" noChangeArrowheads="1"/>
            </p:cNvPicPr>
            <p:nvPr/>
          </p:nvPicPr>
          <p:blipFill>
            <a:blip r:embed="rId4" cstate="print">
              <a:lum bright="-18000"/>
              <a:grayscl/>
            </a:blip>
            <a:srcRect/>
            <a:stretch>
              <a:fillRect/>
            </a:stretch>
          </p:blipFill>
          <p:spPr bwMode="auto">
            <a:xfrm>
              <a:off x="2774852" y="2429597"/>
              <a:ext cx="161924" cy="135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9" name="Group 64"/>
          <p:cNvGrpSpPr>
            <a:grpSpLocks/>
          </p:cNvGrpSpPr>
          <p:nvPr/>
        </p:nvGrpSpPr>
        <p:grpSpPr bwMode="auto">
          <a:xfrm>
            <a:off x="2029929" y="3561239"/>
            <a:ext cx="2010144" cy="585345"/>
            <a:chOff x="1146" y="2251"/>
            <a:chExt cx="1336" cy="400"/>
          </a:xfrm>
        </p:grpSpPr>
        <p:sp>
          <p:nvSpPr>
            <p:cNvPr id="20" name="AutoShape 228"/>
            <p:cNvSpPr>
              <a:spLocks noChangeArrowheads="1"/>
            </p:cNvSpPr>
            <p:nvPr/>
          </p:nvSpPr>
          <p:spPr bwMode="auto">
            <a:xfrm rot="10800000" flipH="1" flipV="1">
              <a:off x="1146" y="2532"/>
              <a:ext cx="1336" cy="119"/>
            </a:xfrm>
            <a:custGeom>
              <a:avLst/>
              <a:gdLst>
                <a:gd name="T0" fmla="*/ 19780230 w 21600"/>
                <a:gd name="T1" fmla="*/ 4881 h 21600"/>
                <a:gd name="T2" fmla="*/ 10374638 w 21600"/>
                <a:gd name="T3" fmla="*/ 9763 h 21600"/>
                <a:gd name="T4" fmla="*/ 969172 w 21600"/>
                <a:gd name="T5" fmla="*/ 4881 h 21600"/>
                <a:gd name="T6" fmla="*/ 10374638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12 w 21600"/>
                <a:gd name="T13" fmla="*/ 2808 h 21600"/>
                <a:gd name="T14" fmla="*/ 18788 w 21600"/>
                <a:gd name="T15" fmla="*/ 1879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24" y="21600"/>
                  </a:lnTo>
                  <a:lnTo>
                    <a:pt x="19576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bg1"/>
                </a:gs>
                <a:gs pos="100000">
                  <a:srgbClr val="ABABAB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/>
              <a:r>
                <a:rPr lang="en-US" altLang="ko-KR" sz="1400" b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`</a:t>
              </a:r>
            </a:p>
          </p:txBody>
        </p:sp>
        <p:sp>
          <p:nvSpPr>
            <p:cNvPr id="21" name="AutoShape 229"/>
            <p:cNvSpPr>
              <a:spLocks noChangeArrowheads="1"/>
            </p:cNvSpPr>
            <p:nvPr/>
          </p:nvSpPr>
          <p:spPr bwMode="auto">
            <a:xfrm>
              <a:off x="1267" y="2251"/>
              <a:ext cx="1094" cy="391"/>
            </a:xfrm>
            <a:prstGeom prst="roundRect">
              <a:avLst>
                <a:gd name="adj" fmla="val 9514"/>
              </a:avLst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12700" algn="ctr">
              <a:solidFill>
                <a:srgbClr val="70B4DE"/>
              </a:solidFill>
              <a:round/>
              <a:headEnd/>
              <a:tailEnd/>
            </a:ln>
            <a:effectLst>
              <a:outerShdw dist="25400" dir="5400000" algn="ctr" rotWithShape="0">
                <a:srgbClr val="4FABE3"/>
              </a:outerShdw>
            </a:effectLst>
          </p:spPr>
          <p:txBody>
            <a:bodyPr lIns="0" tIns="0" rIns="0" bIns="0" anchor="ctr"/>
            <a:lstStyle/>
            <a:p>
              <a:pPr algn="ctr" defTabSz="1565275">
                <a:lnSpc>
                  <a:spcPct val="110000"/>
                </a:lnSpc>
              </a:pPr>
              <a:r>
                <a:rPr lang="ko-KR" altLang="en-US" sz="14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charset="0"/>
                </a:rPr>
                <a:t>효율적이고 효과적인</a:t>
              </a:r>
            </a:p>
            <a:p>
              <a:pPr algn="ctr" defTabSz="1565275">
                <a:lnSpc>
                  <a:spcPct val="110000"/>
                </a:lnSpc>
              </a:pPr>
              <a:r>
                <a:rPr lang="ko-KR" altLang="en-US" sz="14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charset="0"/>
                </a:rPr>
                <a:t>업무 </a:t>
              </a:r>
              <a:r>
                <a:rPr lang="ko-KR" altLang="en-US" sz="14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charset="0"/>
                </a:rPr>
                <a:t>개선</a:t>
              </a:r>
              <a:endParaRPr lang="ko-KR" altLang="en-US" sz="14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charset="0"/>
              </a:endParaRPr>
            </a:p>
          </p:txBody>
        </p:sp>
      </p:grpSp>
      <p:grpSp>
        <p:nvGrpSpPr>
          <p:cNvPr id="22" name="Group 65"/>
          <p:cNvGrpSpPr>
            <a:grpSpLocks/>
          </p:cNvGrpSpPr>
          <p:nvPr/>
        </p:nvGrpSpPr>
        <p:grpSpPr bwMode="auto">
          <a:xfrm>
            <a:off x="3981394" y="3561239"/>
            <a:ext cx="2008640" cy="585345"/>
            <a:chOff x="2443" y="2251"/>
            <a:chExt cx="1335" cy="400"/>
          </a:xfrm>
        </p:grpSpPr>
        <p:sp>
          <p:nvSpPr>
            <p:cNvPr id="23" name="AutoShape 228"/>
            <p:cNvSpPr>
              <a:spLocks noChangeArrowheads="1"/>
            </p:cNvSpPr>
            <p:nvPr/>
          </p:nvSpPr>
          <p:spPr bwMode="auto">
            <a:xfrm rot="10800000" flipH="1" flipV="1">
              <a:off x="2443" y="2532"/>
              <a:ext cx="1335" cy="119"/>
            </a:xfrm>
            <a:custGeom>
              <a:avLst/>
              <a:gdLst>
                <a:gd name="T0" fmla="*/ 19780230 w 21600"/>
                <a:gd name="T1" fmla="*/ 4881 h 21600"/>
                <a:gd name="T2" fmla="*/ 10374638 w 21600"/>
                <a:gd name="T3" fmla="*/ 9763 h 21600"/>
                <a:gd name="T4" fmla="*/ 969172 w 21600"/>
                <a:gd name="T5" fmla="*/ 4881 h 21600"/>
                <a:gd name="T6" fmla="*/ 10374638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12 w 21600"/>
                <a:gd name="T13" fmla="*/ 2808 h 21600"/>
                <a:gd name="T14" fmla="*/ 18788 w 21600"/>
                <a:gd name="T15" fmla="*/ 1879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24" y="21600"/>
                  </a:lnTo>
                  <a:lnTo>
                    <a:pt x="19576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bg1"/>
                </a:gs>
                <a:gs pos="100000">
                  <a:srgbClr val="ABABAB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/>
              <a:r>
                <a:rPr lang="en-US" altLang="ko-KR" sz="1400" b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`</a:t>
              </a:r>
            </a:p>
          </p:txBody>
        </p:sp>
        <p:sp>
          <p:nvSpPr>
            <p:cNvPr id="25" name="AutoShape 229"/>
            <p:cNvSpPr>
              <a:spLocks noChangeArrowheads="1"/>
            </p:cNvSpPr>
            <p:nvPr/>
          </p:nvSpPr>
          <p:spPr bwMode="auto">
            <a:xfrm>
              <a:off x="2563" y="2251"/>
              <a:ext cx="1094" cy="391"/>
            </a:xfrm>
            <a:prstGeom prst="roundRect">
              <a:avLst>
                <a:gd name="adj" fmla="val 11329"/>
              </a:avLst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12700" algn="ctr">
              <a:solidFill>
                <a:srgbClr val="70B4DE"/>
              </a:solidFill>
              <a:round/>
              <a:headEnd/>
              <a:tailEnd/>
            </a:ln>
            <a:effectLst>
              <a:outerShdw dist="25400" dir="5400000" algn="ctr" rotWithShape="0">
                <a:srgbClr val="4FABE3"/>
              </a:outerShdw>
            </a:effectLst>
          </p:spPr>
          <p:txBody>
            <a:bodyPr lIns="0" tIns="0" rIns="0" bIns="0" anchor="ctr"/>
            <a:lstStyle/>
            <a:p>
              <a:pPr algn="ctr" defTabSz="1565275">
                <a:lnSpc>
                  <a:spcPct val="110000"/>
                </a:lnSpc>
              </a:pPr>
              <a:r>
                <a:rPr lang="ko-KR" altLang="en-US" sz="14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charset="0"/>
                </a:rPr>
                <a:t>사용자 편의성과</a:t>
              </a:r>
            </a:p>
            <a:p>
              <a:pPr algn="ctr" defTabSz="1565275">
                <a:lnSpc>
                  <a:spcPct val="110000"/>
                </a:lnSpc>
              </a:pPr>
              <a:r>
                <a:rPr lang="ko-KR" altLang="en-US" sz="14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charset="0"/>
                </a:rPr>
                <a:t>운영 효율성 향상</a:t>
              </a:r>
            </a:p>
          </p:txBody>
        </p:sp>
      </p:grpSp>
      <p:grpSp>
        <p:nvGrpSpPr>
          <p:cNvPr id="26" name="Group 66"/>
          <p:cNvGrpSpPr>
            <a:grpSpLocks/>
          </p:cNvGrpSpPr>
          <p:nvPr/>
        </p:nvGrpSpPr>
        <p:grpSpPr bwMode="auto">
          <a:xfrm>
            <a:off x="5890730" y="3561239"/>
            <a:ext cx="2010144" cy="585345"/>
            <a:chOff x="3712" y="2251"/>
            <a:chExt cx="1336" cy="400"/>
          </a:xfrm>
        </p:grpSpPr>
        <p:sp>
          <p:nvSpPr>
            <p:cNvPr id="27" name="AutoShape 228"/>
            <p:cNvSpPr>
              <a:spLocks noChangeArrowheads="1"/>
            </p:cNvSpPr>
            <p:nvPr/>
          </p:nvSpPr>
          <p:spPr bwMode="auto">
            <a:xfrm rot="10800000" flipH="1" flipV="1">
              <a:off x="3712" y="2532"/>
              <a:ext cx="1336" cy="119"/>
            </a:xfrm>
            <a:custGeom>
              <a:avLst/>
              <a:gdLst>
                <a:gd name="T0" fmla="*/ 19780230 w 21600"/>
                <a:gd name="T1" fmla="*/ 4881 h 21600"/>
                <a:gd name="T2" fmla="*/ 10374638 w 21600"/>
                <a:gd name="T3" fmla="*/ 9763 h 21600"/>
                <a:gd name="T4" fmla="*/ 969172 w 21600"/>
                <a:gd name="T5" fmla="*/ 4881 h 21600"/>
                <a:gd name="T6" fmla="*/ 10374638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12 w 21600"/>
                <a:gd name="T13" fmla="*/ 2808 h 21600"/>
                <a:gd name="T14" fmla="*/ 18788 w 21600"/>
                <a:gd name="T15" fmla="*/ 1879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24" y="21600"/>
                  </a:lnTo>
                  <a:lnTo>
                    <a:pt x="19576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bg1"/>
                </a:gs>
                <a:gs pos="100000">
                  <a:srgbClr val="ABABAB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latinLnBrk="0"/>
              <a:r>
                <a:rPr lang="en-US" altLang="ko-KR" sz="1400" b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`</a:t>
              </a:r>
            </a:p>
          </p:txBody>
        </p:sp>
        <p:sp>
          <p:nvSpPr>
            <p:cNvPr id="28" name="AutoShape 229"/>
            <p:cNvSpPr>
              <a:spLocks noChangeArrowheads="1"/>
            </p:cNvSpPr>
            <p:nvPr/>
          </p:nvSpPr>
          <p:spPr bwMode="auto">
            <a:xfrm>
              <a:off x="3833" y="2251"/>
              <a:ext cx="1094" cy="391"/>
            </a:xfrm>
            <a:prstGeom prst="roundRect">
              <a:avLst>
                <a:gd name="adj" fmla="val 14958"/>
              </a:avLst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12700" algn="ctr">
              <a:solidFill>
                <a:srgbClr val="70B4DE"/>
              </a:solidFill>
              <a:round/>
              <a:headEnd/>
              <a:tailEnd/>
            </a:ln>
            <a:effectLst>
              <a:outerShdw dist="25400" dir="5400000" algn="ctr" rotWithShape="0">
                <a:srgbClr val="4FABE3"/>
              </a:outerShdw>
            </a:effectLst>
          </p:spPr>
          <p:txBody>
            <a:bodyPr lIns="0" tIns="0" rIns="0" bIns="0" anchor="ctr"/>
            <a:lstStyle/>
            <a:p>
              <a:pPr algn="ctr" defTabSz="1565275">
                <a:lnSpc>
                  <a:spcPct val="110000"/>
                </a:lnSpc>
              </a:pPr>
              <a:r>
                <a:rPr lang="ko-KR" altLang="en-US" sz="14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charset="0"/>
                </a:rPr>
                <a:t>독립적 감사체계</a:t>
              </a:r>
              <a:endParaRPr lang="en-US" altLang="ko-KR" sz="14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charset="0"/>
              </a:endParaRPr>
            </a:p>
            <a:p>
              <a:pPr algn="ctr" defTabSz="1565275">
                <a:lnSpc>
                  <a:spcPct val="110000"/>
                </a:lnSpc>
              </a:pPr>
              <a:r>
                <a:rPr lang="ko-KR" altLang="en-US" sz="14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charset="0"/>
                </a:rPr>
                <a:t>시스템</a:t>
              </a:r>
              <a:endParaRPr lang="en-US" altLang="ko-KR" sz="14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charset="0"/>
              </a:endParaRPr>
            </a:p>
          </p:txBody>
        </p:sp>
      </p:grpSp>
      <p:grpSp>
        <p:nvGrpSpPr>
          <p:cNvPr id="29" name="Group 62"/>
          <p:cNvGrpSpPr>
            <a:grpSpLocks/>
          </p:cNvGrpSpPr>
          <p:nvPr/>
        </p:nvGrpSpPr>
        <p:grpSpPr bwMode="auto">
          <a:xfrm>
            <a:off x="1068724" y="4530246"/>
            <a:ext cx="7896125" cy="1008313"/>
            <a:chOff x="491" y="2677"/>
            <a:chExt cx="5318" cy="704"/>
          </a:xfrm>
        </p:grpSpPr>
        <p:sp>
          <p:nvSpPr>
            <p:cNvPr id="30" name="TextBox 9"/>
            <p:cNvSpPr txBox="1">
              <a:spLocks noChangeArrowheads="1"/>
            </p:cNvSpPr>
            <p:nvPr/>
          </p:nvSpPr>
          <p:spPr bwMode="auto">
            <a:xfrm rot="1498207">
              <a:off x="840" y="2705"/>
              <a:ext cx="824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위험평가</a:t>
              </a:r>
              <a:endParaRPr lang="en-US" altLang="ko-KR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1" name="TextBox 11"/>
            <p:cNvSpPr txBox="1">
              <a:spLocks noChangeArrowheads="1"/>
            </p:cNvSpPr>
            <p:nvPr/>
          </p:nvSpPr>
          <p:spPr bwMode="auto">
            <a:xfrm rot="678549">
              <a:off x="1569" y="2800"/>
              <a:ext cx="825" cy="258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확인제도</a:t>
              </a:r>
              <a:endParaRPr lang="en-US" altLang="ko-KR" sz="120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defTabSz="1565275"/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프로세스 개선</a:t>
              </a:r>
              <a:endParaRPr lang="ko-KR" altLang="en-US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2" name="TextBox 15"/>
            <p:cNvSpPr txBox="1">
              <a:spLocks noChangeArrowheads="1"/>
            </p:cNvSpPr>
            <p:nvPr/>
          </p:nvSpPr>
          <p:spPr bwMode="auto">
            <a:xfrm>
              <a:off x="2607" y="2960"/>
              <a:ext cx="942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요주의리스트 필터링</a:t>
              </a:r>
              <a:endParaRPr lang="en-US" altLang="ko-KR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3" name="TextBox 17"/>
            <p:cNvSpPr txBox="1">
              <a:spLocks noChangeArrowheads="1"/>
            </p:cNvSpPr>
            <p:nvPr/>
          </p:nvSpPr>
          <p:spPr bwMode="auto">
            <a:xfrm rot="21093250">
              <a:off x="3750" y="2878"/>
              <a:ext cx="825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 </a:t>
              </a:r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프로파일</a:t>
              </a:r>
              <a:endParaRPr lang="ko-KR" altLang="en-US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4" name="TextBox 19"/>
            <p:cNvSpPr txBox="1">
              <a:spLocks noChangeArrowheads="1"/>
            </p:cNvSpPr>
            <p:nvPr/>
          </p:nvSpPr>
          <p:spPr bwMode="auto">
            <a:xfrm rot="19820383">
              <a:off x="4519" y="2677"/>
              <a:ext cx="824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환거래</a:t>
              </a:r>
            </a:p>
          </p:txBody>
        </p:sp>
        <p:sp>
          <p:nvSpPr>
            <p:cNvPr id="35" name="TextBox 13"/>
            <p:cNvSpPr txBox="1">
              <a:spLocks noChangeArrowheads="1"/>
            </p:cNvSpPr>
            <p:nvPr/>
          </p:nvSpPr>
          <p:spPr bwMode="auto">
            <a:xfrm rot="1782257">
              <a:off x="491" y="2823"/>
              <a:ext cx="645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내부통제</a:t>
              </a:r>
              <a:endParaRPr lang="ko-KR" altLang="en-US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TextBox 23"/>
            <p:cNvSpPr txBox="1">
              <a:spLocks noChangeArrowheads="1"/>
            </p:cNvSpPr>
            <p:nvPr/>
          </p:nvSpPr>
          <p:spPr bwMode="auto">
            <a:xfrm rot="711278">
              <a:off x="1199" y="3104"/>
              <a:ext cx="808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감사체계강화</a:t>
              </a:r>
            </a:p>
          </p:txBody>
        </p:sp>
        <p:sp>
          <p:nvSpPr>
            <p:cNvPr id="37" name="TextBox 29"/>
            <p:cNvSpPr txBox="1">
              <a:spLocks noChangeArrowheads="1"/>
            </p:cNvSpPr>
            <p:nvPr/>
          </p:nvSpPr>
          <p:spPr bwMode="auto">
            <a:xfrm rot="21398013">
              <a:off x="3069" y="3252"/>
              <a:ext cx="960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 latinLnBrk="0"/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평가 대응</a:t>
              </a:r>
              <a:endParaRPr lang="ko-KR" altLang="en-US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8" name="TextBox 31"/>
            <p:cNvSpPr txBox="1">
              <a:spLocks noChangeArrowheads="1"/>
            </p:cNvSpPr>
            <p:nvPr/>
          </p:nvSpPr>
          <p:spPr bwMode="auto">
            <a:xfrm rot="20891854">
              <a:off x="4163" y="3090"/>
              <a:ext cx="808" cy="258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액현금거래 </a:t>
              </a:r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모니터링</a:t>
              </a:r>
              <a:endParaRPr lang="ko-KR" altLang="en-US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9" name="TextBox 33"/>
            <p:cNvSpPr txBox="1">
              <a:spLocks noChangeArrowheads="1"/>
            </p:cNvSpPr>
            <p:nvPr/>
          </p:nvSpPr>
          <p:spPr bwMode="auto">
            <a:xfrm rot="19611643">
              <a:off x="5001" y="2829"/>
              <a:ext cx="808" cy="131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 latinLnBrk="0"/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운영역량확보</a:t>
              </a:r>
              <a:endParaRPr lang="ko-KR" altLang="en-US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0" name="TextBox 47"/>
            <p:cNvSpPr txBox="1">
              <a:spLocks noChangeArrowheads="1"/>
            </p:cNvSpPr>
            <p:nvPr/>
          </p:nvSpPr>
          <p:spPr bwMode="auto">
            <a:xfrm rot="201466">
              <a:off x="2176" y="3245"/>
              <a:ext cx="808" cy="12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565275"/>
              <a:r>
                <a:rPr lang="ko-KR" altLang="en-US" sz="12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의심거래 </a:t>
              </a:r>
              <a:r>
                <a:rPr lang="ko-KR" altLang="en-US" sz="12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모니터링</a:t>
              </a:r>
              <a:endParaRPr lang="ko-KR" altLang="en-US" sz="12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41" name="그룹 61"/>
          <p:cNvGrpSpPr>
            <a:grpSpLocks/>
          </p:cNvGrpSpPr>
          <p:nvPr/>
        </p:nvGrpSpPr>
        <p:grpSpPr bwMode="auto">
          <a:xfrm>
            <a:off x="297044" y="5985287"/>
            <a:ext cx="4548298" cy="393454"/>
            <a:chOff x="335218" y="5867040"/>
            <a:chExt cx="4503482" cy="541020"/>
          </a:xfrm>
        </p:grpSpPr>
        <p:grpSp>
          <p:nvGrpSpPr>
            <p:cNvPr id="42" name="그룹 54"/>
            <p:cNvGrpSpPr>
              <a:grpSpLocks/>
            </p:cNvGrpSpPr>
            <p:nvPr/>
          </p:nvGrpSpPr>
          <p:grpSpPr bwMode="auto">
            <a:xfrm>
              <a:off x="335218" y="5867040"/>
              <a:ext cx="4503482" cy="541020"/>
              <a:chOff x="335218" y="5867038"/>
              <a:chExt cx="4503482" cy="541020"/>
            </a:xfrm>
          </p:grpSpPr>
          <p:sp>
            <p:nvSpPr>
              <p:cNvPr id="44" name="자유형 43"/>
              <p:cNvSpPr>
                <a:spLocks/>
              </p:cNvSpPr>
              <p:nvPr/>
            </p:nvSpPr>
            <p:spPr bwMode="auto">
              <a:xfrm>
                <a:off x="343155" y="5867038"/>
                <a:ext cx="4495545" cy="541020"/>
              </a:xfrm>
              <a:custGeom>
                <a:avLst/>
                <a:gdLst>
                  <a:gd name="T0" fmla="*/ 0 w 4533900"/>
                  <a:gd name="T1" fmla="*/ 220980 h 541020"/>
                  <a:gd name="T2" fmla="*/ 234222 w 4533900"/>
                  <a:gd name="T3" fmla="*/ 0 h 541020"/>
                  <a:gd name="T4" fmla="*/ 4495545 w 4533900"/>
                  <a:gd name="T5" fmla="*/ 0 h 541020"/>
                  <a:gd name="T6" fmla="*/ 4495545 w 4533900"/>
                  <a:gd name="T7" fmla="*/ 541020 h 541020"/>
                  <a:gd name="T8" fmla="*/ 0 w 4533900"/>
                  <a:gd name="T9" fmla="*/ 541020 h 541020"/>
                  <a:gd name="T10" fmla="*/ 0 w 4533900"/>
                  <a:gd name="T11" fmla="*/ 220980 h 5410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533900" h="541020">
                    <a:moveTo>
                      <a:pt x="0" y="220980"/>
                    </a:moveTo>
                    <a:lnTo>
                      <a:pt x="236220" y="0"/>
                    </a:lnTo>
                    <a:lnTo>
                      <a:pt x="4533900" y="0"/>
                    </a:lnTo>
                    <a:lnTo>
                      <a:pt x="4533900" y="541020"/>
                    </a:lnTo>
                    <a:lnTo>
                      <a:pt x="0" y="541020"/>
                    </a:lnTo>
                    <a:lnTo>
                      <a:pt x="0" y="22098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51C1E9"/>
                  </a:gs>
                  <a:gs pos="83000">
                    <a:srgbClr val="51C1E9"/>
                  </a:gs>
                  <a:gs pos="100000">
                    <a:srgbClr val="00A1FA"/>
                  </a:gs>
                </a:gsLst>
                <a:lin ang="5400000"/>
              </a:gradFill>
              <a:ln w="12700" cmpd="sng" algn="ctr">
                <a:solidFill>
                  <a:srgbClr val="238BCB"/>
                </a:solidFill>
                <a:round/>
                <a:headEnd/>
                <a:tailEnd/>
              </a:ln>
              <a:effectLst>
                <a:outerShdw dist="38100" dir="5400000" algn="t" rotWithShape="0">
                  <a:srgbClr val="006CA8"/>
                </a:outerShdw>
              </a:effectLst>
            </p:spPr>
            <p:txBody>
              <a:bodyPr anchor="ctr"/>
              <a:lstStyle/>
              <a:p>
                <a:endParaRPr lang="ko-KR" altLang="en-US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45" name="자유형 44"/>
              <p:cNvSpPr>
                <a:spLocks/>
              </p:cNvSpPr>
              <p:nvPr/>
            </p:nvSpPr>
            <p:spPr bwMode="auto">
              <a:xfrm rot="10800000">
                <a:off x="335218" y="5874718"/>
                <a:ext cx="228307" cy="216201"/>
              </a:xfrm>
              <a:custGeom>
                <a:avLst/>
                <a:gdLst>
                  <a:gd name="T0" fmla="*/ 1364 w 573378"/>
                  <a:gd name="T1" fmla="*/ 0 h 370057"/>
                  <a:gd name="T2" fmla="*/ 90907 w 573378"/>
                  <a:gd name="T3" fmla="*/ 0 h 370057"/>
                  <a:gd name="T4" fmla="*/ 0 w 573378"/>
                  <a:gd name="T5" fmla="*/ 126313 h 370057"/>
                  <a:gd name="T6" fmla="*/ 1364 w 573378"/>
                  <a:gd name="T7" fmla="*/ 0 h 37005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73378"/>
                  <a:gd name="T13" fmla="*/ 0 h 370057"/>
                  <a:gd name="T14" fmla="*/ 573378 w 573378"/>
                  <a:gd name="T15" fmla="*/ 370057 h 37005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73378" h="370057">
                    <a:moveTo>
                      <a:pt x="8602" y="0"/>
                    </a:moveTo>
                    <a:lnTo>
                      <a:pt x="573378" y="0"/>
                    </a:lnTo>
                    <a:lnTo>
                      <a:pt x="0" y="370057"/>
                    </a:lnTo>
                    <a:lnTo>
                      <a:pt x="860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238BCB"/>
                  </a:gs>
                  <a:gs pos="17000">
                    <a:srgbClr val="238BCB"/>
                  </a:gs>
                  <a:gs pos="100000">
                    <a:srgbClr val="003B5C"/>
                  </a:gs>
                </a:gsLst>
                <a:lin ang="2700000" scaled="1"/>
              </a:gradFill>
              <a:ln w="38100" algn="ctr">
                <a:noFill/>
                <a:miter lim="800000"/>
                <a:headEnd/>
                <a:tailEnd/>
              </a:ln>
            </p:spPr>
            <p:txBody>
              <a:bodyPr lIns="36000" tIns="0" rIns="36000" bIns="0" anchor="ctr"/>
              <a:lstStyle/>
              <a:p>
                <a:endParaRPr lang="ko-KR" altLang="en-US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sp>
          <p:nvSpPr>
            <p:cNvPr id="43" name="AutoShape 229"/>
            <p:cNvSpPr>
              <a:spLocks noChangeArrowheads="1"/>
            </p:cNvSpPr>
            <p:nvPr/>
          </p:nvSpPr>
          <p:spPr bwMode="auto">
            <a:xfrm>
              <a:off x="670161" y="5945634"/>
              <a:ext cx="3844707" cy="388256"/>
            </a:xfrm>
            <a:prstGeom prst="roundRect">
              <a:avLst>
                <a:gd name="adj" fmla="val 4074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latinLnBrk="0"/>
              <a:r>
                <a:rPr lang="ko-KR" altLang="en-US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선진 컨설팅 결과물 반영</a:t>
              </a:r>
              <a:endParaRPr lang="ko-KR" altLang="en-US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46" name="그룹 60"/>
          <p:cNvGrpSpPr>
            <a:grpSpLocks/>
          </p:cNvGrpSpPr>
          <p:nvPr/>
        </p:nvGrpSpPr>
        <p:grpSpPr bwMode="auto">
          <a:xfrm>
            <a:off x="5074601" y="5985284"/>
            <a:ext cx="4540283" cy="393454"/>
            <a:chOff x="5065649" y="5867036"/>
            <a:chExt cx="4495864" cy="541020"/>
          </a:xfrm>
        </p:grpSpPr>
        <p:grpSp>
          <p:nvGrpSpPr>
            <p:cNvPr id="47" name="그룹 55"/>
            <p:cNvGrpSpPr>
              <a:grpSpLocks/>
            </p:cNvGrpSpPr>
            <p:nvPr/>
          </p:nvGrpSpPr>
          <p:grpSpPr bwMode="auto">
            <a:xfrm>
              <a:off x="5065649" y="5867036"/>
              <a:ext cx="4495864" cy="541020"/>
              <a:chOff x="5065649" y="5867036"/>
              <a:chExt cx="4495864" cy="541020"/>
            </a:xfrm>
          </p:grpSpPr>
          <p:sp>
            <p:nvSpPr>
              <p:cNvPr id="49" name="자유형 48"/>
              <p:cNvSpPr>
                <a:spLocks/>
              </p:cNvSpPr>
              <p:nvPr/>
            </p:nvSpPr>
            <p:spPr bwMode="auto">
              <a:xfrm flipH="1">
                <a:off x="5065649" y="5867036"/>
                <a:ext cx="4495864" cy="541020"/>
              </a:xfrm>
              <a:custGeom>
                <a:avLst/>
                <a:gdLst>
                  <a:gd name="T0" fmla="*/ 0 w 4533900"/>
                  <a:gd name="T1" fmla="*/ 220980 h 541020"/>
                  <a:gd name="T2" fmla="*/ 234238 w 4533900"/>
                  <a:gd name="T3" fmla="*/ 0 h 541020"/>
                  <a:gd name="T4" fmla="*/ 4495864 w 4533900"/>
                  <a:gd name="T5" fmla="*/ 0 h 541020"/>
                  <a:gd name="T6" fmla="*/ 4495864 w 4533900"/>
                  <a:gd name="T7" fmla="*/ 541020 h 541020"/>
                  <a:gd name="T8" fmla="*/ 0 w 4533900"/>
                  <a:gd name="T9" fmla="*/ 541020 h 541020"/>
                  <a:gd name="T10" fmla="*/ 0 w 4533900"/>
                  <a:gd name="T11" fmla="*/ 220980 h 5410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533900" h="541020">
                    <a:moveTo>
                      <a:pt x="0" y="220980"/>
                    </a:moveTo>
                    <a:lnTo>
                      <a:pt x="236220" y="0"/>
                    </a:lnTo>
                    <a:lnTo>
                      <a:pt x="4533900" y="0"/>
                    </a:lnTo>
                    <a:lnTo>
                      <a:pt x="4533900" y="541020"/>
                    </a:lnTo>
                    <a:lnTo>
                      <a:pt x="0" y="541020"/>
                    </a:lnTo>
                    <a:lnTo>
                      <a:pt x="0" y="22098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51C1E9"/>
                  </a:gs>
                  <a:gs pos="83000">
                    <a:srgbClr val="51C1E9"/>
                  </a:gs>
                  <a:gs pos="100000">
                    <a:srgbClr val="00A1FA"/>
                  </a:gs>
                </a:gsLst>
                <a:lin ang="5400000"/>
              </a:gradFill>
              <a:ln w="12700" cap="flat" cmpd="sng" algn="ctr">
                <a:solidFill>
                  <a:srgbClr val="238BCB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5400000" algn="t" rotWithShape="0">
                  <a:srgbClr val="006CA8"/>
                </a:outerShdw>
              </a:effectLst>
            </p:spPr>
            <p:txBody>
              <a:bodyPr anchor="ctr"/>
              <a:lstStyle/>
              <a:p>
                <a:endParaRPr lang="ko-KR" altLang="en-US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50" name="자유형 51"/>
              <p:cNvSpPr>
                <a:spLocks/>
              </p:cNvSpPr>
              <p:nvPr/>
            </p:nvSpPr>
            <p:spPr bwMode="auto">
              <a:xfrm rot="10800000" flipH="1">
                <a:off x="9333206" y="5874718"/>
                <a:ext cx="228307" cy="216201"/>
              </a:xfrm>
              <a:custGeom>
                <a:avLst/>
                <a:gdLst>
                  <a:gd name="T0" fmla="*/ 1364 w 573378"/>
                  <a:gd name="T1" fmla="*/ 0 h 370057"/>
                  <a:gd name="T2" fmla="*/ 90907 w 573378"/>
                  <a:gd name="T3" fmla="*/ 0 h 370057"/>
                  <a:gd name="T4" fmla="*/ 0 w 573378"/>
                  <a:gd name="T5" fmla="*/ 126313 h 370057"/>
                  <a:gd name="T6" fmla="*/ 1364 w 573378"/>
                  <a:gd name="T7" fmla="*/ 0 h 37005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73378"/>
                  <a:gd name="T13" fmla="*/ 0 h 370057"/>
                  <a:gd name="T14" fmla="*/ 573378 w 573378"/>
                  <a:gd name="T15" fmla="*/ 370057 h 37005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73378" h="370057">
                    <a:moveTo>
                      <a:pt x="8602" y="0"/>
                    </a:moveTo>
                    <a:lnTo>
                      <a:pt x="573378" y="0"/>
                    </a:lnTo>
                    <a:lnTo>
                      <a:pt x="0" y="370057"/>
                    </a:lnTo>
                    <a:lnTo>
                      <a:pt x="860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238BCB"/>
                  </a:gs>
                  <a:gs pos="17000">
                    <a:srgbClr val="238BCB"/>
                  </a:gs>
                  <a:gs pos="100000">
                    <a:srgbClr val="003B5C"/>
                  </a:gs>
                </a:gsLst>
                <a:lin ang="2700000" scaled="1"/>
              </a:gradFill>
              <a:ln w="38100" algn="ctr">
                <a:noFill/>
                <a:miter lim="800000"/>
                <a:headEnd/>
                <a:tailEnd/>
              </a:ln>
            </p:spPr>
            <p:txBody>
              <a:bodyPr lIns="36000" tIns="0" rIns="36000" bIns="0" anchor="ctr"/>
              <a:lstStyle/>
              <a:p>
                <a:endParaRPr lang="ko-KR" altLang="en-US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sp>
          <p:nvSpPr>
            <p:cNvPr id="48" name="AutoShape 229"/>
            <p:cNvSpPr>
              <a:spLocks noChangeArrowheads="1"/>
            </p:cNvSpPr>
            <p:nvPr/>
          </p:nvSpPr>
          <p:spPr bwMode="auto">
            <a:xfrm>
              <a:off x="5392679" y="5945634"/>
              <a:ext cx="3844979" cy="388256"/>
            </a:xfrm>
            <a:prstGeom prst="roundRect">
              <a:avLst>
                <a:gd name="adj" fmla="val 4074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latinLnBrk="0"/>
              <a:r>
                <a:rPr lang="ko-KR" altLang="en-US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타 금융기관 구축 경험 반영</a:t>
              </a:r>
            </a:p>
          </p:txBody>
        </p:sp>
      </p:grp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69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3 </a:t>
            </a:r>
            <a:r>
              <a:rPr lang="ko-KR" altLang="en-US" dirty="0" smtClean="0"/>
              <a:t>소프트웨어 구성 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5295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존 제품 및 자금세탁방지 업무 구현을 위한 신규 도입 제품으로 구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소프트웨어 구성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135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1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03" name="Line 40"/>
          <p:cNvSpPr>
            <a:spLocks noChangeShapeType="1"/>
          </p:cNvSpPr>
          <p:nvPr/>
        </p:nvSpPr>
        <p:spPr bwMode="auto">
          <a:xfrm>
            <a:off x="315990" y="2096853"/>
            <a:ext cx="9288000" cy="0"/>
          </a:xfrm>
          <a:prstGeom prst="line">
            <a:avLst/>
          </a:prstGeom>
          <a:noFill/>
          <a:ln w="9525" cmpd="sng">
            <a:solidFill>
              <a:schemeClr val="accent1">
                <a:lumMod val="75000"/>
              </a:schemeClr>
            </a:solidFill>
            <a:round/>
            <a:headEnd type="oval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1590" tIns="50795" rIns="101590" bIns="50795"/>
          <a:lstStyle/>
          <a:p>
            <a:pPr algn="ctr" eaLnBrk="1" hangingPunct="1"/>
            <a:endParaRPr kumimoji="1" lang="ko-KR" altLang="en-US" sz="105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4" name="직선 연결선 103"/>
          <p:cNvCxnSpPr/>
          <p:nvPr/>
        </p:nvCxnSpPr>
        <p:spPr>
          <a:xfrm>
            <a:off x="1172929" y="2096853"/>
            <a:ext cx="0" cy="180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연결선 104"/>
          <p:cNvCxnSpPr/>
          <p:nvPr/>
        </p:nvCxnSpPr>
        <p:spPr>
          <a:xfrm flipH="1">
            <a:off x="2900774" y="2096853"/>
            <a:ext cx="1" cy="180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연결선 105"/>
          <p:cNvCxnSpPr/>
          <p:nvPr/>
        </p:nvCxnSpPr>
        <p:spPr>
          <a:xfrm flipH="1">
            <a:off x="4664969" y="2096852"/>
            <a:ext cx="1" cy="180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연결선 106"/>
          <p:cNvCxnSpPr/>
          <p:nvPr/>
        </p:nvCxnSpPr>
        <p:spPr>
          <a:xfrm flipH="1">
            <a:off x="8517595" y="2096853"/>
            <a:ext cx="1" cy="180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연결선 107"/>
          <p:cNvCxnSpPr/>
          <p:nvPr/>
        </p:nvCxnSpPr>
        <p:spPr>
          <a:xfrm flipH="1">
            <a:off x="9597316" y="2096852"/>
            <a:ext cx="770" cy="2376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9" name="표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358264"/>
              </p:ext>
            </p:extLst>
          </p:nvPr>
        </p:nvGraphicFramePr>
        <p:xfrm>
          <a:off x="363236" y="2217377"/>
          <a:ext cx="1620000" cy="1895698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5407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 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#1 (8C/80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TO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US Enterprise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P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모니터링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nnifer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UI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Square5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port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LIP report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 </a:t>
                      </a: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ava 1.8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레임워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pring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4.2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백업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INA (SAN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110" name="표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188985"/>
              </p:ext>
            </p:extLst>
          </p:nvPr>
        </p:nvGraphicFramePr>
        <p:xfrm>
          <a:off x="7653500" y="2217371"/>
          <a:ext cx="1800000" cy="2219741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0573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#2 (16C/192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g (S)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중화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GG (S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변환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QL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Canvas Trans (S)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근제어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Safer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모니터링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axgauge (S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TL</a:t>
                      </a:r>
                      <a:endParaRPr lang="ko-KR" altLang="en-US" sz="700" b="1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era</a:t>
                      </a:r>
                      <a:r>
                        <a:rPr lang="en-US" altLang="ko-KR" sz="7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treams (A)</a:t>
                      </a:r>
                      <a:endParaRPr lang="en-US" altLang="ko-KR" sz="700" b="1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238695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LF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art-WLF (A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BA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-Safe (A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작업관리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ontrol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M (A)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백업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INA (LAN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/DPM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러스터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 Service Guard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1" name="Line 40"/>
          <p:cNvSpPr>
            <a:spLocks noChangeShapeType="1"/>
          </p:cNvSpPr>
          <p:nvPr/>
        </p:nvSpPr>
        <p:spPr bwMode="auto">
          <a:xfrm>
            <a:off x="1748644" y="4478201"/>
            <a:ext cx="7848016" cy="0"/>
          </a:xfrm>
          <a:prstGeom prst="line">
            <a:avLst/>
          </a:prstGeom>
          <a:noFill/>
          <a:ln w="9525" cmpd="sng">
            <a:solidFill>
              <a:schemeClr val="accent1">
                <a:lumMod val="75000"/>
              </a:schemeClr>
            </a:solidFill>
            <a:round/>
            <a:headEnd type="oval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1590" tIns="50795" rIns="101590" bIns="50795"/>
          <a:lstStyle/>
          <a:p>
            <a:pPr algn="ctr" eaLnBrk="1" hangingPunct="1"/>
            <a:endParaRPr kumimoji="1" lang="ko-KR" altLang="en-US" sz="1050" b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12" name="직선 연결선 111"/>
          <p:cNvCxnSpPr/>
          <p:nvPr/>
        </p:nvCxnSpPr>
        <p:spPr>
          <a:xfrm flipH="1">
            <a:off x="2756756" y="4478200"/>
            <a:ext cx="1" cy="216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표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214123"/>
              </p:ext>
            </p:extLst>
          </p:nvPr>
        </p:nvGraphicFramePr>
        <p:xfrm>
          <a:off x="1964668" y="4602310"/>
          <a:ext cx="1620000" cy="1895698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5407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</a:t>
                      </a:r>
                      <a:r>
                        <a:rPr lang="en-US" altLang="ko-KR" sz="700" baseline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8C/64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TO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US Standard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P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모니터링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nnifer (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임시</a:t>
                      </a: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UI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Square5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port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LIP report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 </a:t>
                      </a: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ava 1.8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레임워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pring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4.2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백업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INA (LAN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115" name="표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7285443"/>
              </p:ext>
            </p:extLst>
          </p:nvPr>
        </p:nvGraphicFramePr>
        <p:xfrm>
          <a:off x="2108684" y="2217377"/>
          <a:ext cx="1620000" cy="1895698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5407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 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#2 (8C/80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TO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US Enterprise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P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모니터링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nnifer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UI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Square5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port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LIP report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 </a:t>
                      </a: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ava 1.8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레임워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pring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4.2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백업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INA (LAN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117" name="표 1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403299"/>
              </p:ext>
            </p:extLst>
          </p:nvPr>
        </p:nvGraphicFramePr>
        <p:xfrm>
          <a:off x="3872880" y="2217377"/>
          <a:ext cx="1620000" cy="1895698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5407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 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#3 (8C/80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TO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US Enterprise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P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모니터링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nnifer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UI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Square5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port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LIP report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 </a:t>
                      </a: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ava 1.8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레임워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pring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4.2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백업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INA (LAN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cxnSp>
        <p:nvCxnSpPr>
          <p:cNvPr id="118" name="직선 연결선 117"/>
          <p:cNvCxnSpPr/>
          <p:nvPr/>
        </p:nvCxnSpPr>
        <p:spPr>
          <a:xfrm flipH="1">
            <a:off x="6609889" y="2104706"/>
            <a:ext cx="1" cy="180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0" name="표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931842"/>
              </p:ext>
            </p:extLst>
          </p:nvPr>
        </p:nvGraphicFramePr>
        <p:xfrm>
          <a:off x="5709978" y="2217371"/>
          <a:ext cx="1800000" cy="2219741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0573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#1 (16C/192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g (A)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중화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GG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(A)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변환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QL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Canvas Trans (A)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근제어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Safer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모니터링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axgauge (A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TL</a:t>
                      </a:r>
                      <a:endParaRPr lang="ko-KR" altLang="en-US" sz="700" b="1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era Streams</a:t>
                      </a:r>
                      <a:r>
                        <a:rPr lang="en-US" altLang="ko-KR" sz="7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(S)</a:t>
                      </a:r>
                      <a:endParaRPr lang="en-US" altLang="ko-KR" sz="700" b="1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030597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LF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art-WLF (S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BA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-Safe (S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작업 관리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ontrol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M (S)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백업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INA (SAN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/DPM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0573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러스터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 Service Guard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0573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cxnSp>
        <p:nvCxnSpPr>
          <p:cNvPr id="121" name="직선 연결선 120"/>
          <p:cNvCxnSpPr/>
          <p:nvPr/>
        </p:nvCxnSpPr>
        <p:spPr>
          <a:xfrm flipH="1">
            <a:off x="4592779" y="4473116"/>
            <a:ext cx="1" cy="180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2" name="표 1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903316"/>
              </p:ext>
            </p:extLst>
          </p:nvPr>
        </p:nvGraphicFramePr>
        <p:xfrm>
          <a:off x="3728684" y="4602314"/>
          <a:ext cx="1800000" cy="1624883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4991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8C/96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g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근제어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Safer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991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T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era</a:t>
                      </a:r>
                      <a:r>
                        <a:rPr lang="en-US" altLang="ko-KR" sz="700" b="1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treams</a:t>
                      </a:r>
                      <a:endParaRPr lang="en-US" altLang="ko-KR" sz="700" b="1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458490"/>
                  </a:ext>
                </a:extLst>
              </a:tr>
              <a:tr h="124991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LF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art-WLF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4991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BA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-Safe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백업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INA (LAN)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/DPM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4991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러스터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 Service Guard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4991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cxnSp>
        <p:nvCxnSpPr>
          <p:cNvPr id="123" name="직선 연결선 122"/>
          <p:cNvCxnSpPr/>
          <p:nvPr/>
        </p:nvCxnSpPr>
        <p:spPr>
          <a:xfrm flipH="1">
            <a:off x="6700776" y="4478200"/>
            <a:ext cx="1" cy="216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4" name="표 1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0721206"/>
              </p:ext>
            </p:extLst>
          </p:nvPr>
        </p:nvGraphicFramePr>
        <p:xfrm>
          <a:off x="5853480" y="4602310"/>
          <a:ext cx="1620000" cy="1624884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5407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R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</a:t>
                      </a:r>
                      <a:r>
                        <a:rPr lang="en-US" altLang="ko-KR" sz="700" baseline="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8C/80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TOB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EUS Standard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UI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Square5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port 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LIP report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발 </a:t>
                      </a: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OOL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Java 1.8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5407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프레임워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pring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4.2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 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5407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cxnSp>
        <p:nvCxnSpPr>
          <p:cNvPr id="125" name="직선 연결선 124"/>
          <p:cNvCxnSpPr/>
          <p:nvPr/>
        </p:nvCxnSpPr>
        <p:spPr>
          <a:xfrm flipH="1">
            <a:off x="8481591" y="4473116"/>
            <a:ext cx="1" cy="180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6" name="표 1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658270"/>
              </p:ext>
            </p:extLst>
          </p:nvPr>
        </p:nvGraphicFramePr>
        <p:xfrm>
          <a:off x="7617496" y="4602314"/>
          <a:ext cx="1800000" cy="1484054"/>
        </p:xfrm>
        <a:graphic>
          <a:graphicData uri="http://schemas.openxmlformats.org/drawingml/2006/table">
            <a:tbl>
              <a:tblPr firstRow="1" bandRow="1"/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4914">
                <a:tc gridSpan="2">
                  <a:txBody>
                    <a:bodyPr/>
                    <a:lstStyle>
                      <a:lvl1pPr marL="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R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ko-KR" altLang="en-US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en-US" altLang="ko-KR" sz="700" dirty="0" smtClean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8C/96GB)</a:t>
                      </a:r>
                      <a:endParaRPr lang="ko-KR" altLang="en-US" sz="7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914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M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g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4914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</a:t>
                      </a: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접근제어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B Safer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4914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LF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art-WLF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4914"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BA </a:t>
                      </a:r>
                      <a:r>
                        <a:rPr lang="ko-KR" altLang="en-US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솔루션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-Safe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4914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M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olestar SMS/DPM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4914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접근제어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ode Safer</a:t>
                      </a:r>
                      <a:endParaRPr lang="ko-KR" altLang="en-US" sz="70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4914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계정관리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Griffin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4914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보안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ecuve TOS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4914"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클러스터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 Service Guard</a:t>
                      </a: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4914"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03674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2152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4305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56458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086112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607640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129168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650696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172224" algn="l" defTabSz="1043056" rtl="0" eaLnBrk="1" latinLnBrk="1" hangingPunct="1">
                        <a:defRPr sz="21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36747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7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PUX</a:t>
                      </a:r>
                      <a:r>
                        <a:rPr lang="en-US" altLang="ko-KR" sz="700" b="0" kern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1.31</a:t>
                      </a:r>
                      <a:endParaRPr lang="en-US" altLang="ko-KR" sz="7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2251" marR="42251" marT="0" marB="0" anchor="ctr">
                    <a:lnL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27" name="모서리가 둥근 직사각형 126"/>
          <p:cNvSpPr>
            <a:spLocks noChangeArrowheads="1"/>
          </p:cNvSpPr>
          <p:nvPr/>
        </p:nvSpPr>
        <p:spPr bwMode="auto">
          <a:xfrm>
            <a:off x="5637076" y="3125640"/>
            <a:ext cx="3889517" cy="271423"/>
          </a:xfrm>
          <a:prstGeom prst="roundRect">
            <a:avLst>
              <a:gd name="adj" fmla="val 2713"/>
            </a:avLst>
          </a:prstGeom>
          <a:noFill/>
          <a:ln w="15875" algn="ctr">
            <a:solidFill>
              <a:srgbClr val="C30049"/>
            </a:solidFill>
            <a:round/>
            <a:headEnd/>
            <a:tailEnd/>
          </a:ln>
          <a:effectLst>
            <a:outerShdw blurRad="12700" dist="12700" dir="2700000" algn="tl" rotWithShape="0">
              <a:srgbClr val="000000">
                <a:alpha val="34000"/>
              </a:srgbClr>
            </a:outerShdw>
          </a:effectLst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9" name="모서리가 둥근 직사각형 128"/>
          <p:cNvSpPr>
            <a:spLocks noChangeArrowheads="1"/>
          </p:cNvSpPr>
          <p:nvPr/>
        </p:nvSpPr>
        <p:spPr bwMode="auto">
          <a:xfrm>
            <a:off x="3650020" y="5085184"/>
            <a:ext cx="1943876" cy="280465"/>
          </a:xfrm>
          <a:prstGeom prst="roundRect">
            <a:avLst>
              <a:gd name="adj" fmla="val 2713"/>
            </a:avLst>
          </a:prstGeom>
          <a:noFill/>
          <a:ln w="15875" algn="ctr">
            <a:solidFill>
              <a:srgbClr val="C30049"/>
            </a:solidFill>
            <a:round/>
            <a:headEnd/>
            <a:tailEnd/>
          </a:ln>
          <a:effectLst>
            <a:outerShdw blurRad="12700" dist="12700" dir="2700000" algn="tl" rotWithShape="0">
              <a:srgbClr val="000000">
                <a:alpha val="34000"/>
              </a:srgbClr>
            </a:outerShdw>
          </a:effectLst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1" name="모서리가 둥근 직사각형 130"/>
          <p:cNvSpPr>
            <a:spLocks noChangeArrowheads="1"/>
          </p:cNvSpPr>
          <p:nvPr/>
        </p:nvSpPr>
        <p:spPr bwMode="auto">
          <a:xfrm>
            <a:off x="7545141" y="4989819"/>
            <a:ext cx="1943876" cy="280465"/>
          </a:xfrm>
          <a:prstGeom prst="roundRect">
            <a:avLst>
              <a:gd name="adj" fmla="val 2713"/>
            </a:avLst>
          </a:prstGeom>
          <a:noFill/>
          <a:ln w="15875" algn="ctr">
            <a:solidFill>
              <a:srgbClr val="C30049"/>
            </a:solidFill>
            <a:round/>
            <a:headEnd/>
            <a:tailEnd/>
          </a:ln>
          <a:effectLst>
            <a:outerShdw blurRad="12700" dist="12700" dir="2700000" algn="tl" rotWithShape="0">
              <a:srgbClr val="000000">
                <a:alpha val="34000"/>
              </a:srgbClr>
            </a:outerShdw>
          </a:effectLst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3" name="Rectangle 98"/>
          <p:cNvSpPr>
            <a:spLocks noChangeArrowheads="1"/>
          </p:cNvSpPr>
          <p:nvPr/>
        </p:nvSpPr>
        <p:spPr bwMode="auto">
          <a:xfrm>
            <a:off x="315987" y="5598778"/>
            <a:ext cx="1281139" cy="174625"/>
          </a:xfrm>
          <a:prstGeom prst="rect">
            <a:avLst/>
          </a:prstGeom>
          <a:pattFill prst="wdUpDiag">
            <a:fgClr>
              <a:srgbClr val="E6E6E6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4" tIns="45574" rIns="91154" bIns="45574" anchor="ctr"/>
          <a:lstStyle/>
          <a:p>
            <a:pPr algn="ctr" defTabSz="911578">
              <a:defRPr/>
            </a:pPr>
            <a:endParaRPr lang="ko-KR" altLang="en-US" sz="700" b="1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4" name="Rectangle 99"/>
          <p:cNvSpPr>
            <a:spLocks noChangeArrowheads="1"/>
          </p:cNvSpPr>
          <p:nvPr/>
        </p:nvSpPr>
        <p:spPr bwMode="auto">
          <a:xfrm>
            <a:off x="315987" y="5773385"/>
            <a:ext cx="1281139" cy="643947"/>
          </a:xfrm>
          <a:prstGeom prst="rect">
            <a:avLst/>
          </a:prstGeom>
          <a:solidFill>
            <a:srgbClr val="FFFFFF"/>
          </a:solidFill>
          <a:ln w="19050">
            <a:solidFill>
              <a:srgbClr val="C0C0C0"/>
            </a:solidFill>
            <a:miter lim="800000"/>
            <a:headEnd/>
            <a:tailEnd/>
          </a:ln>
        </p:spPr>
        <p:txBody>
          <a:bodyPr wrap="none" lIns="91154" tIns="45574" rIns="91154" bIns="45574" anchor="ctr"/>
          <a:lstStyle/>
          <a:p>
            <a:pPr algn="ctr" defTabSz="911578">
              <a:defRPr/>
            </a:pPr>
            <a:endParaRPr lang="ko-KR" altLang="en-US" sz="700" b="1" kern="0" dirty="0">
              <a:solidFill>
                <a:srgbClr val="000000"/>
              </a:solidFill>
              <a:latin typeface="kopub"/>
              <a:ea typeface="KoPub돋움체 Light" panose="02020603020101020101" pitchFamily="18" charset="-127"/>
            </a:endParaRPr>
          </a:p>
        </p:txBody>
      </p:sp>
      <p:pic>
        <p:nvPicPr>
          <p:cNvPr id="135" name="Picture 100" descr="범례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67" y="5624178"/>
            <a:ext cx="297593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101" descr="Block-2-256"/>
          <p:cNvPicPr>
            <a:picLocks noChangeAspect="1" noChangeArrowheads="1"/>
          </p:cNvPicPr>
          <p:nvPr/>
        </p:nvPicPr>
        <p:blipFill>
          <a:blip r:embed="rId3">
            <a:lum bright="6000" contrast="-12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159" y="5589240"/>
            <a:ext cx="317194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TextBox 528"/>
          <p:cNvSpPr txBox="1">
            <a:spLocks noChangeArrowheads="1"/>
          </p:cNvSpPr>
          <p:nvPr/>
        </p:nvSpPr>
        <p:spPr bwMode="auto">
          <a:xfrm>
            <a:off x="724385" y="5899940"/>
            <a:ext cx="806065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defTabSz="911578" eaLnBrk="1" hangingPunct="1">
              <a:defRPr/>
            </a:pPr>
            <a:r>
              <a:rPr lang="ko-KR" altLang="en-US" sz="800" b="1" kern="0" dirty="0" smtClean="0">
                <a:solidFill>
                  <a:srgbClr val="000000"/>
                </a:solidFill>
                <a:latin typeface="kopub"/>
                <a:ea typeface="KoPub돋움체 Light" panose="02020603020101020101" pitchFamily="18" charset="-127"/>
              </a:rPr>
              <a:t>신규</a:t>
            </a:r>
            <a:r>
              <a:rPr lang="en-US" altLang="ko-KR" sz="800" b="1" kern="0" dirty="0" smtClean="0">
                <a:solidFill>
                  <a:srgbClr val="000000"/>
                </a:solidFill>
                <a:latin typeface="kopub"/>
                <a:ea typeface="KoPub돋움체 Light" panose="02020603020101020101" pitchFamily="18" charset="-127"/>
              </a:rPr>
              <a:t> </a:t>
            </a:r>
            <a:r>
              <a:rPr lang="ko-KR" altLang="en-US" sz="800" b="1" kern="0" dirty="0" smtClean="0">
                <a:solidFill>
                  <a:srgbClr val="000000"/>
                </a:solidFill>
                <a:latin typeface="kopub"/>
                <a:ea typeface="KoPub돋움체 Light" panose="02020603020101020101" pitchFamily="18" charset="-127"/>
              </a:rPr>
              <a:t>도입</a:t>
            </a:r>
            <a:endParaRPr lang="en-US" altLang="ko-KR" sz="800" b="1" kern="0" dirty="0">
              <a:solidFill>
                <a:srgbClr val="000000"/>
              </a:solidFill>
              <a:latin typeface="kopub"/>
              <a:ea typeface="KoPub돋움체 Light" panose="02020603020101020101" pitchFamily="18" charset="-127"/>
            </a:endParaRPr>
          </a:p>
        </p:txBody>
      </p:sp>
      <p:sp>
        <p:nvSpPr>
          <p:cNvPr id="138" name="모서리가 둥근 직사각형 137"/>
          <p:cNvSpPr>
            <a:spLocks noChangeArrowheads="1"/>
          </p:cNvSpPr>
          <p:nvPr/>
        </p:nvSpPr>
        <p:spPr bwMode="auto">
          <a:xfrm>
            <a:off x="414821" y="5880469"/>
            <a:ext cx="250888" cy="174171"/>
          </a:xfrm>
          <a:prstGeom prst="roundRect">
            <a:avLst>
              <a:gd name="adj" fmla="val 2713"/>
            </a:avLst>
          </a:prstGeom>
          <a:noFill/>
          <a:ln w="15875" algn="ctr">
            <a:solidFill>
              <a:srgbClr val="C30049"/>
            </a:solidFill>
            <a:round/>
            <a:headEnd/>
            <a:tailEnd/>
          </a:ln>
          <a:effectLst>
            <a:outerShdw blurRad="12700" dist="12700" dir="2700000" algn="tl" rotWithShape="0">
              <a:srgbClr val="000000">
                <a:alpha val="34000"/>
              </a:srgbClr>
            </a:outerShdw>
          </a:effectLst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"/>
              <a:ea typeface="KoPub돋움체 Light" panose="02020603020101020101" pitchFamily="18" charset="-127"/>
            </a:endParaRPr>
          </a:p>
        </p:txBody>
      </p:sp>
      <p:sp>
        <p:nvSpPr>
          <p:cNvPr id="139" name="모서리가 둥근 직사각형 293"/>
          <p:cNvSpPr>
            <a:spLocks noChangeArrowheads="1"/>
          </p:cNvSpPr>
          <p:nvPr/>
        </p:nvSpPr>
        <p:spPr bwMode="auto">
          <a:xfrm>
            <a:off x="415512" y="5880468"/>
            <a:ext cx="250842" cy="170717"/>
          </a:xfrm>
          <a:prstGeom prst="roundRect">
            <a:avLst>
              <a:gd name="adj" fmla="val 2713"/>
            </a:avLst>
          </a:prstGeom>
          <a:solidFill>
            <a:srgbClr val="DA7888">
              <a:alpha val="20000"/>
            </a:srgbClr>
          </a:solidFill>
          <a:ln w="9525" algn="ctr">
            <a:solidFill>
              <a:sysClr val="window" lastClr="FFFFFF"/>
            </a:solidFill>
            <a:prstDash val="sysDot"/>
            <a:round/>
            <a:headEnd/>
            <a:tailEnd/>
          </a:ln>
          <a:extLst/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"/>
              <a:ea typeface="KoPub돋움체 Light" panose="02020603020101020101" pitchFamily="18" charset="-127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413709" y="6146604"/>
            <a:ext cx="252000" cy="172800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kopub"/>
              <a:ea typeface="KoPub돋움체 Light" panose="02020603020101020101" pitchFamily="18" charset="-127"/>
            </a:endParaRPr>
          </a:p>
        </p:txBody>
      </p:sp>
      <p:sp>
        <p:nvSpPr>
          <p:cNvPr id="141" name="TextBox 528"/>
          <p:cNvSpPr txBox="1">
            <a:spLocks noChangeArrowheads="1"/>
          </p:cNvSpPr>
          <p:nvPr/>
        </p:nvSpPr>
        <p:spPr bwMode="auto">
          <a:xfrm>
            <a:off x="724385" y="6174812"/>
            <a:ext cx="806065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defTabSz="911578" eaLnBrk="1" hangingPunct="1">
              <a:defRPr/>
            </a:pPr>
            <a:r>
              <a:rPr lang="ko-KR" altLang="en-US" sz="800" b="1" kern="0" dirty="0" smtClean="0">
                <a:solidFill>
                  <a:srgbClr val="000000"/>
                </a:solidFill>
                <a:latin typeface="kopub"/>
                <a:ea typeface="KoPub돋움체 Light" panose="02020603020101020101" pitchFamily="18" charset="-127"/>
              </a:rPr>
              <a:t>별도</a:t>
            </a:r>
            <a:r>
              <a:rPr lang="en-US" altLang="ko-KR" sz="800" b="1" kern="0" dirty="0" smtClean="0">
                <a:solidFill>
                  <a:srgbClr val="000000"/>
                </a:solidFill>
                <a:latin typeface="kopub"/>
                <a:ea typeface="KoPub돋움체 Light" panose="02020603020101020101" pitchFamily="18" charset="-127"/>
              </a:rPr>
              <a:t> </a:t>
            </a:r>
            <a:r>
              <a:rPr lang="ko-KR" altLang="en-US" sz="800" b="1" kern="0" dirty="0" smtClean="0">
                <a:solidFill>
                  <a:srgbClr val="000000"/>
                </a:solidFill>
                <a:latin typeface="kopub"/>
                <a:ea typeface="KoPub돋움체 Light" panose="02020603020101020101" pitchFamily="18" charset="-127"/>
              </a:rPr>
              <a:t>도입</a:t>
            </a:r>
            <a:endParaRPr lang="en-US" altLang="ko-KR" sz="800" b="1" kern="0" dirty="0">
              <a:solidFill>
                <a:srgbClr val="000000"/>
              </a:solidFill>
              <a:latin typeface="kopub"/>
              <a:ea typeface="KoPub돋움체 Light" panose="02020603020101020101" pitchFamily="18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50" name="TextBox 1"/>
          <p:cNvSpPr txBox="1">
            <a:spLocks noChangeArrowheads="1"/>
          </p:cNvSpPr>
          <p:nvPr/>
        </p:nvSpPr>
        <p:spPr bwMode="auto">
          <a:xfrm>
            <a:off x="7905328" y="6243119"/>
            <a:ext cx="17956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※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과 협의하여 구성합니다</a:t>
            </a:r>
            <a:r>
              <a:rPr lang="en-US" altLang="ko-KR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.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1" name="모서리가 둥근 직사각형 293"/>
          <p:cNvSpPr>
            <a:spLocks noChangeArrowheads="1"/>
          </p:cNvSpPr>
          <p:nvPr/>
        </p:nvSpPr>
        <p:spPr bwMode="auto">
          <a:xfrm>
            <a:off x="5637775" y="3125639"/>
            <a:ext cx="3888812" cy="271423"/>
          </a:xfrm>
          <a:prstGeom prst="roundRect">
            <a:avLst>
              <a:gd name="adj" fmla="val 2713"/>
            </a:avLst>
          </a:prstGeom>
          <a:solidFill>
            <a:srgbClr val="DA7888">
              <a:alpha val="20000"/>
            </a:srgbClr>
          </a:solidFill>
          <a:ln w="9525" algn="ctr">
            <a:solidFill>
              <a:sysClr val="window" lastClr="FFFFFF"/>
            </a:solidFill>
            <a:prstDash val="sysDot"/>
            <a:round/>
            <a:headEnd/>
            <a:tailEnd/>
          </a:ln>
          <a:extLst/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2" name="모서리가 둥근 직사각형 293"/>
          <p:cNvSpPr>
            <a:spLocks noChangeArrowheads="1"/>
          </p:cNvSpPr>
          <p:nvPr/>
        </p:nvSpPr>
        <p:spPr bwMode="auto">
          <a:xfrm>
            <a:off x="3650712" y="5085184"/>
            <a:ext cx="1943524" cy="280465"/>
          </a:xfrm>
          <a:prstGeom prst="roundRect">
            <a:avLst>
              <a:gd name="adj" fmla="val 2713"/>
            </a:avLst>
          </a:prstGeom>
          <a:solidFill>
            <a:srgbClr val="DA7888">
              <a:alpha val="20000"/>
            </a:srgbClr>
          </a:solidFill>
          <a:ln w="9525" algn="ctr">
            <a:solidFill>
              <a:sysClr val="window" lastClr="FFFFFF"/>
            </a:solidFill>
            <a:prstDash val="sysDot"/>
            <a:round/>
            <a:headEnd/>
            <a:tailEnd/>
          </a:ln>
          <a:extLst/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" name="모서리가 둥근 직사각형 293"/>
          <p:cNvSpPr>
            <a:spLocks noChangeArrowheads="1"/>
          </p:cNvSpPr>
          <p:nvPr/>
        </p:nvSpPr>
        <p:spPr bwMode="auto">
          <a:xfrm>
            <a:off x="7545833" y="4989819"/>
            <a:ext cx="1943524" cy="280465"/>
          </a:xfrm>
          <a:prstGeom prst="roundRect">
            <a:avLst>
              <a:gd name="adj" fmla="val 2713"/>
            </a:avLst>
          </a:prstGeom>
          <a:solidFill>
            <a:srgbClr val="DA7888">
              <a:alpha val="20000"/>
            </a:srgbClr>
          </a:solidFill>
          <a:ln w="9525" algn="ctr">
            <a:solidFill>
              <a:sysClr val="window" lastClr="FFFFFF"/>
            </a:solidFill>
            <a:prstDash val="sysDot"/>
            <a:round/>
            <a:headEnd/>
            <a:tailEnd/>
          </a:ln>
          <a:extLst/>
        </p:spPr>
        <p:txBody>
          <a:bodyPr wrap="none" lIns="90000" tIns="46800" rIns="90000" bIns="46800" anchor="ctr"/>
          <a:lstStyle/>
          <a:p>
            <a:pPr algn="ctr"/>
            <a:endParaRPr kumimoji="1" lang="ko-KR" altLang="en-US" sz="16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361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처리기준 및 해외사례를 기반으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에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용될 위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ML/TF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서 통제 효과성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유효성 평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고려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잔여 위험을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하기 위한 자금세탁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을 설계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 대응 전략 수립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97" name="그룹 96"/>
          <p:cNvGrpSpPr/>
          <p:nvPr/>
        </p:nvGrpSpPr>
        <p:grpSpPr>
          <a:xfrm>
            <a:off x="489605" y="2257139"/>
            <a:ext cx="8940548" cy="4052181"/>
            <a:chOff x="891918" y="2702101"/>
            <a:chExt cx="8377570" cy="3348925"/>
          </a:xfrm>
        </p:grpSpPr>
        <p:sp>
          <p:nvSpPr>
            <p:cNvPr id="98" name="직사각형 97"/>
            <p:cNvSpPr/>
            <p:nvPr/>
          </p:nvSpPr>
          <p:spPr>
            <a:xfrm>
              <a:off x="1251415" y="2794285"/>
              <a:ext cx="2000070" cy="702406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ML/TF 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위험</a:t>
              </a:r>
            </a:p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자금세탁에 이용될 위험</a:t>
              </a:r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)</a:t>
              </a:r>
              <a:endPara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99" name="직사각형 98"/>
            <p:cNvSpPr/>
            <p:nvPr/>
          </p:nvSpPr>
          <p:spPr>
            <a:xfrm>
              <a:off x="4232877" y="2794287"/>
              <a:ext cx="1959931" cy="702405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통제 효과성</a:t>
              </a:r>
              <a:endPara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내부통제 유효성 평가</a:t>
              </a:r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)</a:t>
              </a:r>
              <a:endPara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00" name="Text Box 38"/>
            <p:cNvSpPr txBox="1">
              <a:spLocks noChangeArrowheads="1"/>
            </p:cNvSpPr>
            <p:nvPr/>
          </p:nvSpPr>
          <p:spPr bwMode="gray">
            <a:xfrm>
              <a:off x="3406032" y="2718123"/>
              <a:ext cx="495980" cy="74416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spAutoFit/>
            </a:bodyPr>
            <a:lstStyle/>
            <a:p>
              <a:pPr algn="ctr" defTabSz="1019007">
                <a:spcBef>
                  <a:spcPct val="20000"/>
                </a:spcBef>
                <a:tabLst>
                  <a:tab pos="174625" algn="l"/>
                </a:tabLst>
                <a:defRPr/>
              </a:pPr>
              <a:r>
                <a:rPr lang="en-US" altLang="ko-KR" sz="4800" b="1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-</a:t>
              </a:r>
              <a:endParaRPr lang="ko-KR" altLang="en-US" sz="4800" b="1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01" name="직사각형 100"/>
            <p:cNvSpPr/>
            <p:nvPr/>
          </p:nvSpPr>
          <p:spPr>
            <a:xfrm>
              <a:off x="7292876" y="2794288"/>
              <a:ext cx="1594044" cy="702405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잔여위험</a:t>
              </a:r>
            </a:p>
          </p:txBody>
        </p:sp>
        <p:sp>
          <p:nvSpPr>
            <p:cNvPr id="102" name="Text Box 38"/>
            <p:cNvSpPr txBox="1">
              <a:spLocks noChangeArrowheads="1"/>
            </p:cNvSpPr>
            <p:nvPr/>
          </p:nvSpPr>
          <p:spPr bwMode="gray">
            <a:xfrm>
              <a:off x="6285394" y="2702101"/>
              <a:ext cx="708544" cy="74416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spAutoFit/>
            </a:bodyPr>
            <a:lstStyle/>
            <a:p>
              <a:pPr algn="ctr" defTabSz="1019007">
                <a:spcBef>
                  <a:spcPct val="20000"/>
                </a:spcBef>
                <a:tabLst>
                  <a:tab pos="174625" algn="l"/>
                </a:tabLst>
                <a:defRPr/>
              </a:pPr>
              <a:r>
                <a:rPr lang="en-US" altLang="ko-KR" sz="4800" b="1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=</a:t>
              </a:r>
              <a:endParaRPr lang="ko-KR" altLang="en-US" sz="4800" b="1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103" name="그룹 102"/>
            <p:cNvGrpSpPr/>
            <p:nvPr/>
          </p:nvGrpSpPr>
          <p:grpSpPr>
            <a:xfrm>
              <a:off x="891918" y="4181312"/>
              <a:ext cx="2509873" cy="1869714"/>
              <a:chOff x="891918" y="4333712"/>
              <a:chExt cx="2509873" cy="1869714"/>
            </a:xfrm>
          </p:grpSpPr>
          <p:grpSp>
            <p:nvGrpSpPr>
              <p:cNvPr id="138" name="그룹 137"/>
              <p:cNvGrpSpPr/>
              <p:nvPr/>
            </p:nvGrpSpPr>
            <p:grpSpPr>
              <a:xfrm>
                <a:off x="2708399" y="4416680"/>
                <a:ext cx="632215" cy="281605"/>
                <a:chOff x="595050" y="3743328"/>
                <a:chExt cx="1411075" cy="727134"/>
              </a:xfrm>
              <a:solidFill>
                <a:schemeClr val="tx2">
                  <a:lumMod val="40000"/>
                  <a:lumOff val="60000"/>
                </a:schemeClr>
              </a:solidFill>
              <a:effectLst/>
            </p:grpSpPr>
            <p:sp>
              <p:nvSpPr>
                <p:cNvPr id="159" name="직사각형 158"/>
                <p:cNvSpPr/>
                <p:nvPr/>
              </p:nvSpPr>
              <p:spPr>
                <a:xfrm>
                  <a:off x="614120" y="3743328"/>
                  <a:ext cx="1392005" cy="72713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068288" fontAlgn="base" latinLnBrk="0">
                    <a:spcBef>
                      <a:spcPct val="0"/>
                    </a:spcBef>
                    <a:spcAft>
                      <a:spcPct val="0"/>
                    </a:spcAft>
                  </a:pPr>
                  <a:endParaRPr kumimoji="1" lang="ko-KR" altLang="en-US" sz="1000" spc="-100" dirty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60" name="Rectangle 63"/>
                <p:cNvSpPr>
                  <a:spLocks noChangeArrowheads="1"/>
                </p:cNvSpPr>
                <p:nvPr/>
              </p:nvSpPr>
              <p:spPr bwMode="auto">
                <a:xfrm>
                  <a:off x="595050" y="3917993"/>
                  <a:ext cx="1374472" cy="356937"/>
                </a:xfrm>
                <a:prstGeom prst="rect">
                  <a:avLst/>
                </a:prstGeom>
                <a:noFill/>
                <a:ex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 latinLnBrk="0">
                    <a:defRPr/>
                  </a:pPr>
                  <a:r>
                    <a:rPr lang="en-US" altLang="ko-KR" sz="1000" spc="-100" dirty="0" smtClean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A </a:t>
                  </a:r>
                  <a:r>
                    <a:rPr lang="ko-KR" altLang="en-US" sz="1000" spc="-100" dirty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부</a:t>
                  </a:r>
                  <a:r>
                    <a:rPr lang="ko-KR" altLang="en-US" sz="1000" spc="-100" dirty="0" smtClean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점</a:t>
                  </a:r>
                  <a:endParaRPr lang="en-US" altLang="ko-KR" sz="1000" spc="-100" dirty="0">
                    <a:solidFill>
                      <a:srgbClr val="000000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grpSp>
            <p:nvGrpSpPr>
              <p:cNvPr id="139" name="그룹 138"/>
              <p:cNvGrpSpPr/>
              <p:nvPr/>
            </p:nvGrpSpPr>
            <p:grpSpPr>
              <a:xfrm>
                <a:off x="1669222" y="4415999"/>
                <a:ext cx="988335" cy="282287"/>
                <a:chOff x="595050" y="3737554"/>
                <a:chExt cx="1374473" cy="732905"/>
              </a:xfrm>
              <a:solidFill>
                <a:schemeClr val="tx2">
                  <a:lumMod val="40000"/>
                  <a:lumOff val="60000"/>
                </a:schemeClr>
              </a:solidFill>
              <a:effectLst/>
            </p:grpSpPr>
            <p:sp>
              <p:nvSpPr>
                <p:cNvPr id="157" name="직사각형 156"/>
                <p:cNvSpPr/>
                <p:nvPr/>
              </p:nvSpPr>
              <p:spPr>
                <a:xfrm>
                  <a:off x="627428" y="3743325"/>
                  <a:ext cx="1340599" cy="72713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068288" fontAlgn="base" latinLnBrk="0">
                    <a:spcBef>
                      <a:spcPct val="0"/>
                    </a:spcBef>
                    <a:spcAft>
                      <a:spcPct val="0"/>
                    </a:spcAft>
                  </a:pPr>
                  <a:endParaRPr kumimoji="1" lang="ko-KR" altLang="en-US" sz="1000" spc="-100" dirty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58" name="Rectangle 63"/>
                <p:cNvSpPr>
                  <a:spLocks noChangeArrowheads="1"/>
                </p:cNvSpPr>
                <p:nvPr/>
              </p:nvSpPr>
              <p:spPr bwMode="auto">
                <a:xfrm>
                  <a:off x="595050" y="3737554"/>
                  <a:ext cx="1374473" cy="717803"/>
                </a:xfrm>
                <a:prstGeom prst="rect">
                  <a:avLst/>
                </a:prstGeom>
                <a:noFill/>
                <a:ex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 latinLnBrk="0">
                    <a:defRPr/>
                  </a:pPr>
                  <a:r>
                    <a:rPr lang="en-US" altLang="ko-KR" sz="1000" spc="-100" dirty="0" smtClean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ML/TF</a:t>
                  </a:r>
                </a:p>
                <a:p>
                  <a:pPr algn="ctr" latinLnBrk="0">
                    <a:defRPr/>
                  </a:pPr>
                  <a:r>
                    <a:rPr lang="ko-KR" altLang="en-US" sz="1000" spc="-100" dirty="0" smtClean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위험분류</a:t>
                  </a:r>
                  <a:endParaRPr lang="en-US" altLang="ko-KR" sz="1000" spc="-100" dirty="0">
                    <a:solidFill>
                      <a:srgbClr val="000000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140" name="직사각형 139"/>
              <p:cNvSpPr/>
              <p:nvPr/>
            </p:nvSpPr>
            <p:spPr bwMode="ltGray">
              <a:xfrm>
                <a:off x="1692505" y="4795392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고객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1" name="직사각형 140"/>
              <p:cNvSpPr/>
              <p:nvPr/>
            </p:nvSpPr>
            <p:spPr bwMode="ltGray">
              <a:xfrm>
                <a:off x="2718163" y="4794690"/>
                <a:ext cx="621232" cy="158549"/>
              </a:xfrm>
              <a:prstGeom prst="rect">
                <a:avLst/>
              </a:prstGeom>
              <a:solidFill>
                <a:srgbClr val="A32020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ko-KR" altLang="en-US" sz="1000" b="1" kern="0" spc="-100" dirty="0">
                    <a:solidFill>
                      <a:srgbClr val="FFFFFF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고</a:t>
                </a:r>
                <a:endParaRPr lang="en-US" altLang="ko-KR" sz="1000" b="1" kern="0" spc="-100" dirty="0">
                  <a:solidFill>
                    <a:srgbClr val="FFFFFF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2" name="직사각형 141"/>
              <p:cNvSpPr/>
              <p:nvPr/>
            </p:nvSpPr>
            <p:spPr bwMode="ltGray">
              <a:xfrm>
                <a:off x="1692505" y="4981070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상품 및 서비스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3" name="직사각형 142"/>
              <p:cNvSpPr/>
              <p:nvPr/>
            </p:nvSpPr>
            <p:spPr bwMode="ltGray">
              <a:xfrm>
                <a:off x="2718163" y="4979669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ko-KR" altLang="en-US" sz="1000" b="1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중</a:t>
                </a:r>
                <a:endParaRPr lang="en-US" altLang="ko-KR" sz="1000" b="1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4" name="직사각형 143"/>
              <p:cNvSpPr/>
              <p:nvPr/>
            </p:nvSpPr>
            <p:spPr bwMode="ltGray">
              <a:xfrm>
                <a:off x="1692505" y="5166748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국가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5" name="직사각형 144"/>
              <p:cNvSpPr/>
              <p:nvPr/>
            </p:nvSpPr>
            <p:spPr bwMode="ltGray">
              <a:xfrm>
                <a:off x="1692505" y="5352426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채널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6" name="직사각형 145"/>
              <p:cNvSpPr/>
              <p:nvPr/>
            </p:nvSpPr>
            <p:spPr bwMode="ltGray">
              <a:xfrm>
                <a:off x="2718163" y="5164648"/>
                <a:ext cx="621232" cy="158549"/>
              </a:xfrm>
              <a:prstGeom prst="rect">
                <a:avLst/>
              </a:prstGeom>
              <a:solidFill>
                <a:srgbClr val="A32020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ko-KR" altLang="en-US" sz="1000" b="1" kern="0" spc="-100" dirty="0">
                    <a:solidFill>
                      <a:srgbClr val="FFFFFF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고</a:t>
                </a:r>
                <a:endParaRPr lang="en-US" altLang="ko-KR" sz="1000" b="1" kern="0" spc="-100" dirty="0">
                  <a:solidFill>
                    <a:srgbClr val="FFFFFF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7" name="직사각형 146"/>
              <p:cNvSpPr/>
              <p:nvPr/>
            </p:nvSpPr>
            <p:spPr bwMode="ltGray">
              <a:xfrm>
                <a:off x="2718163" y="5349627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ko-KR" altLang="en-US" sz="1000" b="1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중</a:t>
                </a:r>
                <a:endParaRPr lang="en-US" altLang="ko-KR" sz="1000" b="1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8" name="직사각형 147"/>
              <p:cNvSpPr/>
              <p:nvPr/>
            </p:nvSpPr>
            <p:spPr bwMode="ltGray">
              <a:xfrm>
                <a:off x="1692505" y="5969340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종합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49" name="직사각형 148"/>
              <p:cNvSpPr/>
              <p:nvPr/>
            </p:nvSpPr>
            <p:spPr bwMode="ltGray">
              <a:xfrm>
                <a:off x="2718163" y="5970187"/>
                <a:ext cx="621232" cy="158549"/>
              </a:xfrm>
              <a:prstGeom prst="rect">
                <a:avLst/>
              </a:prstGeom>
              <a:solidFill>
                <a:srgbClr val="A32020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ko-KR" altLang="en-US" sz="1000" b="1" kern="0" spc="-100" dirty="0">
                    <a:solidFill>
                      <a:srgbClr val="FFFFFF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고</a:t>
                </a:r>
                <a:endParaRPr lang="en-US" altLang="ko-KR" sz="1000" b="1" kern="0" spc="-100" dirty="0">
                  <a:solidFill>
                    <a:srgbClr val="FFFFFF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50" name="Line 98"/>
              <p:cNvSpPr>
                <a:spLocks noChangeShapeType="1"/>
              </p:cNvSpPr>
              <p:nvPr/>
            </p:nvSpPr>
            <p:spPr bwMode="auto">
              <a:xfrm flipH="1">
                <a:off x="1609979" y="5917218"/>
                <a:ext cx="1791812" cy="0"/>
              </a:xfrm>
              <a:prstGeom prst="line">
                <a:avLst/>
              </a:prstGeom>
              <a:noFill/>
              <a:ln w="38100">
                <a:solidFill>
                  <a:srgbClr val="969696"/>
                </a:solidFill>
                <a:round/>
                <a:headEnd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51" name="직사각형 150"/>
              <p:cNvSpPr/>
              <p:nvPr/>
            </p:nvSpPr>
            <p:spPr bwMode="ltGray">
              <a:xfrm>
                <a:off x="1102245" y="4333712"/>
                <a:ext cx="2299546" cy="1869714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endParaRPr lang="ko-KR" altLang="en-US" sz="1200" b="1" kern="0" spc="-1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52" name="직사각형 151"/>
              <p:cNvSpPr/>
              <p:nvPr/>
            </p:nvSpPr>
            <p:spPr bwMode="ltGray">
              <a:xfrm>
                <a:off x="891918" y="4396782"/>
                <a:ext cx="576021" cy="1752878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ML/TF</a:t>
                </a:r>
              </a:p>
              <a:p>
                <a:pPr algn="ctr"/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위험</a:t>
                </a:r>
              </a:p>
            </p:txBody>
          </p:sp>
          <p:sp>
            <p:nvSpPr>
              <p:cNvPr id="153" name="직사각형 152"/>
              <p:cNvSpPr/>
              <p:nvPr/>
            </p:nvSpPr>
            <p:spPr bwMode="ltGray">
              <a:xfrm>
                <a:off x="1692505" y="5538104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직원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54" name="직사각형 153"/>
              <p:cNvSpPr/>
              <p:nvPr/>
            </p:nvSpPr>
            <p:spPr bwMode="ltGray">
              <a:xfrm>
                <a:off x="1692505" y="5723783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en-US" altLang="ko-KR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…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55" name="직사각형 154"/>
              <p:cNvSpPr/>
              <p:nvPr/>
            </p:nvSpPr>
            <p:spPr bwMode="ltGray">
              <a:xfrm>
                <a:off x="2718163" y="5534606"/>
                <a:ext cx="621232" cy="158549"/>
              </a:xfrm>
              <a:prstGeom prst="rect">
                <a:avLst/>
              </a:prstGeom>
              <a:solidFill>
                <a:srgbClr val="A32020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ko-KR" altLang="en-US" sz="1000" b="1" kern="0" spc="-100" dirty="0">
                    <a:solidFill>
                      <a:srgbClr val="FFFFFF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고</a:t>
                </a:r>
                <a:endParaRPr lang="en-US" altLang="ko-KR" sz="1000" b="1" kern="0" spc="-100" dirty="0">
                  <a:solidFill>
                    <a:srgbClr val="FFFFFF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56" name="직사각형 155"/>
              <p:cNvSpPr/>
              <p:nvPr/>
            </p:nvSpPr>
            <p:spPr bwMode="ltGray">
              <a:xfrm>
                <a:off x="2718163" y="5719583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ko-KR" altLang="en-US" sz="1000" b="1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중</a:t>
                </a:r>
                <a:endParaRPr lang="en-US" altLang="ko-KR" sz="1000" b="1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04" name="그룹 103"/>
            <p:cNvGrpSpPr/>
            <p:nvPr/>
          </p:nvGrpSpPr>
          <p:grpSpPr>
            <a:xfrm>
              <a:off x="3797067" y="4181312"/>
              <a:ext cx="2509873" cy="1869714"/>
              <a:chOff x="3797067" y="4333712"/>
              <a:chExt cx="2509873" cy="1869714"/>
            </a:xfrm>
          </p:grpSpPr>
          <p:grpSp>
            <p:nvGrpSpPr>
              <p:cNvPr id="115" name="그룹 114"/>
              <p:cNvGrpSpPr/>
              <p:nvPr/>
            </p:nvGrpSpPr>
            <p:grpSpPr>
              <a:xfrm>
                <a:off x="5613547" y="4416680"/>
                <a:ext cx="615817" cy="281605"/>
                <a:chOff x="595050" y="3743325"/>
                <a:chExt cx="1374475" cy="727134"/>
              </a:xfrm>
              <a:solidFill>
                <a:schemeClr val="tx2">
                  <a:lumMod val="40000"/>
                  <a:lumOff val="60000"/>
                </a:schemeClr>
              </a:solidFill>
              <a:effectLst/>
            </p:grpSpPr>
            <p:sp>
              <p:nvSpPr>
                <p:cNvPr id="136" name="직사각형 135"/>
                <p:cNvSpPr/>
                <p:nvPr/>
              </p:nvSpPr>
              <p:spPr>
                <a:xfrm>
                  <a:off x="595050" y="3743325"/>
                  <a:ext cx="1374475" cy="72713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068288" fontAlgn="base" latinLnBrk="0">
                    <a:spcBef>
                      <a:spcPct val="0"/>
                    </a:spcBef>
                    <a:spcAft>
                      <a:spcPct val="0"/>
                    </a:spcAft>
                  </a:pPr>
                  <a:endParaRPr kumimoji="1" lang="ko-KR" altLang="en-US" sz="1000" spc="-100" dirty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37" name="Rectangle 63"/>
                <p:cNvSpPr>
                  <a:spLocks noChangeArrowheads="1"/>
                </p:cNvSpPr>
                <p:nvPr/>
              </p:nvSpPr>
              <p:spPr bwMode="auto">
                <a:xfrm>
                  <a:off x="595050" y="3917990"/>
                  <a:ext cx="1374475" cy="356937"/>
                </a:xfrm>
                <a:prstGeom prst="rect">
                  <a:avLst/>
                </a:prstGeom>
                <a:noFill/>
                <a:ex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 latinLnBrk="0">
                    <a:defRPr/>
                  </a:pPr>
                  <a:r>
                    <a:rPr lang="en-US" altLang="ko-KR" sz="1000" spc="-100" dirty="0" smtClean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A </a:t>
                  </a:r>
                  <a:r>
                    <a:rPr lang="ko-KR" altLang="en-US" sz="1000" spc="-100" dirty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부</a:t>
                  </a:r>
                  <a:r>
                    <a:rPr lang="ko-KR" altLang="en-US" sz="1000" spc="-100" dirty="0" smtClean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점</a:t>
                  </a:r>
                  <a:endParaRPr lang="en-US" altLang="ko-KR" sz="1000" spc="-100" dirty="0">
                    <a:solidFill>
                      <a:srgbClr val="000000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grpSp>
            <p:nvGrpSpPr>
              <p:cNvPr id="116" name="그룹 115"/>
              <p:cNvGrpSpPr/>
              <p:nvPr/>
            </p:nvGrpSpPr>
            <p:grpSpPr>
              <a:xfrm>
                <a:off x="4553331" y="4418221"/>
                <a:ext cx="1009375" cy="280064"/>
                <a:chOff x="565790" y="3743325"/>
                <a:chExt cx="1403734" cy="727134"/>
              </a:xfrm>
              <a:solidFill>
                <a:schemeClr val="tx2">
                  <a:lumMod val="40000"/>
                  <a:lumOff val="60000"/>
                </a:schemeClr>
              </a:solidFill>
              <a:effectLst/>
            </p:grpSpPr>
            <p:sp>
              <p:nvSpPr>
                <p:cNvPr id="134" name="직사각형 133"/>
                <p:cNvSpPr/>
                <p:nvPr/>
              </p:nvSpPr>
              <p:spPr>
                <a:xfrm>
                  <a:off x="565790" y="3743325"/>
                  <a:ext cx="1340598" cy="72713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 algn="ctr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068288" fontAlgn="base" latinLnBrk="0">
                    <a:spcBef>
                      <a:spcPct val="0"/>
                    </a:spcBef>
                    <a:spcAft>
                      <a:spcPct val="0"/>
                    </a:spcAft>
                  </a:pPr>
                  <a:endParaRPr kumimoji="1" lang="ko-KR" altLang="en-US" sz="1000" spc="-100" dirty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35" name="Rectangle 63"/>
                <p:cNvSpPr>
                  <a:spLocks noChangeArrowheads="1"/>
                </p:cNvSpPr>
                <p:nvPr/>
              </p:nvSpPr>
              <p:spPr bwMode="auto">
                <a:xfrm>
                  <a:off x="627428" y="3940447"/>
                  <a:ext cx="1342096" cy="358901"/>
                </a:xfrm>
                <a:prstGeom prst="rect">
                  <a:avLst/>
                </a:prstGeom>
                <a:noFill/>
                <a:extLst/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algn="ctr" latinLnBrk="0">
                    <a:defRPr/>
                  </a:pPr>
                  <a:r>
                    <a:rPr lang="ko-KR" altLang="en-US" sz="1000" spc="-100" dirty="0" smtClean="0">
                      <a:solidFill>
                        <a:srgbClr val="000000"/>
                      </a:solidFill>
                      <a:latin typeface="KoPub돋움체 Bold" panose="02020603020101020101" pitchFamily="18" charset="-127"/>
                      <a:ea typeface="KoPub돋움체 Bold" panose="02020603020101020101" pitchFamily="18" charset="-127"/>
                    </a:rPr>
                    <a:t>통제 효과성</a:t>
                  </a:r>
                  <a:endParaRPr lang="en-US" altLang="ko-KR" sz="1000" spc="-100" dirty="0">
                    <a:solidFill>
                      <a:srgbClr val="000000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117" name="직사각형 116"/>
              <p:cNvSpPr/>
              <p:nvPr/>
            </p:nvSpPr>
            <p:spPr bwMode="ltGray">
              <a:xfrm>
                <a:off x="4553331" y="4795392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en-US" altLang="ko-KR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CDD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18" name="직사각형 117"/>
              <p:cNvSpPr/>
              <p:nvPr/>
            </p:nvSpPr>
            <p:spPr bwMode="ltGray">
              <a:xfrm>
                <a:off x="5614621" y="4795392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en-US" altLang="ko-KR" sz="1000" b="1" kern="0" spc="-100" dirty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Good</a:t>
                </a:r>
              </a:p>
            </p:txBody>
          </p:sp>
          <p:sp>
            <p:nvSpPr>
              <p:cNvPr id="119" name="직사각형 118"/>
              <p:cNvSpPr/>
              <p:nvPr/>
            </p:nvSpPr>
            <p:spPr bwMode="ltGray">
              <a:xfrm>
                <a:off x="4553331" y="4981070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거래</a:t>
                </a:r>
                <a:r>
                  <a:rPr lang="en-US" altLang="ko-KR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 </a:t>
                </a:r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모니터링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20" name="직사각형 119"/>
              <p:cNvSpPr/>
              <p:nvPr/>
            </p:nvSpPr>
            <p:spPr bwMode="ltGray">
              <a:xfrm>
                <a:off x="5614621" y="4981070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en-US" altLang="ko-KR" sz="1000" b="1" kern="0" spc="-100" dirty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Not Bad</a:t>
                </a:r>
              </a:p>
            </p:txBody>
          </p:sp>
          <p:sp>
            <p:nvSpPr>
              <p:cNvPr id="121" name="직사각형 120"/>
              <p:cNvSpPr/>
              <p:nvPr/>
            </p:nvSpPr>
            <p:spPr bwMode="ltGray">
              <a:xfrm>
                <a:off x="4553331" y="5166748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교육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22" name="직사각형 121"/>
              <p:cNvSpPr/>
              <p:nvPr/>
            </p:nvSpPr>
            <p:spPr bwMode="ltGray">
              <a:xfrm>
                <a:off x="4553331" y="5352426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내부감사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23" name="직사각형 122"/>
              <p:cNvSpPr/>
              <p:nvPr/>
            </p:nvSpPr>
            <p:spPr bwMode="ltGray">
              <a:xfrm>
                <a:off x="5614621" y="5167088"/>
                <a:ext cx="621232" cy="158549"/>
              </a:xfrm>
              <a:prstGeom prst="rect">
                <a:avLst/>
              </a:prstGeom>
              <a:solidFill>
                <a:srgbClr val="A32020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en-US" altLang="ko-KR" sz="1000" b="1" kern="0" spc="-100" dirty="0" smtClean="0">
                    <a:solidFill>
                      <a:srgbClr val="FFFFFF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Bad</a:t>
                </a:r>
                <a:endParaRPr lang="en-US" altLang="ko-KR" sz="1000" b="1" kern="0" spc="-100" dirty="0">
                  <a:solidFill>
                    <a:srgbClr val="FFFFFF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24" name="직사각형 123"/>
              <p:cNvSpPr/>
              <p:nvPr/>
            </p:nvSpPr>
            <p:spPr bwMode="ltGray">
              <a:xfrm>
                <a:off x="5614621" y="5352936"/>
                <a:ext cx="621232" cy="158549"/>
              </a:xfrm>
              <a:prstGeom prst="rect">
                <a:avLst/>
              </a:prstGeom>
              <a:solidFill>
                <a:srgbClr val="A32020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en-US" altLang="ko-KR" sz="1000" b="1" kern="0" spc="-100" dirty="0">
                    <a:solidFill>
                      <a:srgbClr val="FFFFFF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Bad</a:t>
                </a:r>
              </a:p>
            </p:txBody>
          </p:sp>
          <p:sp>
            <p:nvSpPr>
              <p:cNvPr id="125" name="직사각형 124"/>
              <p:cNvSpPr/>
              <p:nvPr/>
            </p:nvSpPr>
            <p:spPr bwMode="ltGray">
              <a:xfrm>
                <a:off x="4553331" y="5969340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종합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26" name="직사각형 125"/>
              <p:cNvSpPr/>
              <p:nvPr/>
            </p:nvSpPr>
            <p:spPr bwMode="ltGray">
              <a:xfrm>
                <a:off x="5614621" y="5970187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en-US" altLang="ko-KR" sz="1000" b="1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Not Bad</a:t>
                </a:r>
                <a:endParaRPr lang="en-US" altLang="ko-KR" sz="1000" b="1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27" name="Line 98"/>
              <p:cNvSpPr>
                <a:spLocks noChangeShapeType="1"/>
              </p:cNvSpPr>
              <p:nvPr/>
            </p:nvSpPr>
            <p:spPr bwMode="auto">
              <a:xfrm flipH="1">
                <a:off x="4515128" y="5917218"/>
                <a:ext cx="1791812" cy="0"/>
              </a:xfrm>
              <a:prstGeom prst="line">
                <a:avLst/>
              </a:prstGeom>
              <a:noFill/>
              <a:ln w="38100">
                <a:solidFill>
                  <a:srgbClr val="969696"/>
                </a:solidFill>
                <a:round/>
                <a:headEnd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28" name="직사각형 127"/>
              <p:cNvSpPr/>
              <p:nvPr/>
            </p:nvSpPr>
            <p:spPr bwMode="ltGray">
              <a:xfrm>
                <a:off x="4007394" y="4333712"/>
                <a:ext cx="2299546" cy="1869714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endParaRPr lang="ko-KR" altLang="en-US" sz="1200" b="1" kern="0" spc="-1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29" name="직사각형 128"/>
              <p:cNvSpPr/>
              <p:nvPr/>
            </p:nvSpPr>
            <p:spPr bwMode="ltGray">
              <a:xfrm>
                <a:off x="3797067" y="4384306"/>
                <a:ext cx="576021" cy="1765353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통제</a:t>
                </a:r>
                <a:endPara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  <a:p>
                <a:pPr algn="ctr"/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효과성</a:t>
                </a:r>
              </a:p>
            </p:txBody>
          </p:sp>
          <p:sp>
            <p:nvSpPr>
              <p:cNvPr id="130" name="직사각형 129"/>
              <p:cNvSpPr/>
              <p:nvPr/>
            </p:nvSpPr>
            <p:spPr bwMode="ltGray">
              <a:xfrm>
                <a:off x="4553331" y="5538104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ko-KR" altLang="en-US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요주의 필터링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31" name="직사각형 130"/>
              <p:cNvSpPr/>
              <p:nvPr/>
            </p:nvSpPr>
            <p:spPr bwMode="ltGray">
              <a:xfrm>
                <a:off x="4553331" y="5723783"/>
                <a:ext cx="963976" cy="1593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/>
                <a:r>
                  <a:rPr lang="en-US" altLang="ko-KR" sz="1000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…</a:t>
                </a:r>
                <a:endParaRPr lang="ko-KR" altLang="en-US" sz="10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132" name="직사각형 131"/>
              <p:cNvSpPr/>
              <p:nvPr/>
            </p:nvSpPr>
            <p:spPr bwMode="ltGray">
              <a:xfrm>
                <a:off x="5614621" y="5538784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en-US" altLang="ko-KR" sz="1000" b="1" kern="0" spc="-100" dirty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Not Bad</a:t>
                </a:r>
              </a:p>
            </p:txBody>
          </p:sp>
          <p:sp>
            <p:nvSpPr>
              <p:cNvPr id="133" name="직사각형 132"/>
              <p:cNvSpPr/>
              <p:nvPr/>
            </p:nvSpPr>
            <p:spPr bwMode="ltGray">
              <a:xfrm>
                <a:off x="5614621" y="5724630"/>
                <a:ext cx="621232" cy="158549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0" tIns="48636" rIns="0" bIns="48636" anchor="ctr"/>
              <a:lstStyle/>
              <a:p>
                <a:pPr algn="ctr" defTabSz="972559">
                  <a:spcBef>
                    <a:spcPts val="601"/>
                  </a:spcBef>
                </a:pPr>
                <a:r>
                  <a:rPr lang="en-US" altLang="ko-KR" sz="1000" b="1" kern="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Good</a:t>
                </a:r>
                <a:endParaRPr lang="en-US" altLang="ko-KR" sz="1000" b="1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05" name="그룹 104"/>
            <p:cNvGrpSpPr/>
            <p:nvPr/>
          </p:nvGrpSpPr>
          <p:grpSpPr>
            <a:xfrm>
              <a:off x="6604837" y="4220065"/>
              <a:ext cx="2664651" cy="1746470"/>
              <a:chOff x="6606211" y="4133690"/>
              <a:chExt cx="2895961" cy="2062216"/>
            </a:xfrm>
          </p:grpSpPr>
          <p:pic>
            <p:nvPicPr>
              <p:cNvPr id="110" name="그림 109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610822" y="4133690"/>
                <a:ext cx="2891350" cy="2062216"/>
              </a:xfrm>
              <a:prstGeom prst="rect">
                <a:avLst/>
              </a:prstGeom>
            </p:spPr>
          </p:pic>
          <p:sp>
            <p:nvSpPr>
              <p:cNvPr id="111" name="TextBox 110"/>
              <p:cNvSpPr txBox="1"/>
              <p:nvPr/>
            </p:nvSpPr>
            <p:spPr>
              <a:xfrm>
                <a:off x="7073192" y="6028126"/>
                <a:ext cx="729761" cy="1500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non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ko-KR" altLang="en-US" sz="100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통제효과성</a:t>
                </a: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 rot="16200000">
                <a:off x="6249332" y="5139709"/>
                <a:ext cx="863835" cy="1500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non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en-US" altLang="ko-KR" sz="100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ML/TF </a:t>
                </a:r>
                <a:r>
                  <a:rPr lang="ko-KR" altLang="en-US" sz="100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위험</a:t>
                </a:r>
              </a:p>
            </p:txBody>
          </p:sp>
          <p:sp>
            <p:nvSpPr>
              <p:cNvPr id="113" name="TextBox 112"/>
              <p:cNvSpPr txBox="1"/>
              <p:nvPr/>
            </p:nvSpPr>
            <p:spPr>
              <a:xfrm>
                <a:off x="8606216" y="4176222"/>
                <a:ext cx="729761" cy="1500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non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ko-KR" altLang="en-US" sz="100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잔여위험 등급</a:t>
                </a: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6771564" y="4176222"/>
                <a:ext cx="1221816" cy="1500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non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ko-KR" altLang="en-US" sz="100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잔여위험</a:t>
                </a:r>
                <a:r>
                  <a:rPr lang="en-US" altLang="ko-KR" sz="1000" spc="-100" dirty="0" smtClean="0">
                    <a:solidFill>
                      <a:srgbClr val="000000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 Matrix</a:t>
                </a:r>
                <a:endParaRPr lang="ko-KR" altLang="en-US" sz="100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sp>
          <p:nvSpPr>
            <p:cNvPr id="106" name="아래쪽 화살표 105"/>
            <p:cNvSpPr/>
            <p:nvPr/>
          </p:nvSpPr>
          <p:spPr bwMode="ltGray">
            <a:xfrm>
              <a:off x="7496854" y="3714660"/>
              <a:ext cx="997523" cy="278810"/>
            </a:xfrm>
            <a:prstGeom prst="downArrow">
              <a:avLst>
                <a:gd name="adj1" fmla="val 76374"/>
                <a:gd name="adj2" fmla="val 51845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07" name="아래쪽 화살표 106"/>
            <p:cNvSpPr/>
            <p:nvPr/>
          </p:nvSpPr>
          <p:spPr bwMode="ltGray">
            <a:xfrm>
              <a:off x="4519046" y="3714660"/>
              <a:ext cx="997523" cy="278810"/>
            </a:xfrm>
            <a:prstGeom prst="downArrow">
              <a:avLst>
                <a:gd name="adj1" fmla="val 76374"/>
                <a:gd name="adj2" fmla="val 51845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08" name="아래쪽 화살표 107"/>
            <p:cNvSpPr/>
            <p:nvPr/>
          </p:nvSpPr>
          <p:spPr bwMode="ltGray">
            <a:xfrm>
              <a:off x="1658219" y="3714660"/>
              <a:ext cx="997523" cy="278810"/>
            </a:xfrm>
            <a:prstGeom prst="downArrow">
              <a:avLst>
                <a:gd name="adj1" fmla="val 76374"/>
                <a:gd name="adj2" fmla="val 51845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86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1 </a:t>
            </a:r>
            <a:r>
              <a:rPr lang="ko-KR" altLang="en-US" dirty="0" smtClean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관리 전략 </a:t>
            </a:r>
            <a:r>
              <a:rPr lang="ko-KR" altLang="en-US" dirty="0" smtClean="0"/>
              <a:t>수립</a:t>
            </a:r>
            <a:r>
              <a:rPr lang="ko-KR" altLang="en-US" dirty="0"/>
              <a:t> </a:t>
            </a:r>
            <a:r>
              <a:rPr lang="en-US" altLang="ko-KR" dirty="0" smtClean="0"/>
              <a:t>(2/5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8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8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77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75580" y="3824503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650931" y="382728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730328" y="382728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 bwMode="ltGray">
          <a:xfrm>
            <a:off x="6534550" y="4043623"/>
            <a:ext cx="2997609" cy="226234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0" tIns="48636" rIns="0" bIns="48636" anchor="ctr"/>
          <a:lstStyle/>
          <a:p>
            <a:pPr algn="ctr" defTabSz="972559"/>
            <a:endParaRPr lang="ko-KR" altLang="en-US" sz="1200" b="1" kern="0" spc="-100" dirty="0">
              <a:solidFill>
                <a:srgbClr val="000000">
                  <a:lumMod val="95000"/>
                  <a:lumOff val="5000"/>
                </a:srgb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504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조직 체계 정의 시에는 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처리기준 해설서“ 상의 위험관리 조직 체계와 부산은행의 조직 특성을 고려하여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조직을 정의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각 조직 간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&amp;R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정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관리 조직 체계 구성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9" name="직사각형 132"/>
          <p:cNvSpPr>
            <a:spLocks noChangeArrowheads="1"/>
          </p:cNvSpPr>
          <p:nvPr/>
        </p:nvSpPr>
        <p:spPr bwMode="auto">
          <a:xfrm>
            <a:off x="864169" y="3681276"/>
            <a:ext cx="2406750" cy="2186242"/>
          </a:xfrm>
          <a:prstGeom prst="rect">
            <a:avLst/>
          </a:prstGeom>
          <a:noFill/>
          <a:ln w="19050" algn="ctr">
            <a:solidFill>
              <a:srgbClr val="000000">
                <a:lumMod val="50000"/>
                <a:lumOff val="50000"/>
              </a:srgbClr>
            </a:solidFill>
            <a:prstDash val="dash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ko-KR" altLang="en-US" sz="12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0" name="직사각형 134"/>
          <p:cNvSpPr>
            <a:spLocks noChangeArrowheads="1"/>
          </p:cNvSpPr>
          <p:nvPr/>
        </p:nvSpPr>
        <p:spPr bwMode="auto">
          <a:xfrm>
            <a:off x="3760687" y="3685337"/>
            <a:ext cx="2410788" cy="2182181"/>
          </a:xfrm>
          <a:prstGeom prst="rect">
            <a:avLst/>
          </a:prstGeom>
          <a:noFill/>
          <a:ln w="19050" algn="ctr">
            <a:solidFill>
              <a:srgbClr val="000000">
                <a:lumMod val="50000"/>
                <a:lumOff val="50000"/>
              </a:srgbClr>
            </a:solidFill>
            <a:prstDash val="dash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ko-KR" altLang="en-US" sz="12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1" name="직사각형 136"/>
          <p:cNvSpPr>
            <a:spLocks noChangeArrowheads="1"/>
          </p:cNvSpPr>
          <p:nvPr/>
        </p:nvSpPr>
        <p:spPr bwMode="auto">
          <a:xfrm>
            <a:off x="6661243" y="3684405"/>
            <a:ext cx="2432217" cy="2186869"/>
          </a:xfrm>
          <a:prstGeom prst="rect">
            <a:avLst/>
          </a:prstGeom>
          <a:noFill/>
          <a:ln w="19050" algn="ctr">
            <a:solidFill>
              <a:srgbClr val="000000">
                <a:lumMod val="50000"/>
                <a:lumOff val="50000"/>
              </a:srgbClr>
            </a:solidFill>
            <a:prstDash val="dash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ko-KR" altLang="en-US" sz="12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맑은 고딕"/>
              <a:ea typeface="맑은 고딕"/>
              <a:cs typeface="Arial" pitchFamily="34" charset="0"/>
            </a:endParaRPr>
          </a:p>
        </p:txBody>
      </p:sp>
      <p:sp>
        <p:nvSpPr>
          <p:cNvPr id="22" name="직사각형 104"/>
          <p:cNvSpPr>
            <a:spLocks noChangeArrowheads="1"/>
          </p:cNvSpPr>
          <p:nvPr/>
        </p:nvSpPr>
        <p:spPr bwMode="auto">
          <a:xfrm>
            <a:off x="3827289" y="2916246"/>
            <a:ext cx="2260059" cy="46800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관리위원회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직사각형 108"/>
          <p:cNvSpPr>
            <a:spLocks noChangeArrowheads="1"/>
          </p:cNvSpPr>
          <p:nvPr/>
        </p:nvSpPr>
        <p:spPr bwMode="auto">
          <a:xfrm>
            <a:off x="939832" y="4013348"/>
            <a:ext cx="2223009" cy="1775220"/>
          </a:xfrm>
          <a:prstGeom prst="rect">
            <a:avLst/>
          </a:prstGeom>
          <a:noFill/>
          <a:ln w="317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자금세탁 위험 식별 및 관리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내부통제 활동에 대한 평가 수행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내부통제 평가결과 발견된 개선사항에 대한 조치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26" name="직사각형 119"/>
          <p:cNvSpPr>
            <a:spLocks noChangeArrowheads="1"/>
          </p:cNvSpPr>
          <p:nvPr/>
        </p:nvSpPr>
        <p:spPr bwMode="auto">
          <a:xfrm>
            <a:off x="3848263" y="4000094"/>
            <a:ext cx="2223009" cy="1788474"/>
          </a:xfrm>
          <a:prstGeom prst="rect">
            <a:avLst/>
          </a:prstGeom>
          <a:noFill/>
          <a:ln w="317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전사 자금세탁 위험평가 계획 수립 및 평가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내부통제 활동 평가에 대한 확인 및 검증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전사 자금세탁 위험에 대한 개선조치 관리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자금세탁 위험관리 교육수행 및 문화 확산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en-US" altLang="ko-KR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FIU</a:t>
            </a: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에 위험평가 결과 보고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27" name="직사각형 125"/>
          <p:cNvSpPr>
            <a:spLocks noChangeArrowheads="1"/>
          </p:cNvSpPr>
          <p:nvPr/>
        </p:nvSpPr>
        <p:spPr bwMode="auto">
          <a:xfrm>
            <a:off x="6761221" y="4013348"/>
            <a:ext cx="2223009" cy="1776490"/>
          </a:xfrm>
          <a:prstGeom prst="rect">
            <a:avLst/>
          </a:prstGeom>
          <a:noFill/>
          <a:ln w="317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anchor="ctr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기반 자금세탁방지 감사 계획 수립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전사 자금세탁 위험평가 절차의 적정성에 대한 감사 수행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전사 자금세탁 위험평가 감사 결과를 감사위원회</a:t>
            </a:r>
            <a:r>
              <a:rPr kumimoji="0" lang="en-US" altLang="ko-KR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r>
              <a:rPr kumimoji="0" lang="ko-KR" altLang="en-US" sz="1000" b="0" i="0" u="none" strike="noStrike" kern="0" cap="none" spc="-10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이사회에 보고</a:t>
            </a:r>
            <a:endParaRPr kumimoji="0" lang="en-US" altLang="ko-KR" sz="1000" b="0" i="0" u="none" strike="noStrike" kern="0" cap="none" spc="-100" normalizeH="0" baseline="0" noProof="0" dirty="0" smtClean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cxnSp>
        <p:nvCxnSpPr>
          <p:cNvPr id="28" name="꺾인 연결선 153"/>
          <p:cNvCxnSpPr>
            <a:cxnSpLocks noChangeShapeType="1"/>
            <a:stCxn id="21" idx="2"/>
            <a:endCxn id="19" idx="2"/>
          </p:cNvCxnSpPr>
          <p:nvPr/>
        </p:nvCxnSpPr>
        <p:spPr bwMode="auto">
          <a:xfrm rot="5400000" flipH="1">
            <a:off x="4970570" y="2964492"/>
            <a:ext cx="3756" cy="5809808"/>
          </a:xfrm>
          <a:prstGeom prst="bentConnector3">
            <a:avLst>
              <a:gd name="adj1" fmla="val -6086262"/>
            </a:avLst>
          </a:prstGeom>
          <a:noFill/>
          <a:ln w="12700" algn="ctr">
            <a:solidFill>
              <a:srgbClr val="000000">
                <a:lumMod val="50000"/>
                <a:lumOff val="50000"/>
              </a:srgbClr>
            </a:solidFill>
            <a:round/>
            <a:headEnd type="none" w="med" len="med"/>
            <a:tailEnd type="triangle" w="med" len="med"/>
          </a:ln>
        </p:spPr>
      </p:cxnSp>
      <p:sp>
        <p:nvSpPr>
          <p:cNvPr id="29" name="TextBox 159"/>
          <p:cNvSpPr txBox="1">
            <a:spLocks noChangeArrowheads="1"/>
          </p:cNvSpPr>
          <p:nvPr/>
        </p:nvSpPr>
        <p:spPr bwMode="auto">
          <a:xfrm>
            <a:off x="4283606" y="5867518"/>
            <a:ext cx="134072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적정성 점검</a:t>
            </a:r>
          </a:p>
        </p:txBody>
      </p:sp>
      <p:cxnSp>
        <p:nvCxnSpPr>
          <p:cNvPr id="30" name="직선 화살표 연결선 170"/>
          <p:cNvCxnSpPr>
            <a:cxnSpLocks noChangeShapeType="1"/>
          </p:cNvCxnSpPr>
          <p:nvPr/>
        </p:nvCxnSpPr>
        <p:spPr bwMode="auto">
          <a:xfrm rot="10800000">
            <a:off x="3148565" y="4280093"/>
            <a:ext cx="703953" cy="1270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31" name="직선 화살표 연결선 181"/>
          <p:cNvCxnSpPr>
            <a:cxnSpLocks noChangeShapeType="1"/>
          </p:cNvCxnSpPr>
          <p:nvPr/>
        </p:nvCxnSpPr>
        <p:spPr bwMode="auto">
          <a:xfrm>
            <a:off x="3148564" y="5460866"/>
            <a:ext cx="703953" cy="1269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32" name="TextBox 182"/>
          <p:cNvSpPr txBox="1">
            <a:spLocks noChangeArrowheads="1"/>
          </p:cNvSpPr>
          <p:nvPr/>
        </p:nvSpPr>
        <p:spPr bwMode="auto">
          <a:xfrm>
            <a:off x="3087178" y="3892986"/>
            <a:ext cx="83248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0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관리</a:t>
            </a:r>
            <a:endParaRPr kumimoji="0" lang="en-US" altLang="ko-KR" sz="10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latinLnBrk="0">
              <a:buSzPct val="90000"/>
            </a:pPr>
            <a:r>
              <a:rPr kumimoji="0" lang="ko-KR" altLang="en-US" sz="10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침</a:t>
            </a:r>
            <a:endParaRPr kumimoji="0" lang="ko-KR" altLang="en-US" sz="10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33" name="TextBox 183"/>
          <p:cNvSpPr txBox="1">
            <a:spLocks noChangeArrowheads="1"/>
          </p:cNvSpPr>
          <p:nvPr/>
        </p:nvSpPr>
        <p:spPr bwMode="auto">
          <a:xfrm>
            <a:off x="3087178" y="5078682"/>
            <a:ext cx="83248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0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결과</a:t>
            </a:r>
            <a:endParaRPr kumimoji="0" lang="en-US" altLang="ko-KR" sz="10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latinLnBrk="0">
              <a:buSzPct val="90000"/>
            </a:pPr>
            <a:r>
              <a:rPr kumimoji="0" lang="ko-KR" altLang="en-US" sz="10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</a:t>
            </a:r>
            <a:endParaRPr kumimoji="0" lang="ko-KR" altLang="en-US" sz="10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cxnSp>
        <p:nvCxnSpPr>
          <p:cNvPr id="34" name="직선 화살표 연결선 186"/>
          <p:cNvCxnSpPr>
            <a:cxnSpLocks noChangeShapeType="1"/>
            <a:stCxn id="27" idx="1"/>
            <a:endCxn id="26" idx="3"/>
          </p:cNvCxnSpPr>
          <p:nvPr/>
        </p:nvCxnSpPr>
        <p:spPr bwMode="auto">
          <a:xfrm flipH="1" flipV="1">
            <a:off x="6071272" y="4894331"/>
            <a:ext cx="689949" cy="7262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35" name="TextBox 187"/>
          <p:cNvSpPr txBox="1">
            <a:spLocks noChangeArrowheads="1"/>
          </p:cNvSpPr>
          <p:nvPr/>
        </p:nvSpPr>
        <p:spPr bwMode="auto">
          <a:xfrm>
            <a:off x="6063441" y="4484427"/>
            <a:ext cx="68723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0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적정성 </a:t>
            </a:r>
            <a:endParaRPr kumimoji="0" lang="en-US" altLang="ko-KR" sz="10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latinLnBrk="0">
              <a:buSzPct val="90000"/>
            </a:pPr>
            <a:r>
              <a:rPr kumimoji="0" lang="ko-KR" altLang="en-US" sz="10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점검</a:t>
            </a:r>
          </a:p>
        </p:txBody>
      </p:sp>
      <p:sp>
        <p:nvSpPr>
          <p:cNvPr id="36" name="TextBox 195"/>
          <p:cNvSpPr txBox="1">
            <a:spLocks noChangeArrowheads="1"/>
          </p:cNvSpPr>
          <p:nvPr/>
        </p:nvSpPr>
        <p:spPr bwMode="auto">
          <a:xfrm>
            <a:off x="1286994" y="3417174"/>
            <a:ext cx="83248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실행</a:t>
            </a:r>
            <a:endParaRPr kumimoji="0" lang="en-US" altLang="ko-KR" sz="11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37" name="TextBox 196"/>
          <p:cNvSpPr txBox="1">
            <a:spLocks noChangeArrowheads="1"/>
          </p:cNvSpPr>
          <p:nvPr/>
        </p:nvSpPr>
        <p:spPr bwMode="auto">
          <a:xfrm>
            <a:off x="2226662" y="2915226"/>
            <a:ext cx="150522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주요 의사결정 수행</a:t>
            </a:r>
          </a:p>
        </p:txBody>
      </p:sp>
      <p:sp>
        <p:nvSpPr>
          <p:cNvPr id="38" name="TextBox 197"/>
          <p:cNvSpPr txBox="1">
            <a:spLocks noChangeArrowheads="1"/>
          </p:cNvSpPr>
          <p:nvPr/>
        </p:nvSpPr>
        <p:spPr bwMode="auto">
          <a:xfrm>
            <a:off x="4397248" y="2680289"/>
            <a:ext cx="55575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</a:t>
            </a:r>
          </a:p>
        </p:txBody>
      </p:sp>
      <p:sp>
        <p:nvSpPr>
          <p:cNvPr id="44" name="TextBox 198"/>
          <p:cNvSpPr txBox="1">
            <a:spLocks noChangeArrowheads="1"/>
          </p:cNvSpPr>
          <p:nvPr/>
        </p:nvSpPr>
        <p:spPr bwMode="auto">
          <a:xfrm>
            <a:off x="4320790" y="3438148"/>
            <a:ext cx="56860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</a:t>
            </a:r>
          </a:p>
        </p:txBody>
      </p:sp>
      <p:sp>
        <p:nvSpPr>
          <p:cNvPr id="45" name="TextBox 199"/>
          <p:cNvSpPr txBox="1">
            <a:spLocks noChangeArrowheads="1"/>
          </p:cNvSpPr>
          <p:nvPr/>
        </p:nvSpPr>
        <p:spPr bwMode="auto">
          <a:xfrm>
            <a:off x="5005871" y="3426116"/>
            <a:ext cx="121747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승인</a:t>
            </a:r>
            <a:r>
              <a:rPr kumimoji="0" lang="en-US" altLang="ko-KR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/ </a:t>
            </a: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실행지시</a:t>
            </a:r>
          </a:p>
        </p:txBody>
      </p:sp>
      <p:sp>
        <p:nvSpPr>
          <p:cNvPr id="46" name="TextBox 201"/>
          <p:cNvSpPr txBox="1">
            <a:spLocks noChangeArrowheads="1"/>
          </p:cNvSpPr>
          <p:nvPr/>
        </p:nvSpPr>
        <p:spPr bwMode="auto">
          <a:xfrm>
            <a:off x="7748567" y="3028688"/>
            <a:ext cx="121747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검토</a:t>
            </a:r>
            <a:r>
              <a:rPr kumimoji="0" lang="en-US" altLang="ko-KR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/ </a:t>
            </a: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시</a:t>
            </a:r>
          </a:p>
        </p:txBody>
      </p:sp>
      <p:cxnSp>
        <p:nvCxnSpPr>
          <p:cNvPr id="47" name="Shape 203"/>
          <p:cNvCxnSpPr>
            <a:cxnSpLocks noChangeShapeType="1"/>
            <a:stCxn id="22" idx="1"/>
            <a:endCxn id="19" idx="0"/>
          </p:cNvCxnSpPr>
          <p:nvPr/>
        </p:nvCxnSpPr>
        <p:spPr bwMode="auto">
          <a:xfrm rot="10800000" flipV="1">
            <a:off x="2067545" y="3150246"/>
            <a:ext cx="1759745" cy="531030"/>
          </a:xfrm>
          <a:prstGeom prst="bentConnector2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48" name="직선 화살표 연결선 207"/>
          <p:cNvCxnSpPr>
            <a:cxnSpLocks noChangeShapeType="1"/>
          </p:cNvCxnSpPr>
          <p:nvPr/>
        </p:nvCxnSpPr>
        <p:spPr bwMode="auto">
          <a:xfrm rot="16200000" flipV="1">
            <a:off x="4678805" y="3552066"/>
            <a:ext cx="345553" cy="1509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49" name="직선 화살표 연결선 218"/>
          <p:cNvCxnSpPr>
            <a:cxnSpLocks noChangeShapeType="1"/>
          </p:cNvCxnSpPr>
          <p:nvPr/>
        </p:nvCxnSpPr>
        <p:spPr bwMode="auto">
          <a:xfrm rot="16200000" flipH="1">
            <a:off x="4901131" y="3552067"/>
            <a:ext cx="345553" cy="1509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0" name="직선 화살표 연결선 220"/>
          <p:cNvCxnSpPr>
            <a:cxnSpLocks noChangeShapeType="1"/>
            <a:stCxn id="22" idx="0"/>
            <a:endCxn id="52" idx="2"/>
          </p:cNvCxnSpPr>
          <p:nvPr/>
        </p:nvCxnSpPr>
        <p:spPr bwMode="auto">
          <a:xfrm flipV="1">
            <a:off x="4957319" y="2657024"/>
            <a:ext cx="0" cy="259222"/>
          </a:xfrm>
          <a:prstGeom prst="straightConnector1">
            <a:avLst/>
          </a:prstGeom>
          <a:noFill/>
          <a:ln w="15875" algn="ctr">
            <a:solidFill>
              <a:srgbClr val="000000">
                <a:lumMod val="50000"/>
                <a:lumOff val="50000"/>
              </a:srgb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51" name="Shape 231"/>
          <p:cNvCxnSpPr>
            <a:cxnSpLocks noChangeShapeType="1"/>
            <a:endCxn id="22" idx="3"/>
          </p:cNvCxnSpPr>
          <p:nvPr/>
        </p:nvCxnSpPr>
        <p:spPr bwMode="auto">
          <a:xfrm rot="10800000">
            <a:off x="6087349" y="3150247"/>
            <a:ext cx="1011134" cy="503429"/>
          </a:xfrm>
          <a:prstGeom prst="bentConnector3">
            <a:avLst>
              <a:gd name="adj1" fmla="val -3098"/>
            </a:avLst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52" name="직사각형 100"/>
          <p:cNvSpPr>
            <a:spLocks noChangeArrowheads="1"/>
          </p:cNvSpPr>
          <p:nvPr/>
        </p:nvSpPr>
        <p:spPr bwMode="auto">
          <a:xfrm>
            <a:off x="3827289" y="2397859"/>
            <a:ext cx="2260059" cy="259165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사회 및 경영진</a:t>
            </a:r>
          </a:p>
        </p:txBody>
      </p:sp>
      <p:sp>
        <p:nvSpPr>
          <p:cNvPr id="53" name="직사각형 106"/>
          <p:cNvSpPr>
            <a:spLocks noChangeArrowheads="1"/>
          </p:cNvSpPr>
          <p:nvPr/>
        </p:nvSpPr>
        <p:spPr bwMode="auto">
          <a:xfrm>
            <a:off x="939832" y="3769541"/>
            <a:ext cx="2223009" cy="243807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점 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본사부서</a:t>
            </a:r>
          </a:p>
        </p:txBody>
      </p:sp>
      <p:sp>
        <p:nvSpPr>
          <p:cNvPr id="55" name="직사각형 123"/>
          <p:cNvSpPr>
            <a:spLocks noChangeArrowheads="1"/>
          </p:cNvSpPr>
          <p:nvPr/>
        </p:nvSpPr>
        <p:spPr bwMode="auto">
          <a:xfrm>
            <a:off x="6761221" y="3769541"/>
            <a:ext cx="2223009" cy="243807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감사부</a:t>
            </a:r>
          </a:p>
        </p:txBody>
      </p:sp>
      <p:sp>
        <p:nvSpPr>
          <p:cNvPr id="56" name="직사각형 100"/>
          <p:cNvSpPr>
            <a:spLocks noChangeArrowheads="1"/>
          </p:cNvSpPr>
          <p:nvPr/>
        </p:nvSpPr>
        <p:spPr bwMode="auto">
          <a:xfrm>
            <a:off x="6761541" y="2397859"/>
            <a:ext cx="2260059" cy="259165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감사위원회</a:t>
            </a:r>
          </a:p>
        </p:txBody>
      </p:sp>
      <p:cxnSp>
        <p:nvCxnSpPr>
          <p:cNvPr id="57" name="직선 화살표 연결선 207"/>
          <p:cNvCxnSpPr>
            <a:cxnSpLocks noChangeShapeType="1"/>
          </p:cNvCxnSpPr>
          <p:nvPr/>
        </p:nvCxnSpPr>
        <p:spPr bwMode="auto">
          <a:xfrm flipV="1">
            <a:off x="7719167" y="2668258"/>
            <a:ext cx="0" cy="972000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8" name="직선 화살표 연결선 218"/>
          <p:cNvCxnSpPr>
            <a:cxnSpLocks noChangeShapeType="1"/>
          </p:cNvCxnSpPr>
          <p:nvPr/>
        </p:nvCxnSpPr>
        <p:spPr bwMode="auto">
          <a:xfrm>
            <a:off x="7941493" y="2678654"/>
            <a:ext cx="0" cy="972000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59" name="TextBox 197"/>
          <p:cNvSpPr txBox="1">
            <a:spLocks noChangeArrowheads="1"/>
          </p:cNvSpPr>
          <p:nvPr/>
        </p:nvSpPr>
        <p:spPr bwMode="auto">
          <a:xfrm>
            <a:off x="7193886" y="3348846"/>
            <a:ext cx="55575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0">
              <a:buSzPct val="90000"/>
            </a:pPr>
            <a:r>
              <a:rPr kumimoji="0" lang="ko-KR" altLang="en-US" sz="11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</a:t>
            </a:r>
          </a:p>
        </p:txBody>
      </p:sp>
      <p:sp>
        <p:nvSpPr>
          <p:cNvPr id="25" name="직사각형 117"/>
          <p:cNvSpPr>
            <a:spLocks noChangeArrowheads="1"/>
          </p:cNvSpPr>
          <p:nvPr/>
        </p:nvSpPr>
        <p:spPr bwMode="auto">
          <a:xfrm>
            <a:off x="3848263" y="3769542"/>
            <a:ext cx="2223009" cy="243807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담조직</a:t>
            </a:r>
          </a:p>
        </p:txBody>
      </p:sp>
      <p:sp>
        <p:nvSpPr>
          <p:cNvPr id="6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1 </a:t>
            </a:r>
            <a:r>
              <a:rPr lang="ko-KR" altLang="en-US" dirty="0" smtClean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관리 전략 </a:t>
            </a:r>
            <a:r>
              <a:rPr lang="ko-KR" altLang="en-US" dirty="0" smtClean="0"/>
              <a:t>수립</a:t>
            </a:r>
            <a:r>
              <a:rPr lang="ko-KR" altLang="en-US" dirty="0"/>
              <a:t> </a:t>
            </a:r>
            <a:r>
              <a:rPr lang="en-US" altLang="ko-KR" dirty="0" smtClean="0"/>
              <a:t>(3/5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6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6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54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751148" y="229438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1301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산은행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관리 프로세스를 계획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 및 모니터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결과 보고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단계로 구분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세부 업무를 효과적으로 수행할 수 있는 상세 절차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 관리 프로세스 수립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1/2)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9" name="표 18"/>
          <p:cNvGraphicFramePr>
            <a:graphicFrameLocks noGrp="1"/>
          </p:cNvGraphicFramePr>
          <p:nvPr>
            <p:extLst/>
          </p:nvPr>
        </p:nvGraphicFramePr>
        <p:xfrm>
          <a:off x="632520" y="2630847"/>
          <a:ext cx="8627488" cy="3523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90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1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5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spc="-100" baseline="0" dirty="0" smtClean="0">
                          <a:solidFill>
                            <a:schemeClr val="tx1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이사회</a:t>
                      </a:r>
                      <a:r>
                        <a:rPr lang="en-US" altLang="ko-KR" sz="1000" b="0" spc="-100" baseline="0" dirty="0" smtClean="0">
                          <a:solidFill>
                            <a:schemeClr val="tx1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000" b="0" spc="-100" baseline="0" dirty="0" smtClean="0">
                          <a:solidFill>
                            <a:schemeClr val="tx1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경영진</a:t>
                      </a:r>
                      <a:endParaRPr lang="en-US" altLang="ko-KR" sz="1000" b="0" spc="-100" baseline="0" dirty="0" smtClean="0">
                        <a:solidFill>
                          <a:schemeClr val="tx1"/>
                        </a:solidFill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spc="-1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254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spc="-100" baseline="0" dirty="0" smtClean="0"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ML/TF</a:t>
                      </a:r>
                    </a:p>
                    <a:p>
                      <a:pPr algn="ctr" latinLnBrk="1"/>
                      <a:r>
                        <a:rPr lang="ko-KR" altLang="en-US" sz="1000" b="0" spc="-100" baseline="0" dirty="0" smtClean="0"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위험관리</a:t>
                      </a:r>
                      <a:endParaRPr lang="en-US" altLang="ko-KR" sz="1000" b="0" spc="-100" baseline="0" dirty="0" smtClean="0"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1000" b="0" spc="-100" baseline="0" dirty="0" smtClean="0"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담당자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spc="-1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63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spc="-100" baseline="0" dirty="0" smtClean="0">
                          <a:solidFill>
                            <a:schemeClr val="tx1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창구</a:t>
                      </a:r>
                      <a:endParaRPr lang="en-US" altLang="ko-KR" sz="1000" b="0" spc="-100" baseline="0" dirty="0" smtClean="0">
                        <a:solidFill>
                          <a:schemeClr val="tx1"/>
                        </a:solidFill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1000" b="0" spc="-100" baseline="0" dirty="0" smtClean="0">
                          <a:solidFill>
                            <a:schemeClr val="tx1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담당자</a:t>
                      </a:r>
                      <a:endParaRPr lang="en-US" altLang="ko-KR" sz="1000" b="0" spc="-100" baseline="0" dirty="0" smtClean="0">
                        <a:solidFill>
                          <a:schemeClr val="tx1"/>
                        </a:solidFill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spc="-1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0" name="직사각형 19"/>
          <p:cNvSpPr/>
          <p:nvPr/>
        </p:nvSpPr>
        <p:spPr bwMode="auto">
          <a:xfrm>
            <a:off x="1385510" y="5780680"/>
            <a:ext cx="901757" cy="27691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관리 목표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검토 및 피드백 </a:t>
            </a:r>
          </a:p>
        </p:txBody>
      </p:sp>
      <p:sp>
        <p:nvSpPr>
          <p:cNvPr id="21" name="직사각형 20"/>
          <p:cNvSpPr/>
          <p:nvPr/>
        </p:nvSpPr>
        <p:spPr bwMode="auto">
          <a:xfrm>
            <a:off x="1964670" y="5279973"/>
            <a:ext cx="901757" cy="276914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관련부서 협의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피드백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1964564" y="4867942"/>
            <a:ext cx="901757" cy="27691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계별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정계획 수립</a:t>
            </a:r>
          </a:p>
        </p:txBody>
      </p:sp>
      <p:sp>
        <p:nvSpPr>
          <p:cNvPr id="23" name="직사각형 22"/>
          <p:cNvSpPr/>
          <p:nvPr/>
        </p:nvSpPr>
        <p:spPr bwMode="auto">
          <a:xfrm>
            <a:off x="1950975" y="2698626"/>
            <a:ext cx="901757" cy="27691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관리 목표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운영계획 보고</a:t>
            </a:r>
          </a:p>
        </p:txBody>
      </p:sp>
      <p:cxnSp>
        <p:nvCxnSpPr>
          <p:cNvPr id="25" name="꺾인 연결선 24"/>
          <p:cNvCxnSpPr>
            <a:stCxn id="23" idx="3"/>
          </p:cNvCxnSpPr>
          <p:nvPr/>
        </p:nvCxnSpPr>
        <p:spPr>
          <a:xfrm>
            <a:off x="2852732" y="2837084"/>
            <a:ext cx="104081" cy="381212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직사각형 25"/>
          <p:cNvSpPr/>
          <p:nvPr/>
        </p:nvSpPr>
        <p:spPr bwMode="ltGray">
          <a:xfrm>
            <a:off x="2915740" y="5782816"/>
            <a:ext cx="901757" cy="27691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7" name="직선 화살표 연결선 84"/>
          <p:cNvCxnSpPr/>
          <p:nvPr/>
        </p:nvCxnSpPr>
        <p:spPr>
          <a:xfrm flipH="1">
            <a:off x="3633604" y="3847378"/>
            <a:ext cx="185" cy="193330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꺾인 연결선 27"/>
          <p:cNvCxnSpPr>
            <a:stCxn id="26" idx="3"/>
          </p:cNvCxnSpPr>
          <p:nvPr/>
        </p:nvCxnSpPr>
        <p:spPr>
          <a:xfrm flipV="1">
            <a:off x="3817497" y="3984629"/>
            <a:ext cx="234297" cy="1936645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직사각형 28"/>
          <p:cNvSpPr/>
          <p:nvPr/>
        </p:nvSpPr>
        <p:spPr bwMode="ltGray">
          <a:xfrm>
            <a:off x="4035684" y="5780680"/>
            <a:ext cx="901757" cy="27691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lnSpc>
                <a:spcPct val="90000"/>
              </a:lnSpc>
            </a:pP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설계 </a:t>
            </a: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30" name="직선 화살표 연결선 29"/>
          <p:cNvCxnSpPr>
            <a:stCxn id="70" idx="2"/>
            <a:endCxn id="29" idx="0"/>
          </p:cNvCxnSpPr>
          <p:nvPr/>
        </p:nvCxnSpPr>
        <p:spPr>
          <a:xfrm>
            <a:off x="4484584" y="5536579"/>
            <a:ext cx="1979" cy="244101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꺾인 연결선 30"/>
          <p:cNvCxnSpPr>
            <a:stCxn id="29" idx="3"/>
            <a:endCxn id="36" idx="2"/>
          </p:cNvCxnSpPr>
          <p:nvPr/>
        </p:nvCxnSpPr>
        <p:spPr>
          <a:xfrm flipV="1">
            <a:off x="4937441" y="5280879"/>
            <a:ext cx="497854" cy="638258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화살표 연결선 31"/>
          <p:cNvCxnSpPr>
            <a:stCxn id="47" idx="2"/>
            <a:endCxn id="20" idx="0"/>
          </p:cNvCxnSpPr>
          <p:nvPr/>
        </p:nvCxnSpPr>
        <p:spPr>
          <a:xfrm>
            <a:off x="1836389" y="4611346"/>
            <a:ext cx="0" cy="116933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꺾인 연결선 32"/>
          <p:cNvCxnSpPr>
            <a:stCxn id="47" idx="2"/>
            <a:endCxn id="22" idx="1"/>
          </p:cNvCxnSpPr>
          <p:nvPr/>
        </p:nvCxnSpPr>
        <p:spPr>
          <a:xfrm rot="16200000" flipH="1">
            <a:off x="1702951" y="4744784"/>
            <a:ext cx="395053" cy="128175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/>
          <p:cNvCxnSpPr/>
          <p:nvPr/>
        </p:nvCxnSpPr>
        <p:spPr>
          <a:xfrm flipH="1" flipV="1">
            <a:off x="2412238" y="2975540"/>
            <a:ext cx="13589" cy="189240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화살표 연결선 142"/>
          <p:cNvCxnSpPr>
            <a:stCxn id="21" idx="0"/>
            <a:endCxn id="22" idx="2"/>
          </p:cNvCxnSpPr>
          <p:nvPr/>
        </p:nvCxnSpPr>
        <p:spPr>
          <a:xfrm flipH="1" flipV="1">
            <a:off x="2415443" y="5144856"/>
            <a:ext cx="106" cy="13511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직사각형 35"/>
          <p:cNvSpPr/>
          <p:nvPr/>
        </p:nvSpPr>
        <p:spPr bwMode="auto">
          <a:xfrm>
            <a:off x="4984417" y="5003966"/>
            <a:ext cx="901756" cy="276913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RI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모니터링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4984372" y="4562465"/>
            <a:ext cx="901756" cy="276913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RI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니터링 결과 조치 및 확인</a:t>
            </a:r>
          </a:p>
        </p:txBody>
      </p:sp>
      <p:cxnSp>
        <p:nvCxnSpPr>
          <p:cNvPr id="38" name="직선 화살표 연결선 37"/>
          <p:cNvCxnSpPr>
            <a:stCxn id="36" idx="0"/>
            <a:endCxn id="37" idx="2"/>
          </p:cNvCxnSpPr>
          <p:nvPr/>
        </p:nvCxnSpPr>
        <p:spPr>
          <a:xfrm flipH="1" flipV="1">
            <a:off x="5435250" y="4839379"/>
            <a:ext cx="45" cy="16458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화살표 연결선 43"/>
          <p:cNvCxnSpPr>
            <a:stCxn id="37" idx="0"/>
            <a:endCxn id="50" idx="2"/>
          </p:cNvCxnSpPr>
          <p:nvPr/>
        </p:nvCxnSpPr>
        <p:spPr>
          <a:xfrm flipH="1" flipV="1">
            <a:off x="5435038" y="3917652"/>
            <a:ext cx="217" cy="64481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직사각형 44"/>
          <p:cNvSpPr/>
          <p:nvPr/>
        </p:nvSpPr>
        <p:spPr bwMode="ltGray">
          <a:xfrm>
            <a:off x="7094094" y="3643239"/>
            <a:ext cx="901757" cy="27691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결과에 대한 </a:t>
            </a:r>
          </a:p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토 및 </a:t>
            </a: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정</a:t>
            </a:r>
            <a:endParaRPr lang="ko-KR" altLang="en-US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46" name="직선 화살표 연결선 188"/>
          <p:cNvCxnSpPr>
            <a:stCxn id="60" idx="0"/>
            <a:endCxn id="45" idx="2"/>
          </p:cNvCxnSpPr>
          <p:nvPr/>
        </p:nvCxnSpPr>
        <p:spPr>
          <a:xfrm flipH="1" flipV="1">
            <a:off x="7544973" y="3920153"/>
            <a:ext cx="3055" cy="61164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직사각형 46"/>
          <p:cNvSpPr/>
          <p:nvPr/>
        </p:nvSpPr>
        <p:spPr bwMode="auto">
          <a:xfrm>
            <a:off x="1385510" y="4334433"/>
            <a:ext cx="901757" cy="276913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단위별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관리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목표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수립</a:t>
            </a:r>
          </a:p>
        </p:txBody>
      </p:sp>
      <p:cxnSp>
        <p:nvCxnSpPr>
          <p:cNvPr id="48" name="직선 화살표 연결선 47"/>
          <p:cNvCxnSpPr>
            <a:stCxn id="49" idx="2"/>
            <a:endCxn id="47" idx="0"/>
          </p:cNvCxnSpPr>
          <p:nvPr/>
        </p:nvCxnSpPr>
        <p:spPr>
          <a:xfrm>
            <a:off x="1836389" y="4042835"/>
            <a:ext cx="0" cy="29159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직사각형 48"/>
          <p:cNvSpPr/>
          <p:nvPr/>
        </p:nvSpPr>
        <p:spPr bwMode="auto">
          <a:xfrm>
            <a:off x="1385510" y="3765922"/>
            <a:ext cx="901757" cy="276913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전사위험인식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목표설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4983943" y="3640075"/>
            <a:ext cx="902190" cy="27757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ML/TF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 지표값 산정</a:t>
            </a:r>
            <a:r>
              <a:rPr lang="en-US" altLang="ko-KR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/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검토 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4985923" y="3213254"/>
            <a:ext cx="902190" cy="277577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L/TF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평가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결과 확정</a:t>
            </a:r>
          </a:p>
        </p:txBody>
      </p:sp>
      <p:sp>
        <p:nvSpPr>
          <p:cNvPr id="52" name="직사각형 51"/>
          <p:cNvSpPr/>
          <p:nvPr/>
        </p:nvSpPr>
        <p:spPr bwMode="auto">
          <a:xfrm>
            <a:off x="6001942" y="3638320"/>
            <a:ext cx="902190" cy="27757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고유위험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표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산출</a:t>
            </a:r>
          </a:p>
        </p:txBody>
      </p:sp>
      <p:cxnSp>
        <p:nvCxnSpPr>
          <p:cNvPr id="53" name="직선 화살표 연결선 73"/>
          <p:cNvCxnSpPr>
            <a:stCxn id="50" idx="0"/>
            <a:endCxn id="51" idx="2"/>
          </p:cNvCxnSpPr>
          <p:nvPr/>
        </p:nvCxnSpPr>
        <p:spPr>
          <a:xfrm flipV="1">
            <a:off x="5435038" y="3490831"/>
            <a:ext cx="1980" cy="149244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화살표 연결선 73"/>
          <p:cNvCxnSpPr>
            <a:stCxn id="50" idx="3"/>
            <a:endCxn id="52" idx="1"/>
          </p:cNvCxnSpPr>
          <p:nvPr/>
        </p:nvCxnSpPr>
        <p:spPr>
          <a:xfrm flipV="1">
            <a:off x="5886133" y="3777109"/>
            <a:ext cx="115810" cy="175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55"/>
          <p:cNvSpPr/>
          <p:nvPr/>
        </p:nvSpPr>
        <p:spPr bwMode="auto">
          <a:xfrm>
            <a:off x="6092936" y="4404491"/>
            <a:ext cx="902195" cy="277576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제</a:t>
            </a: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효과성</a:t>
            </a: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표값 산출 및 확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6092936" y="5245638"/>
            <a:ext cx="902195" cy="277579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제 효과성 </a:t>
            </a:r>
            <a:r>
              <a:rPr lang="en-US" altLang="ko-KR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CSA</a:t>
            </a: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수행 및 결과확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6092936" y="4828600"/>
            <a:ext cx="902194" cy="27757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제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효과성 평가 결과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종확정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7096808" y="5247920"/>
            <a:ext cx="902195" cy="27757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699" rIns="0" bIns="45699" anchor="ctr">
            <a:noAutofit/>
          </a:bodyPr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안 위험 운영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제 효과성 확정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7096930" y="4531794"/>
            <a:ext cx="902195" cy="27757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운영위험 </a:t>
            </a:r>
            <a:endParaRPr lang="en-US" altLang="ko-KR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표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산출</a:t>
            </a:r>
          </a:p>
        </p:txBody>
      </p:sp>
      <p:cxnSp>
        <p:nvCxnSpPr>
          <p:cNvPr id="61" name="직선 화살표 연결선 73"/>
          <p:cNvCxnSpPr>
            <a:stCxn id="56" idx="2"/>
            <a:endCxn id="58" idx="0"/>
          </p:cNvCxnSpPr>
          <p:nvPr/>
        </p:nvCxnSpPr>
        <p:spPr>
          <a:xfrm>
            <a:off x="6544034" y="4682067"/>
            <a:ext cx="0" cy="146533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73"/>
          <p:cNvCxnSpPr>
            <a:stCxn id="57" idx="0"/>
            <a:endCxn id="58" idx="2"/>
          </p:cNvCxnSpPr>
          <p:nvPr/>
        </p:nvCxnSpPr>
        <p:spPr>
          <a:xfrm flipV="1">
            <a:off x="6544034" y="5106178"/>
            <a:ext cx="0" cy="139460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화살표 연결선 73"/>
          <p:cNvCxnSpPr>
            <a:stCxn id="58" idx="3"/>
            <a:endCxn id="60" idx="2"/>
          </p:cNvCxnSpPr>
          <p:nvPr/>
        </p:nvCxnSpPr>
        <p:spPr>
          <a:xfrm flipV="1">
            <a:off x="6995130" y="4809372"/>
            <a:ext cx="552898" cy="158017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73"/>
          <p:cNvCxnSpPr>
            <a:stCxn id="59" idx="0"/>
            <a:endCxn id="60" idx="2"/>
          </p:cNvCxnSpPr>
          <p:nvPr/>
        </p:nvCxnSpPr>
        <p:spPr>
          <a:xfrm flipV="1">
            <a:off x="7547906" y="4809372"/>
            <a:ext cx="122" cy="438547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화살표 연결선 73"/>
          <p:cNvCxnSpPr>
            <a:stCxn id="37" idx="3"/>
            <a:endCxn id="56" idx="1"/>
          </p:cNvCxnSpPr>
          <p:nvPr/>
        </p:nvCxnSpPr>
        <p:spPr>
          <a:xfrm flipV="1">
            <a:off x="5886133" y="4543279"/>
            <a:ext cx="206803" cy="15764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화살표 연결선 188"/>
          <p:cNvCxnSpPr>
            <a:stCxn id="52" idx="3"/>
            <a:endCxn id="45" idx="1"/>
          </p:cNvCxnSpPr>
          <p:nvPr/>
        </p:nvCxnSpPr>
        <p:spPr>
          <a:xfrm>
            <a:off x="6904132" y="3777108"/>
            <a:ext cx="189962" cy="458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화살표 연결선 188"/>
          <p:cNvCxnSpPr>
            <a:stCxn id="51" idx="3"/>
            <a:endCxn id="45" idx="1"/>
          </p:cNvCxnSpPr>
          <p:nvPr/>
        </p:nvCxnSpPr>
        <p:spPr>
          <a:xfrm>
            <a:off x="5888112" y="3352040"/>
            <a:ext cx="1205982" cy="429656"/>
          </a:xfrm>
          <a:prstGeom prst="bentConnector3">
            <a:avLst>
              <a:gd name="adj1" fmla="val 89607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화살표 연결선 71"/>
          <p:cNvCxnSpPr>
            <a:stCxn id="37" idx="3"/>
            <a:endCxn id="57" idx="1"/>
          </p:cNvCxnSpPr>
          <p:nvPr/>
        </p:nvCxnSpPr>
        <p:spPr>
          <a:xfrm>
            <a:off x="5886133" y="4700921"/>
            <a:ext cx="206803" cy="683506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ltGray">
          <a:xfrm>
            <a:off x="4033705" y="4818566"/>
            <a:ext cx="901757" cy="276913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altLang="ko-KR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lnSpc>
                <a:spcPct val="90000"/>
              </a:lnSpc>
            </a:pP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사항 반영</a:t>
            </a:r>
            <a:endParaRPr lang="en-US" altLang="ko-KR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0" name="직사각형 69"/>
          <p:cNvSpPr/>
          <p:nvPr/>
        </p:nvSpPr>
        <p:spPr bwMode="ltGray">
          <a:xfrm>
            <a:off x="4033705" y="5259666"/>
            <a:ext cx="901757" cy="276913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lnSpc>
                <a:spcPct val="90000"/>
              </a:lnSpc>
            </a:pP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사항 반영</a:t>
            </a:r>
            <a:endParaRPr lang="en-US" altLang="ko-KR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032745" y="3942553"/>
            <a:ext cx="902192" cy="277576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RI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임계 치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설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032745" y="4384083"/>
            <a:ext cx="902192" cy="277576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RI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측정 결과에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  따른 후속조치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cxnSp>
        <p:nvCxnSpPr>
          <p:cNvPr id="73" name="직선 화살표 연결선 72"/>
          <p:cNvCxnSpPr>
            <a:stCxn id="69" idx="2"/>
            <a:endCxn id="70" idx="0"/>
          </p:cNvCxnSpPr>
          <p:nvPr/>
        </p:nvCxnSpPr>
        <p:spPr>
          <a:xfrm>
            <a:off x="4484584" y="5095478"/>
            <a:ext cx="0" cy="16418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화살표 연결선 73"/>
          <p:cNvCxnSpPr>
            <a:stCxn id="72" idx="2"/>
            <a:endCxn id="69" idx="0"/>
          </p:cNvCxnSpPr>
          <p:nvPr/>
        </p:nvCxnSpPr>
        <p:spPr>
          <a:xfrm>
            <a:off x="4483840" y="4661660"/>
            <a:ext cx="743" cy="15690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화살표 연결선 74"/>
          <p:cNvCxnSpPr>
            <a:stCxn id="71" idx="2"/>
            <a:endCxn id="72" idx="0"/>
          </p:cNvCxnSpPr>
          <p:nvPr/>
        </p:nvCxnSpPr>
        <p:spPr>
          <a:xfrm>
            <a:off x="4483840" y="4220129"/>
            <a:ext cx="0" cy="16395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직사각형 75"/>
          <p:cNvSpPr/>
          <p:nvPr/>
        </p:nvSpPr>
        <p:spPr bwMode="auto">
          <a:xfrm>
            <a:off x="3556618" y="3212277"/>
            <a:ext cx="902189" cy="27757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ML/TF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별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평가방법 정의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558262" y="3582012"/>
            <a:ext cx="902189" cy="277577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통제운영위험에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한 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차 평가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2482255" y="3765449"/>
            <a:ext cx="902189" cy="277577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위험 요소 식별 </a:t>
            </a:r>
          </a:p>
        </p:txBody>
      </p:sp>
      <p:sp>
        <p:nvSpPr>
          <p:cNvPr id="79" name="직사각형 78"/>
          <p:cNvSpPr/>
          <p:nvPr/>
        </p:nvSpPr>
        <p:spPr bwMode="auto">
          <a:xfrm>
            <a:off x="2475065" y="4289694"/>
            <a:ext cx="902189" cy="27757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AML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 변경사항 확인</a:t>
            </a: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반영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2481154" y="3218296"/>
            <a:ext cx="902189" cy="27757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 변경사항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확인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cxnSp>
        <p:nvCxnSpPr>
          <p:cNvPr id="81" name="직선 화살표 연결선 80"/>
          <p:cNvCxnSpPr>
            <a:stCxn id="80" idx="2"/>
            <a:endCxn id="78" idx="0"/>
          </p:cNvCxnSpPr>
          <p:nvPr/>
        </p:nvCxnSpPr>
        <p:spPr>
          <a:xfrm>
            <a:off x="2932249" y="3495874"/>
            <a:ext cx="1102" cy="26957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직선 화살표 연결선 81"/>
          <p:cNvCxnSpPr>
            <a:stCxn id="78" idx="2"/>
            <a:endCxn id="79" idx="0"/>
          </p:cNvCxnSpPr>
          <p:nvPr/>
        </p:nvCxnSpPr>
        <p:spPr>
          <a:xfrm flipH="1">
            <a:off x="2926160" y="4043025"/>
            <a:ext cx="0" cy="24666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화살표 연결선 212"/>
          <p:cNvCxnSpPr>
            <a:stCxn id="79" idx="3"/>
            <a:endCxn id="76" idx="1"/>
          </p:cNvCxnSpPr>
          <p:nvPr/>
        </p:nvCxnSpPr>
        <p:spPr>
          <a:xfrm flipV="1">
            <a:off x="3377254" y="3351065"/>
            <a:ext cx="179364" cy="1077417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화살표 연결선 212"/>
          <p:cNvCxnSpPr>
            <a:stCxn id="79" idx="3"/>
            <a:endCxn id="77" idx="1"/>
          </p:cNvCxnSpPr>
          <p:nvPr/>
        </p:nvCxnSpPr>
        <p:spPr>
          <a:xfrm flipV="1">
            <a:off x="3377254" y="3720800"/>
            <a:ext cx="181008" cy="70768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직사각형 84"/>
          <p:cNvSpPr/>
          <p:nvPr/>
        </p:nvSpPr>
        <p:spPr bwMode="ltGray">
          <a:xfrm>
            <a:off x="8133348" y="4353374"/>
            <a:ext cx="901757" cy="27691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평가 결과에 따른 </a:t>
            </a: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선계획 수립</a:t>
            </a:r>
          </a:p>
        </p:txBody>
      </p:sp>
      <p:sp>
        <p:nvSpPr>
          <p:cNvPr id="86" name="직사각형 85"/>
          <p:cNvSpPr/>
          <p:nvPr/>
        </p:nvSpPr>
        <p:spPr bwMode="ltGray">
          <a:xfrm>
            <a:off x="8133150" y="3847378"/>
            <a:ext cx="901757" cy="27691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선 결과에 </a:t>
            </a: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한 확인</a:t>
            </a:r>
          </a:p>
        </p:txBody>
      </p:sp>
      <p:sp>
        <p:nvSpPr>
          <p:cNvPr id="87" name="직사각형 86"/>
          <p:cNvSpPr/>
          <p:nvPr/>
        </p:nvSpPr>
        <p:spPr bwMode="ltGray">
          <a:xfrm>
            <a:off x="8133150" y="5798856"/>
            <a:ext cx="901757" cy="27691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개선 주체 별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선 작업 수행</a:t>
            </a:r>
          </a:p>
        </p:txBody>
      </p:sp>
      <p:sp>
        <p:nvSpPr>
          <p:cNvPr id="88" name="직사각형 87"/>
          <p:cNvSpPr/>
          <p:nvPr/>
        </p:nvSpPr>
        <p:spPr bwMode="ltGray">
          <a:xfrm>
            <a:off x="8133150" y="3334647"/>
            <a:ext cx="901757" cy="27691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보고서 </a:t>
            </a: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작성</a:t>
            </a:r>
            <a:endParaRPr lang="ko-KR" altLang="en-US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9" name="직사각형 88"/>
          <p:cNvSpPr/>
          <p:nvPr/>
        </p:nvSpPr>
        <p:spPr bwMode="ltGray">
          <a:xfrm>
            <a:off x="8133151" y="2698155"/>
            <a:ext cx="901757" cy="27691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간 운영결과</a:t>
            </a: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경영진 보고</a:t>
            </a:r>
          </a:p>
        </p:txBody>
      </p:sp>
      <p:cxnSp>
        <p:nvCxnSpPr>
          <p:cNvPr id="90" name="직선 화살표 연결선 89"/>
          <p:cNvCxnSpPr>
            <a:stCxn id="45" idx="3"/>
            <a:endCxn id="85" idx="1"/>
          </p:cNvCxnSpPr>
          <p:nvPr/>
        </p:nvCxnSpPr>
        <p:spPr>
          <a:xfrm>
            <a:off x="7995851" y="3781696"/>
            <a:ext cx="137497" cy="710135"/>
          </a:xfrm>
          <a:prstGeom prst="bentConnector3">
            <a:avLst>
              <a:gd name="adj1" fmla="val 27344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직선 화살표 연결선 90"/>
          <p:cNvCxnSpPr>
            <a:stCxn id="85" idx="2"/>
            <a:endCxn id="87" idx="0"/>
          </p:cNvCxnSpPr>
          <p:nvPr/>
        </p:nvCxnSpPr>
        <p:spPr>
          <a:xfrm flipH="1">
            <a:off x="8584029" y="4630288"/>
            <a:ext cx="198" cy="116856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/>
          <p:cNvCxnSpPr>
            <a:stCxn id="85" idx="0"/>
            <a:endCxn id="86" idx="2"/>
          </p:cNvCxnSpPr>
          <p:nvPr/>
        </p:nvCxnSpPr>
        <p:spPr>
          <a:xfrm flipH="1" flipV="1">
            <a:off x="8584029" y="4124292"/>
            <a:ext cx="198" cy="22908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직선 화살표 연결선 161"/>
          <p:cNvCxnSpPr>
            <a:stCxn id="87" idx="3"/>
            <a:endCxn id="86" idx="3"/>
          </p:cNvCxnSpPr>
          <p:nvPr/>
        </p:nvCxnSpPr>
        <p:spPr>
          <a:xfrm flipV="1">
            <a:off x="9034907" y="3985835"/>
            <a:ext cx="12700" cy="1951478"/>
          </a:xfrm>
          <a:prstGeom prst="bentConnector3">
            <a:avLst>
              <a:gd name="adj1" fmla="val 180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/>
          <p:cNvCxnSpPr>
            <a:stCxn id="86" idx="0"/>
            <a:endCxn id="88" idx="2"/>
          </p:cNvCxnSpPr>
          <p:nvPr/>
        </p:nvCxnSpPr>
        <p:spPr>
          <a:xfrm flipV="1">
            <a:off x="8584029" y="3611560"/>
            <a:ext cx="0" cy="23581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화살표 연결선 94"/>
          <p:cNvCxnSpPr>
            <a:stCxn id="88" idx="0"/>
            <a:endCxn id="89" idx="2"/>
          </p:cNvCxnSpPr>
          <p:nvPr/>
        </p:nvCxnSpPr>
        <p:spPr>
          <a:xfrm flipV="1">
            <a:off x="8584029" y="2975069"/>
            <a:ext cx="1" cy="35957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꺾인 연결선 95"/>
          <p:cNvCxnSpPr>
            <a:stCxn id="20" idx="3"/>
            <a:endCxn id="21" idx="2"/>
          </p:cNvCxnSpPr>
          <p:nvPr/>
        </p:nvCxnSpPr>
        <p:spPr>
          <a:xfrm flipV="1">
            <a:off x="2287267" y="5556887"/>
            <a:ext cx="128282" cy="362250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오각형 97"/>
          <p:cNvSpPr/>
          <p:nvPr/>
        </p:nvSpPr>
        <p:spPr bwMode="ltGray">
          <a:xfrm>
            <a:off x="1400282" y="2327231"/>
            <a:ext cx="3322684" cy="245012"/>
          </a:xfrm>
          <a:prstGeom prst="homePlate">
            <a:avLst>
              <a:gd name="adj" fmla="val 23753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Planning</a:t>
            </a:r>
          </a:p>
        </p:txBody>
      </p:sp>
      <p:sp>
        <p:nvSpPr>
          <p:cNvPr id="99" name="갈매기형 수장 98"/>
          <p:cNvSpPr/>
          <p:nvPr/>
        </p:nvSpPr>
        <p:spPr bwMode="ltGray">
          <a:xfrm>
            <a:off x="4703097" y="2327232"/>
            <a:ext cx="2700000" cy="245011"/>
          </a:xfrm>
          <a:prstGeom prst="chevron">
            <a:avLst>
              <a:gd name="adj" fmla="val 23752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수행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및 모니터링</a:t>
            </a:r>
          </a:p>
        </p:txBody>
      </p:sp>
      <p:sp>
        <p:nvSpPr>
          <p:cNvPr id="100" name="갈매기형 수장 99"/>
          <p:cNvSpPr/>
          <p:nvPr/>
        </p:nvSpPr>
        <p:spPr bwMode="ltGray">
          <a:xfrm>
            <a:off x="7382740" y="2320243"/>
            <a:ext cx="1836000" cy="245011"/>
          </a:xfrm>
          <a:prstGeom prst="chevron">
            <a:avLst>
              <a:gd name="adj" fmla="val 23752"/>
            </a:avLst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결과 보고</a:t>
            </a:r>
          </a:p>
        </p:txBody>
      </p:sp>
      <p:sp>
        <p:nvSpPr>
          <p:cNvPr id="107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1 </a:t>
            </a:r>
            <a:r>
              <a:rPr lang="ko-KR" altLang="en-US" dirty="0" smtClean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관리 전략 </a:t>
            </a:r>
            <a:r>
              <a:rPr lang="ko-KR" altLang="en-US" dirty="0" smtClean="0"/>
              <a:t>수립</a:t>
            </a:r>
            <a:r>
              <a:rPr lang="ko-KR" altLang="en-US" dirty="0"/>
              <a:t> </a:t>
            </a:r>
            <a:r>
              <a:rPr lang="en-US" altLang="ko-KR" dirty="0" smtClean="0"/>
              <a:t>(4/5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0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1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97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06137" y="252292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28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위험평가 결과 잔여위험이 높은 통제 영역에 대해서는 각 업무 별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ction Plan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마련하여 관리할 수 있도록 취약점 식별 및 개선 절차를 상세 정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 관리 프로세스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수립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2/2)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1" name="Rectangle 19"/>
          <p:cNvSpPr>
            <a:spLocks noChangeArrowheads="1"/>
          </p:cNvSpPr>
          <p:nvPr/>
        </p:nvSpPr>
        <p:spPr bwMode="auto">
          <a:xfrm>
            <a:off x="1021570" y="3103878"/>
            <a:ext cx="1029771" cy="18254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사통제정책</a:t>
            </a:r>
          </a:p>
        </p:txBody>
      </p:sp>
      <p:sp>
        <p:nvSpPr>
          <p:cNvPr id="22" name="Rectangle 19"/>
          <p:cNvSpPr>
            <a:spLocks noChangeArrowheads="1"/>
          </p:cNvSpPr>
          <p:nvPr/>
        </p:nvSpPr>
        <p:spPr bwMode="auto">
          <a:xfrm>
            <a:off x="1021570" y="3671877"/>
            <a:ext cx="1029771" cy="18254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내부통제</a:t>
            </a: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1021570" y="4224719"/>
            <a:ext cx="1029771" cy="18254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확인</a:t>
            </a:r>
          </a:p>
        </p:txBody>
      </p:sp>
      <p:sp>
        <p:nvSpPr>
          <p:cNvPr id="25" name="Rectangle 19"/>
          <p:cNvSpPr>
            <a:spLocks noChangeArrowheads="1"/>
          </p:cNvSpPr>
          <p:nvPr/>
        </p:nvSpPr>
        <p:spPr bwMode="auto">
          <a:xfrm>
            <a:off x="1021570" y="4783764"/>
            <a:ext cx="1029771" cy="18254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관리</a:t>
            </a:r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1021570" y="5340910"/>
            <a:ext cx="1029771" cy="18254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니터링 및 보고</a:t>
            </a:r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1021570" y="5724474"/>
            <a:ext cx="1029771" cy="18254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보시스템</a:t>
            </a:r>
          </a:p>
        </p:txBody>
      </p:sp>
      <p:sp>
        <p:nvSpPr>
          <p:cNvPr id="28" name="Rectangle 20"/>
          <p:cNvSpPr>
            <a:spLocks noChangeArrowheads="1"/>
          </p:cNvSpPr>
          <p:nvPr/>
        </p:nvSpPr>
        <p:spPr bwMode="auto">
          <a:xfrm>
            <a:off x="2262043" y="2821133"/>
            <a:ext cx="1319607" cy="15947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제환경</a:t>
            </a:r>
          </a:p>
        </p:txBody>
      </p:sp>
      <p:sp>
        <p:nvSpPr>
          <p:cNvPr id="29" name="Rectangle 20"/>
          <p:cNvSpPr>
            <a:spLocks noChangeArrowheads="1"/>
          </p:cNvSpPr>
          <p:nvPr/>
        </p:nvSpPr>
        <p:spPr bwMode="auto">
          <a:xfrm>
            <a:off x="2262043" y="3009996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보 및 의사소통</a:t>
            </a:r>
          </a:p>
        </p:txBody>
      </p:sp>
      <p:sp>
        <p:nvSpPr>
          <p:cNvPr id="30" name="Rectangle 20"/>
          <p:cNvSpPr>
            <a:spLocks noChangeArrowheads="1"/>
          </p:cNvSpPr>
          <p:nvPr/>
        </p:nvSpPr>
        <p:spPr bwMode="auto">
          <a:xfrm>
            <a:off x="2262043" y="3197867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….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1" name="Rectangle 20"/>
          <p:cNvSpPr>
            <a:spLocks noChangeArrowheads="1"/>
          </p:cNvSpPr>
          <p:nvPr/>
        </p:nvSpPr>
        <p:spPr bwMode="auto">
          <a:xfrm>
            <a:off x="2262043" y="3436016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역할 및 책임</a:t>
            </a:r>
          </a:p>
        </p:txBody>
      </p:sp>
      <p:sp>
        <p:nvSpPr>
          <p:cNvPr id="32" name="Rectangle 20"/>
          <p:cNvSpPr>
            <a:spLocks noChangeArrowheads="1"/>
          </p:cNvSpPr>
          <p:nvPr/>
        </p:nvSpPr>
        <p:spPr bwMode="auto">
          <a:xfrm>
            <a:off x="2262043" y="3633078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담조직 전문성</a:t>
            </a:r>
          </a:p>
        </p:txBody>
      </p:sp>
      <p:sp>
        <p:nvSpPr>
          <p:cNvPr id="33" name="Rectangle 20"/>
          <p:cNvSpPr>
            <a:spLocks noChangeArrowheads="1"/>
          </p:cNvSpPr>
          <p:nvPr/>
        </p:nvSpPr>
        <p:spPr bwMode="auto">
          <a:xfrm>
            <a:off x="2262043" y="3830138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….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4" name="Rectangle 20"/>
          <p:cNvSpPr>
            <a:spLocks noChangeArrowheads="1"/>
          </p:cNvSpPr>
          <p:nvPr/>
        </p:nvSpPr>
        <p:spPr bwMode="auto">
          <a:xfrm>
            <a:off x="2262043" y="4045042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확인의무</a:t>
            </a: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2262043" y="4232876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속적인 고객확인</a:t>
            </a:r>
          </a:p>
        </p:txBody>
      </p:sp>
      <p:sp>
        <p:nvSpPr>
          <p:cNvPr id="36" name="Rectangle 20"/>
          <p:cNvSpPr>
            <a:spLocks noChangeArrowheads="1"/>
          </p:cNvSpPr>
          <p:nvPr/>
        </p:nvSpPr>
        <p:spPr bwMode="auto">
          <a:xfrm>
            <a:off x="2262043" y="4420712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….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7" name="Rectangle 20"/>
          <p:cNvSpPr>
            <a:spLocks noChangeArrowheads="1"/>
          </p:cNvSpPr>
          <p:nvPr/>
        </p:nvSpPr>
        <p:spPr bwMode="auto">
          <a:xfrm>
            <a:off x="2262043" y="4654031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세탁위험식별</a:t>
            </a:r>
          </a:p>
        </p:txBody>
      </p:sp>
      <p:sp>
        <p:nvSpPr>
          <p:cNvPr id="38" name="Rectangle 20"/>
          <p:cNvSpPr>
            <a:spLocks noChangeArrowheads="1"/>
          </p:cNvSpPr>
          <p:nvPr/>
        </p:nvSpPr>
        <p:spPr bwMode="auto">
          <a:xfrm>
            <a:off x="2262043" y="4844221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위험평가</a:t>
            </a:r>
          </a:p>
        </p:txBody>
      </p:sp>
      <p:sp>
        <p:nvSpPr>
          <p:cNvPr id="44" name="Rectangle 20"/>
          <p:cNvSpPr>
            <a:spLocks noChangeArrowheads="1"/>
          </p:cNvSpPr>
          <p:nvPr/>
        </p:nvSpPr>
        <p:spPr bwMode="auto">
          <a:xfrm>
            <a:off x="2262043" y="5034411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….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Rectangle 20"/>
          <p:cNvSpPr>
            <a:spLocks noChangeArrowheads="1"/>
          </p:cNvSpPr>
          <p:nvPr/>
        </p:nvSpPr>
        <p:spPr bwMode="auto">
          <a:xfrm>
            <a:off x="2262043" y="5258759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모니터링</a:t>
            </a:r>
          </a:p>
        </p:txBody>
      </p:sp>
      <p:sp>
        <p:nvSpPr>
          <p:cNvPr id="46" name="Rectangle 20"/>
          <p:cNvSpPr>
            <a:spLocks noChangeArrowheads="1"/>
          </p:cNvSpPr>
          <p:nvPr/>
        </p:nvSpPr>
        <p:spPr bwMode="auto">
          <a:xfrm>
            <a:off x="2262043" y="5452133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TR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모니터링</a:t>
            </a:r>
          </a:p>
        </p:txBody>
      </p:sp>
      <p:sp>
        <p:nvSpPr>
          <p:cNvPr id="47" name="Rectangle 20"/>
          <p:cNvSpPr>
            <a:spLocks noChangeArrowheads="1"/>
          </p:cNvSpPr>
          <p:nvPr/>
        </p:nvSpPr>
        <p:spPr bwMode="auto">
          <a:xfrm>
            <a:off x="2262043" y="5673932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모니터링</a:t>
            </a:r>
          </a:p>
        </p:txBody>
      </p:sp>
      <p:sp>
        <p:nvSpPr>
          <p:cNvPr id="48" name="Rectangle 20"/>
          <p:cNvSpPr>
            <a:spLocks noChangeArrowheads="1"/>
          </p:cNvSpPr>
          <p:nvPr/>
        </p:nvSpPr>
        <p:spPr bwMode="auto">
          <a:xfrm>
            <a:off x="2262043" y="5865137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/CTR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고</a:t>
            </a:r>
          </a:p>
        </p:txBody>
      </p:sp>
      <p:sp>
        <p:nvSpPr>
          <p:cNvPr id="49" name="Rectangle 20"/>
          <p:cNvSpPr>
            <a:spLocks noChangeArrowheads="1"/>
          </p:cNvSpPr>
          <p:nvPr/>
        </p:nvSpPr>
        <p:spPr bwMode="auto">
          <a:xfrm>
            <a:off x="2262043" y="6056342"/>
            <a:ext cx="1319607" cy="158483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….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0" name="꺾인 연결선 49"/>
          <p:cNvCxnSpPr>
            <a:stCxn id="55" idx="2"/>
            <a:endCxn id="22" idx="1"/>
          </p:cNvCxnSpPr>
          <p:nvPr/>
        </p:nvCxnSpPr>
        <p:spPr bwMode="auto">
          <a:xfrm rot="16200000" flipH="1">
            <a:off x="531557" y="3273139"/>
            <a:ext cx="875771" cy="104255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1" name="꺾인 연결선 50"/>
          <p:cNvCxnSpPr>
            <a:stCxn id="55" idx="2"/>
            <a:endCxn id="23" idx="1"/>
          </p:cNvCxnSpPr>
          <p:nvPr/>
        </p:nvCxnSpPr>
        <p:spPr bwMode="auto">
          <a:xfrm rot="16200000" flipH="1">
            <a:off x="255136" y="3549559"/>
            <a:ext cx="1428612" cy="104255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2" name="꺾인 연결선 51"/>
          <p:cNvCxnSpPr>
            <a:stCxn id="55" idx="2"/>
            <a:endCxn id="25" idx="1"/>
          </p:cNvCxnSpPr>
          <p:nvPr/>
        </p:nvCxnSpPr>
        <p:spPr bwMode="auto">
          <a:xfrm rot="16200000" flipH="1">
            <a:off x="-24386" y="3829082"/>
            <a:ext cx="1987657" cy="104255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3" name="꺾인 연결선 52"/>
          <p:cNvCxnSpPr>
            <a:stCxn id="55" idx="2"/>
            <a:endCxn id="26" idx="1"/>
          </p:cNvCxnSpPr>
          <p:nvPr/>
        </p:nvCxnSpPr>
        <p:spPr bwMode="auto">
          <a:xfrm rot="16200000" flipH="1">
            <a:off x="-302959" y="4107655"/>
            <a:ext cx="2544803" cy="104255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sp>
        <p:nvSpPr>
          <p:cNvPr id="55" name="Rectangle 2"/>
          <p:cNvSpPr>
            <a:spLocks noChangeArrowheads="1"/>
          </p:cNvSpPr>
          <p:nvPr/>
        </p:nvSpPr>
        <p:spPr bwMode="auto">
          <a:xfrm>
            <a:off x="537704" y="2671535"/>
            <a:ext cx="759221" cy="215847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점</a:t>
            </a:r>
          </a:p>
        </p:txBody>
      </p:sp>
      <p:cxnSp>
        <p:nvCxnSpPr>
          <p:cNvPr id="56" name="꺾인 연결선 55"/>
          <p:cNvCxnSpPr>
            <a:stCxn id="55" idx="2"/>
            <a:endCxn id="21" idx="1"/>
          </p:cNvCxnSpPr>
          <p:nvPr/>
        </p:nvCxnSpPr>
        <p:spPr bwMode="auto">
          <a:xfrm rot="16200000" flipH="1">
            <a:off x="815557" y="2989138"/>
            <a:ext cx="307771" cy="104255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7" name="꺾인 연결선 56"/>
          <p:cNvCxnSpPr>
            <a:stCxn id="55" idx="2"/>
            <a:endCxn id="27" idx="1"/>
          </p:cNvCxnSpPr>
          <p:nvPr/>
        </p:nvCxnSpPr>
        <p:spPr bwMode="auto">
          <a:xfrm rot="16200000" flipH="1">
            <a:off x="-494741" y="4299437"/>
            <a:ext cx="2928367" cy="104255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8" name="꺾인 연결선 57"/>
          <p:cNvCxnSpPr>
            <a:stCxn id="21" idx="3"/>
            <a:endCxn id="28" idx="1"/>
          </p:cNvCxnSpPr>
          <p:nvPr/>
        </p:nvCxnSpPr>
        <p:spPr bwMode="auto">
          <a:xfrm flipV="1">
            <a:off x="2051342" y="2900871"/>
            <a:ext cx="210703" cy="294282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9" name="꺾인 연결선 58"/>
          <p:cNvCxnSpPr>
            <a:stCxn id="21" idx="3"/>
            <a:endCxn id="29" idx="1"/>
          </p:cNvCxnSpPr>
          <p:nvPr/>
        </p:nvCxnSpPr>
        <p:spPr bwMode="auto">
          <a:xfrm flipV="1">
            <a:off x="2051342" y="3089238"/>
            <a:ext cx="210703" cy="10591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0" name="꺾인 연결선 59"/>
          <p:cNvCxnSpPr>
            <a:stCxn id="21" idx="3"/>
            <a:endCxn id="30" idx="1"/>
          </p:cNvCxnSpPr>
          <p:nvPr/>
        </p:nvCxnSpPr>
        <p:spPr bwMode="auto">
          <a:xfrm>
            <a:off x="2051342" y="3195152"/>
            <a:ext cx="210703" cy="8195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1" name="꺾인 연결선 60"/>
          <p:cNvCxnSpPr>
            <a:stCxn id="22" idx="3"/>
            <a:endCxn id="31" idx="1"/>
          </p:cNvCxnSpPr>
          <p:nvPr/>
        </p:nvCxnSpPr>
        <p:spPr bwMode="auto">
          <a:xfrm flipV="1">
            <a:off x="2051342" y="3515258"/>
            <a:ext cx="210703" cy="24789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2" name="꺾인 연결선 61"/>
          <p:cNvCxnSpPr>
            <a:stCxn id="22" idx="3"/>
            <a:endCxn id="32" idx="1"/>
          </p:cNvCxnSpPr>
          <p:nvPr/>
        </p:nvCxnSpPr>
        <p:spPr bwMode="auto">
          <a:xfrm flipV="1">
            <a:off x="2051342" y="3712320"/>
            <a:ext cx="210703" cy="50833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3" name="꺾인 연결선 62"/>
          <p:cNvCxnSpPr>
            <a:stCxn id="22" idx="3"/>
            <a:endCxn id="33" idx="1"/>
          </p:cNvCxnSpPr>
          <p:nvPr/>
        </p:nvCxnSpPr>
        <p:spPr bwMode="auto">
          <a:xfrm>
            <a:off x="2051342" y="3763152"/>
            <a:ext cx="210703" cy="146228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4" name="꺾인 연결선 63"/>
          <p:cNvCxnSpPr>
            <a:stCxn id="23" idx="3"/>
            <a:endCxn id="34" idx="1"/>
          </p:cNvCxnSpPr>
          <p:nvPr/>
        </p:nvCxnSpPr>
        <p:spPr bwMode="auto">
          <a:xfrm flipV="1">
            <a:off x="2051342" y="4124284"/>
            <a:ext cx="210703" cy="19170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5" name="꺾인 연결선 64"/>
          <p:cNvCxnSpPr>
            <a:stCxn id="23" idx="3"/>
            <a:endCxn id="35" idx="1"/>
          </p:cNvCxnSpPr>
          <p:nvPr/>
        </p:nvCxnSpPr>
        <p:spPr bwMode="auto">
          <a:xfrm flipV="1">
            <a:off x="2051342" y="4312118"/>
            <a:ext cx="210703" cy="387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6" name="꺾인 연결선 65"/>
          <p:cNvCxnSpPr>
            <a:stCxn id="23" idx="3"/>
            <a:endCxn id="36" idx="1"/>
          </p:cNvCxnSpPr>
          <p:nvPr/>
        </p:nvCxnSpPr>
        <p:spPr bwMode="auto">
          <a:xfrm>
            <a:off x="2051342" y="4315993"/>
            <a:ext cx="210703" cy="183960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7" name="꺾인 연결선 66"/>
          <p:cNvCxnSpPr>
            <a:stCxn id="25" idx="3"/>
            <a:endCxn id="37" idx="1"/>
          </p:cNvCxnSpPr>
          <p:nvPr/>
        </p:nvCxnSpPr>
        <p:spPr bwMode="auto">
          <a:xfrm flipV="1">
            <a:off x="2051342" y="4733273"/>
            <a:ext cx="210703" cy="14176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8" name="꺾인 연결선 67"/>
          <p:cNvCxnSpPr>
            <a:stCxn id="25" idx="3"/>
            <a:endCxn id="38" idx="1"/>
          </p:cNvCxnSpPr>
          <p:nvPr/>
        </p:nvCxnSpPr>
        <p:spPr bwMode="auto">
          <a:xfrm>
            <a:off x="2051342" y="4875039"/>
            <a:ext cx="210703" cy="4842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9" name="꺾인 연결선 68"/>
          <p:cNvCxnSpPr>
            <a:stCxn id="25" idx="3"/>
            <a:endCxn id="44" idx="1"/>
          </p:cNvCxnSpPr>
          <p:nvPr/>
        </p:nvCxnSpPr>
        <p:spPr bwMode="auto">
          <a:xfrm>
            <a:off x="2051342" y="4875039"/>
            <a:ext cx="210703" cy="23861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70" name="꺾인 연결선 69"/>
          <p:cNvCxnSpPr>
            <a:stCxn id="26" idx="3"/>
            <a:endCxn id="45" idx="1"/>
          </p:cNvCxnSpPr>
          <p:nvPr/>
        </p:nvCxnSpPr>
        <p:spPr bwMode="auto">
          <a:xfrm flipV="1">
            <a:off x="2051342" y="5338001"/>
            <a:ext cx="210703" cy="9418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71" name="꺾인 연결선 70"/>
          <p:cNvCxnSpPr>
            <a:stCxn id="26" idx="3"/>
            <a:endCxn id="46" idx="1"/>
          </p:cNvCxnSpPr>
          <p:nvPr/>
        </p:nvCxnSpPr>
        <p:spPr bwMode="auto">
          <a:xfrm>
            <a:off x="2051342" y="5432185"/>
            <a:ext cx="210703" cy="99191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72" name="꺾인 연결선 71"/>
          <p:cNvCxnSpPr>
            <a:stCxn id="27" idx="3"/>
            <a:endCxn id="47" idx="1"/>
          </p:cNvCxnSpPr>
          <p:nvPr/>
        </p:nvCxnSpPr>
        <p:spPr bwMode="auto">
          <a:xfrm flipV="1">
            <a:off x="2051342" y="5753174"/>
            <a:ext cx="210703" cy="6257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73" name="꺾인 연결선 72"/>
          <p:cNvCxnSpPr>
            <a:stCxn id="27" idx="3"/>
            <a:endCxn id="48" idx="1"/>
          </p:cNvCxnSpPr>
          <p:nvPr/>
        </p:nvCxnSpPr>
        <p:spPr bwMode="auto">
          <a:xfrm>
            <a:off x="2051342" y="5815750"/>
            <a:ext cx="210703" cy="12862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74" name="꺾인 연결선 73"/>
          <p:cNvCxnSpPr>
            <a:stCxn id="27" idx="3"/>
            <a:endCxn id="49" idx="1"/>
          </p:cNvCxnSpPr>
          <p:nvPr/>
        </p:nvCxnSpPr>
        <p:spPr bwMode="auto">
          <a:xfrm>
            <a:off x="2051342" y="5815750"/>
            <a:ext cx="210703" cy="31983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sp>
        <p:nvSpPr>
          <p:cNvPr id="75" name="Rectangle 20"/>
          <p:cNvSpPr>
            <a:spLocks noChangeArrowheads="1"/>
          </p:cNvSpPr>
          <p:nvPr/>
        </p:nvSpPr>
        <p:spPr bwMode="auto">
          <a:xfrm>
            <a:off x="3638404" y="2821133"/>
            <a:ext cx="398708" cy="158800"/>
          </a:xfrm>
          <a:prstGeom prst="rect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</a:t>
            </a:r>
            <a:endParaRPr lang="ko-KR" altLang="en-US" sz="1000" spc="-10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6" name="Rectangle 20"/>
          <p:cNvSpPr>
            <a:spLocks noChangeArrowheads="1"/>
          </p:cNvSpPr>
          <p:nvPr/>
        </p:nvSpPr>
        <p:spPr bwMode="auto">
          <a:xfrm>
            <a:off x="3638404" y="3009343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3638404" y="3197550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8" name="Rectangle 20"/>
          <p:cNvSpPr>
            <a:spLocks noChangeArrowheads="1"/>
          </p:cNvSpPr>
          <p:nvPr/>
        </p:nvSpPr>
        <p:spPr bwMode="auto">
          <a:xfrm>
            <a:off x="3638404" y="3436016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638404" y="3632919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0" name="Rectangle 20"/>
          <p:cNvSpPr>
            <a:spLocks noChangeArrowheads="1"/>
          </p:cNvSpPr>
          <p:nvPr/>
        </p:nvSpPr>
        <p:spPr bwMode="auto">
          <a:xfrm>
            <a:off x="3638404" y="3829821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1" name="Rectangle 20"/>
          <p:cNvSpPr>
            <a:spLocks noChangeArrowheads="1"/>
          </p:cNvSpPr>
          <p:nvPr/>
        </p:nvSpPr>
        <p:spPr bwMode="auto">
          <a:xfrm>
            <a:off x="3638404" y="4045042"/>
            <a:ext cx="398708" cy="158800"/>
          </a:xfrm>
          <a:prstGeom prst="rect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</a:t>
            </a:r>
            <a:endParaRPr lang="ko-KR" altLang="en-US" sz="1000" spc="-10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2" name="Rectangle 20"/>
          <p:cNvSpPr>
            <a:spLocks noChangeArrowheads="1"/>
          </p:cNvSpPr>
          <p:nvPr/>
        </p:nvSpPr>
        <p:spPr bwMode="auto">
          <a:xfrm>
            <a:off x="3638404" y="4232876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3638404" y="4420712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4" name="Rectangle 20"/>
          <p:cNvSpPr>
            <a:spLocks noChangeArrowheads="1"/>
          </p:cNvSpPr>
          <p:nvPr/>
        </p:nvSpPr>
        <p:spPr bwMode="auto">
          <a:xfrm>
            <a:off x="3638404" y="4654031"/>
            <a:ext cx="398708" cy="158800"/>
          </a:xfrm>
          <a:prstGeom prst="rect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</a:t>
            </a:r>
            <a:endParaRPr lang="ko-KR" altLang="en-US" sz="1000" spc="-10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5" name="Rectangle 20"/>
          <p:cNvSpPr>
            <a:spLocks noChangeArrowheads="1"/>
          </p:cNvSpPr>
          <p:nvPr/>
        </p:nvSpPr>
        <p:spPr bwMode="auto">
          <a:xfrm>
            <a:off x="3638404" y="4844063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6" name="Rectangle 20"/>
          <p:cNvSpPr>
            <a:spLocks noChangeArrowheads="1"/>
          </p:cNvSpPr>
          <p:nvPr/>
        </p:nvSpPr>
        <p:spPr bwMode="auto">
          <a:xfrm>
            <a:off x="3638404" y="5034095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7" name="Rectangle 20"/>
          <p:cNvSpPr>
            <a:spLocks noChangeArrowheads="1"/>
          </p:cNvSpPr>
          <p:nvPr/>
        </p:nvSpPr>
        <p:spPr bwMode="auto">
          <a:xfrm>
            <a:off x="3638404" y="5258759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8" name="Rectangle 20"/>
          <p:cNvSpPr>
            <a:spLocks noChangeArrowheads="1"/>
          </p:cNvSpPr>
          <p:nvPr/>
        </p:nvSpPr>
        <p:spPr bwMode="auto">
          <a:xfrm>
            <a:off x="3638404" y="5451817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9" name="Rectangle 20"/>
          <p:cNvSpPr>
            <a:spLocks noChangeArrowheads="1"/>
          </p:cNvSpPr>
          <p:nvPr/>
        </p:nvSpPr>
        <p:spPr bwMode="auto">
          <a:xfrm>
            <a:off x="3638404" y="5673932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0" name="Rectangle 20"/>
          <p:cNvSpPr>
            <a:spLocks noChangeArrowheads="1"/>
          </p:cNvSpPr>
          <p:nvPr/>
        </p:nvSpPr>
        <p:spPr bwMode="auto">
          <a:xfrm>
            <a:off x="3638404" y="5864978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1" name="Rectangle 20"/>
          <p:cNvSpPr>
            <a:spLocks noChangeArrowheads="1"/>
          </p:cNvSpPr>
          <p:nvPr/>
        </p:nvSpPr>
        <p:spPr bwMode="auto">
          <a:xfrm>
            <a:off x="3638404" y="6056024"/>
            <a:ext cx="398708" cy="158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92" name="직선 연결선 91"/>
          <p:cNvCxnSpPr/>
          <p:nvPr/>
        </p:nvCxnSpPr>
        <p:spPr>
          <a:xfrm>
            <a:off x="560390" y="2561205"/>
            <a:ext cx="3425575" cy="1198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직사각형 92"/>
          <p:cNvSpPr/>
          <p:nvPr/>
        </p:nvSpPr>
        <p:spPr>
          <a:xfrm>
            <a:off x="586119" y="2285065"/>
            <a:ext cx="3414819" cy="31353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[ 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통제 취약점 모니터링 </a:t>
            </a:r>
            <a:r>
              <a:rPr lang="en-US" altLang="ko-KR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]</a:t>
            </a:r>
            <a:endParaRPr lang="ko-KR" altLang="en-US" sz="1100" spc="-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4168260" y="2739038"/>
            <a:ext cx="5177351" cy="1511643"/>
          </a:xfrm>
          <a:prstGeom prst="rect">
            <a:avLst/>
          </a:prstGeom>
          <a:noFill/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wrap="none" rtlCol="0" anchor="ctr">
            <a:scene3d>
              <a:camera prst="orthographicFront"/>
              <a:lightRig rig="threePt" dir="t"/>
            </a:scene3d>
            <a:sp3d>
              <a:bevelT/>
            </a:sp3d>
          </a:bodyPr>
          <a:lstStyle/>
          <a:p>
            <a:pPr algn="ctr" defTabSz="1019190" latinLnBrk="0">
              <a:buClr>
                <a:srgbClr val="808080"/>
              </a:buClr>
            </a:pPr>
            <a:endParaRPr lang="ko-KR" altLang="en-US" sz="1000" spc="-100" dirty="0">
              <a:ln>
                <a:solidFill>
                  <a:srgbClr val="FFFFFF">
                    <a:lumMod val="50000"/>
                  </a:srgbClr>
                </a:solidFill>
                <a:prstDash val="sysDash"/>
              </a:ln>
              <a:noFill/>
              <a:latin typeface="KoPub돋움체 Light" panose="02020603020101020101" pitchFamily="18" charset="-127"/>
              <a:ea typeface="KoPub돋움체 Light" panose="02020603020101020101" pitchFamily="18" charset="-127"/>
              <a:cs typeface="하나 L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4168260" y="4311923"/>
            <a:ext cx="5177351" cy="1903469"/>
          </a:xfrm>
          <a:prstGeom prst="rect">
            <a:avLst/>
          </a:prstGeom>
          <a:noFill/>
          <a:ln w="3175" algn="ctr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wrap="none" rtlCol="0" anchor="ctr">
            <a:scene3d>
              <a:camera prst="orthographicFront"/>
              <a:lightRig rig="threePt" dir="t"/>
            </a:scene3d>
            <a:sp3d>
              <a:bevelT/>
            </a:sp3d>
          </a:bodyPr>
          <a:lstStyle/>
          <a:p>
            <a:pPr algn="ctr" defTabSz="1019190" latinLnBrk="0">
              <a:buClr>
                <a:srgbClr val="808080"/>
              </a:buClr>
            </a:pPr>
            <a:endParaRPr lang="ko-KR" altLang="en-US" sz="1000" spc="-100" dirty="0">
              <a:ln>
                <a:solidFill>
                  <a:srgbClr val="FFFFFF">
                    <a:lumMod val="50000"/>
                  </a:srgbClr>
                </a:solidFill>
                <a:prstDash val="sysDash"/>
              </a:ln>
              <a:noFill/>
              <a:latin typeface="KoPub돋움체 Light" panose="02020603020101020101" pitchFamily="18" charset="-127"/>
              <a:ea typeface="KoPub돋움체 Light" panose="02020603020101020101" pitchFamily="18" charset="-127"/>
              <a:cs typeface="하나 L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8644034" y="2739038"/>
            <a:ext cx="701577" cy="151254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</a:t>
            </a:r>
          </a:p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관리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담당자</a:t>
            </a:r>
          </a:p>
        </p:txBody>
      </p:sp>
      <p:cxnSp>
        <p:nvCxnSpPr>
          <p:cNvPr id="97" name="직선 연결선 96"/>
          <p:cNvCxnSpPr/>
          <p:nvPr/>
        </p:nvCxnSpPr>
        <p:spPr>
          <a:xfrm>
            <a:off x="4309483" y="2570474"/>
            <a:ext cx="4913602" cy="181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/>
          <p:cNvSpPr/>
          <p:nvPr/>
        </p:nvSpPr>
        <p:spPr>
          <a:xfrm>
            <a:off x="4336002" y="2285065"/>
            <a:ext cx="4898173" cy="31353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en-US" altLang="ko-KR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[ 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</a:t>
            </a:r>
            <a:r>
              <a:rPr lang="en-US" altLang="ko-KR" sz="11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ction </a:t>
            </a:r>
            <a:r>
              <a:rPr lang="en-US" altLang="ko-KR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Plan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마련 </a:t>
            </a:r>
            <a:r>
              <a:rPr lang="en-US" altLang="ko-KR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]</a:t>
            </a:r>
            <a:endParaRPr lang="ko-KR" altLang="en-US" sz="1100" spc="-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99" name="직선 화살표 연결선 98"/>
          <p:cNvCxnSpPr>
            <a:stCxn id="75" idx="3"/>
            <a:endCxn id="103" idx="1"/>
          </p:cNvCxnSpPr>
          <p:nvPr/>
        </p:nvCxnSpPr>
        <p:spPr bwMode="auto">
          <a:xfrm>
            <a:off x="4037113" y="2900533"/>
            <a:ext cx="375227" cy="187482"/>
          </a:xfrm>
          <a:prstGeom prst="straightConnector1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ysDot"/>
            <a:round/>
            <a:headEnd/>
            <a:tailEnd type="triangle"/>
          </a:ln>
        </p:spPr>
      </p:cxnSp>
      <p:cxnSp>
        <p:nvCxnSpPr>
          <p:cNvPr id="100" name="직선 화살표 연결선 99"/>
          <p:cNvCxnSpPr>
            <a:stCxn id="81" idx="3"/>
            <a:endCxn id="103" idx="1"/>
          </p:cNvCxnSpPr>
          <p:nvPr/>
        </p:nvCxnSpPr>
        <p:spPr bwMode="auto">
          <a:xfrm flipV="1">
            <a:off x="4037113" y="3088015"/>
            <a:ext cx="375227" cy="1036427"/>
          </a:xfrm>
          <a:prstGeom prst="straightConnector1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ysDot"/>
            <a:round/>
            <a:headEnd/>
            <a:tailEnd type="triangle"/>
          </a:ln>
        </p:spPr>
      </p:cxnSp>
      <p:cxnSp>
        <p:nvCxnSpPr>
          <p:cNvPr id="101" name="직선 화살표 연결선 100"/>
          <p:cNvCxnSpPr>
            <a:stCxn id="84" idx="3"/>
            <a:endCxn id="103" idx="1"/>
          </p:cNvCxnSpPr>
          <p:nvPr/>
        </p:nvCxnSpPr>
        <p:spPr bwMode="auto">
          <a:xfrm flipV="1">
            <a:off x="4037113" y="3088015"/>
            <a:ext cx="375227" cy="1645415"/>
          </a:xfrm>
          <a:prstGeom prst="straightConnector1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sysDot"/>
            <a:round/>
            <a:headEnd/>
            <a:tailEnd type="triangle"/>
          </a:ln>
        </p:spPr>
      </p:cxnSp>
      <p:sp>
        <p:nvSpPr>
          <p:cNvPr id="102" name="직사각형 101"/>
          <p:cNvSpPr/>
          <p:nvPr/>
        </p:nvSpPr>
        <p:spPr>
          <a:xfrm>
            <a:off x="8644034" y="4311923"/>
            <a:ext cx="701577" cy="190346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창구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담당자</a:t>
            </a:r>
          </a:p>
        </p:txBody>
      </p:sp>
      <p:sp>
        <p:nvSpPr>
          <p:cNvPr id="103" name="Rectangle 20"/>
          <p:cNvSpPr>
            <a:spLocks noChangeArrowheads="1"/>
          </p:cNvSpPr>
          <p:nvPr/>
        </p:nvSpPr>
        <p:spPr bwMode="auto">
          <a:xfrm>
            <a:off x="4412340" y="2923645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 평가</a:t>
            </a:r>
            <a:endParaRPr lang="en-US" altLang="ko-KR" sz="10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결과 확인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4" name="Rectangle 20"/>
          <p:cNvSpPr>
            <a:spLocks noChangeArrowheads="1"/>
          </p:cNvSpPr>
          <p:nvPr/>
        </p:nvSpPr>
        <p:spPr bwMode="auto">
          <a:xfrm>
            <a:off x="4412340" y="3708025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세부 취약부분</a:t>
            </a:r>
            <a:endParaRPr lang="en-US" altLang="ko-KR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부서 배포</a:t>
            </a:r>
          </a:p>
        </p:txBody>
      </p:sp>
      <p:sp>
        <p:nvSpPr>
          <p:cNvPr id="105" name="Rectangle 20"/>
          <p:cNvSpPr>
            <a:spLocks noChangeArrowheads="1"/>
          </p:cNvSpPr>
          <p:nvPr/>
        </p:nvSpPr>
        <p:spPr bwMode="auto">
          <a:xfrm>
            <a:off x="4412340" y="4947866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취약부분</a:t>
            </a:r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원인분석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6" name="Rectangle 20"/>
          <p:cNvSpPr>
            <a:spLocks noChangeArrowheads="1"/>
          </p:cNvSpPr>
          <p:nvPr/>
        </p:nvSpPr>
        <p:spPr bwMode="auto">
          <a:xfrm>
            <a:off x="4412340" y="5701508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취약부분에 대한</a:t>
            </a:r>
            <a:endParaRPr lang="en-US" altLang="ko-KR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en-US" altLang="ko-KR" sz="10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on Plan </a:t>
            </a:r>
            <a:r>
              <a:rPr lang="ko-KR" altLang="en-US" sz="10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작성</a:t>
            </a:r>
          </a:p>
        </p:txBody>
      </p:sp>
      <p:sp>
        <p:nvSpPr>
          <p:cNvPr id="107" name="Rectangle 20"/>
          <p:cNvSpPr>
            <a:spLocks noChangeArrowheads="1"/>
          </p:cNvSpPr>
          <p:nvPr/>
        </p:nvSpPr>
        <p:spPr bwMode="auto">
          <a:xfrm>
            <a:off x="5886998" y="3706525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on Plan </a:t>
            </a:r>
          </a:p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취합 및 검토 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8" name="Rectangle 20"/>
          <p:cNvSpPr>
            <a:spLocks noChangeArrowheads="1"/>
          </p:cNvSpPr>
          <p:nvPr/>
        </p:nvSpPr>
        <p:spPr bwMode="auto">
          <a:xfrm>
            <a:off x="7361655" y="5701509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on Plan </a:t>
            </a:r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행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9" name="Rectangle 20"/>
          <p:cNvSpPr>
            <a:spLocks noChangeArrowheads="1"/>
          </p:cNvSpPr>
          <p:nvPr/>
        </p:nvSpPr>
        <p:spPr bwMode="auto">
          <a:xfrm>
            <a:off x="7361655" y="4938542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on Plan </a:t>
            </a:r>
          </a:p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행보고서 작성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10" name="Rectangle 20"/>
          <p:cNvSpPr>
            <a:spLocks noChangeArrowheads="1"/>
          </p:cNvSpPr>
          <p:nvPr/>
        </p:nvSpPr>
        <p:spPr bwMode="auto">
          <a:xfrm>
            <a:off x="7361655" y="3713264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on Plan</a:t>
            </a:r>
          </a:p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행 보고서 검토</a:t>
            </a:r>
            <a:endParaRPr lang="en-US" altLang="ko-KR" sz="10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11" name="Rectangle 20"/>
          <p:cNvSpPr>
            <a:spLocks noChangeArrowheads="1"/>
          </p:cNvSpPr>
          <p:nvPr/>
        </p:nvSpPr>
        <p:spPr bwMode="auto">
          <a:xfrm>
            <a:off x="7361655" y="2928196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보고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12" name="직선 화살표 연결선 111"/>
          <p:cNvCxnSpPr>
            <a:stCxn id="103" idx="2"/>
            <a:endCxn id="104" idx="0"/>
          </p:cNvCxnSpPr>
          <p:nvPr/>
        </p:nvCxnSpPr>
        <p:spPr bwMode="auto">
          <a:xfrm>
            <a:off x="4971462" y="3252385"/>
            <a:ext cx="0" cy="455640"/>
          </a:xfrm>
          <a:prstGeom prst="straightConnector1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/>
          </a:ln>
        </p:spPr>
      </p:cxnSp>
      <p:cxnSp>
        <p:nvCxnSpPr>
          <p:cNvPr id="113" name="직선 화살표 연결선 112"/>
          <p:cNvCxnSpPr>
            <a:stCxn id="104" idx="2"/>
            <a:endCxn id="105" idx="0"/>
          </p:cNvCxnSpPr>
          <p:nvPr/>
        </p:nvCxnSpPr>
        <p:spPr bwMode="auto">
          <a:xfrm>
            <a:off x="4971462" y="4036766"/>
            <a:ext cx="0" cy="911101"/>
          </a:xfrm>
          <a:prstGeom prst="straightConnector1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/>
          </a:ln>
        </p:spPr>
      </p:cxnSp>
      <p:cxnSp>
        <p:nvCxnSpPr>
          <p:cNvPr id="114" name="직선 화살표 연결선 113"/>
          <p:cNvCxnSpPr>
            <a:stCxn id="105" idx="2"/>
            <a:endCxn id="106" idx="0"/>
          </p:cNvCxnSpPr>
          <p:nvPr/>
        </p:nvCxnSpPr>
        <p:spPr bwMode="auto">
          <a:xfrm>
            <a:off x="4971462" y="5276608"/>
            <a:ext cx="0" cy="424900"/>
          </a:xfrm>
          <a:prstGeom prst="straightConnector1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/>
          </a:ln>
        </p:spPr>
      </p:cxnSp>
      <p:cxnSp>
        <p:nvCxnSpPr>
          <p:cNvPr id="115" name="꺾인 연결선 114"/>
          <p:cNvCxnSpPr>
            <a:stCxn id="118" idx="0"/>
            <a:endCxn id="107" idx="2"/>
          </p:cNvCxnSpPr>
          <p:nvPr/>
        </p:nvCxnSpPr>
        <p:spPr bwMode="auto">
          <a:xfrm rot="5400000" flipH="1" flipV="1">
            <a:off x="5647689" y="4456445"/>
            <a:ext cx="1219610" cy="377253"/>
          </a:xfrm>
          <a:prstGeom prst="bentConnector3">
            <a:avLst>
              <a:gd name="adj1" fmla="val 67282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/>
          </a:ln>
        </p:spPr>
      </p:cxnSp>
      <p:cxnSp>
        <p:nvCxnSpPr>
          <p:cNvPr id="116" name="직선 화살표 연결선 115"/>
          <p:cNvCxnSpPr>
            <a:stCxn id="108" idx="0"/>
            <a:endCxn id="109" idx="2"/>
          </p:cNvCxnSpPr>
          <p:nvPr/>
        </p:nvCxnSpPr>
        <p:spPr bwMode="auto">
          <a:xfrm flipV="1">
            <a:off x="7920778" y="5267284"/>
            <a:ext cx="0" cy="434225"/>
          </a:xfrm>
          <a:prstGeom prst="straightConnector1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/>
          </a:ln>
        </p:spPr>
      </p:cxnSp>
      <p:cxnSp>
        <p:nvCxnSpPr>
          <p:cNvPr id="117" name="직선 화살표 연결선 116"/>
          <p:cNvCxnSpPr>
            <a:stCxn id="110" idx="0"/>
            <a:endCxn id="111" idx="2"/>
          </p:cNvCxnSpPr>
          <p:nvPr/>
        </p:nvCxnSpPr>
        <p:spPr bwMode="auto">
          <a:xfrm flipV="1">
            <a:off x="7920778" y="3256936"/>
            <a:ext cx="0" cy="456328"/>
          </a:xfrm>
          <a:prstGeom prst="straightConnector1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/>
          </a:ln>
        </p:spPr>
      </p:cxnSp>
      <p:sp>
        <p:nvSpPr>
          <p:cNvPr id="118" name="AutoShape 61"/>
          <p:cNvSpPr>
            <a:spLocks noChangeArrowheads="1"/>
          </p:cNvSpPr>
          <p:nvPr/>
        </p:nvSpPr>
        <p:spPr bwMode="auto">
          <a:xfrm>
            <a:off x="5658510" y="5254876"/>
            <a:ext cx="721448" cy="395108"/>
          </a:xfrm>
          <a:prstGeom prst="flowChartMultidocumen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ction </a:t>
            </a:r>
          </a:p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Plan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9" name="AutoShape 61"/>
          <p:cNvSpPr>
            <a:spLocks noChangeArrowheads="1"/>
          </p:cNvSpPr>
          <p:nvPr/>
        </p:nvSpPr>
        <p:spPr bwMode="auto">
          <a:xfrm>
            <a:off x="6510083" y="4474525"/>
            <a:ext cx="721448" cy="394489"/>
          </a:xfrm>
          <a:prstGeom prst="flowChartMultidocumen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서</a:t>
            </a:r>
          </a:p>
        </p:txBody>
      </p:sp>
      <p:sp>
        <p:nvSpPr>
          <p:cNvPr id="120" name="Rectangle 20"/>
          <p:cNvSpPr>
            <a:spLocks noChangeArrowheads="1"/>
          </p:cNvSpPr>
          <p:nvPr/>
        </p:nvSpPr>
        <p:spPr bwMode="auto">
          <a:xfrm>
            <a:off x="5886998" y="2933204"/>
            <a:ext cx="1118245" cy="328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on Plan </a:t>
            </a:r>
          </a:p>
          <a:p>
            <a:pPr algn="ctr"/>
            <a:r>
              <a:rPr lang="ko-KR" altLang="en-US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정</a:t>
            </a:r>
            <a:endParaRPr lang="ko-KR" altLang="en-US" sz="10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21" name="직선 화살표 연결선 120"/>
          <p:cNvCxnSpPr>
            <a:stCxn id="107" idx="0"/>
            <a:endCxn id="120" idx="2"/>
          </p:cNvCxnSpPr>
          <p:nvPr/>
        </p:nvCxnSpPr>
        <p:spPr bwMode="auto">
          <a:xfrm flipV="1">
            <a:off x="6446121" y="3261946"/>
            <a:ext cx="0" cy="444580"/>
          </a:xfrm>
          <a:prstGeom prst="straightConnector1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/>
          </a:ln>
        </p:spPr>
      </p:cxnSp>
      <p:cxnSp>
        <p:nvCxnSpPr>
          <p:cNvPr id="122" name="꺾인 연결선 121"/>
          <p:cNvCxnSpPr>
            <a:stCxn id="106" idx="3"/>
            <a:endCxn id="118" idx="2"/>
          </p:cNvCxnSpPr>
          <p:nvPr/>
        </p:nvCxnSpPr>
        <p:spPr>
          <a:xfrm flipV="1">
            <a:off x="5530585" y="5635021"/>
            <a:ext cx="438482" cy="230856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꺾인 연결선 122"/>
          <p:cNvCxnSpPr>
            <a:stCxn id="118" idx="3"/>
            <a:endCxn id="108" idx="1"/>
          </p:cNvCxnSpPr>
          <p:nvPr/>
        </p:nvCxnSpPr>
        <p:spPr>
          <a:xfrm>
            <a:off x="6379959" y="5452431"/>
            <a:ext cx="981697" cy="413449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꺾인 연결선 123"/>
          <p:cNvCxnSpPr>
            <a:stCxn id="109" idx="1"/>
            <a:endCxn id="119" idx="2"/>
          </p:cNvCxnSpPr>
          <p:nvPr/>
        </p:nvCxnSpPr>
        <p:spPr>
          <a:xfrm rot="10800000">
            <a:off x="6820639" y="4854074"/>
            <a:ext cx="541016" cy="248839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꺾인 연결선 124"/>
          <p:cNvCxnSpPr>
            <a:stCxn id="119" idx="3"/>
            <a:endCxn id="110" idx="2"/>
          </p:cNvCxnSpPr>
          <p:nvPr/>
        </p:nvCxnSpPr>
        <p:spPr>
          <a:xfrm flipV="1">
            <a:off x="7231531" y="4042005"/>
            <a:ext cx="689247" cy="629765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1 </a:t>
            </a:r>
            <a:r>
              <a:rPr lang="ko-KR" altLang="en-US" dirty="0" smtClean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관리 전략 </a:t>
            </a:r>
            <a:r>
              <a:rPr lang="ko-KR" altLang="en-US" dirty="0" smtClean="0"/>
              <a:t>수립</a:t>
            </a:r>
            <a:r>
              <a:rPr lang="ko-KR" altLang="en-US" dirty="0"/>
              <a:t> </a:t>
            </a:r>
            <a:r>
              <a:rPr lang="en-US" altLang="ko-KR" dirty="0" smtClean="0"/>
              <a:t>(5/5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3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3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3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126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551581" y="239429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797706" y="239429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641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1/9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을 식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석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하고 내부통제 효과성을 평가하여 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을 산정하기 위한 위험평가 모델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모델 정의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1" name="직사각형 20"/>
          <p:cNvSpPr/>
          <p:nvPr/>
        </p:nvSpPr>
        <p:spPr>
          <a:xfrm>
            <a:off x="467981" y="2856499"/>
            <a:ext cx="1621090" cy="345282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1450" indent="-171450" algn="l" defTabSz="1042959" eaLnBrk="0" hangingPunct="0">
              <a:spcBef>
                <a:spcPts val="1200"/>
              </a:spcBef>
              <a:buSzPct val="140000"/>
              <a:buFont typeface="Arial" panose="020B0604020202020204" pitchFamily="34" charset="0"/>
              <a:buChar char="•"/>
            </a:pP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isk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형 분류를 위한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isk Category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의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국내외 가이드라인 및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oFIU RBA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처리기준을 검토하여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의 유형 정의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algn="l" defTabSz="1042959" eaLnBrk="0" hangingPunct="0">
              <a:spcBef>
                <a:spcPts val="1500"/>
              </a:spcBef>
              <a:buSzPct val="140000"/>
              <a:buFont typeface="Arial" panose="020B0604020202020204" pitchFamily="34" charset="0"/>
              <a:buChar char="•"/>
            </a:pP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이 발생될 수 있는 </a:t>
            </a:r>
            <a:r>
              <a:rPr lang="en-US" altLang="ko-KR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isk Event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를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출 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algn="l" defTabSz="1042959" eaLnBrk="0" hangingPunct="0">
              <a:spcBef>
                <a:spcPts val="1200"/>
              </a:spcBef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측정 대상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isk Event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를 평가하여 고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저위험으로 식별하고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평가 지표 세분화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l" defTabSz="1042959" eaLnBrk="0" hangingPunct="0">
              <a:spcBef>
                <a:spcPts val="1200"/>
              </a:spcBef>
              <a:buSzPct val="140000"/>
            </a:pP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endParaRPr lang="ko-KR" altLang="en-US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2" name="오각형 21"/>
          <p:cNvSpPr/>
          <p:nvPr/>
        </p:nvSpPr>
        <p:spPr bwMode="ltGray">
          <a:xfrm>
            <a:off x="398401" y="2240869"/>
            <a:ext cx="1831866" cy="469012"/>
          </a:xfrm>
          <a:prstGeom prst="homePlate">
            <a:avLst>
              <a:gd name="adj" fmla="val 23753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식별 및 분석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3579" y="2292334"/>
            <a:ext cx="237905" cy="32254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spc="-10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5" name="갈매기형 수장 24"/>
          <p:cNvSpPr/>
          <p:nvPr/>
        </p:nvSpPr>
        <p:spPr bwMode="ltGray">
          <a:xfrm>
            <a:off x="2243932" y="2240868"/>
            <a:ext cx="1808076" cy="469012"/>
          </a:xfrm>
          <a:prstGeom prst="chevron">
            <a:avLst>
              <a:gd name="adj" fmla="val 23752"/>
            </a:avLst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방안 정의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302462" y="2292334"/>
            <a:ext cx="237905" cy="32254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spc="-10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2351723" y="2856499"/>
            <a:ext cx="1617751" cy="303191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1450" indent="-171450" algn="l" defTabSz="1042959" eaLnBrk="0" hangingPunct="0">
              <a:spcBef>
                <a:spcPts val="1200"/>
              </a:spcBef>
              <a:buSzPct val="140000"/>
              <a:buFont typeface="Arial" panose="020B0604020202020204" pitchFamily="34" charset="0"/>
              <a:buChar char="•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평가를 위한 데이터 가용성 확인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분석 </a:t>
            </a:r>
            <a:r>
              <a:rPr lang="en-US" altLang="ko-KR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Dimension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별 필요 데이터 가용성 확인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algn="l" defTabSz="1042959" eaLnBrk="0" hangingPunct="0">
              <a:spcBef>
                <a:spcPts val="1500"/>
              </a:spcBef>
              <a:buSzPct val="140000"/>
              <a:buFont typeface="Arial" panose="020B0604020202020204" pitchFamily="34" charset="0"/>
              <a:buChar char="•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표 선정을 위한 선정 기준 정의 및 지표 선정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합성과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표성을 선정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준으로 지표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정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algn="l" defTabSz="1042959" eaLnBrk="0" hangingPunct="0">
              <a:spcBef>
                <a:spcPts val="1500"/>
              </a:spcBef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정된 지표에 대한 상세 로직 정의 및 지표 정의서 작성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8" name="직선 연결선 27"/>
          <p:cNvCxnSpPr/>
          <p:nvPr/>
        </p:nvCxnSpPr>
        <p:spPr>
          <a:xfrm>
            <a:off x="2206213" y="2813352"/>
            <a:ext cx="0" cy="327830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갈매기형 수장 28"/>
          <p:cNvSpPr/>
          <p:nvPr/>
        </p:nvSpPr>
        <p:spPr bwMode="ltGray">
          <a:xfrm>
            <a:off x="4060837" y="2240868"/>
            <a:ext cx="1808075" cy="469012"/>
          </a:xfrm>
          <a:prstGeom prst="chevron">
            <a:avLst>
              <a:gd name="adj" fmla="val 23752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설계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44544" y="2292334"/>
            <a:ext cx="237905" cy="32254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spc="-10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spc="-10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182955" y="2856499"/>
            <a:ext cx="1617751" cy="303191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1450" indent="-171450" algn="l" defTabSz="1042959" eaLnBrk="0" hangingPunct="0">
              <a:spcBef>
                <a:spcPts val="1200"/>
              </a:spcBef>
              <a:buSzPct val="140000"/>
              <a:buFont typeface="Arial" panose="020B0604020202020204" pitchFamily="34" charset="0"/>
              <a:buChar char="•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취약점에 대한 통제활동 식별 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취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약점 중 위험이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높은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취약점은 높은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준의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제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설계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algn="l" defTabSz="1042959" eaLnBrk="0" hangingPunct="0">
              <a:spcBef>
                <a:spcPts val="1500"/>
              </a:spcBef>
              <a:buSzPct val="140000"/>
              <a:buFont typeface="Arial" panose="020B0604020202020204" pitchFamily="34" charset="0"/>
              <a:buChar char="•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취약점에 대한 통제활동 미흡 시 이에 대한 개선안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제활동 식별 시 추가적인 통제활동의 추가 및 기존 통제의 보완이 필요한 경우 개선안을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2" name="직선 연결선 31"/>
          <p:cNvCxnSpPr/>
          <p:nvPr/>
        </p:nvCxnSpPr>
        <p:spPr>
          <a:xfrm>
            <a:off x="4021633" y="2803632"/>
            <a:ext cx="0" cy="327830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갈매기형 수장 32"/>
          <p:cNvSpPr/>
          <p:nvPr/>
        </p:nvSpPr>
        <p:spPr bwMode="ltGray">
          <a:xfrm>
            <a:off x="5875848" y="2240868"/>
            <a:ext cx="1808075" cy="469012"/>
          </a:xfrm>
          <a:prstGeom prst="chevron">
            <a:avLst>
              <a:gd name="adj" fmla="val 23752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</a:t>
            </a:r>
            <a:endParaRPr lang="en-US" altLang="ko-KR" sz="1100" spc="-50" dirty="0" smtClean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평가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방안 수립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959555" y="2292332"/>
            <a:ext cx="237905" cy="32254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spc="-10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i="1" spc="-10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997966" y="2856499"/>
            <a:ext cx="1617752" cy="303191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1450" indent="-171450" algn="l" defTabSz="1042959" eaLnBrk="0" hangingPunct="0">
              <a:spcBef>
                <a:spcPts val="1200"/>
              </a:spcBef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제 효과성 평가 방안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제 효과성은 설계 유효성과 운영 효과성을 종합적으로 고려하여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평가하도록 구성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algn="l" defTabSz="1042959" eaLnBrk="0" hangingPunct="0">
              <a:spcBef>
                <a:spcPts val="1200"/>
              </a:spcBef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제활동 별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효과성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절차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제활동 별로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효과성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평가를 수행할 수 있도록 상세 평가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방법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의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sym typeface="Wingdings" panose="05000000000000000000" pitchFamily="2" charset="2"/>
            </a:endParaRPr>
          </a:p>
          <a:p>
            <a:pPr marL="266700" lvl="1" indent="-88900" algn="l" defTabSz="1042959" eaLnBrk="0" hangingPunct="0"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anose="05000000000000000000" pitchFamily="2" charset="2"/>
              </a:rPr>
              <a:t>통제 효과성 평가는 업무 효율성을 위하여 최대한 자동화할 수 있도록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anose="05000000000000000000" pitchFamily="2" charset="2"/>
              </a:rPr>
              <a:t>정의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6" name="직선 연결선 35"/>
          <p:cNvCxnSpPr/>
          <p:nvPr/>
        </p:nvCxnSpPr>
        <p:spPr>
          <a:xfrm>
            <a:off x="5836645" y="2803630"/>
            <a:ext cx="0" cy="327830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갈매기형 수장 36"/>
          <p:cNvSpPr/>
          <p:nvPr/>
        </p:nvSpPr>
        <p:spPr bwMode="ltGray">
          <a:xfrm>
            <a:off x="7681429" y="2240868"/>
            <a:ext cx="1808075" cy="469012"/>
          </a:xfrm>
          <a:prstGeom prst="chevron">
            <a:avLst>
              <a:gd name="adj" fmla="val 23752"/>
            </a:avLst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사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결과 산정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765136" y="2292332"/>
            <a:ext cx="237905" cy="32254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</a:t>
            </a:r>
            <a:endParaRPr lang="ko-KR" altLang="en-US" sz="2400" i="1" spc="-10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7803547" y="2856499"/>
            <a:ext cx="1617752" cy="303191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1450" indent="-171450" algn="l" defTabSz="1042959" eaLnBrk="0" hangingPunct="0">
              <a:spcBef>
                <a:spcPts val="1200"/>
              </a:spcBef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잔여위험 산출 체계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 평가 결과에 통제 효과성에 의한 위험 경감 효과를 반영하여 잔여위험을 산출하는 체계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algn="l" defTabSz="1042959" eaLnBrk="0" hangingPunct="0">
              <a:spcBef>
                <a:spcPts val="1500"/>
              </a:spcBef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평가 단위 별 위험 결과 산정  및 위험등급 산정 체계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spcBef>
                <a:spcPts val="600"/>
              </a:spcBef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비스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별 위험평가 방안 수립</a:t>
            </a:r>
            <a:endParaRPr lang="en-US" altLang="ko-KR" sz="1000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6700" lvl="1" indent="-88900" algn="l" defTabSz="1042959" eaLnBrk="0" hangingPunct="0">
              <a:buSzPct val="140000"/>
              <a:buFont typeface="Arial" panose="020B0604020202020204" pitchFamily="34" charset="0"/>
              <a:buChar char="-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비스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별 위험등급 산정 방안 수립 </a:t>
            </a:r>
          </a:p>
        </p:txBody>
      </p:sp>
      <p:cxnSp>
        <p:nvCxnSpPr>
          <p:cNvPr id="45" name="직선 연결선 44"/>
          <p:cNvCxnSpPr/>
          <p:nvPr/>
        </p:nvCxnSpPr>
        <p:spPr>
          <a:xfrm>
            <a:off x="7642226" y="2803630"/>
            <a:ext cx="0" cy="327830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26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직사각형 59"/>
          <p:cNvSpPr/>
          <p:nvPr/>
        </p:nvSpPr>
        <p:spPr bwMode="ltGray">
          <a:xfrm>
            <a:off x="5020117" y="2240868"/>
            <a:ext cx="4424400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9" name="직사각형 58"/>
          <p:cNvSpPr/>
          <p:nvPr/>
        </p:nvSpPr>
        <p:spPr bwMode="ltGray">
          <a:xfrm>
            <a:off x="452376" y="2240868"/>
            <a:ext cx="4422607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을 완전하고 정확하게 식별하기 위하여 외부 자료 및 사례를 이용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p-Down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식과 부산은행의 특성을 반영하기 위하여 내부 사례를 이용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Bottom-Up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식을 함께 적용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식별 및 분석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" name="TextBox 19"/>
          <p:cNvSpPr txBox="1"/>
          <p:nvPr/>
        </p:nvSpPr>
        <p:spPr>
          <a:xfrm>
            <a:off x="488381" y="2408352"/>
            <a:ext cx="4089611" cy="486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87313" indent="-87313" algn="ctr">
              <a:spcAft>
                <a:spcPts val="600"/>
              </a:spcAft>
            </a:pPr>
            <a:r>
              <a:rPr lang="en-US" altLang="ko-KR" sz="1000" u="sng" spc="-100" dirty="0" smtClean="0">
                <a:solidFill>
                  <a:schemeClr val="tx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[1] Top-Down Approach</a:t>
            </a:r>
          </a:p>
          <a:p>
            <a:pPr marL="87313" indent="-87313" algn="ctr"/>
            <a:r>
              <a:rPr lang="en-US" altLang="ko-KR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 사례를 분석하여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Risk Category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별로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위험이 </a:t>
            </a:r>
            <a:endParaRPr lang="en-US" altLang="ko-KR" sz="1000" i="1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 algn="ctr"/>
            <a:r>
              <a:rPr lang="en-US" altLang="ko-KR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생될 수 있는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isk Event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정의함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899350" y="3548960"/>
            <a:ext cx="861746" cy="208785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국가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1836621" y="3548960"/>
            <a:ext cx="861746" cy="208785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고객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2773892" y="3548960"/>
            <a:ext cx="861746" cy="208785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상품 및 서비스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711162" y="3548960"/>
            <a:ext cx="861746" cy="208785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채널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899350" y="4344499"/>
            <a:ext cx="861746" cy="3479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88900" indent="-88900" defTabSz="1042959" eaLnBrk="0" latinLnBrk="0" hangingPunct="0">
              <a:lnSpc>
                <a:spcPct val="110000"/>
              </a:lnSpc>
              <a:buSzPct val="140000"/>
              <a:buFont typeface="Wingdings" panose="05000000000000000000" pitchFamily="2" charset="2"/>
              <a:buChar char="§"/>
            </a:pPr>
            <a:r>
              <a:rPr lang="ko-KR" altLang="en-US" sz="900" spc="-100" dirty="0" smtClean="0">
                <a:solidFill>
                  <a:schemeClr val="tx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지적재산권 </a:t>
            </a:r>
            <a:endParaRPr lang="en-US" altLang="ko-KR" sz="900" spc="-100" dirty="0" smtClean="0">
              <a:solidFill>
                <a:schemeClr val="tx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defTabSz="1042959" eaLnBrk="0" latinLnBrk="0" hangingPunct="0">
              <a:lnSpc>
                <a:spcPct val="110000"/>
              </a:lnSpc>
              <a:buSzPct val="140000"/>
            </a:pPr>
            <a:r>
              <a:rPr lang="en-US" altLang="ko-KR" sz="900" spc="-100" dirty="0">
                <a:solidFill>
                  <a:schemeClr val="tx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sz="900" spc="-100" dirty="0" smtClean="0">
                <a:solidFill>
                  <a:schemeClr val="tx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  </a:t>
            </a:r>
            <a:r>
              <a:rPr lang="ko-KR" altLang="en-US" sz="900" spc="-100" dirty="0" smtClean="0">
                <a:solidFill>
                  <a:schemeClr val="tx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반 국가</a:t>
            </a:r>
            <a:endParaRPr lang="en-US" altLang="ko-KR" sz="900" spc="-100" dirty="0" smtClean="0">
              <a:solidFill>
                <a:schemeClr val="tx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836621" y="4344499"/>
            <a:ext cx="861746" cy="3479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36000" bIns="36000" rtlCol="0" anchor="ctr" anchorCtr="0"/>
          <a:lstStyle/>
          <a:p>
            <a:pPr marL="88900" indent="-88900" defTabSz="1042959" eaLnBrk="0" latinLnBrk="0" hangingPunct="0">
              <a:lnSpc>
                <a:spcPct val="110000"/>
              </a:lnSpc>
              <a:buSzPct val="140000"/>
              <a:buFont typeface="Wingdings" panose="05000000000000000000" pitchFamily="2" charset="2"/>
              <a:buChar char="§"/>
            </a:pPr>
            <a:r>
              <a:rPr lang="ko-KR" altLang="en-US" sz="900" spc="-100" dirty="0" smtClean="0">
                <a:solidFill>
                  <a:schemeClr val="tx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행성 업종</a:t>
            </a:r>
            <a:endParaRPr lang="en-US" altLang="ko-KR" sz="900" spc="-100" dirty="0">
              <a:solidFill>
                <a:schemeClr val="tx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2773892" y="4344499"/>
            <a:ext cx="861746" cy="3479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36000" rtlCol="0" anchor="ctr" anchorCtr="0"/>
          <a:lstStyle/>
          <a:p>
            <a:pPr marL="88900" indent="-88900" defTabSz="1042959" eaLnBrk="0" latinLnBrk="0" hangingPunct="0">
              <a:lnSpc>
                <a:spcPct val="110000"/>
              </a:lnSpc>
              <a:buSzPct val="140000"/>
              <a:buFont typeface="Wingdings" panose="05000000000000000000" pitchFamily="2" charset="2"/>
              <a:buChar char="§"/>
            </a:pPr>
            <a:r>
              <a:rPr lang="ko-KR" altLang="en-US" sz="900" spc="-100" dirty="0" smtClean="0">
                <a:solidFill>
                  <a:schemeClr val="tx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전신송금</a:t>
            </a:r>
            <a:endParaRPr lang="en-US" altLang="ko-KR" sz="900" spc="-100" dirty="0">
              <a:solidFill>
                <a:schemeClr val="tx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3711162" y="4344499"/>
            <a:ext cx="861746" cy="3479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36000" rtlCol="0" anchor="ctr" anchorCtr="0"/>
          <a:lstStyle/>
          <a:p>
            <a:pPr marL="88900" indent="-88900" defTabSz="1042959" eaLnBrk="0" latinLnBrk="0" hangingPunct="0">
              <a:lnSpc>
                <a:spcPct val="110000"/>
              </a:lnSpc>
              <a:buSzPct val="140000"/>
              <a:buFont typeface="Wingdings" panose="05000000000000000000" pitchFamily="2" charset="2"/>
              <a:buChar char="§"/>
            </a:pPr>
            <a:r>
              <a:rPr lang="ko-KR" altLang="en-US" sz="900" spc="-100" dirty="0" smtClean="0">
                <a:solidFill>
                  <a:schemeClr val="tx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인터넷 뱅킹</a:t>
            </a:r>
            <a:endParaRPr lang="en-US" altLang="ko-KR" sz="900" spc="-100" dirty="0" smtClean="0">
              <a:solidFill>
                <a:schemeClr val="tx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794115" y="3363028"/>
            <a:ext cx="3875149" cy="55519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90939" y="3223454"/>
            <a:ext cx="1425196" cy="208785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ko-KR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isk Category</a:t>
            </a:r>
            <a:endParaRPr lang="ko-KR" altLang="en-US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794113" y="4165228"/>
            <a:ext cx="3875149" cy="2039089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90937" y="4025655"/>
            <a:ext cx="1425196" cy="208785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ko-KR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isk Event</a:t>
            </a:r>
            <a:endParaRPr lang="ko-KR" altLang="en-US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1614201" y="5056241"/>
            <a:ext cx="2958707" cy="1044467"/>
          </a:xfrm>
          <a:prstGeom prst="rect">
            <a:avLst/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불법 도박사이트 </a:t>
            </a:r>
            <a:r>
              <a:rPr lang="ko-KR" altLang="en-US" sz="9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운영</a:t>
            </a:r>
            <a:endParaRPr lang="en-US" altLang="ko-KR" sz="900" spc="-50" dirty="0" smtClean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171450" indent="-171450">
              <a:buFont typeface="KoPub돋움체 Medium" panose="02020603020101020101" pitchFamily="18" charset="-127"/>
              <a:buChar char="-"/>
            </a:pPr>
            <a:r>
              <a:rPr lang="ko-KR" altLang="en-US" sz="9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중국에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무실을 열어 불법 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'</a:t>
            </a:r>
            <a:r>
              <a:rPr lang="ko-KR" altLang="en-US" sz="9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스포츠토토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‘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이트를 운영하고 사이트에서 발생한 배당금은 투자 자금으로 </a:t>
            </a:r>
            <a:r>
              <a:rPr lang="ko-KR" altLang="en-US" sz="9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장하여 타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업체에 인터넷 뱅킹을 이용하여 송금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927073" y="5047267"/>
            <a:ext cx="632007" cy="1053442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자금세탁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사례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(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예시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)</a:t>
            </a:r>
          </a:p>
        </p:txBody>
      </p:sp>
      <p:sp>
        <p:nvSpPr>
          <p:cNvPr id="36" name="타원 35"/>
          <p:cNvSpPr/>
          <p:nvPr/>
        </p:nvSpPr>
        <p:spPr>
          <a:xfrm>
            <a:off x="1738193" y="5390940"/>
            <a:ext cx="331441" cy="243582"/>
          </a:xfrm>
          <a:prstGeom prst="ellipse">
            <a:avLst/>
          </a:prstGeom>
          <a:noFill/>
          <a:ln w="19050">
            <a:solidFill>
              <a:srgbClr val="99003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타원 36"/>
          <p:cNvSpPr/>
          <p:nvPr/>
        </p:nvSpPr>
        <p:spPr>
          <a:xfrm>
            <a:off x="2650721" y="5376395"/>
            <a:ext cx="1037593" cy="243582"/>
          </a:xfrm>
          <a:prstGeom prst="ellipse">
            <a:avLst/>
          </a:prstGeom>
          <a:noFill/>
          <a:ln w="19050">
            <a:solidFill>
              <a:srgbClr val="99003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8" name="타원 37"/>
          <p:cNvSpPr/>
          <p:nvPr/>
        </p:nvSpPr>
        <p:spPr>
          <a:xfrm>
            <a:off x="1730028" y="5674604"/>
            <a:ext cx="647101" cy="243582"/>
          </a:xfrm>
          <a:prstGeom prst="ellipse">
            <a:avLst/>
          </a:prstGeom>
          <a:noFill/>
          <a:ln w="19050">
            <a:solidFill>
              <a:srgbClr val="99003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4" name="타원 43"/>
          <p:cNvSpPr/>
          <p:nvPr/>
        </p:nvSpPr>
        <p:spPr>
          <a:xfrm>
            <a:off x="3983606" y="5512731"/>
            <a:ext cx="380982" cy="243582"/>
          </a:xfrm>
          <a:prstGeom prst="ellipse">
            <a:avLst/>
          </a:prstGeom>
          <a:noFill/>
          <a:ln w="19050">
            <a:solidFill>
              <a:srgbClr val="990033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45" name="구부러진 연결선 44"/>
          <p:cNvCxnSpPr>
            <a:stCxn id="36" idx="0"/>
            <a:endCxn id="26" idx="2"/>
          </p:cNvCxnSpPr>
          <p:nvPr/>
        </p:nvCxnSpPr>
        <p:spPr>
          <a:xfrm rot="16200000" flipV="1">
            <a:off x="1267836" y="4754861"/>
            <a:ext cx="698466" cy="573691"/>
          </a:xfrm>
          <a:prstGeom prst="curvedConnector3">
            <a:avLst/>
          </a:prstGeom>
          <a:ln w="19050">
            <a:solidFill>
              <a:srgbClr val="990033"/>
            </a:solidFill>
            <a:prstDash val="sys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구부러진 연결선 45"/>
          <p:cNvCxnSpPr>
            <a:stCxn id="37" idx="0"/>
            <a:endCxn id="27" idx="2"/>
          </p:cNvCxnSpPr>
          <p:nvPr/>
        </p:nvCxnSpPr>
        <p:spPr>
          <a:xfrm rot="16200000" flipV="1">
            <a:off x="2376546" y="4583423"/>
            <a:ext cx="683921" cy="902024"/>
          </a:xfrm>
          <a:prstGeom prst="curvedConnector3">
            <a:avLst/>
          </a:prstGeom>
          <a:ln w="19050">
            <a:solidFill>
              <a:srgbClr val="990033"/>
            </a:solidFill>
            <a:prstDash val="sys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구부러진 연결선 46"/>
          <p:cNvCxnSpPr>
            <a:stCxn id="44" idx="0"/>
            <a:endCxn id="28" idx="2"/>
          </p:cNvCxnSpPr>
          <p:nvPr/>
        </p:nvCxnSpPr>
        <p:spPr>
          <a:xfrm rot="16200000" flipV="1">
            <a:off x="3279303" y="4617937"/>
            <a:ext cx="820257" cy="969332"/>
          </a:xfrm>
          <a:prstGeom prst="curvedConnector3">
            <a:avLst>
              <a:gd name="adj1" fmla="val 50000"/>
            </a:avLst>
          </a:prstGeom>
          <a:ln w="19050">
            <a:solidFill>
              <a:srgbClr val="990033"/>
            </a:solidFill>
            <a:prstDash val="sys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구부러진 연결선 47"/>
          <p:cNvCxnSpPr>
            <a:stCxn id="38" idx="6"/>
            <a:endCxn id="29" idx="2"/>
          </p:cNvCxnSpPr>
          <p:nvPr/>
        </p:nvCxnSpPr>
        <p:spPr>
          <a:xfrm flipV="1">
            <a:off x="2377129" y="4692474"/>
            <a:ext cx="1764906" cy="1103921"/>
          </a:xfrm>
          <a:prstGeom prst="curvedConnector2">
            <a:avLst/>
          </a:prstGeom>
          <a:ln w="19050">
            <a:solidFill>
              <a:srgbClr val="990033"/>
            </a:solidFill>
            <a:prstDash val="sys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5026785" y="2408352"/>
            <a:ext cx="4089611" cy="486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87313" indent="-87313" algn="ctr">
              <a:spcAft>
                <a:spcPts val="600"/>
              </a:spcAft>
            </a:pPr>
            <a:r>
              <a:rPr lang="en-US" altLang="ko-KR" sz="1000" u="sng" spc="-100" dirty="0" smtClean="0">
                <a:solidFill>
                  <a:schemeClr val="tx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[2</a:t>
            </a:r>
            <a:r>
              <a:rPr lang="en-US" altLang="ko-KR" sz="1000" u="sng" spc="-100" dirty="0">
                <a:solidFill>
                  <a:schemeClr val="tx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] Bottom-Up Approach</a:t>
            </a:r>
          </a:p>
          <a:p>
            <a:pPr marL="87313" indent="-87313" algn="ctr"/>
            <a:r>
              <a:rPr lang="en-US" altLang="ko-KR" sz="105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회사의 </a:t>
            </a:r>
            <a:r>
              <a:rPr lang="ko-KR" altLang="en-US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특성을 반영하기 위하여 </a:t>
            </a:r>
            <a:r>
              <a:rPr lang="en-US" altLang="ko-KR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R </a:t>
            </a:r>
            <a:r>
              <a:rPr lang="ko-KR" altLang="en-US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분포 분석을 </a:t>
            </a:r>
            <a:r>
              <a:rPr lang="ko-KR" altLang="en-US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해 </a:t>
            </a:r>
            <a:endParaRPr lang="en-US" altLang="ko-KR" sz="1000" i="1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 algn="ctr">
              <a:spcAft>
                <a:spcPts val="600"/>
              </a:spcAft>
            </a:pPr>
            <a:r>
              <a:rPr lang="en-US" altLang="ko-KR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가적으로 </a:t>
            </a:r>
            <a:r>
              <a:rPr lang="ko-KR" altLang="en-US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위험 국가 및 업종</a:t>
            </a:r>
            <a:r>
              <a:rPr lang="en-US" altLang="ko-KR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상품 등의 </a:t>
            </a:r>
            <a:r>
              <a:rPr lang="en-US" altLang="ko-KR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isk Event</a:t>
            </a:r>
            <a:r>
              <a:rPr lang="ko-KR" altLang="en-US" sz="1000" i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정의함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212410" y="5279942"/>
            <a:ext cx="3725666" cy="43648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66700" indent="-266700" algn="l">
              <a:spcAft>
                <a:spcPts val="900"/>
              </a:spcAft>
              <a:buFont typeface="Wingdings" panose="05000000000000000000" pitchFamily="2" charset="2"/>
              <a:buChar char="à"/>
            </a:pP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과거 일정기간 동안의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STR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및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CTR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보고서 데이터를 분석</a:t>
            </a:r>
            <a:endParaRPr lang="en-US" altLang="ko-KR" sz="1000" i="1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sym typeface="Wingdings" panose="05000000000000000000" pitchFamily="2" charset="2"/>
            </a:endParaRPr>
          </a:p>
          <a:p>
            <a:pPr marL="266700" indent="-266700" algn="l">
              <a:spcAft>
                <a:spcPts val="900"/>
              </a:spcAft>
              <a:buFont typeface="Wingdings" panose="05000000000000000000" pitchFamily="2" charset="2"/>
              <a:buChar char="à"/>
            </a:pP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분석 결과 다수 보고 국가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/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고객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/ 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상품 및 서비스의 특성을 분석하여 실제 부산은행의 과거에 노출되었던 </a:t>
            </a:r>
            <a:r>
              <a:rPr lang="en-US" altLang="ko-KR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Risk Event</a:t>
            </a:r>
            <a:r>
              <a:rPr lang="ko-KR" altLang="en-US" sz="1000" i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를 추가 식별하여 반영 </a:t>
            </a:r>
            <a:endParaRPr lang="ko-KR" altLang="en-US" sz="1000" i="1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52" name="그림 5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5371" y="3352719"/>
            <a:ext cx="4176595" cy="1654115"/>
          </a:xfrm>
          <a:prstGeom prst="rect">
            <a:avLst/>
          </a:prstGeom>
        </p:spPr>
      </p:pic>
      <p:sp>
        <p:nvSpPr>
          <p:cNvPr id="53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2/9)</a:t>
            </a:r>
            <a:endParaRPr lang="ko-KR" altLang="en-US" dirty="0"/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49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1584" y="216995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306677" y="217051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4711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직사각형 69"/>
          <p:cNvSpPr/>
          <p:nvPr/>
        </p:nvSpPr>
        <p:spPr bwMode="ltGray">
          <a:xfrm>
            <a:off x="6603153" y="2240868"/>
            <a:ext cx="2742335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9" name="직사각형 68"/>
          <p:cNvSpPr/>
          <p:nvPr/>
        </p:nvSpPr>
        <p:spPr bwMode="ltGray">
          <a:xfrm>
            <a:off x="3568425" y="2240868"/>
            <a:ext cx="2742335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분석 단계에서는 식별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Even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위험도를 측정하여 평가 대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Even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를 선정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 대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Even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업무 절차상 발생할 수 있는 위험을 추가로 식별하여 지표 정의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취약점 분석에 반영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식별 및 분석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1" name="직사각형 20"/>
          <p:cNvSpPr/>
          <p:nvPr/>
        </p:nvSpPr>
        <p:spPr>
          <a:xfrm>
            <a:off x="3695372" y="2404261"/>
            <a:ext cx="2484911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평가 대상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isk Event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관련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업무절차 위험 분석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6739941" y="2404261"/>
            <a:ext cx="2484911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평가 대상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Risk Event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지표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세분화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/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취약점 분석 반영</a:t>
            </a:r>
          </a:p>
        </p:txBody>
      </p:sp>
      <p:cxnSp>
        <p:nvCxnSpPr>
          <p:cNvPr id="25" name="직선 화살표 연결선 24"/>
          <p:cNvCxnSpPr>
            <a:stCxn id="21" idx="3"/>
            <a:endCxn id="22" idx="1"/>
          </p:cNvCxnSpPr>
          <p:nvPr/>
        </p:nvCxnSpPr>
        <p:spPr>
          <a:xfrm>
            <a:off x="6180283" y="2620261"/>
            <a:ext cx="559658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/>
          <p:cNvSpPr/>
          <p:nvPr/>
        </p:nvSpPr>
        <p:spPr>
          <a:xfrm>
            <a:off x="3695372" y="2898830"/>
            <a:ext cx="2484911" cy="432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대상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Risk Evnet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 고위험 상품 및 서비스의 경우 상품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비스의 특징과 관련 업무절차를 분석함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예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위험 상품 예시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spcBef>
                <a:spcPts val="900"/>
              </a:spcBef>
              <a:buSzPct val="140000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  </a:t>
            </a: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분석 결과를 기반으로 추가로 상세 파악하여야 하는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ML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세스 상의 시사점과 지표상세 도출 기준을 정의함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6739941" y="2898830"/>
            <a:ext cx="2484911" cy="432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절차 위험 분석 결과를 다음과 같이 지표 및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취약점 분석과 연계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세분화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대상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isk Event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 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연관될 수 있는 상세 추출 조건 정의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ML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세스 상의 상세 취약점 분석을 위한 대상이 되며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상세 취약점 분석 결과에 따라 추가 통제활동 식별 및 설계가 필요함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aphicFrame>
        <p:nvGraphicFramePr>
          <p:cNvPr id="59" name="표 58"/>
          <p:cNvGraphicFramePr>
            <a:graphicFrameLocks noGrp="1"/>
          </p:cNvGraphicFramePr>
          <p:nvPr>
            <p:extLst/>
          </p:nvPr>
        </p:nvGraphicFramePr>
        <p:xfrm>
          <a:off x="6865775" y="4007882"/>
          <a:ext cx="2281969" cy="9681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1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1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9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6722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Risk Event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추출데이터</a:t>
                      </a:r>
                      <a:endParaRPr lang="ko-KR" altLang="en-US" sz="800" b="1" kern="120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추가 조건</a:t>
                      </a:r>
                      <a:endParaRPr lang="en-US" altLang="ko-KR" sz="800" b="1" kern="120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기업자유예탁금</a:t>
                      </a:r>
                      <a:endParaRPr lang="ko-KR" altLang="en-US" sz="800" b="1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거래금액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비거주자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 수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8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위험국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EDD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1" name="표 60"/>
          <p:cNvGraphicFramePr>
            <a:graphicFrameLocks noGrp="1"/>
          </p:cNvGraphicFramePr>
          <p:nvPr>
            <p:extLst/>
          </p:nvPr>
        </p:nvGraphicFramePr>
        <p:xfrm>
          <a:off x="4123546" y="3923226"/>
          <a:ext cx="1919943" cy="848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1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7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상품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특성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기업자유</a:t>
                      </a:r>
                      <a:endParaRPr lang="en-US" altLang="ko-KR" sz="800" b="1" dirty="0" smtClean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800" b="1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예탁금 </a:t>
                      </a:r>
                      <a:endParaRPr lang="ko-KR" altLang="en-US" sz="800" b="1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법인 또는 사업자등록증을 소지한 개인을 대상으로 하는 입 </a:t>
                      </a:r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· </a:t>
                      </a:r>
                      <a:r>
                        <a:rPr lang="ko-KR" altLang="en-US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출금이 자유로운 예탁금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8" name="직사각형 67"/>
          <p:cNvSpPr/>
          <p:nvPr/>
        </p:nvSpPr>
        <p:spPr bwMode="ltGray">
          <a:xfrm>
            <a:off x="548770" y="2240868"/>
            <a:ext cx="2712042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656666" y="2404261"/>
            <a:ext cx="2484911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isk Event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평가 및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평가 대상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isk Event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도출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656666" y="2898830"/>
            <a:ext cx="2484911" cy="432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식별 단계에서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p-Down / Bottom-Up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방식으로 식별된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Risk Event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들을 평가 기준에 따라 평가하고 그 결과를 종합적으로 고려하여 평가 대상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Risk Event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도출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 defTabSz="1042959" eaLnBrk="0" latinLnBrk="0" hangingPunct="0">
              <a:buSzPct val="140000"/>
            </a:pPr>
            <a:r>
              <a: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              </a:t>
            </a:r>
            <a:r>
              <a:rPr lang="en-US" altLang="ko-KR" sz="1000" b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&lt;</a:t>
            </a:r>
            <a:r>
              <a:rPr lang="ko-KR" altLang="en-US" sz="1000" b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종 등급 산정 모델</a:t>
            </a:r>
            <a:r>
              <a:rPr lang="en-US" altLang="ko-KR" sz="1000" b="1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&gt;</a:t>
            </a:r>
            <a:endParaRPr lang="ko-KR" altLang="en-US" sz="1000" b="1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32" name="그룹 31"/>
          <p:cNvGrpSpPr/>
          <p:nvPr/>
        </p:nvGrpSpPr>
        <p:grpSpPr>
          <a:xfrm>
            <a:off x="820623" y="3870374"/>
            <a:ext cx="2160000" cy="819466"/>
            <a:chOff x="3909964" y="3757661"/>
            <a:chExt cx="2275940" cy="819466"/>
          </a:xfrm>
        </p:grpSpPr>
        <p:grpSp>
          <p:nvGrpSpPr>
            <p:cNvPr id="33" name="그룹 32"/>
            <p:cNvGrpSpPr/>
            <p:nvPr/>
          </p:nvGrpSpPr>
          <p:grpSpPr>
            <a:xfrm>
              <a:off x="3909964" y="3757661"/>
              <a:ext cx="2273707" cy="396612"/>
              <a:chOff x="3909964" y="5121186"/>
              <a:chExt cx="2273707" cy="207342"/>
            </a:xfrm>
          </p:grpSpPr>
          <p:sp>
            <p:nvSpPr>
              <p:cNvPr id="37" name="Rectangle 8"/>
              <p:cNvSpPr>
                <a:spLocks noChangeArrowheads="1"/>
              </p:cNvSpPr>
              <p:nvPr/>
            </p:nvSpPr>
            <p:spPr bwMode="auto">
              <a:xfrm>
                <a:off x="3909964" y="5121505"/>
                <a:ext cx="612000" cy="207023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정량적 </a:t>
                </a:r>
                <a:endParaRPr lang="en-US" altLang="ko-KR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기준</a:t>
                </a:r>
                <a:endParaRPr lang="en-US" altLang="ko-KR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8" name="직사각형 37"/>
              <p:cNvSpPr/>
              <p:nvPr/>
            </p:nvSpPr>
            <p:spPr>
              <a:xfrm>
                <a:off x="4552327" y="5121186"/>
                <a:ext cx="1631344" cy="20702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latinLnBrk="0"/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사례 노출횟수</a:t>
                </a:r>
                <a:r>
                  <a:rPr lang="en-US" altLang="ko-KR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, STR </a:t>
                </a:r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보고횟수 및 </a:t>
                </a:r>
                <a:r>
                  <a:rPr lang="en-US" altLang="ko-KR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Coverage </a:t>
                </a:r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등</a:t>
                </a:r>
                <a:endParaRPr lang="en-US" altLang="ko-KR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4" name="그룹 33"/>
            <p:cNvGrpSpPr/>
            <p:nvPr/>
          </p:nvGrpSpPr>
          <p:grpSpPr>
            <a:xfrm>
              <a:off x="3912197" y="4180515"/>
              <a:ext cx="2273707" cy="396612"/>
              <a:chOff x="3909964" y="5121186"/>
              <a:chExt cx="2273707" cy="207342"/>
            </a:xfrm>
          </p:grpSpPr>
          <p:sp>
            <p:nvSpPr>
              <p:cNvPr id="35" name="Rectangle 8"/>
              <p:cNvSpPr>
                <a:spLocks noChangeArrowheads="1"/>
              </p:cNvSpPr>
              <p:nvPr/>
            </p:nvSpPr>
            <p:spPr bwMode="auto">
              <a:xfrm>
                <a:off x="3909964" y="5121505"/>
                <a:ext cx="612000" cy="207023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정성적</a:t>
                </a:r>
                <a:endParaRPr lang="en-US" altLang="ko-KR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기준</a:t>
                </a:r>
                <a:endParaRPr lang="en-US" altLang="ko-KR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6" name="직사각형 35"/>
              <p:cNvSpPr/>
              <p:nvPr/>
            </p:nvSpPr>
            <p:spPr>
              <a:xfrm>
                <a:off x="4552327" y="5121186"/>
                <a:ext cx="1631344" cy="20702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latinLnBrk="0"/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범죄 연관성</a:t>
                </a:r>
                <a:r>
                  <a:rPr lang="en-US" altLang="ko-KR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, </a:t>
                </a:r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직원 유착 가능성</a:t>
                </a:r>
                <a:r>
                  <a:rPr lang="en-US" altLang="ko-KR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, </a:t>
                </a:r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익명성</a:t>
                </a:r>
                <a:r>
                  <a:rPr lang="en-US" altLang="ko-KR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,</a:t>
                </a:r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 휴대</a:t>
                </a:r>
                <a:r>
                  <a:rPr lang="en-US" altLang="ko-KR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/</a:t>
                </a:r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이동성 등</a:t>
                </a:r>
                <a:endParaRPr lang="en-US" altLang="ko-KR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grpSp>
        <p:nvGrpSpPr>
          <p:cNvPr id="44" name="그룹 43"/>
          <p:cNvGrpSpPr>
            <a:grpSpLocks/>
          </p:cNvGrpSpPr>
          <p:nvPr/>
        </p:nvGrpSpPr>
        <p:grpSpPr>
          <a:xfrm>
            <a:off x="820623" y="5129770"/>
            <a:ext cx="2160000" cy="936000"/>
            <a:chOff x="5630171" y="3239158"/>
            <a:chExt cx="2826508" cy="2880991"/>
          </a:xfrm>
        </p:grpSpPr>
        <p:cxnSp>
          <p:nvCxnSpPr>
            <p:cNvPr id="45" name="직선 화살표 연결선 44"/>
            <p:cNvCxnSpPr/>
            <p:nvPr/>
          </p:nvCxnSpPr>
          <p:spPr>
            <a:xfrm>
              <a:off x="5972679" y="5710951"/>
              <a:ext cx="2484000" cy="0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</p:cxnSp>
        <p:cxnSp>
          <p:nvCxnSpPr>
            <p:cNvPr id="46" name="직선 화살표 연결선 45"/>
            <p:cNvCxnSpPr/>
            <p:nvPr/>
          </p:nvCxnSpPr>
          <p:spPr>
            <a:xfrm flipV="1">
              <a:off x="5941598" y="3239158"/>
              <a:ext cx="9525" cy="2484000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</p:cxnSp>
        <p:sp>
          <p:nvSpPr>
            <p:cNvPr id="47" name="직사각형 46"/>
            <p:cNvSpPr/>
            <p:nvPr/>
          </p:nvSpPr>
          <p:spPr bwMode="ltGray">
            <a:xfrm>
              <a:off x="7567820" y="3409917"/>
              <a:ext cx="720000" cy="720000"/>
            </a:xfrm>
            <a:prstGeom prst="rect">
              <a:avLst/>
            </a:prstGeom>
            <a:solidFill>
              <a:srgbClr val="990033"/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고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8" name="직사각형 47"/>
            <p:cNvSpPr/>
            <p:nvPr/>
          </p:nvSpPr>
          <p:spPr bwMode="ltGray">
            <a:xfrm>
              <a:off x="7567820" y="4161651"/>
              <a:ext cx="720000" cy="720000"/>
            </a:xfrm>
            <a:prstGeom prst="rect">
              <a:avLst/>
            </a:prstGeom>
            <a:solidFill>
              <a:srgbClr val="990033"/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고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9" name="직사각형 48"/>
            <p:cNvSpPr/>
            <p:nvPr/>
          </p:nvSpPr>
          <p:spPr bwMode="ltGray">
            <a:xfrm>
              <a:off x="7567820" y="4913386"/>
              <a:ext cx="720000" cy="720000"/>
            </a:xfrm>
            <a:prstGeom prst="rect">
              <a:avLst/>
            </a:prstGeom>
            <a:solidFill>
              <a:srgbClr val="990033"/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고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50" name="직사각형 49"/>
            <p:cNvSpPr/>
            <p:nvPr/>
          </p:nvSpPr>
          <p:spPr bwMode="ltGray">
            <a:xfrm>
              <a:off x="6803549" y="4161651"/>
              <a:ext cx="720000" cy="72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중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51" name="직사각형 50"/>
            <p:cNvSpPr/>
            <p:nvPr/>
          </p:nvSpPr>
          <p:spPr bwMode="ltGray">
            <a:xfrm>
              <a:off x="6803549" y="4913386"/>
              <a:ext cx="720000" cy="72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중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52" name="직사각형 51"/>
            <p:cNvSpPr/>
            <p:nvPr/>
          </p:nvSpPr>
          <p:spPr bwMode="ltGray">
            <a:xfrm>
              <a:off x="6803549" y="3409917"/>
              <a:ext cx="720000" cy="720000"/>
            </a:xfrm>
            <a:prstGeom prst="rect">
              <a:avLst/>
            </a:prstGeom>
            <a:solidFill>
              <a:srgbClr val="990033"/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고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53" name="직사각형 52"/>
            <p:cNvSpPr/>
            <p:nvPr/>
          </p:nvSpPr>
          <p:spPr bwMode="ltGray">
            <a:xfrm>
              <a:off x="6028925" y="3409917"/>
              <a:ext cx="720000" cy="720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algn="ctr" defTabSz="972559" latinLnBrk="0">
                <a:spcBef>
                  <a:spcPts val="601"/>
                </a:spcBef>
              </a:pPr>
              <a:r>
                <a:rPr lang="ko-KR" altLang="en-US" sz="800" b="1" kern="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저</a:t>
              </a:r>
              <a:endParaRPr lang="en-US" altLang="ko-KR" sz="800" b="1" kern="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55" name="직사각형 54"/>
            <p:cNvSpPr/>
            <p:nvPr/>
          </p:nvSpPr>
          <p:spPr bwMode="ltGray">
            <a:xfrm>
              <a:off x="6028925" y="4161651"/>
              <a:ext cx="720000" cy="720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저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56" name="직사각형 55"/>
            <p:cNvSpPr/>
            <p:nvPr/>
          </p:nvSpPr>
          <p:spPr bwMode="ltGray">
            <a:xfrm>
              <a:off x="6028925" y="4913386"/>
              <a:ext cx="720000" cy="720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0" tIns="48636" rIns="0" bIns="48636" anchor="ctr"/>
            <a:lstStyle/>
            <a:p>
              <a:pPr marL="0" marR="0" lvl="0" indent="0" algn="ctr" defTabSz="972559" eaLnBrk="1" fontAlgn="auto" latinLnBrk="0" hangingPunct="1">
                <a:lnSpc>
                  <a:spcPct val="100000"/>
                </a:lnSpc>
                <a:spcBef>
                  <a:spcPts val="60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-10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저</a:t>
              </a:r>
              <a:endParaRPr kumimoji="0" lang="en-US" altLang="ko-KR" sz="800" b="1" i="0" u="none" strike="noStrike" kern="0" cap="none" spc="-10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757049" y="5824270"/>
              <a:ext cx="1236420" cy="29587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-27432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성평가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630171" y="3924637"/>
              <a:ext cx="233161" cy="129048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-27432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량 평가</a:t>
              </a:r>
            </a:p>
          </p:txBody>
        </p:sp>
      </p:grpSp>
      <p:pic>
        <p:nvPicPr>
          <p:cNvPr id="98" name="그림 97">
            <a:extLst>
              <a:ext uri="{FF2B5EF4-FFF2-40B4-BE49-F238E27FC236}">
                <a16:creationId xmlns:a16="http://schemas.microsoft.com/office/drawing/2014/main" id="{3FB87CD8-0722-481C-B7BA-1DD8F9ABA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891" y="2435234"/>
            <a:ext cx="378195" cy="378195"/>
          </a:xfrm>
          <a:prstGeom prst="rect">
            <a:avLst/>
          </a:prstGeom>
        </p:spPr>
      </p:pic>
      <p:pic>
        <p:nvPicPr>
          <p:cNvPr id="99" name="그림 98">
            <a:extLst>
              <a:ext uri="{FF2B5EF4-FFF2-40B4-BE49-F238E27FC236}">
                <a16:creationId xmlns:a16="http://schemas.microsoft.com/office/drawing/2014/main" id="{D3790503-444D-408D-88DA-EF28A054E1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6891" y="2435234"/>
            <a:ext cx="378195" cy="378195"/>
          </a:xfrm>
          <a:prstGeom prst="rect">
            <a:avLst/>
          </a:prstGeom>
        </p:spPr>
      </p:pic>
      <p:pic>
        <p:nvPicPr>
          <p:cNvPr id="100" name="그림 99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4588" y="2435234"/>
            <a:ext cx="378195" cy="378195"/>
          </a:xfrm>
          <a:prstGeom prst="rect">
            <a:avLst/>
          </a:prstGeom>
        </p:spPr>
      </p:pic>
      <p:sp>
        <p:nvSpPr>
          <p:cNvPr id="5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3/9)</a:t>
            </a:r>
            <a:endParaRPr lang="ko-KR" altLang="en-US" dirty="0"/>
          </a:p>
        </p:txBody>
      </p:sp>
      <p:sp>
        <p:nvSpPr>
          <p:cNvPr id="6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6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cxnSp>
        <p:nvCxnSpPr>
          <p:cNvPr id="23" name="직선 화살표 연결선 22"/>
          <p:cNvCxnSpPr>
            <a:stCxn id="20" idx="3"/>
            <a:endCxn id="21" idx="1"/>
          </p:cNvCxnSpPr>
          <p:nvPr/>
        </p:nvCxnSpPr>
        <p:spPr>
          <a:xfrm>
            <a:off x="3141577" y="2620261"/>
            <a:ext cx="553795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39577" y="206566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897571" y="209284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70120" y="208723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7608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직사각형 106"/>
          <p:cNvSpPr/>
          <p:nvPr/>
        </p:nvSpPr>
        <p:spPr bwMode="ltGray">
          <a:xfrm>
            <a:off x="6603153" y="2240868"/>
            <a:ext cx="2742335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8" name="직사각형 107"/>
          <p:cNvSpPr/>
          <p:nvPr/>
        </p:nvSpPr>
        <p:spPr bwMode="ltGray">
          <a:xfrm>
            <a:off x="3568425" y="2240868"/>
            <a:ext cx="2742335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9" name="직사각형 108"/>
          <p:cNvSpPr/>
          <p:nvPr/>
        </p:nvSpPr>
        <p:spPr bwMode="ltGray">
          <a:xfrm>
            <a:off x="548770" y="2240868"/>
            <a:ext cx="2712042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측정 대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Event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별로 다양한 관점으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를 측정할 수 있는 지표 후보군을 도출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이들 중 데이터 분석 결과에 따라 산출가능성 및 대표성을 고려하여 최종 지표를 선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방안 정의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" name="직사각형 19"/>
          <p:cNvSpPr/>
          <p:nvPr/>
        </p:nvSpPr>
        <p:spPr>
          <a:xfrm>
            <a:off x="668524" y="2416718"/>
            <a:ext cx="2484911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활용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가능 원천 데이터 확인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3694054" y="2416718"/>
            <a:ext cx="2484911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지표 선정 기준 정의 및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지표 선정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6724181" y="2416718"/>
            <a:ext cx="2484911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ML/TF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위험평가 지표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상세 정의</a:t>
            </a:r>
          </a:p>
        </p:txBody>
      </p:sp>
      <p:cxnSp>
        <p:nvCxnSpPr>
          <p:cNvPr id="23" name="직선 화살표 연결선 22"/>
          <p:cNvCxnSpPr>
            <a:endCxn id="21" idx="1"/>
          </p:cNvCxnSpPr>
          <p:nvPr/>
        </p:nvCxnSpPr>
        <p:spPr>
          <a:xfrm>
            <a:off x="3153435" y="2632718"/>
            <a:ext cx="54061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화살표 연결선 24"/>
          <p:cNvCxnSpPr>
            <a:stCxn id="21" idx="3"/>
            <a:endCxn id="22" idx="1"/>
          </p:cNvCxnSpPr>
          <p:nvPr/>
        </p:nvCxnSpPr>
        <p:spPr>
          <a:xfrm>
            <a:off x="6178965" y="2632718"/>
            <a:ext cx="545216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직사각형 28"/>
          <p:cNvSpPr/>
          <p:nvPr/>
        </p:nvSpPr>
        <p:spPr>
          <a:xfrm>
            <a:off x="668524" y="2911287"/>
            <a:ext cx="2484911" cy="432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분석을 통하여 정의된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ey Risk Event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별 데이터 관리 현황을 검토하여 지표값 산출 가능성을 확인</a:t>
            </a:r>
            <a:endParaRPr lang="ko-KR" altLang="en-US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694054" y="2911287"/>
            <a:ext cx="2484911" cy="432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정의 후 지표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Pool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을 정의하고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</a:t>
            </a:r>
            <a:r>
              <a: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Pool </a:t>
            </a: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 실제 평가지표로 활용될 지표를 선정하기 위한 기준을 정의</a:t>
            </a: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endParaRPr lang="en-US" altLang="ko-KR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 defTabSz="1042959" eaLnBrk="0" latinLnBrk="0" hangingPunct="0">
              <a:spcBef>
                <a:spcPts val="600"/>
              </a:spcBef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선정 기준에 따라 실제 사용될 </a:t>
            </a:r>
            <a:r>
              <a: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지표를 선정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6724181" y="2911287"/>
            <a:ext cx="2484911" cy="432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algn="l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종 선정된 지표에 대하여 상세 필요 데이터 및 지표 산출 방안을 정의</a:t>
            </a:r>
            <a:endParaRPr lang="ko-KR" altLang="en-US" sz="10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" name="Rectangle 8"/>
          <p:cNvSpPr>
            <a:spLocks noChangeArrowheads="1"/>
          </p:cNvSpPr>
          <p:nvPr/>
        </p:nvSpPr>
        <p:spPr bwMode="auto">
          <a:xfrm>
            <a:off x="890541" y="3759894"/>
            <a:ext cx="452971" cy="104958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1405697" y="3771162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금융거래 조회 대상자 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403857" y="3991865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lter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발생 고객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1405697" y="4204839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위험등급 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1403857" y="4417007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TR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1403857" y="4629980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속성정보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비거주자 등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</a:p>
        </p:txBody>
      </p:sp>
      <p:sp>
        <p:nvSpPr>
          <p:cNvPr id="44" name="Rectangle 8"/>
          <p:cNvSpPr>
            <a:spLocks noChangeArrowheads="1"/>
          </p:cNvSpPr>
          <p:nvPr/>
        </p:nvSpPr>
        <p:spPr bwMode="auto">
          <a:xfrm>
            <a:off x="894499" y="4842149"/>
            <a:ext cx="452971" cy="836607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403856" y="4853417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비스별 기업금융 거래 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1402015" y="5074120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비스별 할부금융 거래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1403856" y="5287094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용대출 거래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1402015" y="5499262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lert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9" name="Rectangle 8"/>
          <p:cNvSpPr>
            <a:spLocks noChangeArrowheads="1"/>
          </p:cNvSpPr>
          <p:nvPr/>
        </p:nvSpPr>
        <p:spPr bwMode="auto">
          <a:xfrm>
            <a:off x="890541" y="5718166"/>
            <a:ext cx="452971" cy="190762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좌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1399898" y="5729434"/>
            <a:ext cx="1631344" cy="179494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2000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좌정보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52" name="표 51"/>
          <p:cNvGraphicFramePr>
            <a:graphicFrameLocks noGrp="1"/>
          </p:cNvGraphicFramePr>
          <p:nvPr>
            <p:extLst/>
          </p:nvPr>
        </p:nvGraphicFramePr>
        <p:xfrm>
          <a:off x="3908286" y="5105756"/>
          <a:ext cx="2187050" cy="995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1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61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6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67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후보 지표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List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산출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가능성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대표성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선정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결과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세회피국가</a:t>
                      </a:r>
                      <a:r>
                        <a:rPr lang="en-US" altLang="ko-KR" sz="800" b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lang="ko-KR" altLang="en-US" sz="800" b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거래금액</a:t>
                      </a:r>
                      <a:endParaRPr lang="ko-KR" altLang="en-US" sz="800" b="0" dirty="0"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rgbClr val="990033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H</a:t>
                      </a:r>
                      <a:endParaRPr lang="ko-KR" altLang="en-US" sz="800" b="1" dirty="0">
                        <a:solidFill>
                          <a:srgbClr val="990033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accent2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</a:t>
                      </a:r>
                      <a:endParaRPr lang="ko-KR" altLang="en-US" sz="800" b="1" dirty="0">
                        <a:solidFill>
                          <a:schemeClr val="accent2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V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미성년자 거래금액</a:t>
                      </a:r>
                      <a:endParaRPr lang="ko-KR" altLang="en-US" sz="800" b="0" dirty="0"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accent2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</a:t>
                      </a:r>
                      <a:endParaRPr lang="ko-KR" altLang="en-US" sz="800" b="1" dirty="0">
                        <a:solidFill>
                          <a:schemeClr val="accent2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rgbClr val="990033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H</a:t>
                      </a:r>
                      <a:endParaRPr lang="ko-KR" altLang="en-US" sz="800" b="1" dirty="0">
                        <a:solidFill>
                          <a:srgbClr val="990033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88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V</a:t>
                      </a:r>
                      <a:endParaRPr kumimoji="0" lang="ko-KR" altLang="en-US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액현금 거래금액</a:t>
                      </a:r>
                      <a:endParaRPr lang="ko-KR" altLang="en-US" sz="800" b="0" dirty="0"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rgbClr val="00B05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L</a:t>
                      </a:r>
                      <a:endParaRPr lang="ko-KR" altLang="en-US" sz="800" b="1" dirty="0">
                        <a:solidFill>
                          <a:srgbClr val="00B05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rgbClr val="00B05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L</a:t>
                      </a:r>
                      <a:endParaRPr lang="ko-KR" altLang="en-US" sz="800" b="1" dirty="0">
                        <a:solidFill>
                          <a:srgbClr val="00B05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N/A</a:t>
                      </a:r>
                      <a:endParaRPr lang="ko-KR" altLang="en-US" sz="800" b="1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8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…</a:t>
                      </a:r>
                      <a:endParaRPr lang="ko-KR" altLang="en-US" sz="8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3913648" y="3669659"/>
            <a:ext cx="2181688" cy="819466"/>
            <a:chOff x="3928888" y="3706987"/>
            <a:chExt cx="2181688" cy="819466"/>
          </a:xfrm>
        </p:grpSpPr>
        <p:grpSp>
          <p:nvGrpSpPr>
            <p:cNvPr id="55" name="그룹 54"/>
            <p:cNvGrpSpPr/>
            <p:nvPr/>
          </p:nvGrpSpPr>
          <p:grpSpPr>
            <a:xfrm>
              <a:off x="3928888" y="3706987"/>
              <a:ext cx="2179547" cy="396612"/>
              <a:chOff x="3909964" y="5121186"/>
              <a:chExt cx="2273707" cy="207342"/>
            </a:xfrm>
          </p:grpSpPr>
          <p:sp>
            <p:nvSpPr>
              <p:cNvPr id="59" name="Rectangle 8"/>
              <p:cNvSpPr>
                <a:spLocks noChangeArrowheads="1"/>
              </p:cNvSpPr>
              <p:nvPr/>
            </p:nvSpPr>
            <p:spPr bwMode="auto">
              <a:xfrm>
                <a:off x="3909964" y="5121505"/>
                <a:ext cx="612001" cy="207023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산출</a:t>
                </a:r>
                <a:endParaRPr lang="en-US" altLang="ko-KR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  <a:p>
                <a:pPr algn="ctr"/>
                <a:r>
                  <a:rPr lang="ko-KR" altLang="en-US" sz="8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가능성</a:t>
                </a:r>
                <a:endParaRPr lang="en-US" altLang="ko-KR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60" name="직사각형 59"/>
              <p:cNvSpPr/>
              <p:nvPr/>
            </p:nvSpPr>
            <p:spPr>
              <a:xfrm>
                <a:off x="4552327" y="5121186"/>
                <a:ext cx="1631344" cy="20702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latinLnBrk="0"/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지표 산출을 위한 데이터 존재 및 지표값 산출이 용이한 정도</a:t>
                </a:r>
                <a:endParaRPr lang="en-US" altLang="ko-KR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6" name="그룹 55"/>
            <p:cNvGrpSpPr/>
            <p:nvPr/>
          </p:nvGrpSpPr>
          <p:grpSpPr>
            <a:xfrm>
              <a:off x="3928888" y="4129841"/>
              <a:ext cx="2181688" cy="396612"/>
              <a:chOff x="3907731" y="5121186"/>
              <a:chExt cx="2275940" cy="207342"/>
            </a:xfrm>
          </p:grpSpPr>
          <p:sp>
            <p:nvSpPr>
              <p:cNvPr id="57" name="Rectangle 8"/>
              <p:cNvSpPr>
                <a:spLocks noChangeArrowheads="1"/>
              </p:cNvSpPr>
              <p:nvPr/>
            </p:nvSpPr>
            <p:spPr bwMode="auto">
              <a:xfrm>
                <a:off x="3907731" y="5121505"/>
                <a:ext cx="612001" cy="207023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대표성</a:t>
                </a:r>
                <a:endParaRPr lang="en-US" altLang="ko-KR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58" name="직사각형 57"/>
              <p:cNvSpPr/>
              <p:nvPr/>
            </p:nvSpPr>
            <p:spPr>
              <a:xfrm>
                <a:off x="4552327" y="5121186"/>
                <a:ext cx="1631344" cy="20702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latinLnBrk="0"/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측정 대상 </a:t>
                </a:r>
                <a:r>
                  <a:rPr lang="en-US" altLang="ko-KR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Risk Event</a:t>
                </a:r>
                <a:r>
                  <a:rPr lang="ko-KR" altLang="en-US" sz="80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의 특성 반영하여 위험도를 정확히 측정할 수 있는 정도</a:t>
                </a:r>
                <a:endParaRPr lang="en-US" altLang="ko-KR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sp>
        <p:nvSpPr>
          <p:cNvPr id="65" name="아래쪽 화살표 64"/>
          <p:cNvSpPr/>
          <p:nvPr/>
        </p:nvSpPr>
        <p:spPr bwMode="ltGray">
          <a:xfrm>
            <a:off x="7119447" y="4185761"/>
            <a:ext cx="468000" cy="324000"/>
          </a:xfrm>
          <a:prstGeom prst="downArrow">
            <a:avLst>
              <a:gd name="adj1" fmla="val 57105"/>
              <a:gd name="adj2" fmla="val 36316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6" name="아래쪽 화살표 65"/>
          <p:cNvSpPr/>
          <p:nvPr/>
        </p:nvSpPr>
        <p:spPr bwMode="ltGray">
          <a:xfrm>
            <a:off x="7119447" y="5119231"/>
            <a:ext cx="468000" cy="324000"/>
          </a:xfrm>
          <a:prstGeom prst="downArrow">
            <a:avLst>
              <a:gd name="adj1" fmla="val 57105"/>
              <a:gd name="adj2" fmla="val 36316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7" name="직사각형 66"/>
          <p:cNvSpPr/>
          <p:nvPr/>
        </p:nvSpPr>
        <p:spPr bwMode="ltGray">
          <a:xfrm>
            <a:off x="7769722" y="3595056"/>
            <a:ext cx="1296568" cy="64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indent="-88900" algn="l" latinLnBrk="0">
              <a:buFont typeface="Wingdings" panose="05000000000000000000" pitchFamily="2" charset="2"/>
              <a:buChar char="§"/>
            </a:pP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각 지표 별로 지표값 산출을 위하여 필요한 데이터 정의 </a:t>
            </a:r>
            <a:r>
              <a: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고객</a:t>
            </a:r>
            <a:r>
              <a: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/</a:t>
            </a: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계좌</a:t>
            </a:r>
            <a:r>
              <a: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/</a:t>
            </a: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거래 등</a:t>
            </a:r>
            <a:endParaRPr lang="en-US" altLang="ko-KR" sz="8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8" name="직사각형 67"/>
          <p:cNvSpPr/>
          <p:nvPr/>
        </p:nvSpPr>
        <p:spPr bwMode="ltGray">
          <a:xfrm>
            <a:off x="7769722" y="4527796"/>
            <a:ext cx="1296568" cy="64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indent="-88900" algn="l" latinLnBrk="0">
              <a:buFont typeface="Wingdings" panose="05000000000000000000" pitchFamily="2" charset="2"/>
              <a:buChar char="§"/>
            </a:pP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값 산출을 위한 상세 로직 정의 </a:t>
            </a:r>
            <a:r>
              <a: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각 서비스 별 산출을 위한 추가 데이터 식별 필요</a:t>
            </a:r>
            <a:endParaRPr lang="ko-KR" altLang="en-US" sz="8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9" name="직사각형 68"/>
          <p:cNvSpPr/>
          <p:nvPr/>
        </p:nvSpPr>
        <p:spPr bwMode="ltGray">
          <a:xfrm>
            <a:off x="7769722" y="5460536"/>
            <a:ext cx="1296568" cy="64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indent="-88900" algn="l" latinLnBrk="0">
              <a:buFont typeface="Wingdings" panose="05000000000000000000" pitchFamily="2" charset="2"/>
              <a:buChar char="§"/>
            </a:pP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각 지표 별로 지표 설명</a:t>
            </a:r>
            <a:r>
              <a: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/ </a:t>
            </a: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필요</a:t>
            </a:r>
            <a:r>
              <a: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</a:t>
            </a:r>
            <a:r>
              <a: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 </a:t>
            </a:r>
            <a:r>
              <a:rPr lang="ko-KR" altLang="en-US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산출 로직 등이 상세 기술된 정의서 작성</a:t>
            </a:r>
          </a:p>
        </p:txBody>
      </p:sp>
      <p:pic>
        <p:nvPicPr>
          <p:cNvPr id="104" name="그림 103">
            <a:extLst>
              <a:ext uri="{FF2B5EF4-FFF2-40B4-BE49-F238E27FC236}">
                <a16:creationId xmlns:a16="http://schemas.microsoft.com/office/drawing/2014/main" id="{3FB87CD8-0722-481C-B7BA-1DD8F9ABA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249" y="2435234"/>
            <a:ext cx="378195" cy="378195"/>
          </a:xfrm>
          <a:prstGeom prst="rect">
            <a:avLst/>
          </a:prstGeom>
        </p:spPr>
      </p:pic>
      <p:pic>
        <p:nvPicPr>
          <p:cNvPr id="105" name="그림 104">
            <a:extLst>
              <a:ext uri="{FF2B5EF4-FFF2-40B4-BE49-F238E27FC236}">
                <a16:creationId xmlns:a16="http://schemas.microsoft.com/office/drawing/2014/main" id="{D3790503-444D-408D-88DA-EF28A054E1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8073" y="2435234"/>
            <a:ext cx="378195" cy="378195"/>
          </a:xfrm>
          <a:prstGeom prst="rect">
            <a:avLst/>
          </a:prstGeom>
        </p:spPr>
      </p:pic>
      <p:pic>
        <p:nvPicPr>
          <p:cNvPr id="106" name="그림 105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1328" y="2435234"/>
            <a:ext cx="378195" cy="378195"/>
          </a:xfrm>
          <a:prstGeom prst="rect">
            <a:avLst/>
          </a:prstGeom>
        </p:spPr>
      </p:pic>
      <p:sp>
        <p:nvSpPr>
          <p:cNvPr id="62" name="직사각형 61"/>
          <p:cNvSpPr/>
          <p:nvPr/>
        </p:nvSpPr>
        <p:spPr bwMode="ltGray">
          <a:xfrm>
            <a:off x="6941542" y="3589514"/>
            <a:ext cx="793442" cy="64800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표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별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필요 데이터 정의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3" name="직사각형 62"/>
          <p:cNvSpPr/>
          <p:nvPr/>
        </p:nvSpPr>
        <p:spPr bwMode="ltGray">
          <a:xfrm>
            <a:off x="6941542" y="4522254"/>
            <a:ext cx="793442" cy="64800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표값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산출 로직 정의</a:t>
            </a:r>
          </a:p>
        </p:txBody>
      </p:sp>
      <p:sp>
        <p:nvSpPr>
          <p:cNvPr id="64" name="직사각형 63"/>
          <p:cNvSpPr/>
          <p:nvPr/>
        </p:nvSpPr>
        <p:spPr bwMode="ltGray">
          <a:xfrm>
            <a:off x="6941542" y="5454994"/>
            <a:ext cx="793442" cy="64800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표정의서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작성 </a:t>
            </a:r>
          </a:p>
        </p:txBody>
      </p:sp>
      <p:sp>
        <p:nvSpPr>
          <p:cNvPr id="61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4/9)</a:t>
            </a:r>
            <a:endParaRPr lang="ko-KR" altLang="en-US" dirty="0"/>
          </a:p>
        </p:txBody>
      </p:sp>
      <p:sp>
        <p:nvSpPr>
          <p:cNvPr id="7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7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73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39577" y="206566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897571" y="209284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70120" y="208723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41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Category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하여 평가 대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Event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별로 선정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지표를 정의할 것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세 지표 산출 방안이 정의된 지표정의서의 예시는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방안 정의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3" name="그룹 22"/>
          <p:cNvGrpSpPr/>
          <p:nvPr/>
        </p:nvGrpSpPr>
        <p:grpSpPr>
          <a:xfrm>
            <a:off x="5900801" y="2392441"/>
            <a:ext cx="3098583" cy="230865"/>
            <a:chOff x="1089745" y="2641534"/>
            <a:chExt cx="3039971" cy="247459"/>
          </a:xfrm>
        </p:grpSpPr>
        <p:cxnSp>
          <p:nvCxnSpPr>
            <p:cNvPr id="25" name="직선 연결선 24"/>
            <p:cNvCxnSpPr/>
            <p:nvPr/>
          </p:nvCxnSpPr>
          <p:spPr>
            <a:xfrm>
              <a:off x="1089745" y="2888993"/>
              <a:ext cx="30399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43"/>
            <p:cNvSpPr txBox="1">
              <a:spLocks noChangeArrowheads="1"/>
            </p:cNvSpPr>
            <p:nvPr/>
          </p:nvSpPr>
          <p:spPr bwMode="auto">
            <a:xfrm>
              <a:off x="1089870" y="2641534"/>
              <a:ext cx="3024188" cy="197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7800" indent="-1778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5pPr>
              <a:lvl6pPr marL="25146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6pPr>
              <a:lvl7pPr marL="29718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7pPr>
              <a:lvl8pPr marL="34290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8pPr>
              <a:lvl9pPr marL="38862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spcBef>
                  <a:spcPts val="600"/>
                </a:spcBef>
              </a:pPr>
              <a:r>
                <a:rPr lang="en-US" altLang="ko-KR" sz="1200" spc="-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[ </a:t>
              </a:r>
              <a:r>
                <a:rPr lang="ko-KR" altLang="en-US" sz="12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표정의서</a:t>
              </a:r>
              <a:r>
                <a:rPr lang="en-US" altLang="ko-KR" sz="12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]</a:t>
              </a:r>
              <a:endParaRPr lang="ko-KR" altLang="en-US" sz="12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aphicFrame>
        <p:nvGraphicFramePr>
          <p:cNvPr id="61" name="Group 2"/>
          <p:cNvGraphicFramePr>
            <a:graphicFrameLocks noGrp="1"/>
          </p:cNvGraphicFramePr>
          <p:nvPr>
            <p:extLst/>
          </p:nvPr>
        </p:nvGraphicFramePr>
        <p:xfrm>
          <a:off x="5600336" y="2909873"/>
          <a:ext cx="3699513" cy="3090227"/>
        </p:xfrm>
        <a:graphic>
          <a:graphicData uri="http://schemas.openxmlformats.org/drawingml/2006/table">
            <a:tbl>
              <a:tblPr/>
              <a:tblGrid>
                <a:gridCol w="818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37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0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68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55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지표명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조세피난처 및 마약관련 국가와의 거래금액</a:t>
                      </a:r>
                      <a:endParaRPr kumimoji="1" lang="en-US" altLang="ko-KR" sz="8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55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대상 부점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사</a:t>
                      </a:r>
                      <a:endParaRPr kumimoji="1" lang="en-US" altLang="ko-KR" sz="8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0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Risk Category</a:t>
                      </a:r>
                      <a:endParaRPr kumimoji="1" lang="ko-KR" altLang="en-US" sz="8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국가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Risk Event</a:t>
                      </a:r>
                      <a:endParaRPr kumimoji="1" lang="ko-KR" altLang="en-US" sz="800" b="1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조세피난처 및 마약관련 국가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02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상세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설명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조세피난처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OECD) : 1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단계 평가국가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2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단계 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Non-compliant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탈락국가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2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단계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Partially compliant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국가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2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단계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Largely compliant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국가</a:t>
                      </a:r>
                      <a:endParaRPr kumimoji="1" lang="en-US" altLang="ko-KR" sz="8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마약관련국가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INCSR_List) : Primary Concern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국가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55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산식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∑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해당국가와의 당해년도 거래금액</a:t>
                      </a:r>
                      <a:endParaRPr kumimoji="1" lang="en-US" altLang="ko-KR" sz="8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55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측정주기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개월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단위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원</a:t>
                      </a:r>
                      <a:endParaRPr kumimoji="1" lang="en-GB" altLang="ko-KR" sz="8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39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DATA source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7E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CDD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정보</a:t>
                      </a:r>
                      <a:r>
                        <a:rPr kumimoji="1" lang="en-US" altLang="ko-KR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/ </a:t>
                      </a:r>
                      <a:r>
                        <a:rPr kumimoji="1" lang="ko-KR" altLang="en-US" sz="8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위험국가리스트</a:t>
                      </a:r>
                      <a:endParaRPr kumimoji="1" lang="en-US" altLang="ko-KR" sz="8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2" name="이등변 삼각형 61"/>
          <p:cNvSpPr/>
          <p:nvPr/>
        </p:nvSpPr>
        <p:spPr>
          <a:xfrm rot="16200000">
            <a:off x="3843705" y="4255307"/>
            <a:ext cx="3070111" cy="419473"/>
          </a:xfrm>
          <a:prstGeom prst="triangle">
            <a:avLst>
              <a:gd name="adj" fmla="val 86712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252696" y="2392441"/>
            <a:ext cx="3151625" cy="230865"/>
            <a:chOff x="1444543" y="2641534"/>
            <a:chExt cx="3092011" cy="247460"/>
          </a:xfrm>
        </p:grpSpPr>
        <p:cxnSp>
          <p:nvCxnSpPr>
            <p:cNvPr id="21" name="직선 연결선 20"/>
            <p:cNvCxnSpPr/>
            <p:nvPr/>
          </p:nvCxnSpPr>
          <p:spPr>
            <a:xfrm>
              <a:off x="1496583" y="2888994"/>
              <a:ext cx="3039971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43"/>
            <p:cNvSpPr txBox="1">
              <a:spLocks noChangeArrowheads="1"/>
            </p:cNvSpPr>
            <p:nvPr/>
          </p:nvSpPr>
          <p:spPr bwMode="auto">
            <a:xfrm>
              <a:off x="1444543" y="2641534"/>
              <a:ext cx="3024188" cy="1979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7800" indent="-1778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5pPr>
              <a:lvl6pPr marL="25146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6pPr>
              <a:lvl7pPr marL="29718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7pPr>
              <a:lvl8pPr marL="34290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8pPr>
              <a:lvl9pPr marL="38862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spcBef>
                  <a:spcPts val="600"/>
                </a:spcBef>
              </a:pPr>
              <a:r>
                <a:rPr lang="en-US" altLang="ko-KR" sz="1200" spc="-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[ </a:t>
              </a:r>
              <a:r>
                <a:rPr lang="en-US" altLang="ko-KR" sz="12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12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지표 </a:t>
              </a:r>
              <a:r>
                <a:rPr lang="en-US" altLang="ko-KR" sz="12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List]</a:t>
              </a:r>
              <a:endParaRPr lang="ko-KR" altLang="en-US" sz="12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524508" y="2724889"/>
            <a:ext cx="4608000" cy="3512423"/>
            <a:chOff x="704410" y="2909874"/>
            <a:chExt cx="4608000" cy="3090228"/>
          </a:xfrm>
        </p:grpSpPr>
        <p:sp>
          <p:nvSpPr>
            <p:cNvPr id="27" name="TextBox 26"/>
            <p:cNvSpPr txBox="1"/>
            <p:nvPr/>
          </p:nvSpPr>
          <p:spPr>
            <a:xfrm>
              <a:off x="3259794" y="2909874"/>
              <a:ext cx="2050436" cy="377794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8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isk Indicator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265333" y="3523517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년 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비 고위험 국가와의 거래금액 </a:t>
              </a: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증감율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65333" y="3732650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고위험 국적 고객 </a:t>
              </a: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265333" y="3941782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국적 고객의 거래금액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263221" y="4145761"/>
              <a:ext cx="2047076" cy="171803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 대비 </a:t>
              </a:r>
              <a:r>
                <a:rPr lang="en-US" altLang="ko-KR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Alert 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 고객 비율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3263219" y="4359693"/>
              <a:ext cx="2047076" cy="171803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대비 금융거래 조회요청 대상자 비율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263219" y="4573625"/>
              <a:ext cx="2047076" cy="171803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en-US" altLang="ko-KR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EDD 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 </a:t>
              </a: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263219" y="4787558"/>
              <a:ext cx="2047076" cy="171803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 중 비거주자 </a:t>
              </a: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비율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263215" y="4982431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력이 의심되는 고객의 거래금액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263215" y="5198764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차명 및 익명거래 고객의 거래금액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263215" y="5415097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액자산가 고객의 거래금액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63215" y="5631429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ctr"/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비영리단체의 거래금액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04410" y="2909874"/>
              <a:ext cx="474998" cy="377794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8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isk Category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04410" y="3314384"/>
              <a:ext cx="474996" cy="800384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국가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704410" y="4145761"/>
              <a:ext cx="474996" cy="813600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704410" y="4982431"/>
              <a:ext cx="474995" cy="820800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상품 및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서비스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04410" y="5828300"/>
              <a:ext cx="474995" cy="171802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800" b="1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…</a:t>
              </a:r>
              <a:endParaRPr lang="ko-KR" altLang="en-US" sz="800" b="1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203133" y="2909874"/>
              <a:ext cx="654394" cy="377794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8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isk</a:t>
              </a:r>
            </a:p>
            <a:p>
              <a:r>
                <a:rPr lang="en-US" altLang="ko-KR" sz="8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Event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203133" y="3314384"/>
              <a:ext cx="654394" cy="799200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조세피난처 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및</a:t>
              </a:r>
              <a:r>
                <a:rPr lang="en-US" altLang="ko-KR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</a:t>
              </a:r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마약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관련 국가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203131" y="4145761"/>
              <a:ext cx="654394" cy="813600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자금력이 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의심되는 </a:t>
              </a:r>
              <a:endParaRPr lang="en-US" altLang="ko-KR" sz="8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203131" y="4982431"/>
              <a:ext cx="654394" cy="820800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800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무기명 상품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203133" y="5828300"/>
              <a:ext cx="654394" cy="171802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800" b="1" dirty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…</a:t>
              </a:r>
              <a:endParaRPr lang="ko-KR" altLang="en-US" sz="800" b="1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885717" y="2909874"/>
              <a:ext cx="1342345" cy="377794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8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isk Description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885865" y="3314384"/>
              <a:ext cx="1342345" cy="799200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세피난처 및 마약관련 </a:t>
              </a:r>
              <a:endPara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국가의 고객확인 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 </a:t>
              </a: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융제도</a:t>
              </a:r>
              <a:endPara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을 이용한</a:t>
              </a:r>
              <a:r>
                <a:rPr lang="en-US" altLang="ko-KR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</a:t>
              </a:r>
              <a:endPara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</a:t>
              </a:r>
              <a:endParaRPr lang="ko-KR" altLang="en-US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885865" y="4145761"/>
              <a:ext cx="1342345" cy="813600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력이 의심되는 고객의 </a:t>
              </a:r>
              <a:endPara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차명계좌를 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용한 자금세탁 </a:t>
              </a:r>
              <a:endPara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</a:t>
              </a:r>
              <a:r>
                <a:rPr lang="en-US" altLang="ko-KR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신용불량자</a:t>
              </a:r>
              <a:r>
                <a:rPr lang="en-US" altLang="ko-KR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무직자</a:t>
              </a:r>
              <a:r>
                <a:rPr lang="en-US" altLang="ko-KR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미성년자</a:t>
              </a:r>
              <a:r>
                <a:rPr lang="en-US" altLang="ko-KR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신용도가 낮은 법인</a:t>
              </a:r>
              <a:r>
                <a:rPr lang="en-US" altLang="ko-KR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lang="en-US" altLang="ko-KR" sz="8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885865" y="4982431"/>
              <a:ext cx="1342345" cy="820800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실소유자에 대한 확인이 </a:t>
              </a:r>
              <a:endPara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어려운 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 등을 이용한 </a:t>
              </a:r>
              <a:endParaRPr lang="en-US" altLang="ko-KR" sz="8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fontAlgn="t">
                <a:lnSpc>
                  <a:spcPct val="120000"/>
                </a:lnSpc>
              </a:pPr>
              <a:r>
                <a:rPr lang="ko-KR" altLang="en-US" sz="8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불법자금의 </a:t>
              </a:r>
              <a:r>
                <a:rPr lang="ko-KR" altLang="en-US" sz="8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 위험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885716" y="5828300"/>
              <a:ext cx="1342345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t"/>
              <a:r>
                <a:rPr lang="en-US" altLang="ko-KR" sz="800" b="1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…</a:t>
              </a:r>
              <a:endParaRPr lang="ko-KR" altLang="en-US" sz="800" b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263226" y="5828300"/>
              <a:ext cx="2047077" cy="1718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fontAlgn="t"/>
              <a:r>
                <a:rPr lang="en-US" altLang="ko-KR" sz="800" b="1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…</a:t>
              </a:r>
              <a:endParaRPr lang="ko-KR" altLang="en-US" sz="800" b="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265333" y="3314384"/>
              <a:ext cx="2047077" cy="171802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800" b="1" dirty="0"/>
                <a:t> 고위험 국가와의 거래금액</a:t>
              </a:r>
            </a:p>
          </p:txBody>
        </p:sp>
      </p:grpSp>
      <p:sp>
        <p:nvSpPr>
          <p:cNvPr id="5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5/9)</a:t>
            </a:r>
            <a:endParaRPr lang="ko-KR" altLang="en-US" dirty="0"/>
          </a:p>
        </p:txBody>
      </p:sp>
      <p:sp>
        <p:nvSpPr>
          <p:cNvPr id="6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6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64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471564" y="247917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990233" y="242790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6330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점별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점수를 산출하기 위한 위험평가 단위를 선정하고 분석 단위별 집계 방안을 정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방안 정의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61" name="직사각형 60"/>
          <p:cNvSpPr/>
          <p:nvPr/>
        </p:nvSpPr>
        <p:spPr>
          <a:xfrm>
            <a:off x="7056341" y="2836187"/>
            <a:ext cx="2452193" cy="3300132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7313" indent="-87313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ko-KR" altLang="en-US" sz="11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사 </a:t>
            </a:r>
            <a:r>
              <a:rPr lang="en-US" altLang="ko-KR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evel ML/TF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1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</a:t>
            </a:r>
          </a:p>
          <a:p>
            <a:pPr marL="171450" indent="-171450" algn="l">
              <a:spcBef>
                <a:spcPts val="600"/>
              </a:spcBef>
              <a:buFontTx/>
              <a:buChar char="-"/>
            </a:pPr>
            <a:r>
              <a:rPr lang="ko-KR" altLang="en-US" sz="11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별 </a:t>
            </a:r>
            <a:r>
              <a:rPr lang="en-US" altLang="ko-KR" sz="11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결과를 종합하여 평가</a:t>
            </a:r>
            <a:endParaRPr lang="en-US" altLang="ko-KR" sz="11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algn="l">
              <a:spcBef>
                <a:spcPts val="600"/>
              </a:spcBef>
              <a:buFontTx/>
              <a:buChar char="-"/>
            </a:pPr>
            <a:endParaRPr lang="ko-KR" altLang="en-US" sz="1100" b="1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점별 </a:t>
            </a:r>
            <a:r>
              <a:rPr lang="en-US" altLang="ko-KR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1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</a:t>
            </a:r>
          </a:p>
          <a:p>
            <a:pPr marL="171450" indent="-171450" algn="l">
              <a:spcBef>
                <a:spcPts val="600"/>
              </a:spcBef>
              <a:buFontTx/>
              <a:buChar char="-"/>
            </a:pPr>
            <a:r>
              <a:rPr lang="ko-KR" altLang="en-US" sz="1100" u="sng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비스별 </a:t>
            </a:r>
            <a:r>
              <a:rPr lang="en-US" altLang="ko-KR" sz="1100" u="sng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100" u="sng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결과를 서비스 별 가중치를 적용하여 합산하여 평가</a:t>
            </a:r>
            <a:endParaRPr lang="en-US" altLang="ko-KR" sz="1100" u="sng" spc="-100" dirty="0" smtClean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71450" indent="-171450" algn="l">
              <a:spcBef>
                <a:spcPts val="600"/>
              </a:spcBef>
              <a:buFontTx/>
              <a:buChar char="-"/>
            </a:pPr>
            <a:endParaRPr lang="en-US" altLang="ko-KR" sz="1100" b="1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비스별 </a:t>
            </a:r>
            <a:r>
              <a:rPr lang="ko-KR" altLang="en-US" sz="11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 위험평가</a:t>
            </a:r>
          </a:p>
          <a:p>
            <a:pPr marL="87313" indent="-87313" algn="l">
              <a:spcBef>
                <a:spcPts val="600"/>
              </a:spcBef>
            </a:pPr>
            <a:r>
              <a:rPr lang="en-US" altLang="ko-KR" sz="1100" b="1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별 서비스별 </a:t>
            </a:r>
            <a:r>
              <a:rPr lang="ko-KR" altLang="en-US" sz="11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결과를 종합하여 </a:t>
            </a:r>
            <a:r>
              <a:rPr lang="ko-KR" altLang="en-US" sz="11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</a:t>
            </a:r>
            <a:endParaRPr lang="ko-KR" altLang="en-US" sz="11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62" name="그룹 61"/>
          <p:cNvGrpSpPr/>
          <p:nvPr/>
        </p:nvGrpSpPr>
        <p:grpSpPr>
          <a:xfrm>
            <a:off x="7317218" y="2367991"/>
            <a:ext cx="1930438" cy="275489"/>
            <a:chOff x="1097017" y="2363857"/>
            <a:chExt cx="3040332" cy="288298"/>
          </a:xfrm>
        </p:grpSpPr>
        <p:cxnSp>
          <p:nvCxnSpPr>
            <p:cNvPr id="63" name="직선 연결선 62"/>
            <p:cNvCxnSpPr/>
            <p:nvPr/>
          </p:nvCxnSpPr>
          <p:spPr>
            <a:xfrm>
              <a:off x="1097017" y="2652155"/>
              <a:ext cx="3039972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43"/>
            <p:cNvSpPr txBox="1">
              <a:spLocks noChangeArrowheads="1"/>
            </p:cNvSpPr>
            <p:nvPr/>
          </p:nvSpPr>
          <p:spPr bwMode="auto">
            <a:xfrm>
              <a:off x="1113162" y="2363857"/>
              <a:ext cx="3024187" cy="225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7800" indent="-1778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5pPr>
              <a:lvl6pPr marL="25146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6pPr>
              <a:lvl7pPr marL="29718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7pPr>
              <a:lvl8pPr marL="34290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8pPr>
              <a:lvl9pPr marL="38862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spcBef>
                  <a:spcPts val="600"/>
                </a:spcBef>
              </a:pPr>
              <a:r>
                <a:rPr lang="en-US" altLang="ko-KR" sz="1400" spc="-100" dirty="0"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[ </a:t>
              </a:r>
              <a:r>
                <a:rPr lang="ko-KR" altLang="en-US" sz="1400" spc="-100" dirty="0" smtClean="0"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단위 </a:t>
              </a:r>
              <a:r>
                <a:rPr lang="en-US" altLang="ko-KR" sz="1400" spc="-100" dirty="0" smtClean="0"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]</a:t>
              </a:r>
              <a:endParaRPr lang="ko-KR" altLang="en-US" sz="1400" spc="-100" dirty="0"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416496" y="2240868"/>
            <a:ext cx="6470602" cy="4060872"/>
            <a:chOff x="416496" y="2240868"/>
            <a:chExt cx="6470602" cy="4060872"/>
          </a:xfrm>
        </p:grpSpPr>
        <p:sp>
          <p:nvSpPr>
            <p:cNvPr id="115" name="직사각형 114"/>
            <p:cNvSpPr/>
            <p:nvPr/>
          </p:nvSpPr>
          <p:spPr bwMode="ltGray">
            <a:xfrm>
              <a:off x="416496" y="2240868"/>
              <a:ext cx="6470602" cy="406087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69" spc="-100" dirty="0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cxnSp>
          <p:nvCxnSpPr>
            <p:cNvPr id="19" name="직선 연결선 18"/>
            <p:cNvCxnSpPr>
              <a:stCxn id="20" idx="3"/>
              <a:endCxn id="22" idx="1"/>
            </p:cNvCxnSpPr>
            <p:nvPr/>
          </p:nvCxnSpPr>
          <p:spPr>
            <a:xfrm flipV="1">
              <a:off x="1233888" y="3545742"/>
              <a:ext cx="426498" cy="908388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직사각형 19"/>
            <p:cNvSpPr/>
            <p:nvPr/>
          </p:nvSpPr>
          <p:spPr>
            <a:xfrm>
              <a:off x="607626" y="3512756"/>
              <a:ext cx="626262" cy="1882749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1" name="Rectangle 63"/>
            <p:cNvSpPr>
              <a:spLocks noChangeArrowheads="1"/>
            </p:cNvSpPr>
            <p:nvPr/>
          </p:nvSpPr>
          <p:spPr bwMode="auto">
            <a:xfrm>
              <a:off x="607626" y="4273229"/>
              <a:ext cx="626262" cy="307777"/>
            </a:xfrm>
            <a:prstGeom prst="rect">
              <a:avLst/>
            </a:prstGeom>
            <a:ln w="3175">
              <a:noFill/>
            </a:ln>
            <a:extLst/>
          </p:spPr>
          <p:txBody>
            <a:bodyPr wrap="square" lIns="0" tIns="0" rIns="0" bIns="0" anchor="ctr" anchorCtr="0">
              <a:spAutoFit/>
            </a:bodyPr>
            <a:lstStyle/>
            <a:p>
              <a:pPr algn="ctr" latinLnBrk="0">
                <a:defRPr/>
              </a:pPr>
              <a:r>
                <a:rPr lang="ko-KR" altLang="en-US" sz="1000" b="1" spc="-100" dirty="0" smtClean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전사</a:t>
              </a:r>
              <a:endParaRPr lang="en-US" altLang="ko-KR" sz="1000" b="1" spc="-1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  <a:p>
              <a:pPr algn="ctr" latinLnBrk="0">
                <a:defRPr/>
              </a:pPr>
              <a:r>
                <a:rPr lang="ko-KR" altLang="en-US" sz="1000" spc="-100" dirty="0" smtClean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위험평가</a:t>
              </a:r>
              <a:endParaRPr lang="en-US" altLang="ko-KR" sz="1000" spc="-1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22" name="직사각형 21"/>
            <p:cNvSpPr/>
            <p:nvPr/>
          </p:nvSpPr>
          <p:spPr bwMode="ltGray">
            <a:xfrm>
              <a:off x="1660386" y="2836186"/>
              <a:ext cx="527787" cy="141911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A </a:t>
              </a:r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영업점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 bwMode="ltGray">
            <a:xfrm>
              <a:off x="1657885" y="4628846"/>
              <a:ext cx="527787" cy="141911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B </a:t>
              </a:r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영업점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25" name="직선 연결선 24"/>
            <p:cNvCxnSpPr>
              <a:stCxn id="20" idx="3"/>
              <a:endCxn id="23" idx="1"/>
            </p:cNvCxnSpPr>
            <p:nvPr/>
          </p:nvCxnSpPr>
          <p:spPr>
            <a:xfrm>
              <a:off x="1233888" y="4454130"/>
              <a:ext cx="423997" cy="884272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직사각형 26"/>
            <p:cNvSpPr/>
            <p:nvPr/>
          </p:nvSpPr>
          <p:spPr bwMode="ltGray">
            <a:xfrm>
              <a:off x="2784273" y="2848048"/>
              <a:ext cx="1013367" cy="24633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수신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8" name="직사각형 27"/>
            <p:cNvSpPr/>
            <p:nvPr/>
          </p:nvSpPr>
          <p:spPr bwMode="ltGray">
            <a:xfrm>
              <a:off x="4286059" y="2836187"/>
              <a:ext cx="1016377" cy="12938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ML/TF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위험</a:t>
              </a:r>
              <a:endPara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Arial" pitchFamily="34" charset="0"/>
              </a:endParaRPr>
            </a:p>
          </p:txBody>
        </p:sp>
        <p:sp>
          <p:nvSpPr>
            <p:cNvPr id="29" name="직사각형 28"/>
            <p:cNvSpPr/>
            <p:nvPr/>
          </p:nvSpPr>
          <p:spPr bwMode="ltGray">
            <a:xfrm>
              <a:off x="4286059" y="2992293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고객위험</a:t>
              </a:r>
              <a:endPara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30" name="직사각형 29"/>
            <p:cNvSpPr/>
            <p:nvPr/>
          </p:nvSpPr>
          <p:spPr bwMode="ltGray">
            <a:xfrm>
              <a:off x="4809609" y="2992293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국가위험</a:t>
              </a:r>
              <a:endPara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31" name="직사각형 30"/>
            <p:cNvSpPr/>
            <p:nvPr/>
          </p:nvSpPr>
          <p:spPr bwMode="ltGray">
            <a:xfrm>
              <a:off x="4286059" y="3140234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상품위험</a:t>
              </a:r>
              <a:endPara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32" name="직사각형 31"/>
            <p:cNvSpPr/>
            <p:nvPr/>
          </p:nvSpPr>
          <p:spPr bwMode="ltGray">
            <a:xfrm>
              <a:off x="4809609" y="3140234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채널위험</a:t>
              </a:r>
              <a:endPara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33" name="직선 연결선 32"/>
            <p:cNvCxnSpPr>
              <a:endCxn id="27" idx="1"/>
            </p:cNvCxnSpPr>
            <p:nvPr/>
          </p:nvCxnSpPr>
          <p:spPr>
            <a:xfrm>
              <a:off x="2179540" y="2971215"/>
              <a:ext cx="604733" cy="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3791992" y="2962898"/>
              <a:ext cx="476536" cy="566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직사각형 35"/>
            <p:cNvSpPr/>
            <p:nvPr/>
          </p:nvSpPr>
          <p:spPr bwMode="ltGray">
            <a:xfrm>
              <a:off x="2784274" y="3335441"/>
              <a:ext cx="1013367" cy="254211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여신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7" name="직사각형 36"/>
            <p:cNvSpPr/>
            <p:nvPr/>
          </p:nvSpPr>
          <p:spPr bwMode="ltGray">
            <a:xfrm>
              <a:off x="4286060" y="3339529"/>
              <a:ext cx="1016376" cy="133526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ML/TF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위험</a:t>
              </a:r>
              <a:endPara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Arial" pitchFamily="34" charset="0"/>
              </a:endParaRPr>
            </a:p>
          </p:txBody>
        </p:sp>
        <p:sp>
          <p:nvSpPr>
            <p:cNvPr id="38" name="직사각형 37"/>
            <p:cNvSpPr/>
            <p:nvPr/>
          </p:nvSpPr>
          <p:spPr bwMode="ltGray">
            <a:xfrm>
              <a:off x="4286060" y="3500625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고객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44" name="직사각형 43"/>
            <p:cNvSpPr/>
            <p:nvPr/>
          </p:nvSpPr>
          <p:spPr bwMode="ltGray">
            <a:xfrm>
              <a:off x="4809610" y="3500625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국가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45" name="직사각형 44"/>
            <p:cNvSpPr/>
            <p:nvPr/>
          </p:nvSpPr>
          <p:spPr bwMode="ltGray">
            <a:xfrm>
              <a:off x="4286060" y="3654002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상품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46" name="직사각형 45"/>
            <p:cNvSpPr/>
            <p:nvPr/>
          </p:nvSpPr>
          <p:spPr bwMode="ltGray">
            <a:xfrm>
              <a:off x="4809610" y="3653296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채널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47" name="직선 연결선 46"/>
            <p:cNvCxnSpPr/>
            <p:nvPr/>
          </p:nvCxnSpPr>
          <p:spPr>
            <a:xfrm>
              <a:off x="2189584" y="3447632"/>
              <a:ext cx="604733" cy="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직선 연결선 47"/>
            <p:cNvCxnSpPr/>
            <p:nvPr/>
          </p:nvCxnSpPr>
          <p:spPr>
            <a:xfrm flipV="1">
              <a:off x="3782819" y="3445768"/>
              <a:ext cx="500775" cy="614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직사각형 48"/>
            <p:cNvSpPr/>
            <p:nvPr/>
          </p:nvSpPr>
          <p:spPr bwMode="ltGray">
            <a:xfrm>
              <a:off x="6095282" y="2836186"/>
              <a:ext cx="527787" cy="141911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수신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50" name="직사각형 49"/>
            <p:cNvSpPr/>
            <p:nvPr/>
          </p:nvSpPr>
          <p:spPr bwMode="ltGray">
            <a:xfrm>
              <a:off x="6095281" y="4584277"/>
              <a:ext cx="527787" cy="141911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여신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51" name="직선 연결선 50"/>
            <p:cNvCxnSpPr>
              <a:stCxn id="49" idx="1"/>
              <a:endCxn id="28" idx="3"/>
            </p:cNvCxnSpPr>
            <p:nvPr/>
          </p:nvCxnSpPr>
          <p:spPr>
            <a:xfrm flipH="1" flipV="1">
              <a:off x="5302436" y="2900882"/>
              <a:ext cx="792846" cy="64486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/>
            <p:cNvCxnSpPr>
              <a:stCxn id="49" idx="1"/>
              <a:endCxn id="83" idx="3"/>
            </p:cNvCxnSpPr>
            <p:nvPr/>
          </p:nvCxnSpPr>
          <p:spPr>
            <a:xfrm flipH="1">
              <a:off x="5302425" y="3545742"/>
              <a:ext cx="792857" cy="1137457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/>
            <p:cNvCxnSpPr/>
            <p:nvPr/>
          </p:nvCxnSpPr>
          <p:spPr>
            <a:xfrm>
              <a:off x="581552" y="2458643"/>
              <a:ext cx="0" cy="184836"/>
            </a:xfrm>
            <a:prstGeom prst="line">
              <a:avLst/>
            </a:prstGeom>
            <a:ln w="38100">
              <a:solidFill>
                <a:srgbClr val="0043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1960718" y="2458643"/>
              <a:ext cx="0" cy="184836"/>
            </a:xfrm>
            <a:prstGeom prst="line">
              <a:avLst/>
            </a:prstGeom>
            <a:ln w="38100">
              <a:solidFill>
                <a:srgbClr val="0043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/>
            <p:cNvCxnSpPr/>
            <p:nvPr/>
          </p:nvCxnSpPr>
          <p:spPr>
            <a:xfrm>
              <a:off x="4775579" y="2458643"/>
              <a:ext cx="0" cy="184836"/>
            </a:xfrm>
            <a:prstGeom prst="line">
              <a:avLst/>
            </a:prstGeom>
            <a:ln w="38100">
              <a:solidFill>
                <a:srgbClr val="0043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6623069" y="2458643"/>
              <a:ext cx="0" cy="184836"/>
            </a:xfrm>
            <a:prstGeom prst="line">
              <a:avLst/>
            </a:prstGeom>
            <a:ln w="38100">
              <a:solidFill>
                <a:srgbClr val="00436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직선 화살표 연결선 57"/>
            <p:cNvCxnSpPr/>
            <p:nvPr/>
          </p:nvCxnSpPr>
          <p:spPr>
            <a:xfrm>
              <a:off x="581552" y="2542659"/>
              <a:ext cx="1379166" cy="0"/>
            </a:xfrm>
            <a:prstGeom prst="straightConnector1">
              <a:avLst/>
            </a:prstGeom>
            <a:ln>
              <a:solidFill>
                <a:srgbClr val="213315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직선 화살표 연결선 58"/>
            <p:cNvCxnSpPr/>
            <p:nvPr/>
          </p:nvCxnSpPr>
          <p:spPr>
            <a:xfrm>
              <a:off x="1960718" y="2542659"/>
              <a:ext cx="2822007" cy="0"/>
            </a:xfrm>
            <a:prstGeom prst="straightConnector1">
              <a:avLst/>
            </a:prstGeom>
            <a:ln>
              <a:solidFill>
                <a:srgbClr val="213315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화살표 연결선 59"/>
            <p:cNvCxnSpPr/>
            <p:nvPr/>
          </p:nvCxnSpPr>
          <p:spPr>
            <a:xfrm>
              <a:off x="4775579" y="2542659"/>
              <a:ext cx="1847491" cy="0"/>
            </a:xfrm>
            <a:prstGeom prst="straightConnector1">
              <a:avLst/>
            </a:prstGeom>
            <a:ln>
              <a:solidFill>
                <a:srgbClr val="213315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직사각형 64"/>
            <p:cNvSpPr/>
            <p:nvPr/>
          </p:nvSpPr>
          <p:spPr bwMode="ltGray">
            <a:xfrm>
              <a:off x="801690" y="2452344"/>
              <a:ext cx="901387" cy="19602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전사 </a:t>
              </a:r>
              <a:r>
                <a:rPr lang="en-US" altLang="ko-KR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Level</a:t>
              </a:r>
              <a:endPara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6" name="직사각형 65"/>
            <p:cNvSpPr/>
            <p:nvPr/>
          </p:nvSpPr>
          <p:spPr bwMode="ltGray">
            <a:xfrm>
              <a:off x="2906823" y="2447457"/>
              <a:ext cx="901387" cy="19602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영업점 </a:t>
              </a:r>
              <a:r>
                <a:rPr lang="en-US" altLang="ko-KR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Level</a:t>
              </a:r>
              <a:endPara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7" name="직사각형 66"/>
            <p:cNvSpPr/>
            <p:nvPr/>
          </p:nvSpPr>
          <p:spPr bwMode="ltGray">
            <a:xfrm>
              <a:off x="5226235" y="2452150"/>
              <a:ext cx="1032659" cy="19609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서비스 </a:t>
              </a:r>
              <a:r>
                <a:rPr lang="en-US" altLang="ko-KR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Level</a:t>
              </a:r>
              <a:endParaRPr lang="ko-KR" altLang="en-US" sz="11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cxnSp>
          <p:nvCxnSpPr>
            <p:cNvPr id="68" name="직선 연결선 67"/>
            <p:cNvCxnSpPr>
              <a:stCxn id="50" idx="1"/>
              <a:endCxn id="37" idx="3"/>
            </p:cNvCxnSpPr>
            <p:nvPr/>
          </p:nvCxnSpPr>
          <p:spPr>
            <a:xfrm flipH="1" flipV="1">
              <a:off x="5302436" y="3406292"/>
              <a:ext cx="792845" cy="188754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직선 연결선 68"/>
            <p:cNvCxnSpPr>
              <a:stCxn id="50" idx="1"/>
              <a:endCxn id="101" idx="3"/>
            </p:cNvCxnSpPr>
            <p:nvPr/>
          </p:nvCxnSpPr>
          <p:spPr>
            <a:xfrm flipH="1">
              <a:off x="5305357" y="5293833"/>
              <a:ext cx="789924" cy="40337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직사각형 71"/>
            <p:cNvSpPr/>
            <p:nvPr/>
          </p:nvSpPr>
          <p:spPr bwMode="ltGray">
            <a:xfrm>
              <a:off x="2787206" y="3851262"/>
              <a:ext cx="1013367" cy="228283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…</a:t>
              </a:r>
            </a:p>
          </p:txBody>
        </p:sp>
        <p:sp>
          <p:nvSpPr>
            <p:cNvPr id="73" name="직사각형 72"/>
            <p:cNvSpPr/>
            <p:nvPr/>
          </p:nvSpPr>
          <p:spPr bwMode="ltGray">
            <a:xfrm>
              <a:off x="4288992" y="3854933"/>
              <a:ext cx="1016376" cy="119907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ML/TF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위험</a:t>
              </a:r>
              <a:endPara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Arial" pitchFamily="34" charset="0"/>
              </a:endParaRPr>
            </a:p>
          </p:txBody>
        </p:sp>
        <p:sp>
          <p:nvSpPr>
            <p:cNvPr id="74" name="직사각형 73"/>
            <p:cNvSpPr/>
            <p:nvPr/>
          </p:nvSpPr>
          <p:spPr bwMode="ltGray">
            <a:xfrm>
              <a:off x="4288992" y="3999599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고객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75" name="직사각형 74"/>
            <p:cNvSpPr/>
            <p:nvPr/>
          </p:nvSpPr>
          <p:spPr bwMode="ltGray">
            <a:xfrm>
              <a:off x="4812542" y="3999599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국가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76" name="직사각형 75"/>
            <p:cNvSpPr/>
            <p:nvPr/>
          </p:nvSpPr>
          <p:spPr bwMode="ltGray">
            <a:xfrm>
              <a:off x="4288992" y="4137333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상품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77" name="직사각형 76"/>
            <p:cNvSpPr/>
            <p:nvPr/>
          </p:nvSpPr>
          <p:spPr bwMode="ltGray">
            <a:xfrm>
              <a:off x="4812542" y="4136698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채널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78" name="직선 연결선 77"/>
            <p:cNvCxnSpPr/>
            <p:nvPr/>
          </p:nvCxnSpPr>
          <p:spPr>
            <a:xfrm>
              <a:off x="2192516" y="3952010"/>
              <a:ext cx="604733" cy="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직선 연결선 78"/>
            <p:cNvCxnSpPr/>
            <p:nvPr/>
          </p:nvCxnSpPr>
          <p:spPr>
            <a:xfrm flipV="1">
              <a:off x="3785751" y="3950337"/>
              <a:ext cx="500775" cy="55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연결선 79"/>
            <p:cNvCxnSpPr>
              <a:stCxn id="49" idx="1"/>
            </p:cNvCxnSpPr>
            <p:nvPr/>
          </p:nvCxnSpPr>
          <p:spPr>
            <a:xfrm flipH="1">
              <a:off x="5305368" y="3545742"/>
              <a:ext cx="789914" cy="39760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직사각형 81"/>
            <p:cNvSpPr/>
            <p:nvPr/>
          </p:nvSpPr>
          <p:spPr bwMode="ltGray">
            <a:xfrm>
              <a:off x="2784262" y="4630365"/>
              <a:ext cx="1013367" cy="24633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수신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 bwMode="ltGray">
            <a:xfrm>
              <a:off x="4286048" y="4618504"/>
              <a:ext cx="1016377" cy="12938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ML/TF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위험</a:t>
              </a:r>
              <a:endPara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Arial" pitchFamily="34" charset="0"/>
              </a:endParaRPr>
            </a:p>
          </p:txBody>
        </p:sp>
        <p:sp>
          <p:nvSpPr>
            <p:cNvPr id="84" name="직사각형 83"/>
            <p:cNvSpPr/>
            <p:nvPr/>
          </p:nvSpPr>
          <p:spPr bwMode="ltGray">
            <a:xfrm>
              <a:off x="4286048" y="4774610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고객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85" name="직사각형 84"/>
            <p:cNvSpPr/>
            <p:nvPr/>
          </p:nvSpPr>
          <p:spPr bwMode="ltGray">
            <a:xfrm>
              <a:off x="4809598" y="4774610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국가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86" name="직사각형 85"/>
            <p:cNvSpPr/>
            <p:nvPr/>
          </p:nvSpPr>
          <p:spPr bwMode="ltGray">
            <a:xfrm>
              <a:off x="4286048" y="4922551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상품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87" name="직사각형 86"/>
            <p:cNvSpPr/>
            <p:nvPr/>
          </p:nvSpPr>
          <p:spPr bwMode="ltGray">
            <a:xfrm>
              <a:off x="4809598" y="4922551"/>
              <a:ext cx="491916" cy="1293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채널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88" name="직선 연결선 87"/>
            <p:cNvCxnSpPr>
              <a:endCxn id="82" idx="1"/>
            </p:cNvCxnSpPr>
            <p:nvPr/>
          </p:nvCxnSpPr>
          <p:spPr>
            <a:xfrm>
              <a:off x="2179529" y="4753532"/>
              <a:ext cx="604733" cy="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직선 연결선 88"/>
            <p:cNvCxnSpPr/>
            <p:nvPr/>
          </p:nvCxnSpPr>
          <p:spPr>
            <a:xfrm>
              <a:off x="3791981" y="4745215"/>
              <a:ext cx="476536" cy="566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직사각형 90"/>
            <p:cNvSpPr/>
            <p:nvPr/>
          </p:nvSpPr>
          <p:spPr bwMode="ltGray">
            <a:xfrm>
              <a:off x="2784263" y="5117758"/>
              <a:ext cx="1013367" cy="254211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여신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2" name="직사각형 91"/>
            <p:cNvSpPr/>
            <p:nvPr/>
          </p:nvSpPr>
          <p:spPr bwMode="ltGray">
            <a:xfrm>
              <a:off x="4286049" y="5121846"/>
              <a:ext cx="1016376" cy="133526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ML/TF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위험</a:t>
              </a:r>
              <a:endPara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Arial" pitchFamily="34" charset="0"/>
              </a:endParaRPr>
            </a:p>
          </p:txBody>
        </p:sp>
        <p:sp>
          <p:nvSpPr>
            <p:cNvPr id="93" name="직사각형 92"/>
            <p:cNvSpPr/>
            <p:nvPr/>
          </p:nvSpPr>
          <p:spPr bwMode="ltGray">
            <a:xfrm>
              <a:off x="4286049" y="5282942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고객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94" name="직사각형 93"/>
            <p:cNvSpPr/>
            <p:nvPr/>
          </p:nvSpPr>
          <p:spPr bwMode="ltGray">
            <a:xfrm>
              <a:off x="4809599" y="5282942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국가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95" name="직사각형 94"/>
            <p:cNvSpPr/>
            <p:nvPr/>
          </p:nvSpPr>
          <p:spPr bwMode="ltGray">
            <a:xfrm>
              <a:off x="4286049" y="5436319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상품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96" name="직사각형 95"/>
            <p:cNvSpPr/>
            <p:nvPr/>
          </p:nvSpPr>
          <p:spPr bwMode="ltGray">
            <a:xfrm>
              <a:off x="4809599" y="5435613"/>
              <a:ext cx="491916" cy="133526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채널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97" name="직선 연결선 96"/>
            <p:cNvCxnSpPr/>
            <p:nvPr/>
          </p:nvCxnSpPr>
          <p:spPr>
            <a:xfrm>
              <a:off x="2189573" y="5229949"/>
              <a:ext cx="604733" cy="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직선 연결선 97"/>
            <p:cNvCxnSpPr/>
            <p:nvPr/>
          </p:nvCxnSpPr>
          <p:spPr>
            <a:xfrm flipV="1">
              <a:off x="3782808" y="5228085"/>
              <a:ext cx="500775" cy="614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직사각형 99"/>
            <p:cNvSpPr/>
            <p:nvPr/>
          </p:nvSpPr>
          <p:spPr bwMode="ltGray">
            <a:xfrm>
              <a:off x="2787195" y="5633579"/>
              <a:ext cx="1013367" cy="228283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…</a:t>
              </a:r>
            </a:p>
          </p:txBody>
        </p:sp>
        <p:sp>
          <p:nvSpPr>
            <p:cNvPr id="101" name="직사각형 100"/>
            <p:cNvSpPr/>
            <p:nvPr/>
          </p:nvSpPr>
          <p:spPr bwMode="ltGray">
            <a:xfrm>
              <a:off x="4288981" y="5637250"/>
              <a:ext cx="1016376" cy="119907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ML/TF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Arial" pitchFamily="34" charset="0"/>
                </a:rPr>
                <a:t>위험</a:t>
              </a:r>
              <a:endPara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Arial" pitchFamily="34" charset="0"/>
              </a:endParaRPr>
            </a:p>
          </p:txBody>
        </p:sp>
        <p:sp>
          <p:nvSpPr>
            <p:cNvPr id="102" name="직사각형 101"/>
            <p:cNvSpPr/>
            <p:nvPr/>
          </p:nvSpPr>
          <p:spPr bwMode="ltGray">
            <a:xfrm>
              <a:off x="4288981" y="5781916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고객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103" name="직사각형 102"/>
            <p:cNvSpPr/>
            <p:nvPr/>
          </p:nvSpPr>
          <p:spPr bwMode="ltGray">
            <a:xfrm>
              <a:off x="4812531" y="5781916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국가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104" name="직사각형 103"/>
            <p:cNvSpPr/>
            <p:nvPr/>
          </p:nvSpPr>
          <p:spPr bwMode="ltGray">
            <a:xfrm>
              <a:off x="4288981" y="5919650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상품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sp>
          <p:nvSpPr>
            <p:cNvPr id="105" name="직사각형 104"/>
            <p:cNvSpPr/>
            <p:nvPr/>
          </p:nvSpPr>
          <p:spPr bwMode="ltGray">
            <a:xfrm>
              <a:off x="4812531" y="5919015"/>
              <a:ext cx="491916" cy="119907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sym typeface="Arial" pitchFamily="34" charset="0"/>
                </a:rPr>
                <a:t>채널위험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Arial" pitchFamily="34" charset="0"/>
              </a:endParaRPr>
            </a:p>
          </p:txBody>
        </p:sp>
        <p:cxnSp>
          <p:nvCxnSpPr>
            <p:cNvPr id="106" name="직선 연결선 105"/>
            <p:cNvCxnSpPr/>
            <p:nvPr/>
          </p:nvCxnSpPr>
          <p:spPr>
            <a:xfrm>
              <a:off x="2192505" y="5734327"/>
              <a:ext cx="604733" cy="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직선 연결선 106"/>
            <p:cNvCxnSpPr/>
            <p:nvPr/>
          </p:nvCxnSpPr>
          <p:spPr>
            <a:xfrm flipV="1">
              <a:off x="3785740" y="5732654"/>
              <a:ext cx="500775" cy="551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직선 연결선 107"/>
            <p:cNvCxnSpPr>
              <a:stCxn id="50" idx="1"/>
              <a:endCxn id="92" idx="3"/>
            </p:cNvCxnSpPr>
            <p:nvPr/>
          </p:nvCxnSpPr>
          <p:spPr>
            <a:xfrm flipH="1" flipV="1">
              <a:off x="5302425" y="5188609"/>
              <a:ext cx="792856" cy="105224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6/9)</a:t>
            </a:r>
            <a:endParaRPr lang="ko-KR" altLang="en-US" dirty="0"/>
          </a:p>
        </p:txBody>
      </p:sp>
      <p:sp>
        <p:nvSpPr>
          <p:cNvPr id="11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1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111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565808" y="2098032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0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578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4.1 </a:t>
            </a:r>
            <a:r>
              <a:rPr lang="ko-KR" altLang="en-US" dirty="0" smtClean="0"/>
              <a:t>하드웨어 구성 명세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별도로 도입되는 장비 증설을 통해 기존 장비를 재활용하여 안정적인 서비스가 제공되도록 구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하드웨어 구성 명세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4904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1.4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시스템 품목 명세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1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aphicFrame>
        <p:nvGraphicFramePr>
          <p:cNvPr id="49" name="Group 400"/>
          <p:cNvGraphicFramePr>
            <a:graphicFrameLocks noGrp="1"/>
          </p:cNvGraphicFramePr>
          <p:nvPr>
            <p:extLst/>
          </p:nvPr>
        </p:nvGraphicFramePr>
        <p:xfrm>
          <a:off x="332232" y="2158382"/>
          <a:ext cx="9222317" cy="4248000"/>
        </p:xfrm>
        <a:graphic>
          <a:graphicData uri="http://schemas.openxmlformats.org/drawingml/2006/table">
            <a:tbl>
              <a:tblPr/>
              <a:tblGrid>
                <a:gridCol w="10127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5405">
                  <a:extLst>
                    <a:ext uri="{9D8B030D-6E8A-4147-A177-3AD203B41FA5}">
                      <a16:colId xmlns:a16="http://schemas.microsoft.com/office/drawing/2014/main" val="630888834"/>
                    </a:ext>
                  </a:extLst>
                </a:gridCol>
                <a:gridCol w="9301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288000">
                <a:tc row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구분</a:t>
                      </a:r>
                      <a:endParaRPr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서버</a:t>
                      </a: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row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도입방법</a:t>
                      </a:r>
                      <a:endParaRPr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row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CPU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메모리</a:t>
                      </a:r>
                      <a:endParaRPr kumimoji="1" lang="ko-KR" altLang="en-US" sz="1050" b="1" i="0" u="none" strike="noStrike" kern="1200" dirty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4B4DC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4B4DC"/>
                    </a:solidFill>
                  </a:tcPr>
                </a:tc>
                <a:tc gridSpan="4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디스크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비고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90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4B4D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기존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증설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전체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운영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개발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증설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전체</a:t>
                      </a:r>
                      <a:endParaRPr kumimoji="1" lang="ko-KR" altLang="ko-KR" sz="105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000">
                <a:tc rowSpan="9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서버</a:t>
                      </a:r>
                      <a:endParaRPr lang="en-US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HP RX2800</a:t>
                      </a: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AP#1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48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80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lang="en-US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AP#2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48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80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AP#3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48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80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DB#1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6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28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64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9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DB#2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6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28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64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9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개발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AP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48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6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64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개발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DB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64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96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재해복구 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AP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48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80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5506346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재해복구</a:t>
                      </a: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DB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메모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C</a:t>
                      </a:r>
                    </a:p>
                  </a:txBody>
                  <a:tcPr marL="0" marR="216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64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2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96GB</a:t>
                      </a:r>
                    </a:p>
                  </a:txBody>
                  <a:tcPr marL="0" marR="14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6203110"/>
                  </a:ext>
                </a:extLst>
              </a:tr>
              <a:tr h="30600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스토리지</a:t>
                      </a:r>
                      <a:endParaRPr lang="en-US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Hitachi F800</a:t>
                      </a: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운영</a:t>
                      </a:r>
                      <a:endParaRPr lang="en-US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디스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6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9TB</a:t>
                      </a:r>
                      <a:endParaRPr lang="ko-KR" altLang="ko-KR" sz="100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9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이중화</a:t>
                      </a:r>
                      <a:endParaRPr lang="en-US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디스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6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9TB</a:t>
                      </a:r>
                      <a:endParaRPr lang="ko-KR" altLang="ko-KR" sz="100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9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9960125"/>
                  </a:ext>
                </a:extLst>
              </a:tr>
              <a:tr h="306000">
                <a:tc vMerge="1"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8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8572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재해복구</a:t>
                      </a:r>
                      <a:endParaRPr lang="en-US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ko-KR" altLang="en-US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디스크증설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</a:p>
                  </a:txBody>
                  <a:tcPr marL="0" marR="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6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1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9TB</a:t>
                      </a:r>
                      <a:endParaRPr lang="ko-KR" altLang="ko-KR" sz="1000" b="1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altLang="ko-KR" sz="1000" b="0" i="0" u="none" strike="noStrike" kern="120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5TB</a:t>
                      </a:r>
                      <a:endParaRPr lang="ko-KR" altLang="ko-KR" sz="1000" b="0" i="0" u="none" strike="noStrike" kern="120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별도 증설</a:t>
                      </a: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solidFill>
                            <a:srgbClr val="000000">
                              <a:alpha val="0"/>
                            </a:srgbClr>
                          </a:solidFill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54000" marR="54000" marT="18000" marB="18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807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취약점을 식별한 이후 해당 취약점에 적절히 대응하기 위하여 업무 규정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처리기준 상의 요구사항과 부산은행의 특성을 반영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를 설계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설계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452500" y="2312876"/>
            <a:ext cx="8964996" cy="3996444"/>
            <a:chOff x="576351" y="2415877"/>
            <a:chExt cx="8753299" cy="3757664"/>
          </a:xfrm>
        </p:grpSpPr>
        <p:sp>
          <p:nvSpPr>
            <p:cNvPr id="20" name="모서리가 접힌 도형 19"/>
            <p:cNvSpPr/>
            <p:nvPr/>
          </p:nvSpPr>
          <p:spPr bwMode="ltGray">
            <a:xfrm>
              <a:off x="5028302" y="3727960"/>
              <a:ext cx="4272444" cy="2445581"/>
            </a:xfrm>
            <a:prstGeom prst="foldedCorner">
              <a:avLst>
                <a:gd name="adj" fmla="val 437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560" dir="2700000" algn="ctr" rotWithShape="0">
                <a:schemeClr val="bg1">
                  <a:lumMod val="50000"/>
                </a:schemeClr>
              </a:outerShdw>
            </a:effectLst>
          </p:spPr>
          <p:txBody>
            <a:bodyPr lIns="180000" tIns="504000" rIns="180000" anchor="t"/>
            <a:lstStyle/>
            <a:p>
              <a:pPr defTabSz="762000">
                <a:lnSpc>
                  <a:spcPct val="120000"/>
                </a:lnSpc>
                <a:spcBef>
                  <a:spcPts val="600"/>
                </a:spcBef>
              </a:pPr>
              <a:endParaRPr lang="ko-KR" altLang="en-US" sz="12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endParaRPr>
            </a:p>
          </p:txBody>
        </p:sp>
        <p:sp>
          <p:nvSpPr>
            <p:cNvPr id="21" name="모서리가 접힌 도형 20"/>
            <p:cNvSpPr/>
            <p:nvPr/>
          </p:nvSpPr>
          <p:spPr bwMode="ltGray">
            <a:xfrm>
              <a:off x="593898" y="3727960"/>
              <a:ext cx="4272444" cy="2445581"/>
            </a:xfrm>
            <a:prstGeom prst="foldedCorner">
              <a:avLst>
                <a:gd name="adj" fmla="val 437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560" dir="2700000" algn="ctr" rotWithShape="0">
                <a:schemeClr val="bg1">
                  <a:lumMod val="50000"/>
                </a:schemeClr>
              </a:outerShdw>
            </a:effectLst>
          </p:spPr>
          <p:txBody>
            <a:bodyPr lIns="180000" tIns="504000" rIns="180000" anchor="t"/>
            <a:lstStyle/>
            <a:p>
              <a:pPr defTabSz="762000">
                <a:lnSpc>
                  <a:spcPct val="120000"/>
                </a:lnSpc>
                <a:spcBef>
                  <a:spcPts val="600"/>
                </a:spcBef>
              </a:pPr>
              <a:endParaRPr lang="ko-KR" altLang="en-US" sz="12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733284" y="3850686"/>
              <a:ext cx="4030079" cy="1610924"/>
            </a:xfrm>
            <a:prstGeom prst="rect">
              <a:avLst/>
            </a:prstGeom>
          </p:spPr>
          <p:txBody>
            <a:bodyPr wrap="square" lIns="36000" rIns="36000">
              <a:spAutoFit/>
            </a:bodyPr>
            <a:lstStyle/>
            <a:p>
              <a:pPr defTabSz="1162306" eaLnBrk="0" hangingPunct="0">
                <a:spcAft>
                  <a:spcPts val="446"/>
                </a:spcAft>
                <a:defRPr/>
              </a:pPr>
              <a:r>
                <a:rPr lang="ko-KR" altLang="en-US" sz="1200" u="sng" kern="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pitchFamily="34" charset="0"/>
                </a:rPr>
                <a:t>업무 프로세스 분석 및 통제활동 </a:t>
              </a:r>
              <a:r>
                <a:rPr lang="en-US" altLang="ko-KR" sz="1200" u="sng" kern="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pitchFamily="34" charset="0"/>
                </a:rPr>
                <a:t>1</a:t>
              </a:r>
              <a:r>
                <a:rPr lang="ko-KR" altLang="en-US" sz="1200" u="sng" kern="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pitchFamily="34" charset="0"/>
                </a:rPr>
                <a:t>차 식별</a:t>
              </a:r>
              <a:endParaRPr lang="en-US" altLang="ko-KR" sz="1200" u="sng" kern="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endParaRPr>
            </a:p>
            <a:p>
              <a:pPr marL="171450" indent="-171450" algn="l" defTabSz="1162306" eaLnBrk="0" hangingPunct="0">
                <a:spcBef>
                  <a:spcPts val="1200"/>
                </a:spcBef>
                <a:buFont typeface="Wingdings" pitchFamily="2" charset="2"/>
                <a:buChar char="§"/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현재 규정 및 지침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매뉴얼 분석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1162306" eaLnBrk="0" hangingPunct="0">
                <a:spcBef>
                  <a:spcPts val="600"/>
                </a:spcBef>
                <a:buFont typeface="Wingdings" pitchFamily="2" charset="2"/>
                <a:buChar char="§"/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금세탁방지시스템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계정계시스템 상의 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CDD, STR, CTR,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기타 자금세탁방지제도 관련 기능 분석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1162306" eaLnBrk="0" hangingPunct="0">
                <a:spcBef>
                  <a:spcPts val="600"/>
                </a:spcBef>
                <a:buFont typeface="Wingdings" pitchFamily="2" charset="2"/>
                <a:buChar char="§"/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타 업무 규정 및 지침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점감사 항목 상의 자금세탁방지 관련 통제활동 식별 및 분석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1162306" eaLnBrk="0" hangingPunct="0">
                <a:spcBef>
                  <a:spcPts val="600"/>
                </a:spcBef>
                <a:buFont typeface="Wingdings" pitchFamily="2" charset="2"/>
                <a:buChar char="§"/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금세탁방지 업무 담당자와의 인터뷰를 통한 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1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차 설계 현황 확인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1162306" eaLnBrk="0" hangingPunct="0">
                <a:spcBef>
                  <a:spcPts val="600"/>
                </a:spcBef>
                <a:buFont typeface="Wingdings" pitchFamily="2" charset="2"/>
                <a:buChar char="§"/>
                <a:defRPr/>
              </a:pPr>
              <a:endParaRPr lang="ko-KR" altLang="en-US" sz="10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5170930" y="3850686"/>
              <a:ext cx="4030079" cy="17132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162306" eaLnBrk="0" hangingPunct="0">
                <a:spcAft>
                  <a:spcPts val="446"/>
                </a:spcAft>
                <a:defRPr/>
              </a:pPr>
              <a:r>
                <a:rPr lang="ko-KR" altLang="en-US" sz="1200" u="sng" kern="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pitchFamily="34" charset="0"/>
                </a:rPr>
                <a:t>추가 통제활동 식별 및 개선안 도출  </a:t>
              </a:r>
              <a:endParaRPr lang="en-US" altLang="ko-KR" sz="1200" u="sng" kern="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endParaRPr>
            </a:p>
            <a:p>
              <a:pPr marL="171450" indent="-171450" algn="l" defTabSz="1162306" eaLnBrk="0" hangingPunct="0">
                <a:spcBef>
                  <a:spcPts val="1200"/>
                </a:spcBef>
                <a:buFont typeface="Wingdings" pitchFamily="2" charset="2"/>
                <a:buChar char="§"/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련부서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 대표 부점 인터뷰 수행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354013" lvl="1" indent="-176213" algn="l" defTabSz="1162306" eaLnBrk="0" hangingPunct="0">
                <a:spcBef>
                  <a:spcPts val="600"/>
                </a:spcBef>
                <a:buFont typeface="Arial" panose="020B0604020202020204" pitchFamily="34" charset="0"/>
                <a:buChar char="–"/>
                <a:defRPr/>
              </a:pP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Biz Process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상의 추가 통제활동 현황 파악을 통한 현업 인터뷰 수행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354013" lvl="1" indent="-176213" algn="l" defTabSz="1162306" eaLnBrk="0" hangingPunct="0">
                <a:spcBef>
                  <a:spcPts val="600"/>
                </a:spcBef>
                <a:buFont typeface="Arial" panose="020B0604020202020204" pitchFamily="34" charset="0"/>
                <a:buChar char="–"/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고위험 상품 및 서비스 관련 업무 절차 상에서 추가적으로 필요한 통제활동 설계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1162306" eaLnBrk="0" hangingPunct="0">
                <a:spcBef>
                  <a:spcPts val="600"/>
                </a:spcBef>
                <a:buFont typeface="Wingdings" pitchFamily="2" charset="2"/>
                <a:buChar char="§"/>
                <a:defRPr/>
              </a:pP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RBA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처리 기준 및 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oFIU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운영위험 지표 상의 요구사항 충족을 위한 통제활동 개선사항 및 권고사항 제시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354013" lvl="1" indent="-176213" algn="l" defTabSz="1162306" eaLnBrk="0" hangingPunct="0">
                <a:spcBef>
                  <a:spcPts val="600"/>
                </a:spcBef>
                <a:buFont typeface="Arial" panose="020B0604020202020204" pitchFamily="34" charset="0"/>
                <a:buChar char="–"/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각 개선사항 별 실행 계획 수립 및 반영</a:t>
              </a:r>
              <a:endParaRPr lang="ko-KR" altLang="en-US" sz="10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796725" y="2415877"/>
              <a:ext cx="2045494" cy="303338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자금세탁방지 담당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인터뷰</a:t>
              </a:r>
              <a:endParaRPr lang="de-DE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796725" y="2719213"/>
              <a:ext cx="2045494" cy="726662"/>
            </a:xfrm>
            <a:prstGeom prst="rect">
              <a:avLst/>
            </a:prstGeom>
            <a:noFill/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91440" tIns="82296" rIns="91440" bIns="45720" anchor="ctr">
              <a:noAutofit/>
            </a:bodyPr>
            <a:lstStyle/>
            <a:p>
              <a:pPr defTabSz="1162306" eaLnBrk="0" hangingPunct="0">
                <a:spcAft>
                  <a:spcPts val="446"/>
                </a:spcAft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금세탁방지 업무 영역 별 업무  프로세스 분석 및 세부 내부통제  활동 식별</a:t>
              </a:r>
              <a:endParaRPr lang="en-US" altLang="ko-KR" sz="10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32" name="Rectangle 3"/>
            <p:cNvSpPr>
              <a:spLocks noChangeArrowheads="1"/>
            </p:cNvSpPr>
            <p:nvPr/>
          </p:nvSpPr>
          <p:spPr bwMode="gray">
            <a:xfrm>
              <a:off x="576883" y="2415878"/>
              <a:ext cx="2021092" cy="303339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내부 문서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자료 검토</a:t>
              </a:r>
              <a:endParaRPr lang="de-DE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gray">
            <a:xfrm>
              <a:off x="576351" y="2719213"/>
              <a:ext cx="2022153" cy="726662"/>
            </a:xfrm>
            <a:prstGeom prst="rect">
              <a:avLst/>
            </a:prstGeom>
            <a:noFill/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91440" tIns="82296" rIns="91440" bIns="45720" anchor="ctr">
              <a:noAutofit/>
            </a:bodyPr>
            <a:lstStyle/>
            <a:p>
              <a:pPr defTabSz="1162306" eaLnBrk="0" hangingPunct="0">
                <a:spcAft>
                  <a:spcPts val="446"/>
                </a:spcAft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금세탁방지 관련 규정 및 지침</a:t>
              </a:r>
              <a:r>
                <a:rPr lang="en-US" altLang="ko-KR" sz="1000" kern="0" spc="-1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매뉴얼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기타 관련 회사 내규 검토</a:t>
              </a:r>
              <a:endParaRPr lang="ko-KR" altLang="en-US" sz="10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34" name="Rectangle 8"/>
            <p:cNvSpPr>
              <a:spLocks noChangeArrowheads="1"/>
            </p:cNvSpPr>
            <p:nvPr/>
          </p:nvSpPr>
          <p:spPr bwMode="gray">
            <a:xfrm>
              <a:off x="5040440" y="2415877"/>
              <a:ext cx="2045494" cy="303338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련부서 인터뷰</a:t>
              </a:r>
              <a:endParaRPr lang="de-DE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5" name="Rectangle 9"/>
            <p:cNvSpPr>
              <a:spLocks noChangeArrowheads="1"/>
            </p:cNvSpPr>
            <p:nvPr/>
          </p:nvSpPr>
          <p:spPr bwMode="gray">
            <a:xfrm>
              <a:off x="5040440" y="2719213"/>
              <a:ext cx="2045494" cy="726662"/>
            </a:xfrm>
            <a:prstGeom prst="rect">
              <a:avLst/>
            </a:prstGeom>
            <a:noFill/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91440" tIns="82296" rIns="91440" bIns="45720" anchor="ctr">
              <a:noAutofit/>
            </a:bodyPr>
            <a:lstStyle/>
            <a:p>
              <a:pPr defTabSz="1162306" eaLnBrk="0" hangingPunct="0">
                <a:spcAft>
                  <a:spcPts val="446"/>
                </a:spcAft>
                <a:defRPr/>
              </a:pP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각 관련부서</a:t>
              </a: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 대표 부점을 대상으로 실제 통제활동의 운영 현황과 추가 통제활동 현황 파악</a:t>
              </a:r>
            </a:p>
          </p:txBody>
        </p:sp>
        <p:sp>
          <p:nvSpPr>
            <p:cNvPr id="36" name="Rectangle 8"/>
            <p:cNvSpPr>
              <a:spLocks noChangeArrowheads="1"/>
            </p:cNvSpPr>
            <p:nvPr/>
          </p:nvSpPr>
          <p:spPr bwMode="gray">
            <a:xfrm>
              <a:off x="7284156" y="2415877"/>
              <a:ext cx="2045494" cy="303338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제활동 선정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개선안 도출</a:t>
              </a:r>
              <a:endParaRPr lang="de-DE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7" name="Rectangle 9"/>
            <p:cNvSpPr>
              <a:spLocks noChangeArrowheads="1"/>
            </p:cNvSpPr>
            <p:nvPr/>
          </p:nvSpPr>
          <p:spPr bwMode="gray">
            <a:xfrm>
              <a:off x="7284156" y="2719213"/>
              <a:ext cx="2045494" cy="726662"/>
            </a:xfrm>
            <a:prstGeom prst="rect">
              <a:avLst/>
            </a:prstGeom>
            <a:noFill/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91440" tIns="82296" rIns="91440" bIns="45720" anchor="ctr">
              <a:noAutofit/>
            </a:bodyPr>
            <a:lstStyle/>
            <a:p>
              <a:pPr defTabSz="1162306" eaLnBrk="0" hangingPunct="0">
                <a:spcAft>
                  <a:spcPts val="446"/>
                </a:spcAft>
                <a:defRPr/>
              </a:pPr>
              <a:r>
                <a:rPr lang="en-US" altLang="ko-KR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활동 최종 선정 및 요구 수준 준수를 위한 통제 개선안 도출</a:t>
              </a:r>
              <a:endParaRPr lang="ko-KR" altLang="en-US" sz="10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38" name="AutoShape 3"/>
            <p:cNvSpPr>
              <a:spLocks noChangeArrowheads="1"/>
            </p:cNvSpPr>
            <p:nvPr/>
          </p:nvSpPr>
          <p:spPr bwMode="gray">
            <a:xfrm rot="5400000">
              <a:off x="2592086" y="2499149"/>
              <a:ext cx="239573" cy="136793"/>
            </a:xfrm>
            <a:prstGeom prst="triangle">
              <a:avLst>
                <a:gd name="adj" fmla="val 50000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44" name="AutoShape 3"/>
            <p:cNvSpPr>
              <a:spLocks noChangeArrowheads="1"/>
            </p:cNvSpPr>
            <p:nvPr/>
          </p:nvSpPr>
          <p:spPr bwMode="gray">
            <a:xfrm rot="5400000">
              <a:off x="4827579" y="2499149"/>
              <a:ext cx="239573" cy="136793"/>
            </a:xfrm>
            <a:prstGeom prst="triangle">
              <a:avLst>
                <a:gd name="adj" fmla="val 50000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45" name="AutoShape 3"/>
            <p:cNvSpPr>
              <a:spLocks noChangeArrowheads="1"/>
            </p:cNvSpPr>
            <p:nvPr/>
          </p:nvSpPr>
          <p:spPr bwMode="gray">
            <a:xfrm rot="5400000">
              <a:off x="7077876" y="2499149"/>
              <a:ext cx="239573" cy="136793"/>
            </a:xfrm>
            <a:prstGeom prst="triangle">
              <a:avLst>
                <a:gd name="adj" fmla="val 50000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cxnSp>
          <p:nvCxnSpPr>
            <p:cNvPr id="26" name="꺾인 연결선 25"/>
            <p:cNvCxnSpPr>
              <a:stCxn id="33" idx="2"/>
              <a:endCxn id="21" idx="0"/>
            </p:cNvCxnSpPr>
            <p:nvPr/>
          </p:nvCxnSpPr>
          <p:spPr bwMode="auto">
            <a:xfrm rot="16200000" flipH="1">
              <a:off x="2017731" y="3015570"/>
              <a:ext cx="282086" cy="1142692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bg1">
                  <a:lumMod val="50000"/>
                </a:schemeClr>
              </a:solidFill>
              <a:round/>
              <a:headEnd/>
              <a:tailEnd type="triangle"/>
            </a:ln>
            <a:effectLst/>
          </p:spPr>
        </p:cxnSp>
        <p:cxnSp>
          <p:nvCxnSpPr>
            <p:cNvPr id="27" name="꺾인 연결선 26"/>
            <p:cNvCxnSpPr>
              <a:stCxn id="31" idx="2"/>
              <a:endCxn id="21" idx="0"/>
            </p:cNvCxnSpPr>
            <p:nvPr/>
          </p:nvCxnSpPr>
          <p:spPr bwMode="auto">
            <a:xfrm rot="5400000">
              <a:off x="3133754" y="3042241"/>
              <a:ext cx="282086" cy="1089353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bg1">
                  <a:lumMod val="50000"/>
                </a:schemeClr>
              </a:solidFill>
              <a:round/>
              <a:headEnd/>
              <a:tailEnd type="triangle"/>
            </a:ln>
            <a:effectLst/>
          </p:spPr>
        </p:cxnSp>
        <p:cxnSp>
          <p:nvCxnSpPr>
            <p:cNvPr id="28" name="꺾인 연결선 27"/>
            <p:cNvCxnSpPr>
              <a:stCxn id="35" idx="2"/>
              <a:endCxn id="20" idx="0"/>
            </p:cNvCxnSpPr>
            <p:nvPr/>
          </p:nvCxnSpPr>
          <p:spPr bwMode="auto">
            <a:xfrm rot="16200000" flipH="1">
              <a:off x="6472813" y="3036248"/>
              <a:ext cx="282086" cy="1101336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bg1">
                  <a:lumMod val="50000"/>
                </a:schemeClr>
              </a:solidFill>
              <a:round/>
              <a:headEnd/>
              <a:tailEnd type="triangle"/>
            </a:ln>
            <a:effectLst/>
          </p:spPr>
        </p:cxnSp>
        <p:cxnSp>
          <p:nvCxnSpPr>
            <p:cNvPr id="29" name="꺾인 연결선 28"/>
            <p:cNvCxnSpPr>
              <a:stCxn id="37" idx="2"/>
              <a:endCxn id="20" idx="0"/>
            </p:cNvCxnSpPr>
            <p:nvPr/>
          </p:nvCxnSpPr>
          <p:spPr bwMode="auto">
            <a:xfrm rot="5400000">
              <a:off x="7594671" y="3015727"/>
              <a:ext cx="282086" cy="1142379"/>
            </a:xfrm>
            <a:prstGeom prst="bentConnector3">
              <a:avLst>
                <a:gd name="adj1" fmla="val 50000"/>
              </a:avLst>
            </a:prstGeom>
            <a:noFill/>
            <a:ln w="3175">
              <a:solidFill>
                <a:schemeClr val="bg1">
                  <a:lumMod val="50000"/>
                </a:schemeClr>
              </a:solidFill>
              <a:round/>
              <a:headEnd/>
              <a:tailEnd type="triangle"/>
            </a:ln>
            <a:effectLst/>
          </p:spPr>
        </p:cxnSp>
      </p:grpSp>
      <p:sp>
        <p:nvSpPr>
          <p:cNvPr id="46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7/9)</a:t>
            </a:r>
            <a:endParaRPr lang="ko-KR" altLang="en-US" dirty="0"/>
          </a:p>
        </p:txBody>
      </p:sp>
      <p:sp>
        <p:nvSpPr>
          <p:cNvPr id="4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475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3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각의 통제활동마다 통제 운영 효과성 평가를 수행하기 위하여 다음과 같은 평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emplate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작성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에 표준화하여 효율적인 평가가 진행되도록 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운영평가 방안 수립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" name="TextBox 19"/>
          <p:cNvSpPr txBox="1"/>
          <p:nvPr/>
        </p:nvSpPr>
        <p:spPr>
          <a:xfrm>
            <a:off x="1543861" y="2313402"/>
            <a:ext cx="3558316" cy="25286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87313" indent="-87313" algn="ctr">
              <a:spcAft>
                <a:spcPts val="600"/>
              </a:spcAft>
            </a:pPr>
            <a:r>
              <a:rPr lang="en-US" altLang="ko-KR" sz="1200" b="1" u="sng" spc="-100" dirty="0" smtClean="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ype 1</a:t>
            </a:r>
            <a:endParaRPr lang="ko-KR" altLang="en-US" sz="1100" i="1" spc="-100" dirty="0" smtClean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1" name="AutoShape 2"/>
          <p:cNvSpPr>
            <a:spLocks noChangeArrowheads="1"/>
          </p:cNvSpPr>
          <p:nvPr/>
        </p:nvSpPr>
        <p:spPr bwMode="auto">
          <a:xfrm>
            <a:off x="6429164" y="3169505"/>
            <a:ext cx="508335" cy="2281916"/>
          </a:xfrm>
          <a:prstGeom prst="rightArrow">
            <a:avLst>
              <a:gd name="adj1" fmla="val 64263"/>
              <a:gd name="adj2" fmla="val 43042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7152581" y="2807202"/>
            <a:ext cx="2149847" cy="2923732"/>
            <a:chOff x="7468157" y="2517683"/>
            <a:chExt cx="1893331" cy="3341243"/>
          </a:xfrm>
        </p:grpSpPr>
        <p:sp>
          <p:nvSpPr>
            <p:cNvPr id="25" name="모서리가 접힌 도형 24"/>
            <p:cNvSpPr/>
            <p:nvPr/>
          </p:nvSpPr>
          <p:spPr bwMode="ltGray">
            <a:xfrm rot="16200000">
              <a:off x="6744201" y="3241639"/>
              <a:ext cx="3341243" cy="1893331"/>
            </a:xfrm>
            <a:prstGeom prst="foldedCorner">
              <a:avLst>
                <a:gd name="adj" fmla="val 7786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560" dir="2700000" algn="ctr" rotWithShape="0">
                <a:schemeClr val="bg1">
                  <a:lumMod val="50000"/>
                </a:schemeClr>
              </a:outerShdw>
            </a:effectLst>
          </p:spPr>
          <p:txBody>
            <a:bodyPr lIns="180000" tIns="576000" rIns="180000" anchor="t"/>
            <a:lstStyle/>
            <a:p>
              <a:pPr algn="l" defTabSz="762000">
                <a:lnSpc>
                  <a:spcPct val="120000"/>
                </a:lnSpc>
                <a:spcBef>
                  <a:spcPts val="600"/>
                </a:spcBef>
              </a:pPr>
              <a:endParaRPr lang="ko-KR" altLang="en-US" sz="12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545367" y="2867533"/>
              <a:ext cx="1746965" cy="283015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228600" indent="-228600" algn="l" defTabSz="1042959" eaLnBrk="0" latinLnBrk="0" hangingPunct="0">
                <a:buSzPct val="100000"/>
                <a:buFont typeface="+mj-lt"/>
                <a:buAutoNum type="arabicPeriod"/>
              </a:pPr>
              <a:r>
                <a:rPr lang="en-US" altLang="ko-KR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“Type 1”</a:t>
              </a: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은 규정 수립 </a:t>
              </a:r>
              <a:r>
                <a:rPr lang="en-US" altLang="ko-KR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반영 및 시스템 구축 등의 여부에 대해서 </a:t>
              </a:r>
              <a:r>
                <a:rPr lang="en-US" altLang="ko-KR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00% or 0%</a:t>
              </a: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인 경우를 </a:t>
              </a:r>
              <a:r>
                <a:rPr lang="ko-KR" altLang="en-US" sz="100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테스트하여 </a:t>
              </a: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효과성을 평가함</a:t>
              </a:r>
              <a:endParaRPr lang="en-US" altLang="ko-KR" sz="10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28600" indent="-228600" algn="l" defTabSz="1042959" eaLnBrk="0" latinLnBrk="0" hangingPunct="0">
                <a:buSzPct val="100000"/>
                <a:buFont typeface="+mj-lt"/>
                <a:buAutoNum type="arabicPeriod"/>
              </a:pPr>
              <a:endParaRPr lang="en-US" altLang="ko-KR" sz="10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28600" indent="-228600" algn="l" defTabSz="1042959" eaLnBrk="0" latinLnBrk="0" hangingPunct="0">
                <a:buSzPct val="100000"/>
                <a:buFont typeface="+mj-lt"/>
                <a:buAutoNum type="arabicPeriod"/>
              </a:pP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테스트 시기에 해당 규정 또는 시스템이 구축되어 있는지 확인하여 </a:t>
              </a:r>
              <a:r>
                <a:rPr lang="en-US" altLang="ko-KR" sz="100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Yes or No</a:t>
              </a:r>
              <a:r>
                <a:rPr lang="ko-KR" altLang="en-US" sz="100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로 평가</a:t>
              </a:r>
              <a:endParaRPr lang="en-US" altLang="ko-KR" sz="10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28600" indent="-228600" algn="l" defTabSz="1042959" eaLnBrk="0" latinLnBrk="0" hangingPunct="0">
                <a:buSzPct val="100000"/>
                <a:buFont typeface="+mj-lt"/>
                <a:buAutoNum type="arabicPeriod"/>
              </a:pPr>
              <a:endParaRPr lang="en-US" altLang="ko-KR" sz="10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28600" indent="-228600" algn="l" defTabSz="1042959" eaLnBrk="0" latinLnBrk="0" hangingPunct="0">
                <a:buSzPct val="100000"/>
                <a:buFont typeface="+mj-lt"/>
                <a:buAutoNum type="arabicPeriod"/>
              </a:pPr>
              <a:r>
                <a:rPr lang="ko-KR" altLang="en-US" sz="100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해당 </a:t>
              </a: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증빙</a:t>
              </a:r>
              <a:r>
                <a:rPr lang="en-US" altLang="ko-KR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규정 또는 시스템 구현 화면</a:t>
              </a:r>
              <a:r>
                <a:rPr lang="en-US" altLang="ko-KR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r>
                <a:rPr lang="ko-KR" altLang="en-US" sz="100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을 첨부파일로 첨부</a:t>
              </a:r>
            </a:p>
          </p:txBody>
        </p:sp>
      </p:grpSp>
      <p:pic>
        <p:nvPicPr>
          <p:cNvPr id="27" name="그림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341" y="2566267"/>
            <a:ext cx="5555356" cy="3596679"/>
          </a:xfrm>
          <a:prstGeom prst="rect">
            <a:avLst/>
          </a:prstGeom>
        </p:spPr>
      </p:pic>
      <p:sp>
        <p:nvSpPr>
          <p:cNvPr id="28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8/9)</a:t>
            </a:r>
            <a:endParaRPr lang="ko-KR" altLang="en-US" dirty="0"/>
          </a:p>
        </p:txBody>
      </p:sp>
      <p:sp>
        <p:nvSpPr>
          <p:cNvPr id="3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3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23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859018" y="262141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6985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잔여위험 산출 체계를 기반으로 서비스별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결과와 통제 효과성 평가 결과를 조합하여 서비스별로 잔여 위험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산정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에 보안 위험을 추가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려한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위험평가 결과를 도출하는 방안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결과 산정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9" name="그룹 18"/>
          <p:cNvGrpSpPr/>
          <p:nvPr/>
        </p:nvGrpSpPr>
        <p:grpSpPr>
          <a:xfrm>
            <a:off x="524116" y="2284105"/>
            <a:ext cx="8857376" cy="3866645"/>
            <a:chOff x="716681" y="2469223"/>
            <a:chExt cx="8642350" cy="3747205"/>
          </a:xfrm>
        </p:grpSpPr>
        <p:sp>
          <p:nvSpPr>
            <p:cNvPr id="20" name="직사각형 19"/>
            <p:cNvSpPr/>
            <p:nvPr/>
          </p:nvSpPr>
          <p:spPr bwMode="ltGray">
            <a:xfrm>
              <a:off x="860923" y="3187605"/>
              <a:ext cx="607549" cy="3028823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전사 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sym typeface="Arial" pitchFamily="34" charset="0"/>
              </a:endParaRPr>
            </a:p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자금세탁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sym typeface="Arial" pitchFamily="34" charset="0"/>
              </a:endParaRPr>
            </a:p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위험평가</a:t>
              </a:r>
            </a:p>
          </p:txBody>
        </p:sp>
        <p:sp>
          <p:nvSpPr>
            <p:cNvPr id="21" name="직사각형 20"/>
            <p:cNvSpPr/>
            <p:nvPr/>
          </p:nvSpPr>
          <p:spPr bwMode="ltGray">
            <a:xfrm>
              <a:off x="1852459" y="5710594"/>
              <a:ext cx="1116000" cy="430542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보안 위험평가 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sym typeface="Arial" pitchFamily="34" charset="0"/>
              </a:endParaRPr>
            </a:p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결과</a:t>
              </a:r>
            </a:p>
          </p:txBody>
        </p:sp>
        <p:sp>
          <p:nvSpPr>
            <p:cNvPr id="22" name="직사각형 21"/>
            <p:cNvSpPr/>
            <p:nvPr/>
          </p:nvSpPr>
          <p:spPr bwMode="ltGray">
            <a:xfrm>
              <a:off x="1848033" y="3291931"/>
              <a:ext cx="1116000" cy="430542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서비스별 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sym typeface="Arial" pitchFamily="34" charset="0"/>
              </a:endParaRPr>
            </a:p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위험평가 결과</a:t>
              </a:r>
            </a:p>
          </p:txBody>
        </p:sp>
        <p:sp>
          <p:nvSpPr>
            <p:cNvPr id="23" name="직사각형 22"/>
            <p:cNvSpPr/>
            <p:nvPr/>
          </p:nvSpPr>
          <p:spPr bwMode="ltGray">
            <a:xfrm>
              <a:off x="3467008" y="3387689"/>
              <a:ext cx="5760000" cy="233838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sym typeface="Arial" pitchFamily="34" charset="0"/>
                </a:rPr>
                <a:t>ML/TF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sym typeface="Arial" pitchFamily="34" charset="0"/>
                </a:rPr>
                <a:t>위험평가 결과</a:t>
              </a:r>
            </a:p>
          </p:txBody>
        </p:sp>
        <p:cxnSp>
          <p:nvCxnSpPr>
            <p:cNvPr id="25" name="꺾인 연결선 24"/>
            <p:cNvCxnSpPr>
              <a:stCxn id="22" idx="1"/>
              <a:endCxn id="20" idx="3"/>
            </p:cNvCxnSpPr>
            <p:nvPr/>
          </p:nvCxnSpPr>
          <p:spPr>
            <a:xfrm rot="10800000" flipV="1">
              <a:off x="1468473" y="3507201"/>
              <a:ext cx="379561" cy="119481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꺾인 연결선 25"/>
            <p:cNvCxnSpPr>
              <a:stCxn id="21" idx="1"/>
              <a:endCxn id="20" idx="3"/>
            </p:cNvCxnSpPr>
            <p:nvPr/>
          </p:nvCxnSpPr>
          <p:spPr>
            <a:xfrm rot="10800000">
              <a:off x="1468473" y="4702018"/>
              <a:ext cx="383987" cy="1223849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십자형 26"/>
            <p:cNvSpPr/>
            <p:nvPr/>
          </p:nvSpPr>
          <p:spPr bwMode="ltGray">
            <a:xfrm>
              <a:off x="1545711" y="4602938"/>
              <a:ext cx="235910" cy="202996"/>
            </a:xfrm>
            <a:prstGeom prst="plus">
              <a:avLst>
                <a:gd name="adj" fmla="val 31907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cxnSp>
          <p:nvCxnSpPr>
            <p:cNvPr id="28" name="꺾인 연결선 27"/>
            <p:cNvCxnSpPr>
              <a:stCxn id="23" idx="1"/>
              <a:endCxn id="22" idx="3"/>
            </p:cNvCxnSpPr>
            <p:nvPr/>
          </p:nvCxnSpPr>
          <p:spPr>
            <a:xfrm rot="10800000" flipV="1">
              <a:off x="2964034" y="3504608"/>
              <a:ext cx="502975" cy="2594"/>
            </a:xfrm>
            <a:prstGeom prst="bentConnector3">
              <a:avLst/>
            </a:prstGeom>
            <a:ln w="63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십자형 28"/>
            <p:cNvSpPr/>
            <p:nvPr/>
          </p:nvSpPr>
          <p:spPr bwMode="ltGray">
            <a:xfrm>
              <a:off x="3094701" y="3413162"/>
              <a:ext cx="235910" cy="202996"/>
            </a:xfrm>
            <a:prstGeom prst="plus">
              <a:avLst>
                <a:gd name="adj" fmla="val 31907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cxnSp>
          <p:nvCxnSpPr>
            <p:cNvPr id="30" name="직선 연결선 29"/>
            <p:cNvCxnSpPr/>
            <p:nvPr/>
          </p:nvCxnSpPr>
          <p:spPr>
            <a:xfrm>
              <a:off x="3171974" y="2971347"/>
              <a:ext cx="0" cy="163918"/>
            </a:xfrm>
            <a:prstGeom prst="line">
              <a:avLst/>
            </a:prstGeom>
            <a:ln w="38100">
              <a:solidFill>
                <a:srgbClr val="0042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직선 화살표 연결선 30"/>
            <p:cNvCxnSpPr/>
            <p:nvPr/>
          </p:nvCxnSpPr>
          <p:spPr>
            <a:xfrm>
              <a:off x="3171975" y="3045854"/>
              <a:ext cx="6048000" cy="0"/>
            </a:xfrm>
            <a:prstGeom prst="straightConnector1">
              <a:avLst/>
            </a:prstGeom>
            <a:ln>
              <a:solidFill>
                <a:srgbClr val="213315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그룹 31"/>
            <p:cNvGrpSpPr/>
            <p:nvPr/>
          </p:nvGrpSpPr>
          <p:grpSpPr>
            <a:xfrm>
              <a:off x="898132" y="2966536"/>
              <a:ext cx="2268000" cy="169504"/>
              <a:chOff x="914758" y="2573404"/>
              <a:chExt cx="2686223" cy="184251"/>
            </a:xfrm>
          </p:grpSpPr>
          <p:cxnSp>
            <p:nvCxnSpPr>
              <p:cNvPr id="131" name="직선 연결선 130"/>
              <p:cNvCxnSpPr/>
              <p:nvPr/>
            </p:nvCxnSpPr>
            <p:spPr>
              <a:xfrm>
                <a:off x="914758" y="2578633"/>
                <a:ext cx="0" cy="178179"/>
              </a:xfrm>
              <a:prstGeom prst="line">
                <a:avLst/>
              </a:prstGeom>
              <a:ln w="38100">
                <a:solidFill>
                  <a:srgbClr val="00422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직선 화살표 연결선 131"/>
              <p:cNvCxnSpPr/>
              <p:nvPr/>
            </p:nvCxnSpPr>
            <p:spPr>
              <a:xfrm>
                <a:off x="914758" y="2659623"/>
                <a:ext cx="2686223" cy="0"/>
              </a:xfrm>
              <a:prstGeom prst="straightConnector1">
                <a:avLst/>
              </a:prstGeom>
              <a:ln>
                <a:solidFill>
                  <a:srgbClr val="213315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3" name="직사각형 132"/>
              <p:cNvSpPr/>
              <p:nvPr/>
            </p:nvSpPr>
            <p:spPr bwMode="ltGray">
              <a:xfrm>
                <a:off x="1633625" y="2573404"/>
                <a:ext cx="1322448" cy="18425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100" spc="-100" dirty="0" smtClean="0">
                    <a:solidFill>
                      <a:schemeClr val="tx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전사 위험평가</a:t>
                </a:r>
              </a:p>
            </p:txBody>
          </p:sp>
        </p:grpSp>
        <p:sp>
          <p:nvSpPr>
            <p:cNvPr id="33" name="직사각형 32"/>
            <p:cNvSpPr/>
            <p:nvPr/>
          </p:nvSpPr>
          <p:spPr bwMode="ltGray">
            <a:xfrm>
              <a:off x="5209391" y="2962596"/>
              <a:ext cx="2232000" cy="17344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spc="-100" dirty="0" smtClean="0">
                  <a:solidFill>
                    <a:schemeClr val="tx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서비스별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영업점별 위험평가</a:t>
              </a:r>
            </a:p>
          </p:txBody>
        </p:sp>
        <p:cxnSp>
          <p:nvCxnSpPr>
            <p:cNvPr id="34" name="직선 연결선 33"/>
            <p:cNvCxnSpPr/>
            <p:nvPr/>
          </p:nvCxnSpPr>
          <p:spPr>
            <a:xfrm>
              <a:off x="9223152" y="2963096"/>
              <a:ext cx="0" cy="163918"/>
            </a:xfrm>
            <a:prstGeom prst="line">
              <a:avLst/>
            </a:prstGeom>
            <a:ln w="38100">
              <a:solidFill>
                <a:srgbClr val="0042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그룹 34"/>
            <p:cNvGrpSpPr/>
            <p:nvPr/>
          </p:nvGrpSpPr>
          <p:grpSpPr>
            <a:xfrm>
              <a:off x="3494459" y="3698407"/>
              <a:ext cx="5724000" cy="173444"/>
              <a:chOff x="3511085" y="3393045"/>
              <a:chExt cx="5724000" cy="188534"/>
            </a:xfrm>
          </p:grpSpPr>
          <p:cxnSp>
            <p:nvCxnSpPr>
              <p:cNvPr id="120" name="직선 화살표 연결선 119"/>
              <p:cNvCxnSpPr/>
              <p:nvPr/>
            </p:nvCxnSpPr>
            <p:spPr>
              <a:xfrm>
                <a:off x="5719343" y="3483547"/>
                <a:ext cx="2592000" cy="0"/>
              </a:xfrm>
              <a:prstGeom prst="straightConnector1">
                <a:avLst/>
              </a:prstGeom>
              <a:ln>
                <a:solidFill>
                  <a:srgbClr val="213315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1" name="그룹 120"/>
              <p:cNvGrpSpPr/>
              <p:nvPr/>
            </p:nvGrpSpPr>
            <p:grpSpPr>
              <a:xfrm>
                <a:off x="3511085" y="3397328"/>
                <a:ext cx="2196000" cy="184251"/>
                <a:chOff x="3511085" y="3953146"/>
                <a:chExt cx="1885522" cy="184251"/>
              </a:xfrm>
            </p:grpSpPr>
            <p:cxnSp>
              <p:nvCxnSpPr>
                <p:cNvPr id="127" name="직선 연결선 126"/>
                <p:cNvCxnSpPr/>
                <p:nvPr/>
              </p:nvCxnSpPr>
              <p:spPr>
                <a:xfrm>
                  <a:off x="3511085" y="3958375"/>
                  <a:ext cx="0" cy="178179"/>
                </a:xfrm>
                <a:prstGeom prst="line">
                  <a:avLst/>
                </a:prstGeom>
                <a:ln w="38100">
                  <a:solidFill>
                    <a:srgbClr val="00436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직선 연결선 127"/>
                <p:cNvCxnSpPr/>
                <p:nvPr/>
              </p:nvCxnSpPr>
              <p:spPr>
                <a:xfrm>
                  <a:off x="5396607" y="3958375"/>
                  <a:ext cx="0" cy="178179"/>
                </a:xfrm>
                <a:prstGeom prst="line">
                  <a:avLst/>
                </a:prstGeom>
                <a:ln w="38100">
                  <a:solidFill>
                    <a:srgbClr val="00436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직선 화살표 연결선 128"/>
                <p:cNvCxnSpPr/>
                <p:nvPr/>
              </p:nvCxnSpPr>
              <p:spPr>
                <a:xfrm>
                  <a:off x="3511085" y="4039365"/>
                  <a:ext cx="1880977" cy="0"/>
                </a:xfrm>
                <a:prstGeom prst="straightConnector1">
                  <a:avLst/>
                </a:prstGeom>
                <a:ln>
                  <a:solidFill>
                    <a:srgbClr val="213315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직사각형 129"/>
                <p:cNvSpPr/>
                <p:nvPr/>
              </p:nvSpPr>
              <p:spPr bwMode="ltGray">
                <a:xfrm>
                  <a:off x="3881039" y="3953146"/>
                  <a:ext cx="1112767" cy="18425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ko-KR" sz="1100" spc="-100" dirty="0" smtClean="0">
                      <a:solidFill>
                        <a:schemeClr val="tx1"/>
                      </a:solidFill>
                      <a:latin typeface="나눔스퀘어 ExtraBold" panose="020B0600000101010101" pitchFamily="50" charset="-127"/>
                      <a:ea typeface="나눔스퀘어 ExtraBold" panose="020B0600000101010101" pitchFamily="50" charset="-127"/>
                    </a:rPr>
                    <a:t>ML/TF </a:t>
                  </a:r>
                  <a:r>
                    <a:rPr lang="ko-KR" altLang="en-US" sz="1100" spc="-100" dirty="0" smtClean="0">
                      <a:solidFill>
                        <a:schemeClr val="tx1"/>
                      </a:solidFill>
                      <a:latin typeface="나눔스퀘어 ExtraBold" panose="020B0600000101010101" pitchFamily="50" charset="-127"/>
                      <a:ea typeface="나눔스퀘어 ExtraBold" panose="020B0600000101010101" pitchFamily="50" charset="-127"/>
                    </a:rPr>
                    <a:t>노출 위험</a:t>
                  </a:r>
                </a:p>
              </p:txBody>
            </p:sp>
          </p:grpSp>
          <p:sp>
            <p:nvSpPr>
              <p:cNvPr id="122" name="직사각형 121"/>
              <p:cNvSpPr/>
              <p:nvPr/>
            </p:nvSpPr>
            <p:spPr bwMode="ltGray">
              <a:xfrm>
                <a:off x="6367671" y="3393045"/>
                <a:ext cx="1303952" cy="188534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1100" spc="-100" dirty="0" smtClean="0">
                    <a:solidFill>
                      <a:schemeClr val="tx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통제유효성</a:t>
                </a:r>
              </a:p>
            </p:txBody>
          </p:sp>
          <p:cxnSp>
            <p:nvCxnSpPr>
              <p:cNvPr id="123" name="직선 연결선 122"/>
              <p:cNvCxnSpPr/>
              <p:nvPr/>
            </p:nvCxnSpPr>
            <p:spPr>
              <a:xfrm>
                <a:off x="8331535" y="3393588"/>
                <a:ext cx="0" cy="178179"/>
              </a:xfrm>
              <a:prstGeom prst="line">
                <a:avLst/>
              </a:prstGeom>
              <a:ln w="38100">
                <a:solidFill>
                  <a:srgbClr val="004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직선 연결선 123"/>
              <p:cNvCxnSpPr/>
              <p:nvPr/>
            </p:nvCxnSpPr>
            <p:spPr>
              <a:xfrm>
                <a:off x="9235085" y="3398274"/>
                <a:ext cx="0" cy="178179"/>
              </a:xfrm>
              <a:prstGeom prst="line">
                <a:avLst/>
              </a:prstGeom>
              <a:ln w="38100">
                <a:solidFill>
                  <a:srgbClr val="004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직선 화살표 연결선 124"/>
              <p:cNvCxnSpPr/>
              <p:nvPr/>
            </p:nvCxnSpPr>
            <p:spPr>
              <a:xfrm>
                <a:off x="8329852" y="3488229"/>
                <a:ext cx="900000" cy="0"/>
              </a:xfrm>
              <a:prstGeom prst="straightConnector1">
                <a:avLst/>
              </a:prstGeom>
              <a:ln>
                <a:solidFill>
                  <a:srgbClr val="213315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직사각형 125"/>
              <p:cNvSpPr/>
              <p:nvPr/>
            </p:nvSpPr>
            <p:spPr bwMode="ltGray">
              <a:xfrm>
                <a:off x="8459707" y="3393045"/>
                <a:ext cx="648001" cy="18425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ko-KR" altLang="en-US" sz="1100" spc="-100" dirty="0" smtClean="0">
                    <a:solidFill>
                      <a:schemeClr val="tx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잔여위험</a:t>
                </a:r>
              </a:p>
            </p:txBody>
          </p:sp>
        </p:grpSp>
        <p:sp>
          <p:nvSpPr>
            <p:cNvPr id="36" name="직사각형 35"/>
            <p:cNvSpPr/>
            <p:nvPr/>
          </p:nvSpPr>
          <p:spPr bwMode="ltGray">
            <a:xfrm>
              <a:off x="3476296" y="5724255"/>
              <a:ext cx="485594" cy="189243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관리체계</a:t>
              </a:r>
            </a:p>
          </p:txBody>
        </p:sp>
        <p:sp>
          <p:nvSpPr>
            <p:cNvPr id="37" name="직사각형 36"/>
            <p:cNvSpPr/>
            <p:nvPr/>
          </p:nvSpPr>
          <p:spPr bwMode="ltGray">
            <a:xfrm>
              <a:off x="3476296" y="5949257"/>
              <a:ext cx="485594" cy="189243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시스템</a:t>
              </a:r>
            </a:p>
          </p:txBody>
        </p:sp>
        <p:sp>
          <p:nvSpPr>
            <p:cNvPr id="38" name="직사각형 37"/>
            <p:cNvSpPr/>
            <p:nvPr/>
          </p:nvSpPr>
          <p:spPr bwMode="ltGray">
            <a:xfrm>
              <a:off x="4005457" y="5724255"/>
              <a:ext cx="1656000" cy="18924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48636" rIns="36000" bIns="48636" anchor="ctr"/>
            <a:lstStyle/>
            <a:p>
              <a:pPr algn="ctr" defTabSz="972559"/>
              <a:r>
                <a:rPr lang="en-US" altLang="ko-KR" sz="800" b="1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4.2</a:t>
              </a:r>
              <a:endParaRPr lang="ko-KR" altLang="en-US" sz="800" b="1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4" name="직사각형 43"/>
            <p:cNvSpPr/>
            <p:nvPr/>
          </p:nvSpPr>
          <p:spPr bwMode="ltGray">
            <a:xfrm>
              <a:off x="4005457" y="5949257"/>
              <a:ext cx="1656000" cy="18924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48636" rIns="36000" bIns="48636" anchor="ctr"/>
            <a:lstStyle/>
            <a:p>
              <a:pPr algn="ctr" defTabSz="972559"/>
              <a:r>
                <a:rPr lang="en-US" altLang="ko-KR" sz="800" b="1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4.5</a:t>
              </a:r>
              <a:endParaRPr lang="ko-KR" altLang="en-US" sz="800" b="1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5" name="직사각형 44"/>
            <p:cNvSpPr/>
            <p:nvPr/>
          </p:nvSpPr>
          <p:spPr bwMode="ltGray">
            <a:xfrm>
              <a:off x="5743070" y="5720129"/>
              <a:ext cx="485594" cy="189243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관리체계</a:t>
              </a:r>
            </a:p>
          </p:txBody>
        </p:sp>
        <p:sp>
          <p:nvSpPr>
            <p:cNvPr id="46" name="직사각형 45"/>
            <p:cNvSpPr/>
            <p:nvPr/>
          </p:nvSpPr>
          <p:spPr bwMode="ltGray">
            <a:xfrm>
              <a:off x="5743070" y="5945131"/>
              <a:ext cx="485594" cy="189243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시스템</a:t>
              </a:r>
            </a:p>
          </p:txBody>
        </p:sp>
        <p:sp>
          <p:nvSpPr>
            <p:cNvPr id="47" name="직사각형 46"/>
            <p:cNvSpPr/>
            <p:nvPr/>
          </p:nvSpPr>
          <p:spPr bwMode="ltGray">
            <a:xfrm>
              <a:off x="6272231" y="5720129"/>
              <a:ext cx="2052000" cy="18924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48636" rIns="36000" bIns="48636" anchor="ctr"/>
            <a:lstStyle/>
            <a:p>
              <a:pPr algn="ctr" defTabSz="972559"/>
              <a:r>
                <a:rPr lang="en-US" altLang="ko-KR" sz="800" b="1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74%</a:t>
              </a:r>
              <a:endParaRPr lang="ko-KR" altLang="en-US" sz="800" b="1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8" name="직사각형 47"/>
            <p:cNvSpPr/>
            <p:nvPr/>
          </p:nvSpPr>
          <p:spPr bwMode="ltGray">
            <a:xfrm>
              <a:off x="6272231" y="5945131"/>
              <a:ext cx="2052000" cy="18924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48636" rIns="36000" bIns="48636" anchor="ctr"/>
            <a:lstStyle/>
            <a:p>
              <a:pPr algn="ctr" defTabSz="972559"/>
              <a:r>
                <a:rPr lang="en-US" altLang="ko-KR" sz="800" b="1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rPr>
                <a:t>86%</a:t>
              </a:r>
              <a:endParaRPr lang="ko-KR" altLang="en-US" sz="800" b="1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9" name="직사각형 48"/>
            <p:cNvSpPr/>
            <p:nvPr/>
          </p:nvSpPr>
          <p:spPr bwMode="ltGray">
            <a:xfrm>
              <a:off x="8364039" y="5718841"/>
              <a:ext cx="828000" cy="189243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1.01</a:t>
              </a:r>
              <a:endPara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sym typeface="Arial" pitchFamily="34" charset="0"/>
              </a:endParaRPr>
            </a:p>
          </p:txBody>
        </p:sp>
        <p:sp>
          <p:nvSpPr>
            <p:cNvPr id="50" name="직사각형 49"/>
            <p:cNvSpPr/>
            <p:nvPr/>
          </p:nvSpPr>
          <p:spPr bwMode="ltGray">
            <a:xfrm>
              <a:off x="8364039" y="5943845"/>
              <a:ext cx="828000" cy="189243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rPr>
                <a:t>0.63</a:t>
              </a:r>
              <a:endPara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sym typeface="Arial" pitchFamily="34" charset="0"/>
              </a:endParaRPr>
            </a:p>
          </p:txBody>
        </p:sp>
        <p:sp>
          <p:nvSpPr>
            <p:cNvPr id="51" name="왼쪽 중괄호 50"/>
            <p:cNvSpPr/>
            <p:nvPr/>
          </p:nvSpPr>
          <p:spPr>
            <a:xfrm>
              <a:off x="3282962" y="4239937"/>
              <a:ext cx="144000" cy="814767"/>
            </a:xfrm>
            <a:prstGeom prst="leftBrac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52" name="그룹 51"/>
            <p:cNvGrpSpPr/>
            <p:nvPr/>
          </p:nvGrpSpPr>
          <p:grpSpPr>
            <a:xfrm>
              <a:off x="3477225" y="3971928"/>
              <a:ext cx="5714814" cy="1288579"/>
              <a:chOff x="3493851" y="3690369"/>
              <a:chExt cx="5714814" cy="1400689"/>
            </a:xfrm>
          </p:grpSpPr>
          <p:sp>
            <p:nvSpPr>
              <p:cNvPr id="59" name="직사각형 58"/>
              <p:cNvSpPr/>
              <p:nvPr/>
            </p:nvSpPr>
            <p:spPr bwMode="ltGray">
              <a:xfrm>
                <a:off x="3493851" y="3945835"/>
                <a:ext cx="485594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수신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60" name="직사각형 59"/>
              <p:cNvSpPr/>
              <p:nvPr/>
            </p:nvSpPr>
            <p:spPr bwMode="ltGray">
              <a:xfrm>
                <a:off x="3493851" y="4190414"/>
                <a:ext cx="485594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여신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61" name="직사각형 60"/>
              <p:cNvSpPr/>
              <p:nvPr/>
            </p:nvSpPr>
            <p:spPr bwMode="ltGray">
              <a:xfrm>
                <a:off x="3493851" y="4434993"/>
                <a:ext cx="485594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외환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62" name="직사각형 61"/>
              <p:cNvSpPr/>
              <p:nvPr/>
            </p:nvSpPr>
            <p:spPr bwMode="ltGray">
              <a:xfrm>
                <a:off x="3493851" y="4679573"/>
                <a:ext cx="485594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방카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63" name="직사각형 62"/>
              <p:cNvSpPr/>
              <p:nvPr/>
            </p:nvSpPr>
            <p:spPr bwMode="ltGray">
              <a:xfrm>
                <a:off x="4023013" y="3945835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4.4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4" name="직사각형 63"/>
              <p:cNvSpPr/>
              <p:nvPr/>
            </p:nvSpPr>
            <p:spPr bwMode="ltGray">
              <a:xfrm>
                <a:off x="4023013" y="4190414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4.5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5" name="직사각형 64"/>
              <p:cNvSpPr/>
              <p:nvPr/>
            </p:nvSpPr>
            <p:spPr bwMode="ltGray">
              <a:xfrm>
                <a:off x="4023013" y="443499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4.4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6" name="직사각형 65"/>
              <p:cNvSpPr/>
              <p:nvPr/>
            </p:nvSpPr>
            <p:spPr bwMode="ltGray">
              <a:xfrm>
                <a:off x="4023013" y="467957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3.6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7" name="직사각형 66"/>
              <p:cNvSpPr/>
              <p:nvPr/>
            </p:nvSpPr>
            <p:spPr bwMode="ltGray">
              <a:xfrm>
                <a:off x="4354904" y="3945835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2.6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8" name="직사각형 67"/>
              <p:cNvSpPr/>
              <p:nvPr/>
            </p:nvSpPr>
            <p:spPr bwMode="ltGray">
              <a:xfrm>
                <a:off x="4354904" y="4190414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2.8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9" name="직사각형 68"/>
              <p:cNvSpPr/>
              <p:nvPr/>
            </p:nvSpPr>
            <p:spPr bwMode="ltGray">
              <a:xfrm>
                <a:off x="4354904" y="443499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2.1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0" name="직사각형 69"/>
              <p:cNvSpPr/>
              <p:nvPr/>
            </p:nvSpPr>
            <p:spPr bwMode="ltGray">
              <a:xfrm>
                <a:off x="4354904" y="467957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3.1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1" name="직사각형 70"/>
              <p:cNvSpPr/>
              <p:nvPr/>
            </p:nvSpPr>
            <p:spPr bwMode="ltGray">
              <a:xfrm>
                <a:off x="4700069" y="3945835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3.5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2" name="직사각형 71"/>
              <p:cNvSpPr/>
              <p:nvPr/>
            </p:nvSpPr>
            <p:spPr bwMode="ltGray">
              <a:xfrm>
                <a:off x="4700069" y="4190414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3.6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3" name="직사각형 72"/>
              <p:cNvSpPr/>
              <p:nvPr/>
            </p:nvSpPr>
            <p:spPr bwMode="ltGray">
              <a:xfrm>
                <a:off x="4700069" y="443499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2.6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4" name="직사각형 73"/>
              <p:cNvSpPr/>
              <p:nvPr/>
            </p:nvSpPr>
            <p:spPr bwMode="ltGray">
              <a:xfrm>
                <a:off x="4700069" y="467957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4.1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5" name="직사각형 74"/>
              <p:cNvSpPr/>
              <p:nvPr/>
            </p:nvSpPr>
            <p:spPr bwMode="ltGray">
              <a:xfrm>
                <a:off x="5031960" y="3945835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4.3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6" name="직사각형 75"/>
              <p:cNvSpPr/>
              <p:nvPr/>
            </p:nvSpPr>
            <p:spPr bwMode="ltGray">
              <a:xfrm>
                <a:off x="5031960" y="4190414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3.1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7" name="직사각형 76"/>
              <p:cNvSpPr/>
              <p:nvPr/>
            </p:nvSpPr>
            <p:spPr bwMode="ltGray">
              <a:xfrm>
                <a:off x="5031960" y="443499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2.9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8" name="직사각형 77"/>
              <p:cNvSpPr/>
              <p:nvPr/>
            </p:nvSpPr>
            <p:spPr bwMode="ltGray">
              <a:xfrm>
                <a:off x="5031960" y="4679573"/>
                <a:ext cx="297891" cy="205708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lIns="36000" tIns="48636" rIns="36000" bIns="48636" anchor="ctr"/>
              <a:lstStyle/>
              <a:p>
                <a:pPr algn="ctr" defTabSz="972559"/>
                <a:r>
                  <a:rPr lang="en-US" altLang="ko-KR" sz="800" b="1" kern="0" spc="-1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rPr>
                  <a:t>3.9</a:t>
                </a:r>
                <a:endParaRPr lang="ko-KR" altLang="en-US" sz="800" b="1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79" name="직사각형 78"/>
              <p:cNvSpPr/>
              <p:nvPr/>
            </p:nvSpPr>
            <p:spPr bwMode="ltGray">
              <a:xfrm>
                <a:off x="4023013" y="3697278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국가</a:t>
                </a:r>
              </a:p>
            </p:txBody>
          </p:sp>
          <p:sp>
            <p:nvSpPr>
              <p:cNvPr id="80" name="직사각형 79"/>
              <p:cNvSpPr/>
              <p:nvPr/>
            </p:nvSpPr>
            <p:spPr bwMode="ltGray">
              <a:xfrm>
                <a:off x="4354904" y="3697278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고객</a:t>
                </a:r>
              </a:p>
            </p:txBody>
          </p:sp>
          <p:sp>
            <p:nvSpPr>
              <p:cNvPr id="81" name="직사각형 80"/>
              <p:cNvSpPr/>
              <p:nvPr/>
            </p:nvSpPr>
            <p:spPr bwMode="ltGray">
              <a:xfrm>
                <a:off x="4700069" y="3697278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상품</a:t>
                </a:r>
              </a:p>
            </p:txBody>
          </p:sp>
          <p:sp>
            <p:nvSpPr>
              <p:cNvPr id="82" name="직사각형 81"/>
              <p:cNvSpPr/>
              <p:nvPr/>
            </p:nvSpPr>
            <p:spPr bwMode="ltGray">
              <a:xfrm>
                <a:off x="5031960" y="3697278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채널</a:t>
                </a:r>
              </a:p>
            </p:txBody>
          </p:sp>
          <p:grpSp>
            <p:nvGrpSpPr>
              <p:cNvPr id="83" name="그룹 82"/>
              <p:cNvGrpSpPr/>
              <p:nvPr/>
            </p:nvGrpSpPr>
            <p:grpSpPr>
              <a:xfrm>
                <a:off x="5757645" y="3700278"/>
                <a:ext cx="2149227" cy="1188003"/>
                <a:chOff x="5694891" y="4040934"/>
                <a:chExt cx="1306838" cy="1188000"/>
              </a:xfrm>
            </p:grpSpPr>
            <p:sp>
              <p:nvSpPr>
                <p:cNvPr id="100" name="직사각형 99"/>
                <p:cNvSpPr/>
                <p:nvPr/>
              </p:nvSpPr>
              <p:spPr bwMode="ltGray">
                <a:xfrm>
                  <a:off x="5694891" y="4289491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76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1" name="직사각형 100"/>
                <p:cNvSpPr/>
                <p:nvPr/>
              </p:nvSpPr>
              <p:spPr bwMode="ltGray">
                <a:xfrm>
                  <a:off x="5694891" y="4534069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70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2" name="직사각형 101"/>
                <p:cNvSpPr/>
                <p:nvPr/>
              </p:nvSpPr>
              <p:spPr bwMode="ltGray">
                <a:xfrm>
                  <a:off x="5694891" y="4778648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71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3" name="직사각형 102"/>
                <p:cNvSpPr/>
                <p:nvPr/>
              </p:nvSpPr>
              <p:spPr bwMode="ltGray">
                <a:xfrm>
                  <a:off x="5694891" y="5023227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65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4" name="직사각형 103"/>
                <p:cNvSpPr/>
                <p:nvPr/>
              </p:nvSpPr>
              <p:spPr bwMode="ltGray">
                <a:xfrm>
                  <a:off x="6026782" y="4289491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65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5" name="직사각형 104"/>
                <p:cNvSpPr/>
                <p:nvPr/>
              </p:nvSpPr>
              <p:spPr bwMode="ltGray">
                <a:xfrm>
                  <a:off x="6026782" y="4534069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69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6" name="직사각형 105"/>
                <p:cNvSpPr/>
                <p:nvPr/>
              </p:nvSpPr>
              <p:spPr bwMode="ltGray">
                <a:xfrm>
                  <a:off x="6026782" y="4778648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77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7" name="직사각형 106"/>
                <p:cNvSpPr/>
                <p:nvPr/>
              </p:nvSpPr>
              <p:spPr bwMode="ltGray">
                <a:xfrm>
                  <a:off x="6026782" y="5023227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53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8" name="직사각형 107"/>
                <p:cNvSpPr/>
                <p:nvPr/>
              </p:nvSpPr>
              <p:spPr bwMode="ltGray">
                <a:xfrm>
                  <a:off x="6371947" y="4289491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82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09" name="직사각형 108"/>
                <p:cNvSpPr/>
                <p:nvPr/>
              </p:nvSpPr>
              <p:spPr bwMode="ltGray">
                <a:xfrm>
                  <a:off x="6371947" y="4534069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82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10" name="직사각형 109"/>
                <p:cNvSpPr/>
                <p:nvPr/>
              </p:nvSpPr>
              <p:spPr bwMode="ltGray">
                <a:xfrm>
                  <a:off x="6371947" y="4778648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56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11" name="직사각형 110"/>
                <p:cNvSpPr/>
                <p:nvPr/>
              </p:nvSpPr>
              <p:spPr bwMode="ltGray">
                <a:xfrm>
                  <a:off x="6371947" y="5023227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64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12" name="직사각형 111"/>
                <p:cNvSpPr/>
                <p:nvPr/>
              </p:nvSpPr>
              <p:spPr bwMode="ltGray">
                <a:xfrm>
                  <a:off x="6703838" y="4289491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58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13" name="직사각형 112"/>
                <p:cNvSpPr/>
                <p:nvPr/>
              </p:nvSpPr>
              <p:spPr bwMode="ltGray">
                <a:xfrm>
                  <a:off x="6703838" y="4534069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75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14" name="직사각형 113"/>
                <p:cNvSpPr/>
                <p:nvPr/>
              </p:nvSpPr>
              <p:spPr bwMode="ltGray">
                <a:xfrm>
                  <a:off x="6703838" y="4778648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62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15" name="직사각형 114"/>
                <p:cNvSpPr/>
                <p:nvPr/>
              </p:nvSpPr>
              <p:spPr bwMode="ltGray">
                <a:xfrm>
                  <a:off x="6703838" y="5023227"/>
                  <a:ext cx="297891" cy="205707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lIns="36000" tIns="48636" rIns="36000" bIns="48636" anchor="ctr"/>
                <a:lstStyle/>
                <a:p>
                  <a:pPr algn="ctr" defTabSz="972559"/>
                  <a:r>
                    <a:rPr lang="en-US" altLang="ko-KR" sz="800" b="1" kern="0" spc="-1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  <a:cs typeface="Arial" pitchFamily="34" charset="0"/>
                      <a:sym typeface="Arial" pitchFamily="34" charset="0"/>
                    </a:rPr>
                    <a:t>78%</a:t>
                  </a:r>
                  <a:endParaRPr lang="ko-KR" altLang="en-US" sz="800" b="1" kern="0" spc="-1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Arial" pitchFamily="34" charset="0"/>
                    <a:sym typeface="Arial" pitchFamily="34" charset="0"/>
                  </a:endParaRPr>
                </a:p>
              </p:txBody>
            </p:sp>
            <p:sp>
              <p:nvSpPr>
                <p:cNvPr id="116" name="직사각형 115"/>
                <p:cNvSpPr/>
                <p:nvPr/>
              </p:nvSpPr>
              <p:spPr bwMode="ltGray">
                <a:xfrm>
                  <a:off x="5694891" y="4040934"/>
                  <a:ext cx="297891" cy="205707"/>
                </a:xfrm>
                <a:prstGeom prst="rect">
                  <a:avLst/>
                </a:prstGeom>
                <a:solidFill>
                  <a:srgbClr val="CFD6DB"/>
                </a:solidFill>
                <a:ln w="6350">
                  <a:solidFill>
                    <a:srgbClr val="B5BFC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800" b="1" spc="-50" dirty="0">
                      <a:ln>
                        <a:solidFill>
                          <a:schemeClr val="accent1">
                            <a:shade val="50000"/>
                            <a:alpha val="0"/>
                          </a:schemeClr>
                        </a:solidFill>
                      </a:ln>
                      <a:solidFill>
                        <a:srgbClr val="333333"/>
                      </a:solidFill>
                      <a:latin typeface="KoPub돋움체 Medium" panose="02020603020101020101" pitchFamily="18" charset="-127"/>
                      <a:ea typeface="KoPub돋움체 Medium" panose="02020603020101020101" pitchFamily="18" charset="-127"/>
                      <a:sym typeface="Arial" pitchFamily="34" charset="0"/>
                    </a:rPr>
                    <a:t>CDD</a:t>
                  </a:r>
                  <a:endPara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endParaRPr>
                </a:p>
              </p:txBody>
            </p:sp>
            <p:sp>
              <p:nvSpPr>
                <p:cNvPr id="117" name="직사각형 116"/>
                <p:cNvSpPr/>
                <p:nvPr/>
              </p:nvSpPr>
              <p:spPr bwMode="ltGray">
                <a:xfrm>
                  <a:off x="6026782" y="4040934"/>
                  <a:ext cx="297891" cy="205707"/>
                </a:xfrm>
                <a:prstGeom prst="rect">
                  <a:avLst/>
                </a:prstGeom>
                <a:solidFill>
                  <a:srgbClr val="CFD6DB"/>
                </a:solidFill>
                <a:ln w="6350">
                  <a:solidFill>
                    <a:srgbClr val="B5BFC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ko-KR" altLang="en-US" sz="800" b="1" spc="-50" dirty="0">
                      <a:ln>
                        <a:solidFill>
                          <a:schemeClr val="accent1">
                            <a:shade val="50000"/>
                            <a:alpha val="0"/>
                          </a:schemeClr>
                        </a:solidFill>
                      </a:ln>
                      <a:solidFill>
                        <a:srgbClr val="333333"/>
                      </a:solidFill>
                      <a:latin typeface="KoPub돋움체 Medium" panose="02020603020101020101" pitchFamily="18" charset="-127"/>
                      <a:ea typeface="KoPub돋움체 Medium" panose="02020603020101020101" pitchFamily="18" charset="-127"/>
                      <a:sym typeface="Arial" pitchFamily="34" charset="0"/>
                    </a:rPr>
                    <a:t>위험평가</a:t>
                  </a:r>
                </a:p>
              </p:txBody>
            </p:sp>
            <p:sp>
              <p:nvSpPr>
                <p:cNvPr id="118" name="직사각형 117"/>
                <p:cNvSpPr/>
                <p:nvPr/>
              </p:nvSpPr>
              <p:spPr bwMode="ltGray">
                <a:xfrm>
                  <a:off x="6371947" y="4040934"/>
                  <a:ext cx="297891" cy="205707"/>
                </a:xfrm>
                <a:prstGeom prst="rect">
                  <a:avLst/>
                </a:prstGeom>
                <a:solidFill>
                  <a:srgbClr val="CFD6DB"/>
                </a:solidFill>
                <a:ln w="6350">
                  <a:solidFill>
                    <a:srgbClr val="B5BFC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altLang="ko-KR" sz="800" b="1" spc="-50" dirty="0">
                      <a:ln>
                        <a:solidFill>
                          <a:schemeClr val="accent1">
                            <a:shade val="50000"/>
                            <a:alpha val="0"/>
                          </a:schemeClr>
                        </a:solidFill>
                      </a:ln>
                      <a:solidFill>
                        <a:srgbClr val="333333"/>
                      </a:solidFill>
                      <a:latin typeface="KoPub돋움체 Medium" panose="02020603020101020101" pitchFamily="18" charset="-127"/>
                      <a:ea typeface="KoPub돋움체 Medium" panose="02020603020101020101" pitchFamily="18" charset="-127"/>
                      <a:sym typeface="Arial" pitchFamily="34" charset="0"/>
                    </a:rPr>
                    <a:t>STR/CTR</a:t>
                  </a:r>
                  <a:endPara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endParaRPr>
                </a:p>
              </p:txBody>
            </p:sp>
            <p:sp>
              <p:nvSpPr>
                <p:cNvPr id="119" name="직사각형 118"/>
                <p:cNvSpPr/>
                <p:nvPr/>
              </p:nvSpPr>
              <p:spPr bwMode="ltGray">
                <a:xfrm>
                  <a:off x="6703838" y="4040934"/>
                  <a:ext cx="297891" cy="205707"/>
                </a:xfrm>
                <a:prstGeom prst="rect">
                  <a:avLst/>
                </a:prstGeom>
                <a:solidFill>
                  <a:srgbClr val="CFD6DB"/>
                </a:solidFill>
                <a:ln w="6350">
                  <a:solidFill>
                    <a:srgbClr val="B5BFC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ko-KR" altLang="en-US" sz="800" b="1" spc="-50" dirty="0">
                      <a:ln>
                        <a:solidFill>
                          <a:schemeClr val="accent1">
                            <a:shade val="50000"/>
                            <a:alpha val="0"/>
                          </a:schemeClr>
                        </a:solidFill>
                      </a:ln>
                      <a:solidFill>
                        <a:srgbClr val="333333"/>
                      </a:solidFill>
                      <a:latin typeface="KoPub돋움체 Medium" panose="02020603020101020101" pitchFamily="18" charset="-127"/>
                      <a:ea typeface="KoPub돋움체 Medium" panose="02020603020101020101" pitchFamily="18" charset="-127"/>
                      <a:sym typeface="Arial" pitchFamily="34" charset="0"/>
                    </a:rPr>
                    <a:t>내부통제</a:t>
                  </a:r>
                </a:p>
              </p:txBody>
            </p:sp>
          </p:grpSp>
          <p:sp>
            <p:nvSpPr>
              <p:cNvPr id="84" name="직사각형 83"/>
              <p:cNvSpPr/>
              <p:nvPr/>
            </p:nvSpPr>
            <p:spPr bwMode="ltGray">
              <a:xfrm>
                <a:off x="5374545" y="3945835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3.70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85" name="직사각형 84"/>
              <p:cNvSpPr/>
              <p:nvPr/>
            </p:nvSpPr>
            <p:spPr bwMode="ltGray">
              <a:xfrm>
                <a:off x="5374545" y="4190414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3.50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86" name="직사각형 85"/>
              <p:cNvSpPr/>
              <p:nvPr/>
            </p:nvSpPr>
            <p:spPr bwMode="ltGray">
              <a:xfrm>
                <a:off x="5374545" y="4434993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3.00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87" name="직사각형 86"/>
              <p:cNvSpPr/>
              <p:nvPr/>
            </p:nvSpPr>
            <p:spPr bwMode="ltGray">
              <a:xfrm>
                <a:off x="5374545" y="4679573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3.68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88" name="직사각형 87"/>
              <p:cNvSpPr/>
              <p:nvPr/>
            </p:nvSpPr>
            <p:spPr bwMode="ltGray">
              <a:xfrm>
                <a:off x="5374545" y="3697278"/>
                <a:ext cx="297891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평균</a:t>
                </a:r>
              </a:p>
            </p:txBody>
          </p:sp>
          <p:sp>
            <p:nvSpPr>
              <p:cNvPr id="89" name="직사각형 88"/>
              <p:cNvSpPr/>
              <p:nvPr/>
            </p:nvSpPr>
            <p:spPr bwMode="ltGray">
              <a:xfrm>
                <a:off x="7962787" y="3948835"/>
                <a:ext cx="360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70%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0" name="직사각형 89"/>
              <p:cNvSpPr/>
              <p:nvPr/>
            </p:nvSpPr>
            <p:spPr bwMode="ltGray">
              <a:xfrm>
                <a:off x="7962787" y="4193414"/>
                <a:ext cx="360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74%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1" name="직사각형 90"/>
              <p:cNvSpPr/>
              <p:nvPr/>
            </p:nvSpPr>
            <p:spPr bwMode="ltGray">
              <a:xfrm>
                <a:off x="7962787" y="4437993"/>
                <a:ext cx="360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67%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2" name="직사각형 91"/>
              <p:cNvSpPr/>
              <p:nvPr/>
            </p:nvSpPr>
            <p:spPr bwMode="ltGray">
              <a:xfrm>
                <a:off x="7962787" y="4682573"/>
                <a:ext cx="360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65%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3" name="직사각형 92"/>
              <p:cNvSpPr/>
              <p:nvPr/>
            </p:nvSpPr>
            <p:spPr bwMode="ltGray">
              <a:xfrm>
                <a:off x="7962787" y="3700278"/>
                <a:ext cx="360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평균</a:t>
                </a:r>
              </a:p>
            </p:txBody>
          </p:sp>
          <p:sp>
            <p:nvSpPr>
              <p:cNvPr id="94" name="직사각형 93"/>
              <p:cNvSpPr/>
              <p:nvPr/>
            </p:nvSpPr>
            <p:spPr bwMode="ltGray">
              <a:xfrm>
                <a:off x="8380665" y="3938927"/>
                <a:ext cx="828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1.10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5" name="직사각형 94"/>
              <p:cNvSpPr/>
              <p:nvPr/>
            </p:nvSpPr>
            <p:spPr bwMode="ltGray">
              <a:xfrm>
                <a:off x="8380665" y="4183506"/>
                <a:ext cx="828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0.91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6" name="직사각형 95"/>
              <p:cNvSpPr/>
              <p:nvPr/>
            </p:nvSpPr>
            <p:spPr bwMode="ltGray">
              <a:xfrm>
                <a:off x="8380665" y="4428085"/>
                <a:ext cx="828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1.01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7" name="직사각형 96"/>
              <p:cNvSpPr/>
              <p:nvPr/>
            </p:nvSpPr>
            <p:spPr bwMode="ltGray">
              <a:xfrm>
                <a:off x="8380665" y="4672665"/>
                <a:ext cx="828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1.29</a:t>
                </a:r>
                <a:endParaRPr lang="ko-KR" altLang="en-US" sz="8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sym typeface="Arial" pitchFamily="34" charset="0"/>
                </a:endParaRPr>
              </a:p>
            </p:txBody>
          </p:sp>
          <p:sp>
            <p:nvSpPr>
              <p:cNvPr id="98" name="직사각형 97"/>
              <p:cNvSpPr/>
              <p:nvPr/>
            </p:nvSpPr>
            <p:spPr bwMode="ltGray">
              <a:xfrm>
                <a:off x="8380665" y="3690369"/>
                <a:ext cx="828000" cy="205708"/>
              </a:xfrm>
              <a:prstGeom prst="rect">
                <a:avLst/>
              </a:prstGeom>
              <a:solidFill>
                <a:srgbClr val="CFD6DB"/>
              </a:solidFill>
              <a:ln w="6350">
                <a:solidFill>
                  <a:srgbClr val="B5BFC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800" b="1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sym typeface="Arial" pitchFamily="34" charset="0"/>
                  </a:rPr>
                  <a:t>잔여위험</a:t>
                </a:r>
              </a:p>
            </p:txBody>
          </p:sp>
          <p:sp>
            <p:nvSpPr>
              <p:cNvPr id="99" name="왼쪽 중괄호 98"/>
              <p:cNvSpPr/>
              <p:nvPr/>
            </p:nvSpPr>
            <p:spPr>
              <a:xfrm rot="5400000" flipH="1">
                <a:off x="6275293" y="2175058"/>
                <a:ext cx="180000" cy="5652000"/>
              </a:xfrm>
              <a:prstGeom prst="leftBrace">
                <a:avLst>
                  <a:gd name="adj1" fmla="val 8333"/>
                  <a:gd name="adj2" fmla="val 48999"/>
                </a:avLst>
              </a:prstGeom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pc="-100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sp>
          <p:nvSpPr>
            <p:cNvPr id="53" name="TextBox 52"/>
            <p:cNvSpPr txBox="1"/>
            <p:nvPr/>
          </p:nvSpPr>
          <p:spPr>
            <a:xfrm>
              <a:off x="1857164" y="4025091"/>
              <a:ext cx="1343050" cy="98271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88900" indent="-88900" algn="l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서비스별</a:t>
              </a:r>
              <a:r>
                <a:rPr lang="en-US" altLang="ko-KR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</a:t>
              </a:r>
              <a:r>
                <a:rPr lang="en-US" altLang="ko-KR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ategory </a:t>
              </a:r>
              <a:r>
                <a:rPr lang="ko-KR" altLang="en-US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노출위험 및 통제유효성</a:t>
              </a:r>
              <a:r>
                <a:rPr lang="en-US" altLang="ko-KR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잔여위험을 산출</a:t>
              </a:r>
              <a:endParaRPr lang="en-US" altLang="ko-KR" sz="9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8900" indent="-88900" algn="l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특정 서비스</a:t>
              </a:r>
              <a:r>
                <a:rPr lang="en-US" altLang="ko-KR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로 측정되는  노출위험이 증가할 경우</a:t>
              </a:r>
              <a:r>
                <a:rPr lang="en-US" altLang="ko-KR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9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에 관련된 통제활동의 통제수준을 향상시켜 잔여위험을 적정수준으로 관리 </a:t>
              </a:r>
              <a:endParaRPr lang="en-US" altLang="ko-KR" sz="9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576456" y="5285007"/>
              <a:ext cx="5652000" cy="30892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88900" indent="-88900">
                <a:buFont typeface="Wingdings" panose="05000000000000000000" pitchFamily="2" charset="2"/>
                <a:buChar char="§"/>
              </a:pPr>
              <a:r>
                <a:rPr lang="ko-KR" altLang="en-US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</a:t>
              </a:r>
              <a:r>
                <a:rPr lang="ko-KR" altLang="en-US" sz="900" b="1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업점</a:t>
              </a:r>
              <a:r>
                <a:rPr lang="ko-KR" altLang="en-US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별로 </a:t>
              </a:r>
              <a:r>
                <a:rPr lang="en-US" altLang="ko-KR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노출 위험 측정이 가능하며</a:t>
              </a:r>
              <a:r>
                <a:rPr lang="en-US" altLang="ko-KR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</a:t>
              </a:r>
              <a:r>
                <a:rPr lang="en-US" altLang="ko-KR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영역 별로 통제유효성 측정이 가능</a:t>
              </a:r>
              <a:endParaRPr lang="en-US" altLang="ko-KR" sz="900" b="1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8900" indent="-88900">
                <a:buFont typeface="Wingdings" panose="05000000000000000000" pitchFamily="2" charset="2"/>
                <a:buChar char="§"/>
              </a:pPr>
              <a:r>
                <a:rPr lang="ko-KR" altLang="en-US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유효성이 낮은 자금세탁방지</a:t>
              </a:r>
              <a:r>
                <a:rPr lang="en-US" altLang="ko-KR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900" b="1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영역에 대하여 모니터링 강화를 통하여 위험 수준에 따른 관리 실행 </a:t>
              </a:r>
              <a:endParaRPr lang="en-US" altLang="ko-KR" sz="900" b="1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716681" y="2469223"/>
              <a:ext cx="8642350" cy="292171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0" rIns="54000" bIns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250" indent="-95250" algn="ctr">
                <a:lnSpc>
                  <a:spcPct val="12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ko-KR" altLang="en-US" sz="1200" spc="-100" dirty="0">
                  <a:solidFill>
                    <a:schemeClr val="tx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200" spc="-100" dirty="0">
                  <a:solidFill>
                    <a:schemeClr val="tx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200" spc="-100" dirty="0">
                  <a:solidFill>
                    <a:schemeClr val="tx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</a:t>
              </a:r>
              <a:r>
                <a:rPr lang="ko-KR" altLang="en-US" sz="1200" spc="-100" dirty="0" smtClean="0">
                  <a:solidFill>
                    <a:schemeClr val="tx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결과 산출 체계</a:t>
              </a:r>
              <a:endParaRPr lang="ko-KR" altLang="en-US" sz="1200" spc="-100" dirty="0">
                <a:solidFill>
                  <a:schemeClr val="tx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cxnSp>
          <p:nvCxnSpPr>
            <p:cNvPr id="58" name="직선 연결선 57"/>
            <p:cNvCxnSpPr/>
            <p:nvPr/>
          </p:nvCxnSpPr>
          <p:spPr>
            <a:xfrm>
              <a:off x="3220129" y="2761394"/>
              <a:ext cx="3635454" cy="0"/>
            </a:xfrm>
            <a:prstGeom prst="line">
              <a:avLst/>
            </a:prstGeom>
            <a:ln w="9525">
              <a:solidFill>
                <a:schemeClr val="tx1"/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2 </a:t>
            </a:r>
            <a:r>
              <a:rPr lang="ko-KR" altLang="en-US" dirty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평가 모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(9/9)</a:t>
            </a:r>
            <a:endParaRPr lang="ko-KR" altLang="en-US" dirty="0"/>
          </a:p>
        </p:txBody>
      </p:sp>
      <p:sp>
        <p:nvSpPr>
          <p:cNvPr id="13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3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3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136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510097" y="239029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181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1/10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결과에 기반한 교육 및 진단 등 내부통제 강화 방안을 수립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관련 규정 및 지침 개정과 방법서를 통한 내부통제 강화 방안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강화방안 마련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" name="그룹 1"/>
          <p:cNvGrpSpPr/>
          <p:nvPr/>
        </p:nvGrpSpPr>
        <p:grpSpPr>
          <a:xfrm>
            <a:off x="415655" y="2276872"/>
            <a:ext cx="9073849" cy="3983514"/>
            <a:chOff x="505761" y="2470840"/>
            <a:chExt cx="8894481" cy="3789546"/>
          </a:xfrm>
        </p:grpSpPr>
        <p:sp>
          <p:nvSpPr>
            <p:cNvPr id="21" name="직사각형 20"/>
            <p:cNvSpPr/>
            <p:nvPr/>
          </p:nvSpPr>
          <p:spPr>
            <a:xfrm>
              <a:off x="573836" y="3044267"/>
              <a:ext cx="1586029" cy="32161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171450" indent="-171450" defTabSz="1042959" ea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에 따른 고위험 대응 체계 수립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확인의무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Event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에 대한 추가 정보 확인 및 확인 적정성에 대한 사후 검증 검토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래모니터링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영역에 모니터링 범위 확대 방안 검토 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서비스에 대한 교육 및 현장 점검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독립적인 감사 강화 방안 검토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defTabSz="1042959" eaLnBrk="0" hangingPunct="0">
                <a:spcBef>
                  <a:spcPts val="15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임점 모니터링 등의 위험평가 결과 대응을 위한 제도 및 시스템 개선안 도출 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defTabSz="1042959" eaLnBrk="0" hangingPunct="0">
                <a:spcBef>
                  <a:spcPts val="1200"/>
                </a:spcBef>
                <a:buSzPct val="140000"/>
              </a:pPr>
              <a:endParaRPr lang="ko-KR" altLang="en-US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" name="오각형 21"/>
            <p:cNvSpPr/>
            <p:nvPr/>
          </p:nvSpPr>
          <p:spPr bwMode="ltGray">
            <a:xfrm>
              <a:off x="505761" y="2470840"/>
              <a:ext cx="1792246" cy="436860"/>
            </a:xfrm>
            <a:prstGeom prst="homePlate">
              <a:avLst>
                <a:gd name="adj" fmla="val 23753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</a:t>
              </a:r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결과 </a:t>
              </a:r>
              <a:endPara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응 체계 수립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30394" y="2518778"/>
              <a:ext cx="232760" cy="30043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spc="-100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1</a:t>
              </a:r>
              <a:endParaRPr lang="ko-KR" altLang="en-US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5" name="갈매기형 수장 24"/>
            <p:cNvSpPr/>
            <p:nvPr/>
          </p:nvSpPr>
          <p:spPr bwMode="ltGray">
            <a:xfrm>
              <a:off x="2311377" y="2470840"/>
              <a:ext cx="1768971" cy="436860"/>
            </a:xfrm>
            <a:prstGeom prst="chevron">
              <a:avLst>
                <a:gd name="adj" fmla="val 23752"/>
              </a:avLst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RI </a:t>
              </a:r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니터링</a:t>
              </a:r>
              <a:endPara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체계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립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368641" y="2518778"/>
              <a:ext cx="232760" cy="30043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spc="-100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2</a:t>
              </a:r>
              <a:endParaRPr lang="ko-KR" altLang="en-US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2416836" y="3044267"/>
              <a:ext cx="1582762" cy="282406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171450" indent="-171450" defTabSz="1042959" ea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속적인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을 수행하기 위한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정의 및 모니터링 체계 수립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선정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속적인 모니터링 지표 선정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(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표성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가용성 고려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임계치 정의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KRI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경보 발생 기준 정의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후속조치 정의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경보 발생 시 이에 대한 후속조치 정의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–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원인파악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가점검 수행 등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defTabSz="1042959" eaLnBrk="0" hangingPunct="0">
                <a:spcBef>
                  <a:spcPts val="15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 이후 개선이 필요한 취약점 식별 및 개선 프로세스 정의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defTabSz="1042959" ea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defTabSz="1042959" eaLnBrk="0" hangingPunct="0">
                <a:spcBef>
                  <a:spcPts val="1200"/>
                </a:spcBef>
                <a:buSzPct val="140000"/>
              </a:pP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   </a:t>
              </a:r>
            </a:p>
          </p:txBody>
        </p:sp>
        <p:cxnSp>
          <p:nvCxnSpPr>
            <p:cNvPr id="28" name="직선 연결선 27"/>
            <p:cNvCxnSpPr/>
            <p:nvPr/>
          </p:nvCxnSpPr>
          <p:spPr>
            <a:xfrm>
              <a:off x="2274474" y="3004078"/>
              <a:ext cx="0" cy="3053567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갈매기형 수장 28"/>
            <p:cNvSpPr/>
            <p:nvPr/>
          </p:nvSpPr>
          <p:spPr bwMode="ltGray">
            <a:xfrm>
              <a:off x="4088986" y="2470840"/>
              <a:ext cx="1768970" cy="436860"/>
            </a:xfrm>
            <a:prstGeom prst="chevron">
              <a:avLst>
                <a:gd name="adj" fmla="val 23752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련 규정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,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침 및 </a:t>
              </a: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방법서 개선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170882" y="2518778"/>
              <a:ext cx="232760" cy="30043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spc="-10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3</a:t>
              </a:r>
              <a:endParaRPr lang="ko-KR" altLang="en-US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4208463" y="3044267"/>
              <a:ext cx="1582762" cy="282406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171450" indent="-171450" defTabSz="1042959" ea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위험평가 체계의 운영을 위한 자금세탁 위험관리 구축 방향 및 세부 절차 수립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규정 및 지침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KoFIU RBA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처리 기준을 고려하여 각 </a:t>
              </a: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산은행의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관리 목적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주요 구성원의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&amp;R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정책 등의 정의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방법서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대상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주요 지표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방법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서 작성 등 자금세탁 위험평가 업무에 대해서 세부수행절차 작성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32" name="직선 연결선 31"/>
            <p:cNvCxnSpPr/>
            <p:nvPr/>
          </p:nvCxnSpPr>
          <p:spPr>
            <a:xfrm>
              <a:off x="4050630" y="2995025"/>
              <a:ext cx="0" cy="3053567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갈매기형 수장 32"/>
            <p:cNvSpPr/>
            <p:nvPr/>
          </p:nvSpPr>
          <p:spPr bwMode="ltGray">
            <a:xfrm>
              <a:off x="5864742" y="2470840"/>
              <a:ext cx="1768970" cy="436860"/>
            </a:xfrm>
            <a:prstGeom prst="chevron">
              <a:avLst>
                <a:gd name="adj" fmla="val 23752"/>
              </a:avLst>
            </a:prstGeom>
            <a:solidFill>
              <a:srgbClr val="22A8F0"/>
            </a:solidFill>
            <a:ln w="6350">
              <a:solidFill>
                <a:srgbClr val="038CDC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감독당국 </a:t>
              </a:r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검사 </a:t>
              </a:r>
              <a:endPara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사전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응 </a:t>
              </a:r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체계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립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946639" y="2518776"/>
              <a:ext cx="232760" cy="30043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spc="-10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4</a:t>
              </a:r>
              <a:endParaRPr lang="ko-KR" altLang="en-US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>
            <a:xfrm>
              <a:off x="5984219" y="3044267"/>
              <a:ext cx="1582763" cy="282406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171450" indent="-171450" defTabSz="1042959" ea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감독당국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KoFIU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융감독원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의 新평가 지표에 대한 대응체계 </a:t>
              </a: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마련</a:t>
              </a: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감원 지적사항 및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행평가 결과를 분석하여 검사 감독 대응 체계 </a:t>
              </a: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립</a:t>
              </a:r>
              <a:endPara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융감독원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hecklist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구성 파악 및 적용 방안 </a:t>
              </a: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마련</a:t>
              </a:r>
              <a:endPara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융감독원</a:t>
              </a:r>
              <a:r>
                <a:rPr lang="en-US" altLang="ko-KR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KoFIU </a:t>
              </a: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진단 툴</a:t>
              </a:r>
              <a:r>
                <a:rPr lang="en-US" altLang="ko-KR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가상통화 진단 툴 등을 기반으로 체크리스트 정의</a:t>
              </a:r>
              <a:endParaRPr lang="en-US" altLang="ko-KR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36" name="직선 연결선 35"/>
            <p:cNvCxnSpPr/>
            <p:nvPr/>
          </p:nvCxnSpPr>
          <p:spPr>
            <a:xfrm>
              <a:off x="5826387" y="2995022"/>
              <a:ext cx="0" cy="3053567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갈매기형 수장 36"/>
            <p:cNvSpPr/>
            <p:nvPr/>
          </p:nvSpPr>
          <p:spPr bwMode="ltGray">
            <a:xfrm>
              <a:off x="7631272" y="2470840"/>
              <a:ext cx="1768970" cy="436860"/>
            </a:xfrm>
            <a:prstGeom prst="chevron">
              <a:avLst>
                <a:gd name="adj" fmla="val 23752"/>
              </a:avLst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교육 체계 수립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713169" y="2518776"/>
              <a:ext cx="232760" cy="30043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spc="-100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5</a:t>
              </a:r>
              <a:endParaRPr lang="ko-KR" altLang="en-US" sz="2400" i="1" spc="-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4" name="직사각형 43"/>
            <p:cNvSpPr/>
            <p:nvPr/>
          </p:nvSpPr>
          <p:spPr>
            <a:xfrm>
              <a:off x="7750749" y="3044267"/>
              <a:ext cx="1582763" cy="282406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171450" indent="-171450" defTabSz="1042959" ea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차원의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관리에 대한 중요성 인식의 제고를 위한 교육 체계 수립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대상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사회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및 경영진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ML/TF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관리 전담조직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수행 현업 부점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의 특성을 고려한 교육 내용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방법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주기 등 정의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존 </a:t>
              </a:r>
              <a:r>
                <a:rPr lang="en-US" altLang="ko-KR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AML </a:t>
              </a: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과의 연계 검토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defTabSz="1042959" ea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0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계획에 따른 교육 실적 관리 체계 수립</a:t>
              </a:r>
              <a:endParaRPr lang="en-US" altLang="ko-KR" sz="10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5" name="직선 연결선 44"/>
            <p:cNvCxnSpPr/>
            <p:nvPr/>
          </p:nvCxnSpPr>
          <p:spPr>
            <a:xfrm>
              <a:off x="7592916" y="2995022"/>
              <a:ext cx="0" cy="3053567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361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결과에 따라 자금세탁방지 업무 영역 및 서비스별로 고위험 영역에 추가적인 점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교육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니터링을 수행할 수 있는 대응 방안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결과 대응 체계 수립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470441" y="2276872"/>
            <a:ext cx="8965119" cy="4032448"/>
            <a:chOff x="566737" y="2396086"/>
            <a:chExt cx="8718949" cy="3752469"/>
          </a:xfrm>
        </p:grpSpPr>
        <p:sp>
          <p:nvSpPr>
            <p:cNvPr id="51" name="직사각형 50"/>
            <p:cNvSpPr/>
            <p:nvPr/>
          </p:nvSpPr>
          <p:spPr>
            <a:xfrm>
              <a:off x="566738" y="2824948"/>
              <a:ext cx="1015447" cy="107645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ko-KR" sz="1300" b="1" spc="-100" dirty="0" smtClean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확인</a:t>
              </a:r>
              <a:endParaRPr lang="en-US" altLang="ko-KR" sz="1300" b="1" spc="-100" dirty="0" smtClean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/>
              <a:r>
                <a:rPr lang="ko-KR" altLang="ko-KR" sz="1300" b="1" spc="-100" dirty="0" smtClean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의무</a:t>
              </a:r>
              <a:endParaRPr lang="ko-KR" altLang="ko-KR" sz="1300" b="1" spc="-10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>
            <a:xfrm>
              <a:off x="1646657" y="2824947"/>
              <a:ext cx="4860864" cy="107645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600" indent="-228600" algn="l" defTabSz="1042959" eaLnBrk="0" hangingPunct="0">
                <a:spcBef>
                  <a:spcPts val="900"/>
                </a:spcBef>
                <a:buSzPct val="140000"/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 </a:t>
              </a:r>
              <a:r>
                <a:rPr lang="ko-KR" altLang="en-US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과정에서 식별된 고위험 국가</a:t>
              </a:r>
              <a:r>
                <a:rPr lang="en-US" altLang="ko-KR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</a:t>
              </a:r>
              <a:r>
                <a:rPr lang="en-US" altLang="ko-KR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품에 대해서 필수 및 추가 정보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차별화</a:t>
              </a:r>
              <a:endParaRPr lang="en-US" altLang="ko-KR" sz="11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28600" indent="-228600" algn="l" defTabSz="1042959" eaLnBrk="0" hangingPunct="0">
                <a:spcBef>
                  <a:spcPts val="900"/>
                </a:spcBef>
                <a:buSzPct val="140000"/>
                <a:buFont typeface="Wingdings" panose="05000000000000000000" pitchFamily="2" charset="2"/>
                <a:buChar char="§"/>
              </a:pPr>
              <a:r>
                <a:rPr lang="ko-KR" altLang="en-US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실소유자에 대한 확인 등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중점검사사항 </a:t>
              </a:r>
              <a:r>
                <a:rPr lang="ko-KR" altLang="en-US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반영 </a:t>
              </a:r>
              <a:r>
                <a:rPr lang="en-US" altLang="ko-KR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비대면 고객확인의무 변경 사항 반영 </a:t>
              </a:r>
              <a:r>
                <a:rPr lang="en-US" altLang="ko-KR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필요 시 현행 </a:t>
              </a:r>
              <a:r>
                <a:rPr lang="ko-KR" altLang="en-US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입수 정보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강화</a:t>
              </a:r>
              <a:endParaRPr lang="ko-KR" altLang="en-US" sz="11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>
            <a:xfrm>
              <a:off x="1646657" y="3948523"/>
              <a:ext cx="4860864" cy="107645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600" indent="-228600" algn="l" defTabSz="1042959" eaLnBrk="0" hangingPunct="0">
                <a:spcBef>
                  <a:spcPts val="900"/>
                </a:spcBef>
                <a:buSzPct val="140000"/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서비스 및 상품</a:t>
              </a:r>
              <a:r>
                <a:rPr lang="en-US" altLang="ko-KR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고객에 대해서는 추가적인 모니터링이 가능하도록 차별화된 모니터링 체계 반영</a:t>
              </a:r>
              <a:endParaRPr lang="en-US" altLang="ko-KR" sz="11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28600" indent="-228600" algn="l" defTabSz="1042959" eaLnBrk="0" hangingPunct="0">
                <a:spcBef>
                  <a:spcPts val="900"/>
                </a:spcBef>
                <a:buSzPct val="140000"/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에 따라 고위험 서비스 및 상품 고객에 대해서는 의심스러운 거래에 대한 추가 점검이 수행될 수 있음</a:t>
              </a:r>
              <a:endParaRPr lang="en-US" altLang="ko-KR" sz="11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>
            <a:xfrm>
              <a:off x="566738" y="5072099"/>
              <a:ext cx="1015448" cy="107645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ko-KR" sz="1300" b="1" spc="-100" dirty="0" smtClean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</a:t>
              </a:r>
              <a:endParaRPr lang="ko-KR" altLang="ko-KR" sz="1300" b="1" spc="-10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1646657" y="5072099"/>
              <a:ext cx="4860864" cy="107645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600" indent="-228600" algn="l" defTabSz="1042959" eaLnBrk="0" hangingPunct="0">
                <a:spcBef>
                  <a:spcPts val="900"/>
                </a:spcBef>
                <a:buSzPct val="140000"/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영역에 대하여 고객확인의무 이행 결과에 대한 점검 재수행</a:t>
              </a:r>
              <a:r>
                <a:rPr lang="en-US" altLang="ko-KR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가 교육 수행 등의 내부통제활동 운영</a:t>
              </a:r>
              <a:endParaRPr lang="en-US" altLang="ko-KR" sz="11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28600" indent="-228600" algn="l" defTabSz="1042959" eaLnBrk="0" hangingPunct="0">
                <a:spcBef>
                  <a:spcPts val="900"/>
                </a:spcBef>
                <a:buSzPct val="140000"/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이 높은 영역을 감사 대상 선정 시 우선적으로 고려하여 추가적인 점검 강화   </a:t>
              </a:r>
              <a:endParaRPr lang="en-US" altLang="ko-KR" sz="11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6571991" y="2824947"/>
              <a:ext cx="2713695" cy="3323607"/>
            </a:xfrm>
            <a:prstGeom prst="rect">
              <a:avLst/>
            </a:prstGeom>
            <a:solidFill>
              <a:srgbClr val="D3EDFD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l" defTabSz="1042959" eaLnBrk="0" hangingPunct="0">
                <a:buSzPct val="140000"/>
              </a:pPr>
              <a:r>
                <a:rPr lang="en-US" altLang="ko-KR" sz="1100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</a:t>
              </a:r>
              <a:r>
                <a:rPr lang="en-US" altLang="ko-KR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s-Is: </a:t>
              </a:r>
              <a:r>
                <a:rPr lang="ko-KR" altLang="en-US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일괄적인 최소한의 기준에 따른 </a:t>
              </a:r>
              <a:r>
                <a:rPr lang="en-US" altLang="ko-KR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ML </a:t>
              </a:r>
              <a:r>
                <a:rPr lang="ko-KR" altLang="en-US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무</a:t>
              </a:r>
              <a:endParaRPr lang="en-US" altLang="ko-KR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l" defTabSz="1042959" eaLnBrk="0" hangingPunct="0">
                <a:buSzPct val="140000"/>
              </a:pPr>
              <a:endParaRPr lang="en-US" altLang="ko-KR" sz="11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7800" lvl="1" indent="-177800" algn="l" defTabSz="1042959" eaLnBrk="0" hangingPunct="0">
                <a:buSzPct val="140000"/>
              </a:pPr>
              <a:r>
                <a:rPr lang="en-US" altLang="ko-KR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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현재 고객 위험평가에 따라 </a:t>
              </a:r>
              <a:r>
                <a:rPr lang="en-US" altLang="ko-KR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EDD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를 이행 하는 업무 외에 별도 위험에 따른 차별화된 업무 절차는 수행되지 않고 있음 </a:t>
              </a:r>
              <a:endParaRPr lang="en-US" altLang="ko-KR" sz="11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l" defTabSz="1042959" eaLnBrk="0" hangingPunct="0">
                <a:buSzPct val="140000"/>
              </a:pPr>
              <a:endParaRPr lang="en-US" altLang="ko-KR" sz="11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l" defTabSz="1042959" eaLnBrk="0" hangingPunct="0">
                <a:buSzPct val="140000"/>
              </a:pPr>
              <a:endParaRPr lang="en-US" altLang="ko-KR" sz="11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01591" indent="-101591" algn="l" defTabSz="1042959" eaLnBrk="0" hangingPunct="0">
                <a:lnSpc>
                  <a:spcPct val="90000"/>
                </a:lnSpc>
                <a:buSzPct val="140000"/>
              </a:pPr>
              <a:r>
                <a:rPr lang="en-US" altLang="ko-KR" sz="1100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</a:t>
              </a:r>
              <a:r>
                <a:rPr lang="en-US" altLang="ko-KR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To-Be: </a:t>
              </a:r>
              <a:r>
                <a:rPr lang="ko-KR" altLang="en-US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결과를 적용하여 고위험 영역에 </a:t>
              </a:r>
              <a:r>
                <a:rPr lang="en-US" altLang="ko-KR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ML </a:t>
              </a:r>
              <a:r>
                <a:rPr lang="ko-KR" altLang="en-US" sz="1100" u="sng" spc="-100" dirty="0" smtClean="0">
                  <a:solidFill>
                    <a:srgbClr val="C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제를 강화하여 적용</a:t>
              </a:r>
              <a:endParaRPr lang="en-US" altLang="ko-KR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marL="101591" indent="-101591" algn="l" defTabSz="1042959" eaLnBrk="0" hangingPunct="0">
                <a:lnSpc>
                  <a:spcPct val="90000"/>
                </a:lnSpc>
                <a:buSzPct val="140000"/>
              </a:pPr>
              <a:endParaRPr lang="en-US" altLang="ko-KR" sz="11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01591" indent="-101591" algn="l" defTabSz="1042959" eaLnBrk="0" hangingPunct="0">
                <a:lnSpc>
                  <a:spcPct val="90000"/>
                </a:lnSpc>
                <a:buSzPct val="140000"/>
              </a:pPr>
              <a:endParaRPr lang="en-US" altLang="ko-KR" sz="11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7800" lvl="1" indent="-177800" algn="l" defTabSz="1042959" eaLnBrk="0" hangingPunct="0">
                <a:buSzPct val="140000"/>
              </a:pPr>
              <a:r>
                <a:rPr lang="en-US" altLang="ko-KR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 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향후</a:t>
              </a:r>
              <a:r>
                <a:rPr lang="ko-KR" altLang="en-US" sz="1100" spc="-100" dirty="0" smtClean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100" spc="-100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위험평가 결과에 따라 위험이 높은 영역의 경우 추가적인 교육 수행 모니터링의 강화 등이 예상됨 </a:t>
              </a:r>
              <a:endParaRPr lang="en-US" altLang="ko-KR" sz="11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566738" y="3948524"/>
              <a:ext cx="1015447" cy="107645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algn="ctr"/>
              <a:r>
                <a:rPr lang="ko-KR" altLang="ko-KR" sz="1300" b="1" spc="-100" dirty="0" smtClean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래 </a:t>
              </a:r>
              <a:endParaRPr lang="en-US" altLang="ko-KR" sz="1300" b="1" spc="-100" dirty="0" smtClean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/>
              <a:r>
                <a:rPr lang="ko-KR" altLang="ko-KR" sz="1300" b="1" spc="-100" dirty="0" smtClean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</a:t>
              </a:r>
              <a:endParaRPr lang="ko-KR" altLang="ko-KR" sz="1300" b="1" spc="-10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566737" y="2824948"/>
              <a:ext cx="1015447" cy="1076456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ko-KR" sz="12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확인의무</a:t>
              </a:r>
              <a:endParaRPr lang="ko-KR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566737" y="5072099"/>
              <a:ext cx="1015448" cy="1076456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내부통제</a:t>
              </a: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566737" y="3948524"/>
              <a:ext cx="1015447" cy="1076456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ko-KR" sz="12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거래</a:t>
              </a:r>
              <a:r>
                <a:rPr lang="en-US" altLang="ko-KR" sz="12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ko-KR" sz="12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니터링</a:t>
              </a:r>
              <a:endParaRPr lang="ko-KR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62" name="그룹 61"/>
            <p:cNvGrpSpPr/>
            <p:nvPr/>
          </p:nvGrpSpPr>
          <p:grpSpPr>
            <a:xfrm>
              <a:off x="2517131" y="2396086"/>
              <a:ext cx="4865554" cy="256435"/>
              <a:chOff x="2600237" y="1972371"/>
              <a:chExt cx="4551817" cy="283007"/>
            </a:xfrm>
          </p:grpSpPr>
          <p:cxnSp>
            <p:nvCxnSpPr>
              <p:cNvPr id="64" name="직선 연결선 63"/>
              <p:cNvCxnSpPr/>
              <p:nvPr/>
            </p:nvCxnSpPr>
            <p:spPr>
              <a:xfrm>
                <a:off x="2600237" y="2255378"/>
                <a:ext cx="4551817" cy="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TextBox 43"/>
              <p:cNvSpPr txBox="1">
                <a:spLocks noChangeArrowheads="1"/>
              </p:cNvSpPr>
              <p:nvPr/>
            </p:nvSpPr>
            <p:spPr bwMode="auto">
              <a:xfrm>
                <a:off x="2611859" y="1972371"/>
                <a:ext cx="4528185" cy="1896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600"/>
                  </a:spcBef>
                </a:pPr>
                <a:r>
                  <a:rPr lang="en-US" altLang="ko-KR" sz="1200" spc="-100" dirty="0">
                    <a:solidFill>
                      <a:prstClr val="black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[ </a:t>
                </a:r>
                <a:r>
                  <a:rPr lang="ko-KR" altLang="en-US" sz="1200" spc="-100" dirty="0" smtClean="0">
                    <a:solidFill>
                      <a:prstClr val="black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전사 </a:t>
                </a:r>
                <a:r>
                  <a:rPr lang="en-US" altLang="ko-KR" sz="1200" spc="-100" dirty="0" smtClean="0">
                    <a:solidFill>
                      <a:prstClr val="black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ML/TF </a:t>
                </a:r>
                <a:r>
                  <a:rPr lang="ko-KR" altLang="en-US" sz="1200" spc="-100" dirty="0" smtClean="0">
                    <a:solidFill>
                      <a:prstClr val="black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위험평가 결과에 따른 고위험 대응 방안 </a:t>
                </a:r>
                <a:r>
                  <a:rPr lang="en-US" altLang="ko-KR" sz="1200" spc="-100" dirty="0" smtClean="0">
                    <a:solidFill>
                      <a:prstClr val="black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]</a:t>
                </a:r>
                <a:endParaRPr lang="ko-KR" altLang="en-US" sz="1200" spc="-100" dirty="0">
                  <a:solidFill>
                    <a:prstClr val="black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</p:grpSp>
      <p:sp>
        <p:nvSpPr>
          <p:cNvPr id="2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2/10)</a:t>
            </a:r>
            <a:endParaRPr lang="ko-KR" altLang="en-US" dirty="0"/>
          </a:p>
        </p:txBody>
      </p:sp>
      <p:sp>
        <p:nvSpPr>
          <p:cNvPr id="3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995399" y="236773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909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영역의 전사 위험평가 결과에 따른 차별화된 업무 수행 방안은 다음과 같으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타 업무 영역에 대해서도 위험평가 결과에 따른 차별화된 업무 절차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결과 대응 체계 수립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1" name="Rectangle 19"/>
          <p:cNvSpPr>
            <a:spLocks noChangeArrowheads="1"/>
          </p:cNvSpPr>
          <p:nvPr/>
        </p:nvSpPr>
        <p:spPr bwMode="auto">
          <a:xfrm>
            <a:off x="1398043" y="3358185"/>
            <a:ext cx="1019546" cy="186613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내부통제</a:t>
            </a:r>
          </a:p>
        </p:txBody>
      </p:sp>
      <p:sp>
        <p:nvSpPr>
          <p:cNvPr id="22" name="Rectangle 19"/>
          <p:cNvSpPr>
            <a:spLocks noChangeArrowheads="1"/>
          </p:cNvSpPr>
          <p:nvPr/>
        </p:nvSpPr>
        <p:spPr bwMode="auto">
          <a:xfrm>
            <a:off x="1398043" y="3923335"/>
            <a:ext cx="1019546" cy="186613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확인의무</a:t>
            </a: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1398043" y="4494827"/>
            <a:ext cx="1019546" cy="186613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관리</a:t>
            </a:r>
          </a:p>
        </p:txBody>
      </p:sp>
      <p:sp>
        <p:nvSpPr>
          <p:cNvPr id="25" name="Rectangle 19"/>
          <p:cNvSpPr>
            <a:spLocks noChangeArrowheads="1"/>
          </p:cNvSpPr>
          <p:nvPr/>
        </p:nvSpPr>
        <p:spPr bwMode="auto">
          <a:xfrm>
            <a:off x="1398043" y="5064378"/>
            <a:ext cx="1019546" cy="186613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니터링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고</a:t>
            </a:r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1398043" y="5456482"/>
            <a:ext cx="1019546" cy="186613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" name="Rectangle 20"/>
          <p:cNvSpPr>
            <a:spLocks noChangeArrowheads="1"/>
          </p:cNvSpPr>
          <p:nvPr/>
        </p:nvSpPr>
        <p:spPr bwMode="auto">
          <a:xfrm>
            <a:off x="2626201" y="3117073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역할 및 책임</a:t>
            </a:r>
          </a:p>
        </p:txBody>
      </p:sp>
      <p:sp>
        <p:nvSpPr>
          <p:cNvPr id="28" name="Rectangle 20"/>
          <p:cNvSpPr>
            <a:spLocks noChangeArrowheads="1"/>
          </p:cNvSpPr>
          <p:nvPr/>
        </p:nvSpPr>
        <p:spPr bwMode="auto">
          <a:xfrm>
            <a:off x="2626201" y="3318522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전담조직 전문성</a:t>
            </a:r>
          </a:p>
        </p:txBody>
      </p:sp>
      <p:sp>
        <p:nvSpPr>
          <p:cNvPr id="29" name="Rectangle 20"/>
          <p:cNvSpPr>
            <a:spLocks noChangeArrowheads="1"/>
          </p:cNvSpPr>
          <p:nvPr/>
        </p:nvSpPr>
        <p:spPr bwMode="auto">
          <a:xfrm>
            <a:off x="2626201" y="3519969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….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0" name="Rectangle 20"/>
          <p:cNvSpPr>
            <a:spLocks noChangeArrowheads="1"/>
          </p:cNvSpPr>
          <p:nvPr/>
        </p:nvSpPr>
        <p:spPr bwMode="auto">
          <a:xfrm>
            <a:off x="2626201" y="3739659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고객확인의무</a:t>
            </a:r>
          </a:p>
        </p:txBody>
      </p:sp>
      <p:sp>
        <p:nvSpPr>
          <p:cNvPr id="31" name="Rectangle 20"/>
          <p:cNvSpPr>
            <a:spLocks noChangeArrowheads="1"/>
          </p:cNvSpPr>
          <p:nvPr/>
        </p:nvSpPr>
        <p:spPr bwMode="auto">
          <a:xfrm>
            <a:off x="2626201" y="3931675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지속적인 고객확인</a:t>
            </a:r>
          </a:p>
        </p:txBody>
      </p:sp>
      <p:sp>
        <p:nvSpPr>
          <p:cNvPr id="32" name="Rectangle 20"/>
          <p:cNvSpPr>
            <a:spLocks noChangeArrowheads="1"/>
          </p:cNvSpPr>
          <p:nvPr/>
        </p:nvSpPr>
        <p:spPr bwMode="auto">
          <a:xfrm>
            <a:off x="2626201" y="4123692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….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3" name="Rectangle 20"/>
          <p:cNvSpPr>
            <a:spLocks noChangeArrowheads="1"/>
          </p:cNvSpPr>
          <p:nvPr/>
        </p:nvSpPr>
        <p:spPr bwMode="auto">
          <a:xfrm>
            <a:off x="2626201" y="4362207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자금세탁위험식별</a:t>
            </a:r>
          </a:p>
        </p:txBody>
      </p:sp>
      <p:sp>
        <p:nvSpPr>
          <p:cNvPr id="34" name="Rectangle 20"/>
          <p:cNvSpPr>
            <a:spLocks noChangeArrowheads="1"/>
          </p:cNvSpPr>
          <p:nvPr/>
        </p:nvSpPr>
        <p:spPr bwMode="auto">
          <a:xfrm>
            <a:off x="2626201" y="4556631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고객위험평가</a:t>
            </a: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2626201" y="4751055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….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6" name="Rectangle 20"/>
          <p:cNvSpPr>
            <a:spLocks noChangeArrowheads="1"/>
          </p:cNvSpPr>
          <p:nvPr/>
        </p:nvSpPr>
        <p:spPr bwMode="auto">
          <a:xfrm>
            <a:off x="2626201" y="4980398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거래모니터링</a:t>
            </a:r>
          </a:p>
        </p:txBody>
      </p:sp>
      <p:sp>
        <p:nvSpPr>
          <p:cNvPr id="37" name="Rectangle 20"/>
          <p:cNvSpPr>
            <a:spLocks noChangeArrowheads="1"/>
          </p:cNvSpPr>
          <p:nvPr/>
        </p:nvSpPr>
        <p:spPr bwMode="auto">
          <a:xfrm>
            <a:off x="2626201" y="5178078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TR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거래모니터링</a:t>
            </a:r>
          </a:p>
        </p:txBody>
      </p:sp>
      <p:sp>
        <p:nvSpPr>
          <p:cNvPr id="38" name="Rectangle 20"/>
          <p:cNvSpPr>
            <a:spLocks noChangeArrowheads="1"/>
          </p:cNvSpPr>
          <p:nvPr/>
        </p:nvSpPr>
        <p:spPr bwMode="auto">
          <a:xfrm>
            <a:off x="2626201" y="5404814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44" name="Rectangle 20"/>
          <p:cNvSpPr>
            <a:spLocks noChangeArrowheads="1"/>
          </p:cNvSpPr>
          <p:nvPr/>
        </p:nvSpPr>
        <p:spPr bwMode="auto">
          <a:xfrm>
            <a:off x="2626201" y="5600277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45" name="Rectangle 20"/>
          <p:cNvSpPr>
            <a:spLocks noChangeArrowheads="1"/>
          </p:cNvSpPr>
          <p:nvPr/>
        </p:nvSpPr>
        <p:spPr bwMode="auto">
          <a:xfrm>
            <a:off x="2626201" y="5795738"/>
            <a:ext cx="1306506" cy="162012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cxnSp>
        <p:nvCxnSpPr>
          <p:cNvPr id="46" name="꺾인 연결선 45"/>
          <p:cNvCxnSpPr>
            <a:stCxn id="50" idx="2"/>
            <a:endCxn id="21" idx="1"/>
          </p:cNvCxnSpPr>
          <p:nvPr/>
        </p:nvCxnSpPr>
        <p:spPr bwMode="auto">
          <a:xfrm rot="16200000" flipH="1">
            <a:off x="907799" y="2961246"/>
            <a:ext cx="416615" cy="563876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47" name="꺾인 연결선 46"/>
          <p:cNvCxnSpPr>
            <a:stCxn id="50" idx="2"/>
            <a:endCxn id="22" idx="1"/>
          </p:cNvCxnSpPr>
          <p:nvPr/>
        </p:nvCxnSpPr>
        <p:spPr bwMode="auto">
          <a:xfrm rot="16200000" flipH="1">
            <a:off x="625223" y="3243821"/>
            <a:ext cx="981765" cy="563876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48" name="꺾인 연결선 47"/>
          <p:cNvCxnSpPr>
            <a:stCxn id="50" idx="2"/>
            <a:endCxn id="23" idx="1"/>
          </p:cNvCxnSpPr>
          <p:nvPr/>
        </p:nvCxnSpPr>
        <p:spPr bwMode="auto">
          <a:xfrm rot="16200000" flipH="1">
            <a:off x="339476" y="3529567"/>
            <a:ext cx="1553257" cy="563876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49" name="꺾인 연결선 48"/>
          <p:cNvCxnSpPr>
            <a:stCxn id="50" idx="2"/>
            <a:endCxn id="25" idx="1"/>
          </p:cNvCxnSpPr>
          <p:nvPr/>
        </p:nvCxnSpPr>
        <p:spPr bwMode="auto">
          <a:xfrm rot="16200000" flipH="1">
            <a:off x="54702" y="3814342"/>
            <a:ext cx="2122807" cy="563876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sp>
        <p:nvSpPr>
          <p:cNvPr id="50" name="Rectangle 2"/>
          <p:cNvSpPr>
            <a:spLocks noChangeArrowheads="1"/>
          </p:cNvSpPr>
          <p:nvPr/>
        </p:nvSpPr>
        <p:spPr bwMode="auto">
          <a:xfrm>
            <a:off x="452376" y="2814225"/>
            <a:ext cx="763583" cy="220652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인</a:t>
            </a:r>
          </a:p>
        </p:txBody>
      </p:sp>
      <p:cxnSp>
        <p:nvCxnSpPr>
          <p:cNvPr id="51" name="꺾인 연결선 50"/>
          <p:cNvCxnSpPr>
            <a:stCxn id="50" idx="2"/>
            <a:endCxn id="26" idx="1"/>
          </p:cNvCxnSpPr>
          <p:nvPr/>
        </p:nvCxnSpPr>
        <p:spPr bwMode="auto">
          <a:xfrm rot="16200000" flipH="1">
            <a:off x="-141351" y="4010395"/>
            <a:ext cx="2514911" cy="563876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2" name="꺾인 연결선 51"/>
          <p:cNvCxnSpPr>
            <a:stCxn id="21" idx="3"/>
            <a:endCxn id="27" idx="1"/>
          </p:cNvCxnSpPr>
          <p:nvPr/>
        </p:nvCxnSpPr>
        <p:spPr bwMode="auto">
          <a:xfrm flipV="1">
            <a:off x="2417591" y="3198079"/>
            <a:ext cx="208610" cy="253413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3" name="꺾인 연결선 52"/>
          <p:cNvCxnSpPr>
            <a:stCxn id="21" idx="3"/>
            <a:endCxn id="28" idx="1"/>
          </p:cNvCxnSpPr>
          <p:nvPr/>
        </p:nvCxnSpPr>
        <p:spPr bwMode="auto">
          <a:xfrm flipV="1">
            <a:off x="2417591" y="3399528"/>
            <a:ext cx="208610" cy="5196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5" name="꺾인 연결선 54"/>
          <p:cNvCxnSpPr>
            <a:stCxn id="21" idx="3"/>
            <a:endCxn id="29" idx="1"/>
          </p:cNvCxnSpPr>
          <p:nvPr/>
        </p:nvCxnSpPr>
        <p:spPr bwMode="auto">
          <a:xfrm>
            <a:off x="2417591" y="3451492"/>
            <a:ext cx="208610" cy="14948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6" name="꺾인 연결선 55"/>
          <p:cNvCxnSpPr>
            <a:stCxn id="22" idx="3"/>
            <a:endCxn id="30" idx="1"/>
          </p:cNvCxnSpPr>
          <p:nvPr/>
        </p:nvCxnSpPr>
        <p:spPr bwMode="auto">
          <a:xfrm flipV="1">
            <a:off x="2417591" y="3820665"/>
            <a:ext cx="208610" cy="19597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7" name="꺾인 연결선 56"/>
          <p:cNvCxnSpPr>
            <a:stCxn id="22" idx="3"/>
            <a:endCxn id="31" idx="1"/>
          </p:cNvCxnSpPr>
          <p:nvPr/>
        </p:nvCxnSpPr>
        <p:spPr bwMode="auto">
          <a:xfrm flipV="1">
            <a:off x="2417591" y="4012681"/>
            <a:ext cx="208610" cy="3961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8" name="꺾인 연결선 57"/>
          <p:cNvCxnSpPr>
            <a:stCxn id="22" idx="3"/>
            <a:endCxn id="32" idx="1"/>
          </p:cNvCxnSpPr>
          <p:nvPr/>
        </p:nvCxnSpPr>
        <p:spPr bwMode="auto">
          <a:xfrm>
            <a:off x="2417591" y="4016642"/>
            <a:ext cx="208610" cy="18805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59" name="꺾인 연결선 58"/>
          <p:cNvCxnSpPr>
            <a:stCxn id="23" idx="3"/>
            <a:endCxn id="33" idx="1"/>
          </p:cNvCxnSpPr>
          <p:nvPr/>
        </p:nvCxnSpPr>
        <p:spPr bwMode="auto">
          <a:xfrm flipV="1">
            <a:off x="2417591" y="4443213"/>
            <a:ext cx="208610" cy="144922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0" name="꺾인 연결선 59"/>
          <p:cNvCxnSpPr>
            <a:stCxn id="23" idx="3"/>
            <a:endCxn id="34" idx="1"/>
          </p:cNvCxnSpPr>
          <p:nvPr/>
        </p:nvCxnSpPr>
        <p:spPr bwMode="auto">
          <a:xfrm>
            <a:off x="2417591" y="4588135"/>
            <a:ext cx="208610" cy="49503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1" name="꺾인 연결선 60"/>
          <p:cNvCxnSpPr>
            <a:stCxn id="23" idx="3"/>
            <a:endCxn id="35" idx="1"/>
          </p:cNvCxnSpPr>
          <p:nvPr/>
        </p:nvCxnSpPr>
        <p:spPr bwMode="auto">
          <a:xfrm>
            <a:off x="2417591" y="4588135"/>
            <a:ext cx="208610" cy="24392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2" name="꺾인 연결선 61"/>
          <p:cNvCxnSpPr>
            <a:stCxn id="25" idx="3"/>
            <a:endCxn id="36" idx="1"/>
          </p:cNvCxnSpPr>
          <p:nvPr/>
        </p:nvCxnSpPr>
        <p:spPr bwMode="auto">
          <a:xfrm flipV="1">
            <a:off x="2417591" y="5061404"/>
            <a:ext cx="208610" cy="96280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3" name="꺾인 연결선 62"/>
          <p:cNvCxnSpPr>
            <a:stCxn id="25" idx="3"/>
            <a:endCxn id="37" idx="1"/>
          </p:cNvCxnSpPr>
          <p:nvPr/>
        </p:nvCxnSpPr>
        <p:spPr bwMode="auto">
          <a:xfrm>
            <a:off x="2417591" y="5157684"/>
            <a:ext cx="208610" cy="10139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4" name="꺾인 연결선 63"/>
          <p:cNvCxnSpPr>
            <a:stCxn id="26" idx="3"/>
            <a:endCxn id="38" idx="1"/>
          </p:cNvCxnSpPr>
          <p:nvPr/>
        </p:nvCxnSpPr>
        <p:spPr bwMode="auto">
          <a:xfrm flipV="1">
            <a:off x="2417591" y="5485821"/>
            <a:ext cx="208610" cy="6396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5" name="꺾인 연결선 64"/>
          <p:cNvCxnSpPr>
            <a:stCxn id="26" idx="3"/>
            <a:endCxn id="44" idx="1"/>
          </p:cNvCxnSpPr>
          <p:nvPr/>
        </p:nvCxnSpPr>
        <p:spPr bwMode="auto">
          <a:xfrm>
            <a:off x="2417591" y="5549790"/>
            <a:ext cx="208610" cy="131493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cxnSp>
        <p:nvCxnSpPr>
          <p:cNvPr id="66" name="꺾인 연결선 65"/>
          <p:cNvCxnSpPr>
            <a:stCxn id="26" idx="3"/>
            <a:endCxn id="45" idx="1"/>
          </p:cNvCxnSpPr>
          <p:nvPr/>
        </p:nvCxnSpPr>
        <p:spPr bwMode="auto">
          <a:xfrm>
            <a:off x="2417591" y="5549790"/>
            <a:ext cx="208610" cy="32695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none" w="sm" len="sm"/>
          </a:ln>
        </p:spPr>
      </p:cxnSp>
      <p:sp>
        <p:nvSpPr>
          <p:cNvPr id="67" name="Rectangle 20"/>
          <p:cNvSpPr>
            <a:spLocks noChangeArrowheads="1"/>
          </p:cNvSpPr>
          <p:nvPr/>
        </p:nvSpPr>
        <p:spPr bwMode="auto">
          <a:xfrm>
            <a:off x="3988897" y="3117073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8" name="Rectangle 20"/>
          <p:cNvSpPr>
            <a:spLocks noChangeArrowheads="1"/>
          </p:cNvSpPr>
          <p:nvPr/>
        </p:nvSpPr>
        <p:spPr bwMode="auto">
          <a:xfrm>
            <a:off x="3988897" y="3318360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9" name="Rectangle 20"/>
          <p:cNvSpPr>
            <a:spLocks noChangeArrowheads="1"/>
          </p:cNvSpPr>
          <p:nvPr/>
        </p:nvSpPr>
        <p:spPr bwMode="auto">
          <a:xfrm>
            <a:off x="3988897" y="3519646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0" name="Rectangle 20"/>
          <p:cNvSpPr>
            <a:spLocks noChangeArrowheads="1"/>
          </p:cNvSpPr>
          <p:nvPr/>
        </p:nvSpPr>
        <p:spPr bwMode="auto">
          <a:xfrm>
            <a:off x="3988897" y="3739659"/>
            <a:ext cx="570283" cy="162335"/>
          </a:xfrm>
          <a:prstGeom prst="rect">
            <a:avLst/>
          </a:prstGeom>
          <a:solidFill>
            <a:srgbClr val="A32020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</a:t>
            </a:r>
            <a:endParaRPr lang="ko-KR" altLang="en-US" sz="900" spc="-1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1" name="Rectangle 20"/>
          <p:cNvSpPr>
            <a:spLocks noChangeArrowheads="1"/>
          </p:cNvSpPr>
          <p:nvPr/>
        </p:nvSpPr>
        <p:spPr bwMode="auto">
          <a:xfrm>
            <a:off x="3988897" y="3931675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2" name="Rectangle 20"/>
          <p:cNvSpPr>
            <a:spLocks noChangeArrowheads="1"/>
          </p:cNvSpPr>
          <p:nvPr/>
        </p:nvSpPr>
        <p:spPr bwMode="auto">
          <a:xfrm>
            <a:off x="3988897" y="4123692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3" name="Rectangle 20"/>
          <p:cNvSpPr>
            <a:spLocks noChangeArrowheads="1"/>
          </p:cNvSpPr>
          <p:nvPr/>
        </p:nvSpPr>
        <p:spPr bwMode="auto">
          <a:xfrm>
            <a:off x="3988897" y="4362207"/>
            <a:ext cx="570283" cy="162335"/>
          </a:xfrm>
          <a:prstGeom prst="rect">
            <a:avLst/>
          </a:prstGeom>
          <a:solidFill>
            <a:srgbClr val="A32020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</a:t>
            </a:r>
            <a:endParaRPr lang="ko-KR" altLang="en-US" sz="900" spc="-1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4" name="Rectangle 20"/>
          <p:cNvSpPr>
            <a:spLocks noChangeArrowheads="1"/>
          </p:cNvSpPr>
          <p:nvPr/>
        </p:nvSpPr>
        <p:spPr bwMode="auto">
          <a:xfrm>
            <a:off x="3988897" y="4556468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5" name="Rectangle 20"/>
          <p:cNvSpPr>
            <a:spLocks noChangeArrowheads="1"/>
          </p:cNvSpPr>
          <p:nvPr/>
        </p:nvSpPr>
        <p:spPr bwMode="auto">
          <a:xfrm>
            <a:off x="3988897" y="4750731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6" name="Rectangle 20"/>
          <p:cNvSpPr>
            <a:spLocks noChangeArrowheads="1"/>
          </p:cNvSpPr>
          <p:nvPr/>
        </p:nvSpPr>
        <p:spPr bwMode="auto">
          <a:xfrm>
            <a:off x="3988897" y="4980398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3988897" y="5177754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8" name="Rectangle 20"/>
          <p:cNvSpPr>
            <a:spLocks noChangeArrowheads="1"/>
          </p:cNvSpPr>
          <p:nvPr/>
        </p:nvSpPr>
        <p:spPr bwMode="auto">
          <a:xfrm>
            <a:off x="3988897" y="5404814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988897" y="5600114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0" name="Rectangle 20"/>
          <p:cNvSpPr>
            <a:spLocks noChangeArrowheads="1"/>
          </p:cNvSpPr>
          <p:nvPr/>
        </p:nvSpPr>
        <p:spPr bwMode="auto">
          <a:xfrm>
            <a:off x="3988897" y="5795415"/>
            <a:ext cx="570283" cy="162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9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9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81" name="직선 연결선 80"/>
          <p:cNvCxnSpPr/>
          <p:nvPr/>
        </p:nvCxnSpPr>
        <p:spPr>
          <a:xfrm>
            <a:off x="595280" y="2689013"/>
            <a:ext cx="3869122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>
          <a:xfrm>
            <a:off x="601354" y="2352025"/>
            <a:ext cx="3856973" cy="32051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[ </a:t>
            </a:r>
            <a:r>
              <a:rPr lang="ko-KR" altLang="en-US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비스별 위험평가 결과 </a:t>
            </a:r>
            <a:r>
              <a:rPr lang="en-US" altLang="ko-KR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]</a:t>
            </a:r>
            <a:endParaRPr lang="ko-KR" altLang="en-US" sz="1200" spc="-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3" name="Rectangle 19"/>
          <p:cNvSpPr>
            <a:spLocks noChangeArrowheads="1"/>
          </p:cNvSpPr>
          <p:nvPr/>
        </p:nvSpPr>
        <p:spPr bwMode="auto">
          <a:xfrm>
            <a:off x="1398043" y="2822379"/>
            <a:ext cx="1019546" cy="21082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잔여위험 등급</a:t>
            </a:r>
          </a:p>
        </p:txBody>
      </p:sp>
      <p:sp>
        <p:nvSpPr>
          <p:cNvPr id="84" name="Rectangle 20"/>
          <p:cNvSpPr>
            <a:spLocks noChangeArrowheads="1"/>
          </p:cNvSpPr>
          <p:nvPr/>
        </p:nvSpPr>
        <p:spPr bwMode="auto">
          <a:xfrm>
            <a:off x="2626200" y="2821858"/>
            <a:ext cx="1306506" cy="211348"/>
          </a:xfrm>
          <a:prstGeom prst="rect">
            <a:avLst/>
          </a:prstGeom>
          <a:solidFill>
            <a:srgbClr val="A32020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900" spc="-1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5 </a:t>
            </a:r>
            <a:r>
              <a:rPr lang="ko-KR" altLang="en-US" sz="900" spc="-1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위험</a:t>
            </a:r>
            <a:r>
              <a:rPr lang="en-US" altLang="ko-KR" sz="900" spc="-1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endParaRPr lang="ko-KR" altLang="en-US" sz="900" spc="-1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5" name="Rectangle 2"/>
          <p:cNvSpPr>
            <a:spLocks noChangeArrowheads="1"/>
          </p:cNvSpPr>
          <p:nvPr/>
        </p:nvSpPr>
        <p:spPr bwMode="auto">
          <a:xfrm>
            <a:off x="452376" y="6052664"/>
            <a:ext cx="763583" cy="220652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업</a:t>
            </a:r>
          </a:p>
        </p:txBody>
      </p:sp>
      <p:sp>
        <p:nvSpPr>
          <p:cNvPr id="86" name="Rectangle 19"/>
          <p:cNvSpPr>
            <a:spLocks noChangeArrowheads="1"/>
          </p:cNvSpPr>
          <p:nvPr/>
        </p:nvSpPr>
        <p:spPr bwMode="auto">
          <a:xfrm>
            <a:off x="1398043" y="6060817"/>
            <a:ext cx="1019546" cy="21082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잔여위험 등급</a:t>
            </a:r>
          </a:p>
        </p:txBody>
      </p:sp>
      <p:sp>
        <p:nvSpPr>
          <p:cNvPr id="87" name="Rectangle 20"/>
          <p:cNvSpPr>
            <a:spLocks noChangeArrowheads="1"/>
          </p:cNvSpPr>
          <p:nvPr/>
        </p:nvSpPr>
        <p:spPr bwMode="auto">
          <a:xfrm>
            <a:off x="2626200" y="6060297"/>
            <a:ext cx="1306506" cy="211348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R3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중위험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88" name="직사각형 87"/>
          <p:cNvSpPr/>
          <p:nvPr/>
        </p:nvSpPr>
        <p:spPr bwMode="ltGray">
          <a:xfrm>
            <a:off x="4876672" y="2786515"/>
            <a:ext cx="4612832" cy="165669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lvl="0" indent="-171450" algn="l" defTabSz="898885">
              <a:buFont typeface="Arial" panose="020B0604020202020204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우선 점검 대상 서비스 선정 </a:t>
            </a:r>
            <a:endParaRPr lang="en-US" altLang="ko-KR" sz="1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lvl="0" algn="l" defTabSz="898885">
              <a:spcBef>
                <a:spcPts val="600"/>
              </a:spcBef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잔여위험 등급이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5(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위험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, R4(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고위험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비스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  <a:p>
            <a:pPr lvl="0" algn="l" defTabSz="898885">
              <a:defRPr/>
            </a:pPr>
            <a:r>
              <a:rPr lang="en-US" altLang="ko-KR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-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총 통제 효과성이 평균 이하인 서비스 </a:t>
            </a:r>
            <a:endParaRPr lang="en-US" altLang="ko-KR" sz="1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lvl="0" algn="l" defTabSz="898885">
              <a:defRPr/>
            </a:pPr>
            <a:r>
              <a:rPr lang="en-US" altLang="ko-KR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- </a:t>
            </a:r>
            <a:r>
              <a:rPr lang="ko-KR" altLang="en-US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총 통제 효과성이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균 이상인 서비스</a:t>
            </a:r>
            <a:endParaRPr lang="en-US" altLang="ko-KR" sz="1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lvl="0" algn="l" defTabSz="898885">
              <a:defRPr/>
            </a:pPr>
            <a:r>
              <a:rPr lang="en-US" altLang="ko-KR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-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 효과성 측면에서 통제 평가 결과</a:t>
            </a:r>
            <a:r>
              <a:rPr lang="ko-KR" altLang="en-US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가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하위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0%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하</a:t>
            </a:r>
            <a:endParaRPr lang="en-US" altLang="ko-KR" sz="1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lvl="0" algn="l" defTabSz="898885"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거나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상위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0%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상인 항목에 대해서 우선 점검  </a:t>
            </a:r>
            <a:endParaRPr lang="en-US" altLang="ko-KR" sz="1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89" name="직선 연결선 88"/>
          <p:cNvCxnSpPr/>
          <p:nvPr/>
        </p:nvCxnSpPr>
        <p:spPr>
          <a:xfrm>
            <a:off x="4876671" y="2689013"/>
            <a:ext cx="460221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직사각형 89"/>
          <p:cNvSpPr/>
          <p:nvPr/>
        </p:nvSpPr>
        <p:spPr>
          <a:xfrm>
            <a:off x="4774591" y="2367598"/>
            <a:ext cx="4714912" cy="32051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[ </a:t>
            </a:r>
            <a:r>
              <a:rPr lang="ko-KR" altLang="en-US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임점 모니터링 </a:t>
            </a:r>
            <a:r>
              <a:rPr lang="en-US" altLang="ko-KR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]</a:t>
            </a:r>
            <a:endParaRPr lang="ko-KR" altLang="en-US" sz="1200" spc="-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직사각형 90"/>
          <p:cNvSpPr/>
          <p:nvPr/>
        </p:nvSpPr>
        <p:spPr bwMode="ltGray">
          <a:xfrm>
            <a:off x="4866049" y="4990266"/>
            <a:ext cx="4612832" cy="114260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lvl="0" indent="-171450" algn="l" defTabSz="898885">
              <a:buFont typeface="Arial" panose="020B0604020202020204" pitchFamily="34" charset="0"/>
              <a:buChar char="•"/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간 계획에 따른 교육수행 이외에 다음의 추가 교육 수행</a:t>
            </a:r>
            <a:endParaRPr lang="en-US" altLang="ko-KR" sz="1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lvl="0" algn="l" defTabSz="898885">
              <a:spcBef>
                <a:spcPts val="600"/>
              </a:spcBef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- ML/TF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이 상향 조정된 서비스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</a:p>
          <a:p>
            <a:pPr lvl="0" algn="l" defTabSz="898885">
              <a:defRPr/>
            </a:pPr>
            <a:r>
              <a:rPr lang="en-US" altLang="ko-KR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-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위험군에 대한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EDD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절차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실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제소유자확인절차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 사례 및 </a:t>
            </a:r>
            <a:endParaRPr lang="en-US" altLang="ko-KR" sz="1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lvl="0" algn="l" defTabSz="898885">
              <a:defRPr/>
            </a:pPr>
            <a:r>
              <a:rPr lang="en-US" altLang="ko-KR" sz="1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STR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사례 등</a:t>
            </a:r>
            <a:endParaRPr lang="en-US" altLang="ko-KR" sz="1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92" name="직선 연결선 91"/>
          <p:cNvCxnSpPr/>
          <p:nvPr/>
        </p:nvCxnSpPr>
        <p:spPr>
          <a:xfrm>
            <a:off x="4866048" y="4905265"/>
            <a:ext cx="460221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직사각형 92"/>
          <p:cNvSpPr/>
          <p:nvPr/>
        </p:nvSpPr>
        <p:spPr>
          <a:xfrm>
            <a:off x="4763968" y="4589323"/>
            <a:ext cx="4714912" cy="32051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[ </a:t>
            </a:r>
            <a:r>
              <a:rPr lang="ko-KR" altLang="en-US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교육 </a:t>
            </a:r>
            <a:r>
              <a:rPr lang="en-US" altLang="ko-KR" sz="1200" spc="-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]</a:t>
            </a:r>
            <a:endParaRPr lang="ko-KR" altLang="en-US" sz="1200" spc="-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9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8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3/10)</a:t>
            </a:r>
            <a:endParaRPr lang="ko-KR" altLang="en-US" dirty="0"/>
          </a:p>
        </p:txBody>
      </p:sp>
      <p:sp>
        <p:nvSpPr>
          <p:cNvPr id="9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96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51787" y="252696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95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998777" y="250075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45113" y="475463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9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산은행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을 지속적으로 모니터링 할 수 있도록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를 정의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사전 정의된 임계치 초과 지표에 대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ler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발생시켜 위험에 대응할 수 있도록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 체계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RI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니터링 체계 수립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" name="직사각형 19"/>
          <p:cNvSpPr/>
          <p:nvPr/>
        </p:nvSpPr>
        <p:spPr bwMode="ltGray">
          <a:xfrm>
            <a:off x="470962" y="2276872"/>
            <a:ext cx="1365578" cy="63781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sym typeface="Arial" pitchFamily="34" charset="0"/>
              </a:rPr>
              <a:t>ML/TF </a:t>
            </a:r>
          </a:p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sym typeface="Arial" pitchFamily="34" charset="0"/>
              </a:rPr>
              <a:t>KRI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sym typeface="Arial" pitchFamily="34" charset="0"/>
            </a:endParaRPr>
          </a:p>
        </p:txBody>
      </p:sp>
      <p:sp>
        <p:nvSpPr>
          <p:cNvPr id="21" name="직사각형 20"/>
          <p:cNvSpPr/>
          <p:nvPr/>
        </p:nvSpPr>
        <p:spPr bwMode="ltGray">
          <a:xfrm>
            <a:off x="1897962" y="2276872"/>
            <a:ext cx="7434055" cy="63781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5250" indent="-95250" algn="l" defTabSz="1019007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산은행</a:t>
            </a:r>
            <a:r>
              <a: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체적으로 </a:t>
            </a:r>
            <a:r>
              <a: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ML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수준을 평가</a:t>
            </a:r>
            <a:r>
              <a: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모니터링 하기 위한 위험관리 지표</a:t>
            </a:r>
            <a:endParaRPr lang="en-US" altLang="ko-KR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95250" indent="-95250" algn="l" defTabSz="1019007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</a:t>
            </a:r>
            <a:r>
              <a: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점에서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임계치를 초과하는 지표가 식별된 경우 관리대상에 </a:t>
            </a:r>
            <a:r>
              <a: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lert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을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달</a:t>
            </a:r>
            <a:r>
              <a: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위험에 대응할 수 있도록 지원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2" cstate="print"/>
          <a:srcRect l="21114" t="32396" r="45121" b="11568"/>
          <a:stretch>
            <a:fillRect/>
          </a:stretch>
        </p:blipFill>
        <p:spPr bwMode="auto">
          <a:xfrm>
            <a:off x="423884" y="3109061"/>
            <a:ext cx="3716084" cy="316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직사각형 25"/>
          <p:cNvSpPr/>
          <p:nvPr/>
        </p:nvSpPr>
        <p:spPr bwMode="ltGray">
          <a:xfrm>
            <a:off x="1191506" y="3258537"/>
            <a:ext cx="2066401" cy="199691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pc="-100" dirty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7" name="직사각형 26"/>
          <p:cNvSpPr/>
          <p:nvPr/>
        </p:nvSpPr>
        <p:spPr bwMode="ltGray">
          <a:xfrm>
            <a:off x="505885" y="4116119"/>
            <a:ext cx="135367" cy="66917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pc="-100" dirty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8" name="Text Box 21"/>
          <p:cNvSpPr txBox="1">
            <a:spLocks noChangeArrowheads="1"/>
          </p:cNvSpPr>
          <p:nvPr/>
        </p:nvSpPr>
        <p:spPr bwMode="auto">
          <a:xfrm>
            <a:off x="904368" y="3235206"/>
            <a:ext cx="2544357" cy="270537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위험</a:t>
            </a:r>
            <a:r>
              <a:rPr kumimoji="0" lang="ko-KR" altLang="en-US" sz="100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전문직종 </a:t>
            </a:r>
            <a:r>
              <a:rPr lang="ko-KR" altLang="en-US" sz="1000" kern="0" dirty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금액 </a:t>
            </a: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증감</a:t>
            </a:r>
            <a:r>
              <a:rPr kumimoji="0" lang="ko-KR" altLang="en-US" sz="1000" i="0" u="none" strike="noStrike" kern="0" cap="none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율</a:t>
            </a:r>
            <a:endParaRPr kumimoji="0" lang="en-US" altLang="ko-KR" sz="1000" i="0" u="none" strike="noStrike" kern="0" cap="none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직사각형 28"/>
          <p:cNvSpPr/>
          <p:nvPr/>
        </p:nvSpPr>
        <p:spPr bwMode="ltGray">
          <a:xfrm>
            <a:off x="4984245" y="3733220"/>
            <a:ext cx="415920" cy="11748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L/TF</a:t>
            </a:r>
          </a:p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리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직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0" name="직사각형 29"/>
          <p:cNvSpPr/>
          <p:nvPr/>
        </p:nvSpPr>
        <p:spPr bwMode="ltGray">
          <a:xfrm>
            <a:off x="4984245" y="5021693"/>
            <a:ext cx="415920" cy="11748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업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서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5466672" y="4410978"/>
            <a:ext cx="869184" cy="35889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모니터링을 통한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 측정</a:t>
            </a:r>
          </a:p>
        </p:txBody>
      </p:sp>
      <p:sp>
        <p:nvSpPr>
          <p:cNvPr id="32" name="직사각형 31"/>
          <p:cNvSpPr/>
          <p:nvPr/>
        </p:nvSpPr>
        <p:spPr bwMode="auto">
          <a:xfrm>
            <a:off x="6461623" y="3919639"/>
            <a:ext cx="869184" cy="35889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buSzPct val="90000"/>
              <a:defRPr/>
            </a:pP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임계치 초과</a:t>
            </a:r>
            <a:endParaRPr lang="en-US" altLang="ko-KR" sz="800" kern="0" dirty="0">
              <a:solidFill>
                <a:srgbClr val="1B111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  <a:p>
            <a:pPr algn="ctr" defTabSz="1018354">
              <a:buSzPct val="90000"/>
              <a:defRPr/>
            </a:pPr>
            <a:r>
              <a:rPr lang="ko-KR" altLang="en-US" sz="800" kern="0" dirty="0" smtClean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지표 </a:t>
            </a: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인지</a:t>
            </a:r>
            <a:endParaRPr lang="en-US" altLang="ko-KR" sz="800" kern="0" dirty="0">
              <a:solidFill>
                <a:srgbClr val="1B111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6461623" y="4410978"/>
            <a:ext cx="869184" cy="35889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buSzPct val="90000"/>
              <a:defRPr/>
            </a:pP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원인파악 및 </a:t>
            </a:r>
            <a:endParaRPr lang="en-US" altLang="ko-KR" sz="800" kern="0" dirty="0">
              <a:solidFill>
                <a:srgbClr val="1B111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  <a:p>
            <a:pPr algn="ctr" defTabSz="1018354">
              <a:buSzPct val="90000"/>
              <a:defRPr/>
            </a:pP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대응조치 요청</a:t>
            </a:r>
          </a:p>
        </p:txBody>
      </p:sp>
      <p:sp>
        <p:nvSpPr>
          <p:cNvPr id="34" name="직사각형 33"/>
          <p:cNvSpPr/>
          <p:nvPr/>
        </p:nvSpPr>
        <p:spPr bwMode="auto">
          <a:xfrm>
            <a:off x="7455276" y="5727213"/>
            <a:ext cx="869184" cy="35889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임계치 초과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인분석 및 대응</a:t>
            </a:r>
          </a:p>
        </p:txBody>
      </p:sp>
      <p:sp>
        <p:nvSpPr>
          <p:cNvPr id="35" name="직사각형 34"/>
          <p:cNvSpPr/>
          <p:nvPr/>
        </p:nvSpPr>
        <p:spPr bwMode="auto">
          <a:xfrm>
            <a:off x="7455276" y="4123333"/>
            <a:ext cx="869184" cy="35889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RI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별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응조치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결과 검토</a:t>
            </a:r>
          </a:p>
        </p:txBody>
      </p:sp>
      <p:sp>
        <p:nvSpPr>
          <p:cNvPr id="36" name="직사각형 35"/>
          <p:cNvSpPr/>
          <p:nvPr/>
        </p:nvSpPr>
        <p:spPr bwMode="auto">
          <a:xfrm>
            <a:off x="8443327" y="4123333"/>
            <a:ext cx="869184" cy="35889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buSzPct val="90000"/>
              <a:defRPr/>
            </a:pP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원인 분석 및 </a:t>
            </a:r>
            <a:endParaRPr lang="en-US" altLang="ko-KR" sz="800" kern="0" dirty="0">
              <a:solidFill>
                <a:srgbClr val="1B111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  <a:p>
            <a:pPr algn="ctr" defTabSz="1018354">
              <a:buSzPct val="90000"/>
              <a:defRPr/>
            </a:pP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이슈 해결</a:t>
            </a:r>
          </a:p>
        </p:txBody>
      </p:sp>
      <p:sp>
        <p:nvSpPr>
          <p:cNvPr id="37" name="오각형 36"/>
          <p:cNvSpPr/>
          <p:nvPr/>
        </p:nvSpPr>
        <p:spPr bwMode="ltGray">
          <a:xfrm>
            <a:off x="5433841" y="3269428"/>
            <a:ext cx="1017640" cy="353727"/>
          </a:xfrm>
          <a:prstGeom prst="homePlate">
            <a:avLst>
              <a:gd name="adj" fmla="val 30392"/>
            </a:avLst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.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니터링</a:t>
            </a:r>
          </a:p>
        </p:txBody>
      </p:sp>
      <p:sp>
        <p:nvSpPr>
          <p:cNvPr id="38" name="갈매기형 수장 37"/>
          <p:cNvSpPr/>
          <p:nvPr/>
        </p:nvSpPr>
        <p:spPr bwMode="ltGray">
          <a:xfrm>
            <a:off x="6410511" y="3269428"/>
            <a:ext cx="1017640" cy="353727"/>
          </a:xfrm>
          <a:prstGeom prst="chevron">
            <a:avLst>
              <a:gd name="adj" fmla="val 30392"/>
            </a:avLst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.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응조치 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청</a:t>
            </a:r>
          </a:p>
        </p:txBody>
      </p:sp>
      <p:sp>
        <p:nvSpPr>
          <p:cNvPr id="44" name="갈매기형 수장 43"/>
          <p:cNvSpPr/>
          <p:nvPr/>
        </p:nvSpPr>
        <p:spPr bwMode="ltGray">
          <a:xfrm>
            <a:off x="7387182" y="3269428"/>
            <a:ext cx="1017640" cy="353727"/>
          </a:xfrm>
          <a:prstGeom prst="chevron">
            <a:avLst>
              <a:gd name="adj" fmla="val 30392"/>
            </a:avLst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.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응조치 </a:t>
            </a:r>
            <a:endParaRPr lang="en-US" altLang="ko-KR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행</a:t>
            </a:r>
          </a:p>
        </p:txBody>
      </p:sp>
      <p:sp>
        <p:nvSpPr>
          <p:cNvPr id="45" name="갈매기형 수장 44"/>
          <p:cNvSpPr/>
          <p:nvPr/>
        </p:nvSpPr>
        <p:spPr bwMode="ltGray">
          <a:xfrm>
            <a:off x="8363852" y="3269428"/>
            <a:ext cx="1017640" cy="353727"/>
          </a:xfrm>
          <a:prstGeom prst="chevron">
            <a:avLst>
              <a:gd name="adj" fmla="val 30392"/>
            </a:avLst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.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확인 및 피드백</a:t>
            </a:r>
          </a:p>
        </p:txBody>
      </p:sp>
      <p:sp>
        <p:nvSpPr>
          <p:cNvPr id="46" name="직사각형 45"/>
          <p:cNvSpPr/>
          <p:nvPr/>
        </p:nvSpPr>
        <p:spPr bwMode="auto">
          <a:xfrm>
            <a:off x="7455276" y="5218039"/>
            <a:ext cx="869184" cy="35889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응조치에 대한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결과 제출</a:t>
            </a:r>
          </a:p>
        </p:txBody>
      </p:sp>
      <p:sp>
        <p:nvSpPr>
          <p:cNvPr id="47" name="직사각형 46"/>
          <p:cNvSpPr/>
          <p:nvPr/>
        </p:nvSpPr>
        <p:spPr bwMode="auto">
          <a:xfrm>
            <a:off x="5467971" y="3919639"/>
            <a:ext cx="869184" cy="35889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KRI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지표값 산출</a:t>
            </a:r>
          </a:p>
        </p:txBody>
      </p:sp>
      <p:cxnSp>
        <p:nvCxnSpPr>
          <p:cNvPr id="48" name="직선 화살표 연결선 47"/>
          <p:cNvCxnSpPr>
            <a:stCxn id="47" idx="2"/>
            <a:endCxn id="31" idx="0"/>
          </p:cNvCxnSpPr>
          <p:nvPr/>
        </p:nvCxnSpPr>
        <p:spPr>
          <a:xfrm flipH="1">
            <a:off x="5901264" y="4278540"/>
            <a:ext cx="1299" cy="13243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꺾인 연결선 48"/>
          <p:cNvCxnSpPr>
            <a:stCxn id="31" idx="3"/>
            <a:endCxn id="32" idx="1"/>
          </p:cNvCxnSpPr>
          <p:nvPr/>
        </p:nvCxnSpPr>
        <p:spPr>
          <a:xfrm flipV="1">
            <a:off x="6335856" y="4099090"/>
            <a:ext cx="125767" cy="491339"/>
          </a:xfrm>
          <a:prstGeom prst="bentConnector3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화살표 연결선 49"/>
          <p:cNvCxnSpPr>
            <a:stCxn id="32" idx="2"/>
            <a:endCxn id="33" idx="0"/>
          </p:cNvCxnSpPr>
          <p:nvPr/>
        </p:nvCxnSpPr>
        <p:spPr>
          <a:xfrm>
            <a:off x="6896215" y="4278540"/>
            <a:ext cx="0" cy="13243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꺾인 연결선 50"/>
          <p:cNvCxnSpPr>
            <a:endCxn id="34" idx="1"/>
          </p:cNvCxnSpPr>
          <p:nvPr/>
        </p:nvCxnSpPr>
        <p:spPr>
          <a:xfrm rot="16200000" flipH="1">
            <a:off x="6607353" y="5058740"/>
            <a:ext cx="1136784" cy="559060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꺾인 연결선 51"/>
          <p:cNvCxnSpPr>
            <a:stCxn id="33" idx="3"/>
            <a:endCxn id="35" idx="1"/>
          </p:cNvCxnSpPr>
          <p:nvPr/>
        </p:nvCxnSpPr>
        <p:spPr>
          <a:xfrm flipV="1">
            <a:off x="7330807" y="4302784"/>
            <a:ext cx="124469" cy="287645"/>
          </a:xfrm>
          <a:prstGeom prst="bentConnector3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화살표 연결선 52"/>
          <p:cNvCxnSpPr>
            <a:endCxn id="46" idx="2"/>
          </p:cNvCxnSpPr>
          <p:nvPr/>
        </p:nvCxnSpPr>
        <p:spPr>
          <a:xfrm flipV="1">
            <a:off x="7889705" y="5576938"/>
            <a:ext cx="163" cy="15027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화살표 연결선 54"/>
          <p:cNvCxnSpPr>
            <a:stCxn id="46" idx="0"/>
            <a:endCxn id="35" idx="2"/>
          </p:cNvCxnSpPr>
          <p:nvPr/>
        </p:nvCxnSpPr>
        <p:spPr>
          <a:xfrm flipV="1">
            <a:off x="7889868" y="4482234"/>
            <a:ext cx="0" cy="73580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/>
          <p:cNvCxnSpPr>
            <a:endCxn id="36" idx="1"/>
          </p:cNvCxnSpPr>
          <p:nvPr/>
        </p:nvCxnSpPr>
        <p:spPr>
          <a:xfrm flipV="1">
            <a:off x="8324461" y="4302783"/>
            <a:ext cx="118867" cy="1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AutoShape 2"/>
          <p:cNvSpPr>
            <a:spLocks noChangeArrowheads="1"/>
          </p:cNvSpPr>
          <p:nvPr/>
        </p:nvSpPr>
        <p:spPr bwMode="auto">
          <a:xfrm>
            <a:off x="4338786" y="3408948"/>
            <a:ext cx="462936" cy="2652957"/>
          </a:xfrm>
          <a:prstGeom prst="rightArrow">
            <a:avLst>
              <a:gd name="adj1" fmla="val 64263"/>
              <a:gd name="adj2" fmla="val 43042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8443327" y="4730136"/>
            <a:ext cx="869184" cy="35889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buSzPct val="90000"/>
              <a:defRPr/>
            </a:pP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피드백 및</a:t>
            </a:r>
            <a:endParaRPr lang="en-US" altLang="ko-KR" sz="800" kern="0" dirty="0">
              <a:solidFill>
                <a:srgbClr val="1B111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  <a:p>
            <a:pPr algn="ctr" defTabSz="1018354">
              <a:buSzPct val="90000"/>
              <a:defRPr/>
            </a:pPr>
            <a:r>
              <a:rPr lang="ko-KR" altLang="en-US" sz="800" kern="0" dirty="0">
                <a:solidFill>
                  <a:srgbClr val="1B111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취약점 개선</a:t>
            </a:r>
          </a:p>
        </p:txBody>
      </p:sp>
      <p:cxnSp>
        <p:nvCxnSpPr>
          <p:cNvPr id="67" name="직선 화살표 연결선 66"/>
          <p:cNvCxnSpPr>
            <a:stCxn id="36" idx="2"/>
            <a:endCxn id="66" idx="0"/>
          </p:cNvCxnSpPr>
          <p:nvPr/>
        </p:nvCxnSpPr>
        <p:spPr>
          <a:xfrm>
            <a:off x="8877919" y="4482234"/>
            <a:ext cx="0" cy="24790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그림 95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3144" y="4342203"/>
            <a:ext cx="291816" cy="304576"/>
          </a:xfrm>
          <a:prstGeom prst="rect">
            <a:avLst/>
          </a:prstGeom>
        </p:spPr>
      </p:pic>
      <p:pic>
        <p:nvPicPr>
          <p:cNvPr id="97" name="그림 96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5962" y="5657411"/>
            <a:ext cx="291816" cy="304576"/>
          </a:xfrm>
          <a:prstGeom prst="rect">
            <a:avLst/>
          </a:prstGeom>
        </p:spPr>
      </p:pic>
      <p:pic>
        <p:nvPicPr>
          <p:cNvPr id="98" name="그림 97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5962" y="5151172"/>
            <a:ext cx="291816" cy="304576"/>
          </a:xfrm>
          <a:prstGeom prst="rect">
            <a:avLst/>
          </a:prstGeom>
        </p:spPr>
      </p:pic>
      <p:pic>
        <p:nvPicPr>
          <p:cNvPr id="99" name="그림 98">
            <a:extLst>
              <a:ext uri="{FF2B5EF4-FFF2-40B4-BE49-F238E27FC236}">
                <a16:creationId xmlns:a16="http://schemas.microsoft.com/office/drawing/2014/main" id="{66FCB384-0A34-44F2-8E7D-A993E2E991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5962" y="4053533"/>
            <a:ext cx="291816" cy="304576"/>
          </a:xfrm>
          <a:prstGeom prst="rect">
            <a:avLst/>
          </a:prstGeom>
        </p:spPr>
      </p:pic>
      <p:pic>
        <p:nvPicPr>
          <p:cNvPr id="100" name="그림 99">
            <a:extLst>
              <a:ext uri="{FF2B5EF4-FFF2-40B4-BE49-F238E27FC236}">
                <a16:creationId xmlns:a16="http://schemas.microsoft.com/office/drawing/2014/main" id="{D3C7065C-9B27-4953-8013-8337A525E4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7877" y="4053533"/>
            <a:ext cx="291816" cy="304576"/>
          </a:xfrm>
          <a:prstGeom prst="rect">
            <a:avLst/>
          </a:prstGeom>
        </p:spPr>
      </p:pic>
      <p:pic>
        <p:nvPicPr>
          <p:cNvPr id="102" name="그림 101">
            <a:extLst>
              <a:ext uri="{FF2B5EF4-FFF2-40B4-BE49-F238E27FC236}">
                <a16:creationId xmlns:a16="http://schemas.microsoft.com/office/drawing/2014/main" id="{3FB87CD8-0722-481C-B7BA-1DD8F9ABA9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38710" y="3852269"/>
            <a:ext cx="290478" cy="303179"/>
          </a:xfrm>
          <a:prstGeom prst="rect">
            <a:avLst/>
          </a:prstGeom>
        </p:spPr>
      </p:pic>
      <p:pic>
        <p:nvPicPr>
          <p:cNvPr id="104" name="그림 103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33144" y="3851114"/>
            <a:ext cx="291816" cy="304576"/>
          </a:xfrm>
          <a:prstGeom prst="rect">
            <a:avLst/>
          </a:prstGeom>
        </p:spPr>
      </p:pic>
      <p:sp>
        <p:nvSpPr>
          <p:cNvPr id="5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6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1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4/10)</a:t>
            </a:r>
            <a:endParaRPr lang="ko-KR" altLang="en-US" dirty="0"/>
          </a:p>
        </p:txBody>
      </p:sp>
      <p:sp>
        <p:nvSpPr>
          <p:cNvPr id="6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59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270497" y="310704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58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290731" y="310573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그림 68">
            <a:extLst>
              <a:ext uri="{FF2B5EF4-FFF2-40B4-BE49-F238E27FC236}">
                <a16:creationId xmlns:a16="http://schemas.microsoft.com/office/drawing/2014/main" id="{D3790503-444D-408D-88DA-EF28A054E1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38710" y="4329921"/>
            <a:ext cx="310844" cy="31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9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위험평가 체계 운영을 위한 프로세스 및 조직 체계 정비에 따라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관리 매뉴얼을 작성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련된 자금세탁방지 업무 규정 및 매뉴얼을 개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관련 규정 및 지침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개선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매뉴얼 작성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1/2)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9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5/10)</a:t>
            </a:r>
            <a:endParaRPr lang="ko-KR" altLang="en-US" dirty="0"/>
          </a:p>
        </p:txBody>
      </p:sp>
      <p:sp>
        <p:nvSpPr>
          <p:cNvPr id="5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pSp>
        <p:nvGrpSpPr>
          <p:cNvPr id="44" name="그룹 43"/>
          <p:cNvGrpSpPr/>
          <p:nvPr/>
        </p:nvGrpSpPr>
        <p:grpSpPr>
          <a:xfrm>
            <a:off x="546831" y="2306020"/>
            <a:ext cx="8798657" cy="3931291"/>
            <a:chOff x="973038" y="2490379"/>
            <a:chExt cx="7968510" cy="3642136"/>
          </a:xfrm>
        </p:grpSpPr>
        <p:sp>
          <p:nvSpPr>
            <p:cNvPr id="45" name="TextBox 44"/>
            <p:cNvSpPr txBox="1"/>
            <p:nvPr/>
          </p:nvSpPr>
          <p:spPr>
            <a:xfrm>
              <a:off x="1453328" y="2490379"/>
              <a:ext cx="2054764" cy="26683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indent="-269574" algn="ctr">
                <a:spcAft>
                  <a:spcPts val="884"/>
                </a:spcAft>
              </a:pPr>
              <a:r>
                <a:rPr lang="ko-KR" altLang="en-US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규정</a:t>
              </a:r>
              <a:r>
                <a:rPr lang="en-US" altLang="ko-KR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및 지침</a:t>
              </a:r>
              <a:r>
                <a:rPr lang="en-US" altLang="ko-KR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매뉴얼 </a:t>
              </a:r>
              <a:r>
                <a:rPr lang="en-US" altLang="ko-KR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Hierarchy</a:t>
              </a:r>
            </a:p>
          </p:txBody>
        </p:sp>
        <p:sp>
          <p:nvSpPr>
            <p:cNvPr id="48" name="Freeform 2"/>
            <p:cNvSpPr>
              <a:spLocks/>
            </p:cNvSpPr>
            <p:nvPr/>
          </p:nvSpPr>
          <p:spPr bwMode="blackWhite">
            <a:xfrm>
              <a:off x="1945681" y="2815263"/>
              <a:ext cx="1053696" cy="1165449"/>
            </a:xfrm>
            <a:custGeom>
              <a:avLst/>
              <a:gdLst/>
              <a:ahLst/>
              <a:cxnLst>
                <a:cxn ang="0">
                  <a:pos x="0" y="838"/>
                </a:cxn>
                <a:cxn ang="0">
                  <a:pos x="938" y="838"/>
                </a:cxn>
                <a:cxn ang="0">
                  <a:pos x="469" y="0"/>
                </a:cxn>
                <a:cxn ang="0">
                  <a:pos x="0" y="838"/>
                </a:cxn>
              </a:cxnLst>
              <a:rect l="0" t="0" r="r" b="b"/>
              <a:pathLst>
                <a:path w="939" h="839">
                  <a:moveTo>
                    <a:pt x="0" y="838"/>
                  </a:moveTo>
                  <a:lnTo>
                    <a:pt x="938" y="838"/>
                  </a:lnTo>
                  <a:lnTo>
                    <a:pt x="469" y="0"/>
                  </a:lnTo>
                  <a:lnTo>
                    <a:pt x="0" y="838"/>
                  </a:lnTo>
                </a:path>
              </a:pathLst>
            </a:cu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51" name="Freeform 3"/>
            <p:cNvSpPr>
              <a:spLocks/>
            </p:cNvSpPr>
            <p:nvPr/>
          </p:nvSpPr>
          <p:spPr bwMode="blackWhite">
            <a:xfrm>
              <a:off x="1613747" y="3979375"/>
              <a:ext cx="1718851" cy="740434"/>
            </a:xfrm>
            <a:custGeom>
              <a:avLst/>
              <a:gdLst/>
              <a:ahLst/>
              <a:cxnLst>
                <a:cxn ang="0">
                  <a:pos x="0" y="532"/>
                </a:cxn>
                <a:cxn ang="0">
                  <a:pos x="1535" y="532"/>
                </a:cxn>
                <a:cxn ang="0">
                  <a:pos x="1237" y="0"/>
                </a:cxn>
                <a:cxn ang="0">
                  <a:pos x="299" y="0"/>
                </a:cxn>
                <a:cxn ang="0">
                  <a:pos x="0" y="532"/>
                </a:cxn>
              </a:cxnLst>
              <a:rect l="0" t="0" r="r" b="b"/>
              <a:pathLst>
                <a:path w="1536" h="533">
                  <a:moveTo>
                    <a:pt x="0" y="532"/>
                  </a:moveTo>
                  <a:lnTo>
                    <a:pt x="1535" y="532"/>
                  </a:lnTo>
                  <a:lnTo>
                    <a:pt x="1237" y="0"/>
                  </a:lnTo>
                  <a:lnTo>
                    <a:pt x="299" y="0"/>
                  </a:lnTo>
                  <a:lnTo>
                    <a:pt x="0" y="532"/>
                  </a:lnTo>
                </a:path>
              </a:pathLst>
            </a:custGeom>
            <a:solidFill>
              <a:srgbClr val="22A8F0"/>
            </a:solidFill>
            <a:ln w="6350">
              <a:solidFill>
                <a:srgbClr val="038CDC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52" name="Freeform 4"/>
            <p:cNvSpPr>
              <a:spLocks/>
            </p:cNvSpPr>
            <p:nvPr/>
          </p:nvSpPr>
          <p:spPr bwMode="blackWhite">
            <a:xfrm>
              <a:off x="1276667" y="4718473"/>
              <a:ext cx="2390437" cy="743107"/>
            </a:xfrm>
            <a:custGeom>
              <a:avLst/>
              <a:gdLst/>
              <a:ahLst/>
              <a:cxnLst>
                <a:cxn ang="0">
                  <a:pos x="299" y="0"/>
                </a:cxn>
                <a:cxn ang="0">
                  <a:pos x="0" y="534"/>
                </a:cxn>
                <a:cxn ang="0">
                  <a:pos x="2133" y="534"/>
                </a:cxn>
                <a:cxn ang="0">
                  <a:pos x="1834" y="0"/>
                </a:cxn>
                <a:cxn ang="0">
                  <a:pos x="299" y="0"/>
                </a:cxn>
              </a:cxnLst>
              <a:rect l="0" t="0" r="r" b="b"/>
              <a:pathLst>
                <a:path w="2134" h="535">
                  <a:moveTo>
                    <a:pt x="299" y="0"/>
                  </a:moveTo>
                  <a:lnTo>
                    <a:pt x="0" y="534"/>
                  </a:lnTo>
                  <a:lnTo>
                    <a:pt x="2133" y="534"/>
                  </a:lnTo>
                  <a:lnTo>
                    <a:pt x="1834" y="0"/>
                  </a:lnTo>
                  <a:lnTo>
                    <a:pt x="299" y="0"/>
                  </a:lnTo>
                </a:path>
              </a:pathLst>
            </a:cu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53" name="Rectangle 5"/>
            <p:cNvSpPr>
              <a:spLocks noChangeArrowheads="1"/>
            </p:cNvSpPr>
            <p:nvPr/>
          </p:nvSpPr>
          <p:spPr bwMode="auto">
            <a:xfrm>
              <a:off x="2094743" y="3375696"/>
              <a:ext cx="77871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자금세탁</a:t>
              </a:r>
              <a:endParaRPr lang="en-US" altLang="ko-KR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방지업무</a:t>
              </a:r>
              <a:endParaRPr lang="en-US" altLang="ko-KR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규정</a:t>
              </a:r>
              <a:endParaRPr lang="en-US" altLang="zh-CN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4" name="Freeform 11"/>
            <p:cNvSpPr>
              <a:spLocks/>
            </p:cNvSpPr>
            <p:nvPr/>
          </p:nvSpPr>
          <p:spPr bwMode="blackWhite">
            <a:xfrm>
              <a:off x="973038" y="5460243"/>
              <a:ext cx="2996409" cy="672272"/>
            </a:xfrm>
            <a:custGeom>
              <a:avLst/>
              <a:gdLst/>
              <a:ahLst/>
              <a:cxnLst>
                <a:cxn ang="0">
                  <a:pos x="271" y="0"/>
                </a:cxn>
                <a:cxn ang="0">
                  <a:pos x="0" y="483"/>
                </a:cxn>
                <a:cxn ang="0">
                  <a:pos x="2675" y="483"/>
                </a:cxn>
                <a:cxn ang="0">
                  <a:pos x="2404" y="0"/>
                </a:cxn>
                <a:cxn ang="0">
                  <a:pos x="271" y="0"/>
                </a:cxn>
              </a:cxnLst>
              <a:rect l="0" t="0" r="r" b="b"/>
              <a:pathLst>
                <a:path w="2676" h="484">
                  <a:moveTo>
                    <a:pt x="271" y="0"/>
                  </a:moveTo>
                  <a:lnTo>
                    <a:pt x="0" y="483"/>
                  </a:lnTo>
                  <a:lnTo>
                    <a:pt x="2675" y="483"/>
                  </a:lnTo>
                  <a:lnTo>
                    <a:pt x="2404" y="0"/>
                  </a:lnTo>
                  <a:lnTo>
                    <a:pt x="271" y="0"/>
                  </a:lnTo>
                </a:path>
              </a:pathLst>
            </a:cu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55" name="Rectangle 5"/>
            <p:cNvSpPr>
              <a:spLocks noChangeArrowheads="1"/>
            </p:cNvSpPr>
            <p:nvPr/>
          </p:nvSpPr>
          <p:spPr bwMode="auto">
            <a:xfrm>
              <a:off x="2014937" y="4198362"/>
              <a:ext cx="93832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자금세탁방지</a:t>
              </a:r>
            </a:p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침</a:t>
              </a:r>
              <a:endParaRPr lang="en-US" altLang="zh-CN" sz="100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6" name="Rectangle 5"/>
            <p:cNvSpPr>
              <a:spLocks noChangeArrowheads="1"/>
            </p:cNvSpPr>
            <p:nvPr/>
          </p:nvSpPr>
          <p:spPr bwMode="auto">
            <a:xfrm>
              <a:off x="1616153" y="4968053"/>
              <a:ext cx="1735892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자금세탁방지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무매뉴얼</a:t>
              </a:r>
              <a:endParaRPr lang="en-US" altLang="ko-KR" sz="10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전사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매뉴얼</a:t>
              </a:r>
              <a:endParaRPr lang="en-US" altLang="zh-CN" sz="10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auto">
            <a:xfrm>
              <a:off x="1842163" y="5648230"/>
              <a:ext cx="128387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전사 위험평가 </a:t>
              </a:r>
              <a:endParaRPr lang="en-US" altLang="ko-KR" sz="10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defTabSz="773778">
                <a:buSzPct val="120000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문서</a:t>
              </a:r>
              <a:endParaRPr lang="en-US" altLang="zh-CN" sz="10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cxnSp>
          <p:nvCxnSpPr>
            <p:cNvPr id="58" name="직선 화살표 연결선 57"/>
            <p:cNvCxnSpPr/>
            <p:nvPr/>
          </p:nvCxnSpPr>
          <p:spPr>
            <a:xfrm flipH="1">
              <a:off x="1226632" y="3465065"/>
              <a:ext cx="817009" cy="1818716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/>
          </p:nvSpPr>
          <p:spPr>
            <a:xfrm rot="17615791">
              <a:off x="1197520" y="4270165"/>
              <a:ext cx="545615" cy="175073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indent="-269574">
                <a:spcAft>
                  <a:spcPts val="884"/>
                </a:spcAft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구체화 </a:t>
              </a:r>
            </a:p>
          </p:txBody>
        </p:sp>
        <p:sp>
          <p:nvSpPr>
            <p:cNvPr id="62" name="오른쪽 화살표 61"/>
            <p:cNvSpPr/>
            <p:nvPr/>
          </p:nvSpPr>
          <p:spPr bwMode="ltGray">
            <a:xfrm>
              <a:off x="2929991" y="3449253"/>
              <a:ext cx="424517" cy="274498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63" name="오른쪽 화살표 62"/>
            <p:cNvSpPr/>
            <p:nvPr/>
          </p:nvSpPr>
          <p:spPr bwMode="ltGray">
            <a:xfrm>
              <a:off x="3259572" y="4161330"/>
              <a:ext cx="424517" cy="274498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64" name="오른쪽 화살표 63"/>
            <p:cNvSpPr/>
            <p:nvPr/>
          </p:nvSpPr>
          <p:spPr bwMode="ltGray">
            <a:xfrm>
              <a:off x="3626823" y="4962403"/>
              <a:ext cx="424517" cy="274498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65" name="오른쪽 화살표 64"/>
            <p:cNvSpPr/>
            <p:nvPr/>
          </p:nvSpPr>
          <p:spPr bwMode="ltGray">
            <a:xfrm>
              <a:off x="3931169" y="5638420"/>
              <a:ext cx="424517" cy="274498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389378" y="3348065"/>
              <a:ext cx="1757509" cy="46664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체 자금세탁방지 </a:t>
              </a: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내부통제에 대한 방향성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제시</a:t>
              </a:r>
              <a:endPara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이사회</a:t>
              </a:r>
              <a:r>
                <a:rPr lang="en-US" altLang="ko-KR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경영진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의 책임 정의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719154" y="3977793"/>
              <a:ext cx="2071997" cy="64336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구체적인 </a:t>
              </a:r>
              <a:r>
                <a:rPr lang="ko-KR" altLang="en-US" sz="983" u="sng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제도</a:t>
              </a:r>
              <a:r>
                <a:rPr lang="en-US" altLang="ko-KR" sz="983" u="sng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983" u="sng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절차</a:t>
              </a:r>
              <a:r>
                <a:rPr lang="ko-KR" altLang="en-US" sz="983" b="1" u="sng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명</a:t>
              </a:r>
              <a:endPara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각 주제 영역 별 업무 절차 정의</a:t>
              </a:r>
              <a:endParaRPr lang="en-US" altLang="ko-KR" sz="983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093552" y="4857805"/>
              <a:ext cx="1834171" cy="46664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</a:t>
              </a:r>
              <a:r>
                <a:rPr lang="en-US" altLang="ko-KR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983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주체 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</a:t>
              </a: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세부 업무 수행 방안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의</a:t>
              </a:r>
              <a:endPara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세부 업무 별 상세 매뉴얼 별도 관리</a:t>
              </a:r>
              <a:endPara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4398092" y="5556071"/>
              <a:ext cx="1880457" cy="46664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전사 위험</a:t>
              </a:r>
              <a:r>
                <a:rPr lang="en-US" altLang="ko-KR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식별 및 평가 방법론</a:t>
              </a:r>
              <a:endParaRPr lang="en-US" altLang="ko-KR" sz="983" u="sng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en-US" altLang="ko-KR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Risk Control Matrix</a:t>
              </a:r>
            </a:p>
            <a:p>
              <a:pPr marL="154444" indent="-154444">
                <a:spcAft>
                  <a:spcPts val="295"/>
                </a:spcAft>
                <a:buFont typeface="Wingdings" pitchFamily="2" charset="2"/>
                <a:buChar char="§"/>
              </a:pP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제</a:t>
              </a:r>
              <a:r>
                <a:rPr lang="en-US" altLang="ko-KR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983" u="sng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유효성 평가 질의서</a:t>
              </a:r>
            </a:p>
          </p:txBody>
        </p:sp>
        <p:sp>
          <p:nvSpPr>
            <p:cNvPr id="79" name="왼쪽 중괄호 78"/>
            <p:cNvSpPr/>
            <p:nvPr/>
          </p:nvSpPr>
          <p:spPr bwMode="auto">
            <a:xfrm>
              <a:off x="6170488" y="3318997"/>
              <a:ext cx="335041" cy="2744982"/>
            </a:xfrm>
            <a:prstGeom prst="leftBrace">
              <a:avLst/>
            </a:prstGeom>
            <a:noFill/>
            <a:ln w="12700">
              <a:solidFill>
                <a:srgbClr val="336851"/>
              </a:solidFill>
              <a:round/>
              <a:headEnd/>
              <a:tailEnd type="none"/>
            </a:ln>
            <a:effectLst/>
          </p:spPr>
          <p:txBody>
            <a:bodyPr rtlCol="0" anchor="ctr"/>
            <a:lstStyle/>
            <a:p>
              <a:pPr algn="ctr"/>
              <a:endPara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6613486" y="2732825"/>
              <a:ext cx="2294182" cy="35684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indent="-269574" algn="ctr"/>
              <a:r>
                <a:rPr lang="en-US" altLang="ko-KR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관리 규정 지침 체계</a:t>
              </a:r>
              <a:endParaRPr lang="en-US" altLang="ko-KR" sz="1179" u="sng" dirty="0">
                <a:solidFill>
                  <a:schemeClr val="accent2">
                    <a:lumMod val="50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  <a:p>
              <a:pPr indent="-269574" algn="ctr"/>
              <a:r>
                <a:rPr lang="ko-KR" altLang="en-US" sz="1179" u="sng" dirty="0">
                  <a:solidFill>
                    <a:schemeClr val="accent2">
                      <a:lumMod val="50000"/>
                    </a:schemeClr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개선 시 고려사항</a:t>
              </a:r>
              <a:endParaRPr lang="en-US" altLang="ko-KR" sz="1179" u="sng" dirty="0">
                <a:solidFill>
                  <a:schemeClr val="accent2">
                    <a:lumMod val="50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96" name="모서리가 접힌 도형 95"/>
            <p:cNvSpPr/>
            <p:nvPr/>
          </p:nvSpPr>
          <p:spPr bwMode="ltGray">
            <a:xfrm>
              <a:off x="6545125" y="3277734"/>
              <a:ext cx="2396423" cy="1323772"/>
            </a:xfrm>
            <a:prstGeom prst="foldedCorner">
              <a:avLst>
                <a:gd name="adj" fmla="val 7472"/>
              </a:avLst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83" dirty="0"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97" name="모서리가 접힌 도형 96"/>
            <p:cNvSpPr/>
            <p:nvPr/>
          </p:nvSpPr>
          <p:spPr bwMode="ltGray">
            <a:xfrm>
              <a:off x="6545125" y="4753533"/>
              <a:ext cx="2396423" cy="1269184"/>
            </a:xfrm>
            <a:prstGeom prst="foldedCorner">
              <a:avLst>
                <a:gd name="adj" fmla="val 7158"/>
              </a:avLst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83" dirty="0"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98" name="직사각형 97"/>
            <p:cNvSpPr/>
            <p:nvPr/>
          </p:nvSpPr>
          <p:spPr bwMode="ltGray">
            <a:xfrm>
              <a:off x="6545125" y="3273724"/>
              <a:ext cx="2396423" cy="24702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별도 지침 제정 필요성</a:t>
              </a:r>
            </a:p>
          </p:txBody>
        </p:sp>
        <p:sp>
          <p:nvSpPr>
            <p:cNvPr id="99" name="직사각형 98"/>
            <p:cNvSpPr/>
            <p:nvPr/>
          </p:nvSpPr>
          <p:spPr bwMode="ltGray">
            <a:xfrm>
              <a:off x="6545125" y="4751445"/>
              <a:ext cx="2396423" cy="24702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상세 위험평가 문서 관리 절차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6691134" y="3607133"/>
              <a:ext cx="2109087" cy="79549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93602" indent="-93602">
                <a:spcAft>
                  <a:spcPts val="884"/>
                </a:spcAft>
                <a:buFont typeface="Wingdings" pitchFamily="2" charset="2"/>
                <a:buChar char="ü"/>
              </a:pP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 업무 규정은 일부 개정 필요</a:t>
              </a:r>
              <a:endPara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93602" indent="-93602">
                <a:spcAft>
                  <a:spcPts val="884"/>
                </a:spcAft>
                <a:buFont typeface="Wingdings" pitchFamily="2" charset="2"/>
                <a:buChar char="ü"/>
              </a:pP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침은 별도로 작성하지 않고</a:t>
              </a:r>
              <a:r>
                <a:rPr lang="en-US" altLang="ko-KR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관련 내용을 반영하는 것으로 체계화하는 것이 바람직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6697088" y="5089971"/>
              <a:ext cx="2109087" cy="79549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93602" indent="-93602">
                <a:spcAft>
                  <a:spcPts val="884"/>
                </a:spcAft>
                <a:buFont typeface="Wingdings" pitchFamily="2" charset="2"/>
                <a:buChar char="ü"/>
              </a:pP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위험 식별 및 평가 방법론은</a:t>
              </a:r>
              <a:r>
                <a:rPr lang="en-US" altLang="ko-KR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매뉴얼로 정리</a:t>
              </a:r>
              <a:endPara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endParaRPr>
            </a:p>
            <a:p>
              <a:pPr marL="93602" indent="-93602">
                <a:spcAft>
                  <a:spcPts val="884"/>
                </a:spcAft>
                <a:buFont typeface="Wingdings" pitchFamily="2" charset="2"/>
                <a:buChar char="ü"/>
              </a:pPr>
              <a:r>
                <a:rPr lang="en-US" altLang="ko-KR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Risk Pool, RCM, 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유효성평가 질의서 등은 매년 최선 버전으로 </a:t>
              </a:r>
              <a:r>
                <a:rPr lang="en-US" altLang="ko-KR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update</a:t>
              </a:r>
              <a:r>
                <a:rPr lang="ko-KR" altLang="en-US" sz="983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하여 관리하여야 함</a:t>
              </a:r>
              <a:endPara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1311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위험평가 체계 운영을 위한 프로세스 및 조직 체계 정비에 따라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관리 매뉴얼을 작성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련된 자금세탁방지 업무 규정 및 매뉴얼을 개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관련 규정 및 지침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개선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매뉴얼 작성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2/2)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97" name="TextBox 96"/>
          <p:cNvSpPr txBox="1"/>
          <p:nvPr/>
        </p:nvSpPr>
        <p:spPr>
          <a:xfrm>
            <a:off x="594194" y="2352026"/>
            <a:ext cx="2552456" cy="28424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altLang="ko-KR" sz="12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■ </a:t>
            </a:r>
            <a:r>
              <a:rPr lang="ko-KR" altLang="en-US" sz="12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전사 </a:t>
            </a:r>
            <a:r>
              <a:rPr lang="en-US" altLang="ko-KR" sz="12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ML/TF </a:t>
            </a:r>
            <a:r>
              <a:rPr lang="ko-KR" altLang="en-US" sz="12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위험평가 매뉴얼</a:t>
            </a:r>
            <a:endParaRPr lang="en-US" altLang="ko-KR" sz="12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98" name="직사각형 97"/>
          <p:cNvSpPr/>
          <p:nvPr/>
        </p:nvSpPr>
        <p:spPr bwMode="ltGray">
          <a:xfrm>
            <a:off x="594195" y="2699834"/>
            <a:ext cx="4073642" cy="353747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7635" rtlCol="0" anchor="t"/>
          <a:lstStyle/>
          <a:p>
            <a:r>
              <a:rPr lang="en-US" altLang="ko-KR" sz="1179" b="1" u="sng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179" b="1" u="sng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</a:t>
            </a:r>
            <a:r>
              <a:rPr lang="en-US" altLang="ko-KR" sz="1179" b="1" u="sng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79" b="1" u="sng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매뉴얼</a:t>
            </a:r>
            <a:endParaRPr lang="ko-KR" altLang="ko-KR" sz="1179" b="1" u="sng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endParaRPr lang="en-US" altLang="ko-KR" sz="1081" b="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r>
              <a:rPr lang="en-US" altLang="ko-KR" sz="1081" b="1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. ML/TF </a:t>
            </a:r>
            <a:r>
              <a:rPr lang="ko-KR" altLang="en-US" sz="1081" b="1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개요</a:t>
            </a:r>
            <a:r>
              <a:rPr lang="en-US" altLang="ko-KR" sz="1081" b="1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) ML/TF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개념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) ML/TF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범위 및 절차</a:t>
            </a:r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 </a:t>
            </a: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)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련 조직 간 역할 및 책임</a:t>
            </a:r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  <a:p>
            <a:endParaRPr lang="ko-KR" altLang="ko-KR" sz="108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r>
              <a:rPr lang="en-US" altLang="ko-KR" sz="1081" b="1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. ML/TF </a:t>
            </a:r>
            <a:r>
              <a:rPr lang="ko-KR" altLang="en-US" sz="1081" b="1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운영 절차</a:t>
            </a:r>
            <a:endParaRPr lang="en-US" altLang="ko-KR" sz="1081" b="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.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식별</a:t>
            </a:r>
            <a:endParaRPr lang="ko-KR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.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분석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. ML/TF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위험평가지표 선정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ML/TF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위험 평가 개념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ML/TF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위험 평가 지표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ML/TF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위험 평가 지표 측정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4.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 업무 영역별 운영위험 평가 지표 선정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AML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영역 별 운영위험 평가 개념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AML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영역 별 운영위험 정의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AML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영역 별 통제활동 정의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- </a:t>
            </a:r>
            <a:r>
              <a:rPr lang="ko-KR" altLang="en-US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별 평가 방법 정의</a:t>
            </a:r>
            <a:endParaRPr lang="en-US" altLang="ko-KR" sz="983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44"/>
            <a:r>
              <a:rPr lang="en-US" altLang="ko-KR" sz="983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</a:t>
            </a:r>
            <a:r>
              <a:rPr lang="en-US" altLang="ko-KR" sz="983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………</a:t>
            </a:r>
            <a:endParaRPr lang="ko-KR" altLang="ko-KR" sz="108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endParaRPr lang="ko-KR" altLang="ko-KR" sz="108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99" name="직선 화살표 연결선 98"/>
          <p:cNvCxnSpPr/>
          <p:nvPr/>
        </p:nvCxnSpPr>
        <p:spPr>
          <a:xfrm>
            <a:off x="2514591" y="3201868"/>
            <a:ext cx="2664000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/>
          <p:cNvSpPr/>
          <p:nvPr/>
        </p:nvSpPr>
        <p:spPr bwMode="ltGray">
          <a:xfrm>
            <a:off x="5183019" y="2892229"/>
            <a:ext cx="3874437" cy="62582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2800" indent="82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ML/TF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평가 개념 및 의의 </a:t>
            </a: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범위 정의</a:t>
            </a:r>
            <a:endParaRPr lang="en-US" altLang="ko-KR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82800" indent="82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관련 조직 간의 </a:t>
            </a: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R&amp;R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정의</a:t>
            </a:r>
          </a:p>
        </p:txBody>
      </p:sp>
      <p:cxnSp>
        <p:nvCxnSpPr>
          <p:cNvPr id="102" name="직선 화살표 연결선 101"/>
          <p:cNvCxnSpPr/>
          <p:nvPr/>
        </p:nvCxnSpPr>
        <p:spPr>
          <a:xfrm>
            <a:off x="2907170" y="4084977"/>
            <a:ext cx="2268000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직사각형 102"/>
          <p:cNvSpPr/>
          <p:nvPr/>
        </p:nvSpPr>
        <p:spPr bwMode="ltGray">
          <a:xfrm>
            <a:off x="5183019" y="3723253"/>
            <a:ext cx="3874437" cy="716556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2800" indent="82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전체 </a:t>
            </a: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ML/TF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평가 운영 절차 수립</a:t>
            </a:r>
            <a:endParaRPr lang="en-US" altLang="ko-KR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82800" indent="82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 단계 별 세부 수행 업무 정의</a:t>
            </a:r>
            <a:endParaRPr lang="en-US" altLang="ko-KR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82800">
              <a:lnSpc>
                <a:spcPct val="150000"/>
              </a:lnSpc>
            </a:pPr>
            <a:r>
              <a:rPr lang="en-US" altLang="ko-KR" sz="10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    -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현업부서의 통제 효과성 평가</a:t>
            </a: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절차 포함</a:t>
            </a:r>
          </a:p>
        </p:txBody>
      </p:sp>
      <p:sp>
        <p:nvSpPr>
          <p:cNvPr id="104" name="직사각형 103"/>
          <p:cNvSpPr/>
          <p:nvPr/>
        </p:nvSpPr>
        <p:spPr bwMode="ltGray">
          <a:xfrm>
            <a:off x="5177666" y="4574079"/>
            <a:ext cx="3874437" cy="136900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2800" indent="82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 위험 유형 별 개념 및 상세 측정 방안 정의</a:t>
            </a:r>
            <a:endParaRPr lang="en-US" altLang="ko-KR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82800">
              <a:lnSpc>
                <a:spcPct val="150000"/>
              </a:lnSpc>
            </a:pP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sz="10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   -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 측정 방안 </a:t>
            </a: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 측정 지표의 특성</a:t>
            </a:r>
            <a:endParaRPr lang="en-US" altLang="ko-KR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82800">
              <a:lnSpc>
                <a:spcPct val="150000"/>
              </a:lnSpc>
            </a:pPr>
            <a:r>
              <a:rPr lang="en-US" altLang="ko-KR" sz="10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    -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운영위험 측정을 위한 통제활동의 운영</a:t>
            </a:r>
            <a:endParaRPr lang="en-US" altLang="ko-KR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82800">
              <a:lnSpc>
                <a:spcPct val="150000"/>
              </a:lnSpc>
            </a:pPr>
            <a:r>
              <a:rPr lang="en-US" altLang="ko-KR" sz="10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    -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통제활동 유효성 평가 방안</a:t>
            </a:r>
            <a:endParaRPr lang="en-US" altLang="ko-KR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82800">
              <a:lnSpc>
                <a:spcPct val="150000"/>
              </a:lnSpc>
            </a:pPr>
            <a:r>
              <a:rPr lang="en-US" altLang="ko-KR" sz="10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    -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현업 부서의 통제효과성 평가</a:t>
            </a:r>
            <a:r>
              <a:rPr lang="en-US" altLang="ko-KR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운영 방안 </a:t>
            </a:r>
            <a:r>
              <a:rPr lang="ko-KR" altLang="en-US" sz="10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등</a:t>
            </a:r>
            <a:endParaRPr lang="ko-KR" altLang="en-US" sz="10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1" name="오른쪽 중괄호 140"/>
          <p:cNvSpPr/>
          <p:nvPr/>
        </p:nvSpPr>
        <p:spPr>
          <a:xfrm>
            <a:off x="4456258" y="4550657"/>
            <a:ext cx="720000" cy="1427559"/>
          </a:xfrm>
          <a:prstGeom prst="rightBrace">
            <a:avLst>
              <a:gd name="adj1" fmla="val 8333"/>
              <a:gd name="adj2" fmla="val 50529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769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8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6/10)</a:t>
            </a:r>
            <a:endParaRPr lang="ko-KR" altLang="en-US" dirty="0"/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24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306466" y="2633882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667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가 보유하고 있는 금감원 검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hecklis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와 지적사항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권별 평가 결과를 분석하여 검사 감독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를 최소화할 수 있도록 고위험 영역에 대한 사전 중점 점검과 선제적인 개선 작업을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감독당국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검사 사전 대응 체계 수립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9" name="TextBox 48"/>
          <p:cNvSpPr txBox="1"/>
          <p:nvPr/>
        </p:nvSpPr>
        <p:spPr>
          <a:xfrm>
            <a:off x="668524" y="4405440"/>
            <a:ext cx="3498968" cy="1108303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>
            <a:no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영역 별로 다음 상세 업무 취약</a:t>
            </a:r>
            <a:endParaRPr lang="en-US" altLang="ko-KR" sz="10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endParaRPr lang="en-US" altLang="ko-KR" sz="10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>
              <a:spcBef>
                <a:spcPts val="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통제 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규정 및 지침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차별화된 교육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등</a:t>
            </a:r>
            <a:endParaRPr lang="en-US" altLang="ko-KR" sz="10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>
              <a:spcBef>
                <a:spcPts val="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직원알기 제도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b="1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독립적 감사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</a:t>
            </a:r>
            <a:endParaRPr lang="en-US" altLang="ko-KR" sz="10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>
              <a:spcBef>
                <a:spcPts val="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 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</a:t>
            </a:r>
            <a:r>
              <a:rPr lang="ko-KR" altLang="en-US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상누락</a:t>
            </a:r>
            <a:r>
              <a:rPr lang="en-US" altLang="ko-KR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주의리스트 필터링 등</a:t>
            </a:r>
            <a:endParaRPr lang="en-US" altLang="ko-KR" sz="1000" u="sng" dirty="0" smtClean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79388">
              <a:spcBef>
                <a:spcPts val="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관리 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</a:t>
            </a:r>
            <a:r>
              <a:rPr lang="ko-KR" altLang="en-US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델관리</a:t>
            </a:r>
            <a:r>
              <a:rPr lang="en-US" altLang="ko-KR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존 고객에 대한 위험평가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등</a:t>
            </a:r>
            <a:endParaRPr lang="en-US" altLang="ko-KR" sz="10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268288" indent="-88900">
              <a:spcBef>
                <a:spcPts val="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거래 모니터링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: STR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절차</a:t>
            </a:r>
            <a:r>
              <a:rPr lang="en-US" altLang="ko-KR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신 </a:t>
            </a:r>
            <a:r>
              <a:rPr lang="en-US" altLang="ko-KR" sz="1000" u="sng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ule </a:t>
            </a:r>
            <a:r>
              <a:rPr lang="ko-KR" altLang="en-US" sz="10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 등</a:t>
            </a:r>
          </a:p>
        </p:txBody>
      </p:sp>
      <p:sp>
        <p:nvSpPr>
          <p:cNvPr id="50" name="직사각형 49"/>
          <p:cNvSpPr>
            <a:spLocks noChangeArrowheads="1"/>
          </p:cNvSpPr>
          <p:nvPr/>
        </p:nvSpPr>
        <p:spPr bwMode="auto">
          <a:xfrm>
            <a:off x="581250" y="5820360"/>
            <a:ext cx="8743500" cy="488960"/>
          </a:xfrm>
          <a:prstGeom prst="rect">
            <a:avLst/>
          </a:prstGeom>
          <a:solidFill>
            <a:srgbClr val="E0EBF8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 anchorCtr="0"/>
          <a:lstStyle/>
          <a:p>
            <a:pPr algn="ctr" latinLnBrk="0">
              <a:spcBef>
                <a:spcPts val="300"/>
              </a:spcBef>
            </a:pPr>
            <a:r>
              <a:rPr lang="en-US" altLang="ko-KR" sz="130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 </a:t>
            </a:r>
            <a:r>
              <a:rPr lang="ko-KR" altLang="en-US" sz="130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취약사항 및 금감원 지적 사항에 대한 우선적인 대응을 통한 </a:t>
            </a:r>
            <a:r>
              <a:rPr lang="en-US" altLang="ko-KR" sz="130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isk </a:t>
            </a:r>
            <a:r>
              <a:rPr lang="ko-KR" altLang="en-US" sz="130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소화 </a:t>
            </a:r>
            <a:r>
              <a:rPr lang="en-US" altLang="ko-KR" sz="130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!!</a:t>
            </a:r>
            <a:endParaRPr lang="en-US" altLang="ko-KR" sz="1300" spc="-1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656318"/>
              </p:ext>
            </p:extLst>
          </p:nvPr>
        </p:nvGraphicFramePr>
        <p:xfrm>
          <a:off x="4556956" y="2583737"/>
          <a:ext cx="4652711" cy="2499461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1099122">
                  <a:extLst>
                    <a:ext uri="{9D8B030D-6E8A-4147-A177-3AD203B41FA5}">
                      <a16:colId xmlns:a16="http://schemas.microsoft.com/office/drawing/2014/main" val="1418268526"/>
                    </a:ext>
                  </a:extLst>
                </a:gridCol>
                <a:gridCol w="35535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841"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업무 영역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C9F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주요 지적 사항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C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908365"/>
                  </a:ext>
                </a:extLst>
              </a:tr>
              <a:tr h="297826"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None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전사통제정책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자금세탁방지 관련 내용의 내규</a:t>
                      </a:r>
                      <a:r>
                        <a:rPr lang="en-US" altLang="ko-KR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/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침 제정 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이사회 역할과 책임에 대한 권한체계 미흡 등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766716"/>
                  </a:ext>
                </a:extLst>
              </a:tr>
              <a:tr h="432477"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부통제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직원알기제도 및 신상품 위험평가 관련 내규 미흡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8988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명확한 업무의 절차와 방법 내규 반영 미흡</a:t>
                      </a:r>
                      <a:endParaRPr lang="en-US" altLang="ko-KR" sz="900" b="0" spc="0" baseline="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8988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형식적인 교육 수행 등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169426"/>
                  </a:ext>
                </a:extLst>
              </a:tr>
              <a:tr h="432477"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확인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spc="0" dirty="0" smtClean="0">
                          <a:solidFill>
                            <a:srgbClr val="C00000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고객확인의무 미이행 또는 소홀</a:t>
                      </a:r>
                      <a:endParaRPr lang="en-US" altLang="ko-KR" sz="900" b="1" spc="0" dirty="0" smtClean="0">
                        <a:solidFill>
                          <a:srgbClr val="C00000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spc="0" dirty="0" smtClean="0">
                          <a:solidFill>
                            <a:srgbClr val="C00000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요주의리스트 관리 소홀 및 대상 누락</a:t>
                      </a: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 </a:t>
                      </a:r>
                      <a:endParaRPr lang="en-US" altLang="ko-KR" sz="900" b="0" spc="0" dirty="0" smtClean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1" spc="0" dirty="0" smtClean="0">
                          <a:solidFill>
                            <a:srgbClr val="C00000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법인 실제 소유자</a:t>
                      </a:r>
                      <a:r>
                        <a:rPr lang="ko-KR" altLang="en-US" sz="900" b="1" spc="0" baseline="0" dirty="0" smtClean="0">
                          <a:solidFill>
                            <a:srgbClr val="C00000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에 대한 형식적인 확인 등</a:t>
                      </a:r>
                      <a:endParaRPr lang="en-US" sz="900" b="1" spc="0" dirty="0">
                        <a:solidFill>
                          <a:srgbClr val="C00000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92820"/>
                  </a:ext>
                </a:extLst>
              </a:tr>
              <a:tr h="297826"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위험관리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 smtClean="0">
                          <a:solidFill>
                            <a:srgbClr val="C00000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위험평가모델 관리</a:t>
                      </a:r>
                      <a:endParaRPr lang="en-US" altLang="ko-KR" sz="900" b="0" spc="0" dirty="0" smtClean="0">
                        <a:solidFill>
                          <a:srgbClr val="C00000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평가모델의 주기적 점검 소홀 등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64343"/>
                  </a:ext>
                </a:extLst>
              </a:tr>
              <a:tr h="297826"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모니터링 및 보고관리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 smtClean="0">
                          <a:solidFill>
                            <a:srgbClr val="C00000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책임자의 사전검토 및 승인 누락</a:t>
                      </a:r>
                      <a:endParaRPr lang="en-US" altLang="ko-KR" sz="900" b="0" spc="0" dirty="0" smtClean="0">
                        <a:solidFill>
                          <a:srgbClr val="C00000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  <a:p>
                      <a:pPr marL="85725" indent="-85725" algn="l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미보고 사유 형식적 기재 및 승인 누락 등</a:t>
                      </a:r>
                      <a:endParaRPr lang="en-US" sz="900" b="0" spc="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589483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4638246" y="5103354"/>
            <a:ext cx="4563226" cy="565739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>
            <a:noAutofit/>
          </a:bodyPr>
          <a:lstStyle/>
          <a:p>
            <a:pPr marL="179388" indent="-179388">
              <a:lnSpc>
                <a:spcPct val="110000"/>
              </a:lnSpc>
              <a:buFont typeface="Wingdings" panose="05000000000000000000" pitchFamily="2" charset="2"/>
              <a:buChar char="à"/>
            </a:pPr>
            <a:r>
              <a:rPr lang="en-US" altLang="ko-KR" sz="1000" i="1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2014</a:t>
            </a:r>
            <a:r>
              <a:rPr lang="ko-KR" altLang="en-US" sz="1000" i="1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년 이후 금감원 </a:t>
            </a:r>
            <a:r>
              <a:rPr lang="en-US" altLang="ko-KR" sz="1000" i="1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AML </a:t>
            </a:r>
            <a:r>
              <a:rPr lang="ko-KR" altLang="en-US" sz="1000" i="1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검사 결과 발견된 </a:t>
            </a:r>
            <a:r>
              <a:rPr lang="ko-KR" altLang="en-US" sz="1000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지적사항 </a:t>
            </a:r>
            <a:r>
              <a:rPr lang="en-US" altLang="ko-KR" sz="1000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136</a:t>
            </a:r>
            <a:r>
              <a:rPr lang="ko-KR" altLang="en-US" sz="1000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개에 대한 사전 분석</a:t>
            </a:r>
            <a:r>
              <a:rPr lang="ko-KR" altLang="en-US" sz="1000" i="1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을 통하여 </a:t>
            </a:r>
            <a:r>
              <a:rPr lang="ko-KR" altLang="en-US" sz="1000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고위험 영역 사전 발굴</a:t>
            </a:r>
            <a:endParaRPr lang="en-US" altLang="ko-KR" sz="1000" i="1" u="sng" dirty="0" smtClean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Wingdings" panose="05000000000000000000" pitchFamily="2" charset="2"/>
            </a:endParaRPr>
          </a:p>
          <a:p>
            <a:pPr marL="179388" indent="-179388">
              <a:lnSpc>
                <a:spcPct val="110000"/>
              </a:lnSpc>
              <a:buFont typeface="Wingdings" panose="05000000000000000000" pitchFamily="2" charset="2"/>
              <a:buChar char="à"/>
            </a:pPr>
            <a:r>
              <a:rPr lang="ko-KR" altLang="en-US" sz="1000" b="1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금감원 검사 </a:t>
            </a:r>
            <a:r>
              <a:rPr lang="en-US" altLang="ko-KR" sz="1000" b="1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Checklist (104</a:t>
            </a:r>
            <a:r>
              <a:rPr lang="ko-KR" altLang="en-US" sz="1000" b="1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개 검사항목</a:t>
            </a:r>
            <a:r>
              <a:rPr lang="en-US" altLang="ko-KR" sz="1000" b="1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)</a:t>
            </a:r>
            <a:r>
              <a:rPr lang="ko-KR" altLang="en-US" sz="1000" b="1" i="1" u="sng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를 기반으로 사전 점검 수행하여  완벽한 사전 검사 대응 준비</a:t>
            </a:r>
            <a:r>
              <a:rPr lang="ko-KR" altLang="en-US" sz="1000" i="1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  </a:t>
            </a:r>
            <a:endParaRPr lang="ko-KR" altLang="en-US" sz="1000" b="1" i="1" u="sng" dirty="0" smtClean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634744" y="2240868"/>
            <a:ext cx="3778196" cy="2113678"/>
            <a:chOff x="829846" y="2288155"/>
            <a:chExt cx="3400726" cy="2113678"/>
          </a:xfrm>
        </p:grpSpPr>
        <p:sp>
          <p:nvSpPr>
            <p:cNvPr id="48" name="TextBox 47"/>
            <p:cNvSpPr txBox="1"/>
            <p:nvPr/>
          </p:nvSpPr>
          <p:spPr>
            <a:xfrm>
              <a:off x="1505081" y="2629280"/>
              <a:ext cx="1936187" cy="187338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&lt;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권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별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oFIU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평가 결과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&gt;</a:t>
              </a:r>
              <a:endParaRPr lang="ko-KR" altLang="en-US" sz="110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aphicFrame>
          <p:nvGraphicFramePr>
            <p:cNvPr id="60" name="차트 59"/>
            <p:cNvGraphicFramePr>
              <a:graphicFrameLocks/>
            </p:cNvGraphicFramePr>
            <p:nvPr>
              <p:extLst/>
            </p:nvPr>
          </p:nvGraphicFramePr>
          <p:xfrm>
            <a:off x="829846" y="2804046"/>
            <a:ext cx="3400726" cy="15977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62" name="TextBox 61"/>
            <p:cNvSpPr txBox="1"/>
            <p:nvPr/>
          </p:nvSpPr>
          <p:spPr>
            <a:xfrm>
              <a:off x="867290" y="2288155"/>
              <a:ext cx="3232816" cy="257085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12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oFIU </a:t>
              </a:r>
              <a:r>
                <a:rPr lang="ko-KR" altLang="en-US" sz="12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평가 </a:t>
              </a:r>
              <a:r>
                <a:rPr lang="ko-KR" altLang="en-US" sz="12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결과 </a:t>
              </a:r>
              <a:r>
                <a:rPr lang="ko-KR" altLang="en-US" sz="12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분석</a:t>
              </a:r>
              <a:endPara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4556956" y="2240868"/>
            <a:ext cx="4652711" cy="257085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2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금감원 </a:t>
            </a:r>
            <a:r>
              <a:rPr lang="ko-KR" altLang="en-US" sz="1200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지적사항</a:t>
            </a:r>
            <a:r>
              <a:rPr lang="en-US" altLang="ko-KR" sz="1200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/</a:t>
            </a:r>
            <a:r>
              <a:rPr lang="ko-KR" altLang="en-US" sz="1200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검사 </a:t>
            </a:r>
            <a:r>
              <a:rPr lang="en-US" altLang="ko-KR" sz="12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checklist </a:t>
            </a:r>
            <a:r>
              <a:rPr lang="ko-KR" altLang="en-US" sz="12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분석</a:t>
            </a:r>
          </a:p>
        </p:txBody>
      </p:sp>
      <p:sp>
        <p:nvSpPr>
          <p:cNvPr id="2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7/10)</a:t>
            </a:r>
            <a:endParaRPr lang="ko-KR" altLang="en-US" dirty="0"/>
          </a:p>
        </p:txBody>
      </p:sp>
      <p:sp>
        <p:nvSpPr>
          <p:cNvPr id="2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1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71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4.2 </a:t>
            </a:r>
            <a:r>
              <a:rPr lang="ko-KR" altLang="en-US" dirty="0" smtClean="0"/>
              <a:t>소프트웨어 구성 명세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29236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 표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U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보고서 툴은 별도로 도입하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LF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솔루션에 대해서는 신규 도입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그 외의 소프트웨어는 기존 라이선스를 활용하여 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소프트웨어 환경을 구성하도록 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소프트웨어 구성 명세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4904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1.4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시스템 품목 명세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1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6980518"/>
              </p:ext>
            </p:extLst>
          </p:nvPr>
        </p:nvGraphicFramePr>
        <p:xfrm>
          <a:off x="328612" y="2088240"/>
          <a:ext cx="9254712" cy="43924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6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9371122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04709868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364079272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4615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소프트웨어 구분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제품명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도입</a:t>
                      </a:r>
                      <a:endParaRPr lang="en-US" altLang="ko-KR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여부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제안</a:t>
                      </a:r>
                      <a:endParaRPr lang="en-US" altLang="ko-KR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여부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제안</a:t>
                      </a:r>
                      <a:endParaRPr lang="en-US" altLang="ko-KR" sz="1000" b="1" u="none" strike="noStrike" dirty="0" smtClean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수량</a:t>
                      </a:r>
                      <a:endParaRPr lang="en-US" altLang="ko-KR" sz="1000" b="1" u="none" strike="noStrike" dirty="0" smtClean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제안</a:t>
                      </a:r>
                      <a:endParaRPr lang="en-US" altLang="ko-KR" sz="1000" b="1" u="none" strike="noStrike" dirty="0" smtClean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단위</a:t>
                      </a:r>
                      <a:endParaRPr lang="en-US" altLang="ko-KR" sz="1000" b="1" u="none" strike="noStrike" dirty="0" smtClean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운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개발</a:t>
                      </a:r>
                      <a:endParaRPr lang="ko-KR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재해복구</a:t>
                      </a:r>
                      <a:endParaRPr lang="ko-KR" altLang="en-US" sz="1000" b="1" i="0" u="none" strike="noStrike" kern="1200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비고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12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7200" marB="7200" anchor="ctr"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AP#1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AP#2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AP#3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DB#1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DB#2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AP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DB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AP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DB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12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6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6Core</a:t>
                      </a:r>
                      <a:r>
                        <a:rPr lang="ko-KR" alt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Core</a:t>
                      </a:r>
                      <a:endParaRPr lang="ko-KR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WLF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솔루션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Smart WLF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O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O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식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RBA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솔루션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A Saf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O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O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식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007330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WE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WEBTO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707748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WA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JEUS 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개발</a:t>
                      </a:r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/DR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Standard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AP 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모니터링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Jennif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3016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개발은 임시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UI Tool</a:t>
                      </a: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WebSquare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O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Report Tool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CLIP report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O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개발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Tool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Java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1.8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프레임워크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Spring 4.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DBM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Oracle 11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DB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이중화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Oracle Golden Gat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259042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DB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접근제어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DB Saf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3016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0" i="0" u="none" strike="noStrike" dirty="0" smtClean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DB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모니터링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MaxGaug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3016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0" i="0" u="none" strike="noStrike" dirty="0" smtClean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471316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ETL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Tera Stream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O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3016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0" i="0" u="none" strike="noStrike" dirty="0" smtClean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86106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데이터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변환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SQL Canvas Tran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3016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0" i="0" u="none" strike="noStrike" dirty="0" smtClean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975437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작업 관리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Control-M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3734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백업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TINA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(SAN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3734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TINA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(LAN)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SMS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Polestar SM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서버 접근제어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Node Safer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계정 관리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iGriffin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734966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서버 보안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Secuve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TOS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098719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클러스터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HP Service Guard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6721318"/>
                  </a:ext>
                </a:extLst>
              </a:tr>
              <a:tr h="16373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운영체제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HP-UX 11.3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X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-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ln>
                            <a:solidFill>
                              <a:srgbClr val="000000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●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endParaRPr lang="ko-KR" alt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7200" marB="72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134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AutoShape 2"/>
          <p:cNvSpPr>
            <a:spLocks noChangeArrowheads="1"/>
          </p:cNvSpPr>
          <p:nvPr/>
        </p:nvSpPr>
        <p:spPr bwMode="auto">
          <a:xfrm rot="16200000">
            <a:off x="4733126" y="4249022"/>
            <a:ext cx="439749" cy="2414507"/>
          </a:xfrm>
          <a:prstGeom prst="rightArrow">
            <a:avLst>
              <a:gd name="adj1" fmla="val 64263"/>
              <a:gd name="adj2" fmla="val 43042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금감원 검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hecklist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국가위험평가 이행평가 항목을 적용하여 직원알기제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독립적인 감사 등 회사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도 전반에 대한 진단을 수행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진단 수행 결과에 따라 개선안을 도출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체크리스트 구성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9" name="직사각형 28"/>
          <p:cNvSpPr/>
          <p:nvPr/>
        </p:nvSpPr>
        <p:spPr>
          <a:xfrm>
            <a:off x="1825389" y="5775306"/>
            <a:ext cx="1800000" cy="468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금융감독원 체크리스트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3737123" y="5775306"/>
            <a:ext cx="1800000" cy="468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KoFIU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이행평가 체크리스트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5648857" y="5775306"/>
            <a:ext cx="1800000" cy="468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금융감독원 지적사항</a:t>
            </a:r>
          </a:p>
        </p:txBody>
      </p:sp>
      <p:sp>
        <p:nvSpPr>
          <p:cNvPr id="32" name="Rectangle 63"/>
          <p:cNvSpPr>
            <a:spLocks noChangeArrowheads="1"/>
          </p:cNvSpPr>
          <p:nvPr/>
        </p:nvSpPr>
        <p:spPr bwMode="auto">
          <a:xfrm>
            <a:off x="956886" y="2293909"/>
            <a:ext cx="1966262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lvl="2" algn="ctr" defTabSz="974725">
              <a:spcBef>
                <a:spcPts val="60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Pct val="100000"/>
            </a:pPr>
            <a:r>
              <a:rPr lang="ko-KR" altLang="en-US" sz="13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금감원 </a:t>
            </a:r>
            <a:r>
              <a:rPr lang="en-US" altLang="ko-KR" sz="1300" spc="-1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AML </a:t>
            </a:r>
            <a:r>
              <a:rPr lang="ko-KR" altLang="en-US" sz="1300" spc="-1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검사 </a:t>
            </a:r>
            <a:r>
              <a:rPr lang="en-US" altLang="ko-KR" sz="13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Checklist</a:t>
            </a:r>
          </a:p>
        </p:txBody>
      </p:sp>
      <p:cxnSp>
        <p:nvCxnSpPr>
          <p:cNvPr id="37" name="직선 연결선 36"/>
          <p:cNvCxnSpPr/>
          <p:nvPr/>
        </p:nvCxnSpPr>
        <p:spPr>
          <a:xfrm>
            <a:off x="3723552" y="2517013"/>
            <a:ext cx="1998699" cy="0"/>
          </a:xfrm>
          <a:prstGeom prst="line">
            <a:avLst/>
          </a:prstGeom>
          <a:ln>
            <a:solidFill>
              <a:srgbClr val="093D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직사각형 37"/>
          <p:cNvSpPr/>
          <p:nvPr/>
        </p:nvSpPr>
        <p:spPr>
          <a:xfrm>
            <a:off x="7560591" y="5775306"/>
            <a:ext cx="1800000" cy="468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컨설팅 개선사항</a:t>
            </a:r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059" y="2575536"/>
            <a:ext cx="2785916" cy="2255352"/>
          </a:xfrm>
          <a:prstGeom prst="rect">
            <a:avLst/>
          </a:prstGeom>
          <a:effectLst/>
        </p:spPr>
      </p:pic>
      <p:sp>
        <p:nvSpPr>
          <p:cNvPr id="55" name="직사각형 54"/>
          <p:cNvSpPr>
            <a:spLocks noChangeArrowheads="1"/>
          </p:cNvSpPr>
          <p:nvPr/>
        </p:nvSpPr>
        <p:spPr bwMode="auto">
          <a:xfrm>
            <a:off x="547059" y="4866048"/>
            <a:ext cx="2785916" cy="31386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6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 부문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, 25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 영역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, 129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 항목으로 구성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56" name="그림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2496" y="2564816"/>
            <a:ext cx="2560810" cy="2266072"/>
          </a:xfrm>
          <a:prstGeom prst="rect">
            <a:avLst/>
          </a:prstGeom>
        </p:spPr>
      </p:pic>
      <p:sp>
        <p:nvSpPr>
          <p:cNvPr id="57" name="Rectangle 63"/>
          <p:cNvSpPr>
            <a:spLocks noChangeArrowheads="1"/>
          </p:cNvSpPr>
          <p:nvPr/>
        </p:nvSpPr>
        <p:spPr bwMode="auto">
          <a:xfrm>
            <a:off x="3763810" y="2276872"/>
            <a:ext cx="1918182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lvl="2" algn="ctr" defTabSz="974725" latinLnBrk="0">
              <a:spcBef>
                <a:spcPts val="60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Pct val="100000"/>
            </a:pPr>
            <a:r>
              <a:rPr lang="ko-KR" altLang="en-US" sz="1300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가상통화 진단 체크리스트</a:t>
            </a:r>
            <a:endParaRPr lang="ko-KR" altLang="en-US" sz="1300" spc="-1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Wingdings" pitchFamily="2" charset="2"/>
            </a:endParaRPr>
          </a:p>
        </p:txBody>
      </p:sp>
      <p:sp>
        <p:nvSpPr>
          <p:cNvPr id="58" name="직사각형 57"/>
          <p:cNvSpPr>
            <a:spLocks noChangeArrowheads="1"/>
          </p:cNvSpPr>
          <p:nvPr/>
        </p:nvSpPr>
        <p:spPr bwMode="auto">
          <a:xfrm>
            <a:off x="3442496" y="4866048"/>
            <a:ext cx="2560810" cy="31386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6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 영역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, 18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 항목으로 구성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83" name="그림 82"/>
          <p:cNvPicPr preferRelativeResize="0">
            <a:picLocks/>
          </p:cNvPicPr>
          <p:nvPr/>
        </p:nvPicPr>
        <p:blipFill>
          <a:blip r:embed="rId4" cstate="print">
            <a:grayscl/>
          </a:blip>
          <a:stretch>
            <a:fillRect/>
          </a:stretch>
        </p:blipFill>
        <p:spPr>
          <a:xfrm>
            <a:off x="6112827" y="2575536"/>
            <a:ext cx="3247764" cy="2248744"/>
          </a:xfrm>
          <a:prstGeom prst="rect">
            <a:avLst/>
          </a:prstGeom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84" name="Rectangle 63"/>
          <p:cNvSpPr>
            <a:spLocks noChangeArrowheads="1"/>
          </p:cNvSpPr>
          <p:nvPr/>
        </p:nvSpPr>
        <p:spPr bwMode="auto">
          <a:xfrm>
            <a:off x="6530519" y="2276872"/>
            <a:ext cx="241238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lvl="2" algn="ctr" defTabSz="974725">
              <a:spcBef>
                <a:spcPts val="60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Pct val="100000"/>
            </a:pPr>
            <a:r>
              <a:rPr lang="ko-KR" altLang="en-US" sz="13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국가위험 평가를 위한 이행평가 항목</a:t>
            </a:r>
          </a:p>
        </p:txBody>
      </p:sp>
      <p:cxnSp>
        <p:nvCxnSpPr>
          <p:cNvPr id="86" name="직선 연결선 85"/>
          <p:cNvCxnSpPr/>
          <p:nvPr/>
        </p:nvCxnSpPr>
        <p:spPr>
          <a:xfrm>
            <a:off x="6522655" y="2517013"/>
            <a:ext cx="2428108" cy="0"/>
          </a:xfrm>
          <a:prstGeom prst="line">
            <a:avLst/>
          </a:prstGeom>
          <a:ln>
            <a:solidFill>
              <a:srgbClr val="093D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연결선 86"/>
          <p:cNvCxnSpPr/>
          <p:nvPr/>
        </p:nvCxnSpPr>
        <p:spPr>
          <a:xfrm>
            <a:off x="940668" y="2517013"/>
            <a:ext cx="1998699" cy="0"/>
          </a:xfrm>
          <a:prstGeom prst="line">
            <a:avLst/>
          </a:prstGeom>
          <a:ln>
            <a:solidFill>
              <a:srgbClr val="093D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직사각형 87"/>
          <p:cNvSpPr>
            <a:spLocks noChangeArrowheads="1"/>
          </p:cNvSpPr>
          <p:nvPr/>
        </p:nvSpPr>
        <p:spPr bwMode="auto">
          <a:xfrm>
            <a:off x="6112827" y="4866048"/>
            <a:ext cx="3247764" cy="31386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5</a:t>
            </a:r>
            <a:r>
              <a:rPr lang="ko-KR" altLang="en-US" sz="12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영역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, </a:t>
            </a:r>
            <a:r>
              <a:rPr lang="en-US" altLang="ko-KR" sz="12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99</a:t>
            </a:r>
            <a:r>
              <a:rPr lang="ko-KR" altLang="en-US" sz="12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항목으로 구성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496617" y="5733316"/>
            <a:ext cx="7925290" cy="540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spc="-1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9" name="직사각형 88"/>
          <p:cNvSpPr>
            <a:spLocks noChangeArrowheads="1"/>
          </p:cNvSpPr>
          <p:nvPr/>
        </p:nvSpPr>
        <p:spPr bwMode="auto">
          <a:xfrm>
            <a:off x="547059" y="5733316"/>
            <a:ext cx="1166596" cy="54000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4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진단툴</a:t>
            </a:r>
            <a:endParaRPr lang="en-US" altLang="ko-KR" sz="14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3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6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8/10)</a:t>
            </a:r>
            <a:endParaRPr lang="ko-KR" altLang="en-US" dirty="0"/>
          </a:p>
        </p:txBody>
      </p:sp>
      <p:sp>
        <p:nvSpPr>
          <p:cNvPr id="4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34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18914" y="2567552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662206" y="254577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46531" y="254577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8194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금감원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hecklis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경우 전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hecklis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한 구성을 파악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heck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항목에 대한 최신 검사 방향과 상세한 점검 절차를 제안사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now-how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와 접목하여 </a:t>
            </a:r>
            <a:r>
              <a:rPr lang="ko-KR" altLang="en-US" sz="1100" dirty="0" err="1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금감원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검사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대한 유사하게 점검할 수 있도록 재구성하여 실제 점검에 적용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금감원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Checklist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구성 및 적용 방안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13" name="그룹 112"/>
          <p:cNvGrpSpPr/>
          <p:nvPr/>
        </p:nvGrpSpPr>
        <p:grpSpPr>
          <a:xfrm>
            <a:off x="488380" y="2240868"/>
            <a:ext cx="4376409" cy="4068452"/>
            <a:chOff x="633412" y="2557381"/>
            <a:chExt cx="8640761" cy="3859012"/>
          </a:xfrm>
        </p:grpSpPr>
        <p:sp>
          <p:nvSpPr>
            <p:cNvPr id="114" name="직사각형 113"/>
            <p:cNvSpPr/>
            <p:nvPr/>
          </p:nvSpPr>
          <p:spPr>
            <a:xfrm>
              <a:off x="633412" y="2557381"/>
              <a:ext cx="5383840" cy="291260"/>
            </a:xfrm>
            <a:prstGeom prst="rect">
              <a:avLst/>
            </a:prstGeom>
            <a:solidFill>
              <a:srgbClr val="B5BFC7"/>
            </a:solidFill>
            <a:ln w="6350">
              <a:solidFill>
                <a:srgbClr val="99A7B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검사영역</a:t>
              </a:r>
            </a:p>
          </p:txBody>
        </p:sp>
        <p:sp>
          <p:nvSpPr>
            <p:cNvPr id="115" name="직사각형 114"/>
            <p:cNvSpPr/>
            <p:nvPr/>
          </p:nvSpPr>
          <p:spPr>
            <a:xfrm>
              <a:off x="7780709" y="2557381"/>
              <a:ext cx="1493464" cy="291260"/>
            </a:xfrm>
            <a:prstGeom prst="rect">
              <a:avLst/>
            </a:prstGeom>
            <a:solidFill>
              <a:srgbClr val="B5BFC7"/>
            </a:solidFill>
            <a:ln w="6350">
              <a:solidFill>
                <a:srgbClr val="99A7B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비율</a:t>
              </a:r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6152248" y="2557381"/>
              <a:ext cx="1493464" cy="291260"/>
            </a:xfrm>
            <a:prstGeom prst="rect">
              <a:avLst/>
            </a:prstGeom>
            <a:solidFill>
              <a:srgbClr val="B5BFC7"/>
            </a:solidFill>
            <a:ln w="6350">
              <a:solidFill>
                <a:srgbClr val="99A7B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점검항목</a:t>
              </a:r>
            </a:p>
          </p:txBody>
        </p:sp>
        <p:sp>
          <p:nvSpPr>
            <p:cNvPr id="117" name="직사각형 116"/>
            <p:cNvSpPr/>
            <p:nvPr/>
          </p:nvSpPr>
          <p:spPr>
            <a:xfrm>
              <a:off x="633412" y="2904422"/>
              <a:ext cx="1650178" cy="1905213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내부통제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40)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18" name="직사각형 117"/>
            <p:cNvSpPr/>
            <p:nvPr/>
          </p:nvSpPr>
          <p:spPr>
            <a:xfrm>
              <a:off x="7780709" y="2904423"/>
              <a:ext cx="1493464" cy="1894892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38.46%</a:t>
              </a:r>
            </a:p>
          </p:txBody>
        </p:sp>
        <p:sp>
          <p:nvSpPr>
            <p:cNvPr id="119" name="직사각형 118"/>
            <p:cNvSpPr/>
            <p:nvPr/>
          </p:nvSpPr>
          <p:spPr>
            <a:xfrm>
              <a:off x="2390266" y="2904421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통제구조</a:t>
              </a:r>
            </a:p>
          </p:txBody>
        </p:sp>
        <p:sp>
          <p:nvSpPr>
            <p:cNvPr id="120" name="직사각형 119"/>
            <p:cNvSpPr/>
            <p:nvPr/>
          </p:nvSpPr>
          <p:spPr>
            <a:xfrm>
              <a:off x="6152248" y="2904421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25</a:t>
              </a:r>
            </a:p>
          </p:txBody>
        </p:sp>
        <p:sp>
          <p:nvSpPr>
            <p:cNvPr id="121" name="직사각형 120"/>
            <p:cNvSpPr/>
            <p:nvPr/>
          </p:nvSpPr>
          <p:spPr>
            <a:xfrm>
              <a:off x="2390266" y="3227837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임직원에 대한 교육 및 연수</a:t>
              </a:r>
            </a:p>
          </p:txBody>
        </p:sp>
        <p:sp>
          <p:nvSpPr>
            <p:cNvPr id="122" name="직사각형 121"/>
            <p:cNvSpPr/>
            <p:nvPr/>
          </p:nvSpPr>
          <p:spPr>
            <a:xfrm>
              <a:off x="6152248" y="3227837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4</a:t>
              </a:r>
            </a:p>
          </p:txBody>
        </p:sp>
        <p:sp>
          <p:nvSpPr>
            <p:cNvPr id="123" name="직사각형 122"/>
            <p:cNvSpPr/>
            <p:nvPr/>
          </p:nvSpPr>
          <p:spPr>
            <a:xfrm>
              <a:off x="2390266" y="3551253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직원알기제도</a:t>
              </a:r>
            </a:p>
          </p:txBody>
        </p:sp>
        <p:sp>
          <p:nvSpPr>
            <p:cNvPr id="124" name="직사각형 123"/>
            <p:cNvSpPr/>
            <p:nvPr/>
          </p:nvSpPr>
          <p:spPr>
            <a:xfrm>
              <a:off x="6152248" y="3551253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3</a:t>
              </a:r>
            </a:p>
          </p:txBody>
        </p:sp>
        <p:sp>
          <p:nvSpPr>
            <p:cNvPr id="125" name="직사각형 124"/>
            <p:cNvSpPr/>
            <p:nvPr/>
          </p:nvSpPr>
          <p:spPr>
            <a:xfrm>
              <a:off x="2390266" y="3874669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자금세탁방지 감사기능</a:t>
              </a:r>
            </a:p>
          </p:txBody>
        </p:sp>
        <p:sp>
          <p:nvSpPr>
            <p:cNvPr id="126" name="직사각형 125"/>
            <p:cNvSpPr/>
            <p:nvPr/>
          </p:nvSpPr>
          <p:spPr>
            <a:xfrm>
              <a:off x="6152248" y="3874669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3</a:t>
              </a:r>
            </a:p>
          </p:txBody>
        </p:sp>
        <p:sp>
          <p:nvSpPr>
            <p:cNvPr id="127" name="직사각형 126"/>
            <p:cNvSpPr/>
            <p:nvPr/>
          </p:nvSpPr>
          <p:spPr>
            <a:xfrm>
              <a:off x="2390266" y="4198085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자가평가</a:t>
              </a:r>
            </a:p>
          </p:txBody>
        </p:sp>
        <p:sp>
          <p:nvSpPr>
            <p:cNvPr id="128" name="직사각형 127"/>
            <p:cNvSpPr/>
            <p:nvPr/>
          </p:nvSpPr>
          <p:spPr>
            <a:xfrm>
              <a:off x="6152248" y="4198085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1</a:t>
              </a:r>
            </a:p>
          </p:txBody>
        </p:sp>
        <p:sp>
          <p:nvSpPr>
            <p:cNvPr id="129" name="직사각형 128"/>
            <p:cNvSpPr/>
            <p:nvPr/>
          </p:nvSpPr>
          <p:spPr>
            <a:xfrm>
              <a:off x="2390266" y="4521501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기록 보존 및 비밀보장</a:t>
              </a:r>
            </a:p>
          </p:txBody>
        </p:sp>
        <p:sp>
          <p:nvSpPr>
            <p:cNvPr id="130" name="직사각형 129"/>
            <p:cNvSpPr/>
            <p:nvPr/>
          </p:nvSpPr>
          <p:spPr>
            <a:xfrm>
              <a:off x="6152248" y="4521501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4</a:t>
              </a:r>
            </a:p>
          </p:txBody>
        </p:sp>
        <p:sp>
          <p:nvSpPr>
            <p:cNvPr id="131" name="직사각형 130"/>
            <p:cNvSpPr/>
            <p:nvPr/>
          </p:nvSpPr>
          <p:spPr>
            <a:xfrm>
              <a:off x="633412" y="4844916"/>
              <a:ext cx="1650178" cy="59978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고객확인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50)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32" name="직사각형 131"/>
            <p:cNvSpPr/>
            <p:nvPr/>
          </p:nvSpPr>
          <p:spPr>
            <a:xfrm>
              <a:off x="7780709" y="4844917"/>
              <a:ext cx="1493464" cy="59978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48.08%</a:t>
              </a:r>
            </a:p>
          </p:txBody>
        </p:sp>
        <p:sp>
          <p:nvSpPr>
            <p:cNvPr id="133" name="직사각형 132"/>
            <p:cNvSpPr/>
            <p:nvPr/>
          </p:nvSpPr>
          <p:spPr>
            <a:xfrm>
              <a:off x="2390266" y="4844917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고객확인의무</a:t>
              </a:r>
            </a:p>
          </p:txBody>
        </p:sp>
        <p:sp>
          <p:nvSpPr>
            <p:cNvPr id="134" name="직사각형 133"/>
            <p:cNvSpPr/>
            <p:nvPr/>
          </p:nvSpPr>
          <p:spPr>
            <a:xfrm>
              <a:off x="6152248" y="4844917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45</a:t>
              </a:r>
            </a:p>
          </p:txBody>
        </p:sp>
        <p:sp>
          <p:nvSpPr>
            <p:cNvPr id="135" name="직사각형 134"/>
            <p:cNvSpPr/>
            <p:nvPr/>
          </p:nvSpPr>
          <p:spPr>
            <a:xfrm>
              <a:off x="2390266" y="5168333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위험관리체계</a:t>
              </a:r>
            </a:p>
          </p:txBody>
        </p:sp>
        <p:sp>
          <p:nvSpPr>
            <p:cNvPr id="136" name="직사각형 135"/>
            <p:cNvSpPr/>
            <p:nvPr/>
          </p:nvSpPr>
          <p:spPr>
            <a:xfrm>
              <a:off x="6152248" y="5168333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5</a:t>
              </a:r>
            </a:p>
          </p:txBody>
        </p:sp>
        <p:sp>
          <p:nvSpPr>
            <p:cNvPr id="137" name="직사각형 136"/>
            <p:cNvSpPr/>
            <p:nvPr/>
          </p:nvSpPr>
          <p:spPr>
            <a:xfrm>
              <a:off x="633412" y="5491747"/>
              <a:ext cx="1650178" cy="588029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모니터링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14)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38" name="직사각형 137"/>
            <p:cNvSpPr/>
            <p:nvPr/>
          </p:nvSpPr>
          <p:spPr>
            <a:xfrm>
              <a:off x="7780709" y="5491747"/>
              <a:ext cx="1493464" cy="601231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13.46%</a:t>
              </a:r>
            </a:p>
          </p:txBody>
        </p:sp>
        <p:sp>
          <p:nvSpPr>
            <p:cNvPr id="139" name="직사각형 138"/>
            <p:cNvSpPr/>
            <p:nvPr/>
          </p:nvSpPr>
          <p:spPr>
            <a:xfrm>
              <a:off x="2390266" y="5491749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위험기반 모니터링</a:t>
              </a:r>
            </a:p>
          </p:txBody>
        </p:sp>
        <p:sp>
          <p:nvSpPr>
            <p:cNvPr id="140" name="직사각형 139"/>
            <p:cNvSpPr/>
            <p:nvPr/>
          </p:nvSpPr>
          <p:spPr>
            <a:xfrm>
              <a:off x="6152248" y="5491749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6</a:t>
              </a:r>
            </a:p>
          </p:txBody>
        </p:sp>
        <p:sp>
          <p:nvSpPr>
            <p:cNvPr id="141" name="직사각형 140"/>
            <p:cNvSpPr/>
            <p:nvPr/>
          </p:nvSpPr>
          <p:spPr>
            <a:xfrm>
              <a:off x="2390266" y="5815162"/>
              <a:ext cx="3626986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내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·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외부 보고체계</a:t>
              </a:r>
            </a:p>
          </p:txBody>
        </p:sp>
        <p:sp>
          <p:nvSpPr>
            <p:cNvPr id="142" name="직사각형 141"/>
            <p:cNvSpPr/>
            <p:nvPr/>
          </p:nvSpPr>
          <p:spPr>
            <a:xfrm>
              <a:off x="6152248" y="5815165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8</a:t>
              </a:r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633412" y="6138580"/>
              <a:ext cx="5387229" cy="277813"/>
            </a:xfrm>
            <a:prstGeom prst="rect">
              <a:avLst/>
            </a:prstGeom>
            <a:solidFill>
              <a:srgbClr val="E2E7EA"/>
            </a:solidFill>
            <a:ln w="6350">
              <a:solidFill>
                <a:srgbClr val="CFD6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총합계</a:t>
              </a:r>
            </a:p>
          </p:txBody>
        </p:sp>
        <p:sp>
          <p:nvSpPr>
            <p:cNvPr id="144" name="직사각형 143"/>
            <p:cNvSpPr/>
            <p:nvPr/>
          </p:nvSpPr>
          <p:spPr>
            <a:xfrm>
              <a:off x="7780709" y="6138580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100%</a:t>
              </a:r>
            </a:p>
          </p:txBody>
        </p:sp>
        <p:sp>
          <p:nvSpPr>
            <p:cNvPr id="145" name="직사각형 144"/>
            <p:cNvSpPr/>
            <p:nvPr/>
          </p:nvSpPr>
          <p:spPr>
            <a:xfrm>
              <a:off x="6152248" y="6138579"/>
              <a:ext cx="1493464" cy="27781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104</a:t>
              </a:r>
            </a:p>
          </p:txBody>
        </p:sp>
      </p:grpSp>
      <p:sp>
        <p:nvSpPr>
          <p:cNvPr id="146" name="오른쪽 화살표 145"/>
          <p:cNvSpPr/>
          <p:nvPr/>
        </p:nvSpPr>
        <p:spPr bwMode="ltGray">
          <a:xfrm>
            <a:off x="4929458" y="2885370"/>
            <a:ext cx="570810" cy="2779449"/>
          </a:xfrm>
          <a:prstGeom prst="rightArrow">
            <a:avLst>
              <a:gd name="adj1" fmla="val 60657"/>
              <a:gd name="adj2" fmla="val 39588"/>
            </a:avLst>
          </a:prstGeom>
          <a:solidFill>
            <a:schemeClr val="bg1">
              <a:lumMod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441" tIns="459893" rtlCol="0" anchor="t" anchorCtr="0"/>
          <a:lstStyle/>
          <a:p>
            <a:pPr marL="168484" indent="-168484" algn="ctr" latinLnBrk="0">
              <a:buFont typeface="Wingdings" panose="05000000000000000000" pitchFamily="2" charset="2"/>
              <a:buChar char="§"/>
            </a:pPr>
            <a:endParaRPr lang="ko-KR" altLang="en-US" sz="983" spc="-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7" name="모서리가 둥근 직사각형 146"/>
          <p:cNvSpPr/>
          <p:nvPr/>
        </p:nvSpPr>
        <p:spPr bwMode="auto">
          <a:xfrm>
            <a:off x="5589595" y="2492896"/>
            <a:ext cx="3719889" cy="3573205"/>
          </a:xfrm>
          <a:prstGeom prst="roundRect">
            <a:avLst>
              <a:gd name="adj" fmla="val 1177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6070358" y="2778651"/>
            <a:ext cx="2975909" cy="30469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금감원 검사 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hecklist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는 내부통제 영역이 상대적으로 세분화되어 점검항목이 정의되어 있음</a:t>
            </a:r>
            <a:endParaRPr lang="en-US" altLang="ko-KR" sz="1100" i="1" dirty="0" smtClean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endParaRPr lang="en-US" altLang="ko-KR" sz="1100" i="1" dirty="0" smtClean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endParaRPr lang="en-US" altLang="ko-KR" sz="1100" i="1" dirty="0" smtClean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근의 금감원 검사는 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년치 고객확인의무 이행 데이터를 징구하여 충실도를 평가하고 추가적인 증빙을 확인하는 방식으로 진행 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– 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가능한 경우 고객확인의무 이행 데이터를 입수하여 점검 수행</a:t>
            </a:r>
            <a:endParaRPr lang="en-US" altLang="ko-KR" sz="1100" i="1" dirty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endParaRPr lang="en-US" altLang="ko-KR" sz="1100" i="1" dirty="0" smtClean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endParaRPr lang="ko-KR" altLang="en-US" sz="1100" i="1" dirty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근의 금감원 지적사항은 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DD 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미이행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실제 소유자 확인의 형식적인 수행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CTR 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미보고 등에 집중되며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에 따라 본 프로젝트 진행 시에도 이러한 최신 </a:t>
            </a:r>
            <a:r>
              <a:rPr lang="en-US" altLang="ko-KR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trend</a:t>
            </a: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를 반영 </a:t>
            </a:r>
            <a:endParaRPr lang="en-US" altLang="ko-KR" sz="1100" i="1" dirty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endParaRPr lang="en-US" altLang="ko-KR" sz="1100" i="1" dirty="0" smtClean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endParaRPr lang="en-US" altLang="ko-KR" sz="1100" i="1" dirty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ko-KR" altLang="en-US" sz="1100" i="1" dirty="0" smtClean="0">
                <a:solidFill>
                  <a:schemeClr val="accent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 모니터링 관련해서는 룰의 완전성 및 미보고 사유의 적정성에 대한 점검 중점 수행</a:t>
            </a:r>
            <a:endParaRPr lang="ko-KR" altLang="en-US" sz="1100" i="1" dirty="0">
              <a:solidFill>
                <a:schemeClr val="accent1">
                  <a:lumMod val="50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49" name="그룹 148"/>
          <p:cNvGrpSpPr/>
          <p:nvPr/>
        </p:nvGrpSpPr>
        <p:grpSpPr>
          <a:xfrm>
            <a:off x="5753248" y="2789767"/>
            <a:ext cx="180000" cy="180000"/>
            <a:chOff x="3836876" y="2941341"/>
            <a:chExt cx="207140" cy="194864"/>
          </a:xfrm>
        </p:grpSpPr>
        <p:sp>
          <p:nvSpPr>
            <p:cNvPr id="150" name="직사각형 149"/>
            <p:cNvSpPr/>
            <p:nvPr/>
          </p:nvSpPr>
          <p:spPr bwMode="auto">
            <a:xfrm>
              <a:off x="3850605" y="3019647"/>
              <a:ext cx="116558" cy="11655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ko-KR" altLang="en-US" spc="-10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pic>
          <p:nvPicPr>
            <p:cNvPr id="151" name="Picture 9" descr="C:\Users\HIPT\Desktop\21P\Untitled-1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36876" y="2941341"/>
              <a:ext cx="207140" cy="162072"/>
            </a:xfrm>
            <a:prstGeom prst="rect">
              <a:avLst/>
            </a:prstGeom>
            <a:noFill/>
          </p:spPr>
        </p:pic>
      </p:grpSp>
      <p:grpSp>
        <p:nvGrpSpPr>
          <p:cNvPr id="152" name="그룹 151"/>
          <p:cNvGrpSpPr/>
          <p:nvPr/>
        </p:nvGrpSpPr>
        <p:grpSpPr>
          <a:xfrm>
            <a:off x="5753248" y="3471253"/>
            <a:ext cx="180000" cy="180000"/>
            <a:chOff x="3836876" y="2803000"/>
            <a:chExt cx="207140" cy="189189"/>
          </a:xfrm>
        </p:grpSpPr>
        <p:sp>
          <p:nvSpPr>
            <p:cNvPr id="153" name="직사각형 152"/>
            <p:cNvSpPr/>
            <p:nvPr/>
          </p:nvSpPr>
          <p:spPr bwMode="auto">
            <a:xfrm>
              <a:off x="3850605" y="2875631"/>
              <a:ext cx="116558" cy="11655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ko-KR" altLang="en-US" spc="-10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pic>
          <p:nvPicPr>
            <p:cNvPr id="154" name="Picture 9" descr="C:\Users\HIPT\Desktop\21P\Untitled-1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36876" y="2803000"/>
              <a:ext cx="207140" cy="162072"/>
            </a:xfrm>
            <a:prstGeom prst="rect">
              <a:avLst/>
            </a:prstGeom>
            <a:noFill/>
          </p:spPr>
        </p:pic>
      </p:grpSp>
      <p:grpSp>
        <p:nvGrpSpPr>
          <p:cNvPr id="155" name="그룹 154"/>
          <p:cNvGrpSpPr/>
          <p:nvPr/>
        </p:nvGrpSpPr>
        <p:grpSpPr>
          <a:xfrm>
            <a:off x="5753248" y="4440903"/>
            <a:ext cx="180000" cy="180000"/>
            <a:chOff x="3836876" y="2941341"/>
            <a:chExt cx="207140" cy="194864"/>
          </a:xfrm>
        </p:grpSpPr>
        <p:sp>
          <p:nvSpPr>
            <p:cNvPr id="156" name="직사각형 155"/>
            <p:cNvSpPr/>
            <p:nvPr/>
          </p:nvSpPr>
          <p:spPr bwMode="auto">
            <a:xfrm>
              <a:off x="3850605" y="3019647"/>
              <a:ext cx="116558" cy="11655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ko-KR" altLang="en-US" spc="-10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pic>
          <p:nvPicPr>
            <p:cNvPr id="157" name="Picture 9" descr="C:\Users\HIPT\Desktop\21P\Untitled-1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36876" y="2941341"/>
              <a:ext cx="207140" cy="162072"/>
            </a:xfrm>
            <a:prstGeom prst="rect">
              <a:avLst/>
            </a:prstGeom>
            <a:noFill/>
          </p:spPr>
        </p:pic>
      </p:grpSp>
      <p:grpSp>
        <p:nvGrpSpPr>
          <p:cNvPr id="158" name="그룹 157"/>
          <p:cNvGrpSpPr/>
          <p:nvPr/>
        </p:nvGrpSpPr>
        <p:grpSpPr>
          <a:xfrm>
            <a:off x="5753248" y="5428929"/>
            <a:ext cx="180000" cy="180000"/>
            <a:chOff x="3836876" y="2941341"/>
            <a:chExt cx="207140" cy="194864"/>
          </a:xfrm>
        </p:grpSpPr>
        <p:sp>
          <p:nvSpPr>
            <p:cNvPr id="159" name="직사각형 158"/>
            <p:cNvSpPr/>
            <p:nvPr/>
          </p:nvSpPr>
          <p:spPr bwMode="auto">
            <a:xfrm>
              <a:off x="3850605" y="3019647"/>
              <a:ext cx="116558" cy="11655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ko-KR" altLang="en-US" spc="-100" dirty="0">
                <a:solidFill>
                  <a:srgbClr val="000000"/>
                </a:solidFill>
                <a:latin typeface="+mn-ea"/>
                <a:ea typeface="+mn-ea"/>
              </a:endParaRPr>
            </a:p>
          </p:txBody>
        </p:sp>
        <p:pic>
          <p:nvPicPr>
            <p:cNvPr id="160" name="Picture 9" descr="C:\Users\HIPT\Desktop\21P\Untitled-1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36876" y="2941341"/>
              <a:ext cx="207140" cy="162072"/>
            </a:xfrm>
            <a:prstGeom prst="rect">
              <a:avLst/>
            </a:prstGeom>
            <a:noFill/>
          </p:spPr>
        </p:pic>
      </p:grpSp>
      <p:sp>
        <p:nvSpPr>
          <p:cNvPr id="6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6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9/10)</a:t>
            </a:r>
            <a:endParaRPr lang="ko-KR" altLang="en-US" dirty="0"/>
          </a:p>
        </p:txBody>
      </p:sp>
      <p:sp>
        <p:nvSpPr>
          <p:cNvPr id="6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4702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자금세탁 위험관리의 필요성 및 운영 효과성을 높이고 제도의 안정적인 연착륙을 위하여 교육 목표를 수립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이에 따른 교육 전략 및 계획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교육 체계 수립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546831" y="2276872"/>
            <a:ext cx="8834661" cy="3996444"/>
            <a:chOff x="546831" y="2276872"/>
            <a:chExt cx="8834661" cy="3996444"/>
          </a:xfrm>
        </p:grpSpPr>
        <p:sp>
          <p:nvSpPr>
            <p:cNvPr id="20" name="갈매기형 수장 19"/>
            <p:cNvSpPr/>
            <p:nvPr/>
          </p:nvSpPr>
          <p:spPr bwMode="ltGray">
            <a:xfrm>
              <a:off x="546831" y="2276872"/>
              <a:ext cx="2231896" cy="462132"/>
            </a:xfrm>
            <a:prstGeom prst="chevron">
              <a:avLst>
                <a:gd name="adj" fmla="val 19429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교육 목표 수립</a:t>
              </a:r>
            </a:p>
          </p:txBody>
        </p:sp>
        <p:sp>
          <p:nvSpPr>
            <p:cNvPr id="21" name="갈매기형 수장 20"/>
            <p:cNvSpPr/>
            <p:nvPr/>
          </p:nvSpPr>
          <p:spPr bwMode="ltGray">
            <a:xfrm>
              <a:off x="4955777" y="2276872"/>
              <a:ext cx="2231896" cy="462132"/>
            </a:xfrm>
            <a:prstGeom prst="chevron">
              <a:avLst>
                <a:gd name="adj" fmla="val 19429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교육 계획 수립</a:t>
              </a:r>
            </a:p>
          </p:txBody>
        </p:sp>
        <p:sp>
          <p:nvSpPr>
            <p:cNvPr id="22" name="갈매기형 수장 21"/>
            <p:cNvSpPr/>
            <p:nvPr/>
          </p:nvSpPr>
          <p:spPr bwMode="ltGray">
            <a:xfrm>
              <a:off x="7149596" y="2276872"/>
              <a:ext cx="2231896" cy="462132"/>
            </a:xfrm>
            <a:prstGeom prst="chevron">
              <a:avLst>
                <a:gd name="adj" fmla="val 19429"/>
              </a:avLst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교육 실행 및 결과 관리</a:t>
              </a:r>
            </a:p>
          </p:txBody>
        </p:sp>
        <p:sp>
          <p:nvSpPr>
            <p:cNvPr id="23" name="갈매기형 수장 22"/>
            <p:cNvSpPr/>
            <p:nvPr/>
          </p:nvSpPr>
          <p:spPr bwMode="ltGray">
            <a:xfrm>
              <a:off x="2751305" y="2276872"/>
              <a:ext cx="2231896" cy="462132"/>
            </a:xfrm>
            <a:prstGeom prst="chevron">
              <a:avLst>
                <a:gd name="adj" fmla="val 19429"/>
              </a:avLst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교육 대상 정의</a:t>
              </a:r>
            </a:p>
          </p:txBody>
        </p:sp>
        <p:cxnSp>
          <p:nvCxnSpPr>
            <p:cNvPr id="25" name="직선 연결선 24"/>
            <p:cNvCxnSpPr/>
            <p:nvPr/>
          </p:nvCxnSpPr>
          <p:spPr>
            <a:xfrm>
              <a:off x="2718809" y="2790645"/>
              <a:ext cx="0" cy="347673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직사각형 25"/>
            <p:cNvSpPr/>
            <p:nvPr/>
          </p:nvSpPr>
          <p:spPr bwMode="ltGray">
            <a:xfrm>
              <a:off x="561016" y="2804771"/>
              <a:ext cx="2100842" cy="25185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다음과 같은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목표를 수립하고 이에 따른 교육 방향성을 도출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차원의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관리 중요성에 대한 인식 제고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직원들의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관리 역량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강화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향후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수행 시 업무 혼란 최소화 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7" name="직사각형 26"/>
            <p:cNvSpPr/>
            <p:nvPr/>
          </p:nvSpPr>
          <p:spPr bwMode="ltGray">
            <a:xfrm>
              <a:off x="561016" y="5390878"/>
              <a:ext cx="2100842" cy="88243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Wingdings" panose="05000000000000000000" pitchFamily="2" charset="2"/>
                <a:buChar char="§"/>
              </a:pPr>
              <a:r>
                <a:rPr kumimoji="1"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계획서</a:t>
              </a:r>
              <a:endPara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28" name="직선 연결선 27"/>
            <p:cNvCxnSpPr/>
            <p:nvPr/>
          </p:nvCxnSpPr>
          <p:spPr>
            <a:xfrm>
              <a:off x="4931902" y="2789198"/>
              <a:ext cx="0" cy="347673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직사각형 28"/>
            <p:cNvSpPr/>
            <p:nvPr/>
          </p:nvSpPr>
          <p:spPr bwMode="ltGray">
            <a:xfrm>
              <a:off x="2774109" y="2803324"/>
              <a:ext cx="2100842" cy="25185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대상 별로 교육 목적 및 주요 내용이 달라질 수 있으므로 교육을 수행할 대상과 주 교육 내용을 정의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사회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및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경영진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제도 이해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검사감독 방향 등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관리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담조직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RBA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처리 절차 등</a:t>
              </a:r>
              <a:endPara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수행 현업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방법 등</a:t>
              </a:r>
              <a:endPara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0" name="직사각형 29"/>
            <p:cNvSpPr/>
            <p:nvPr/>
          </p:nvSpPr>
          <p:spPr bwMode="ltGray">
            <a:xfrm>
              <a:off x="2774109" y="5389431"/>
              <a:ext cx="2100842" cy="88243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계획서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>
                <a:spcBef>
                  <a:spcPts val="9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교재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31" name="직선 연결선 30"/>
            <p:cNvCxnSpPr/>
            <p:nvPr/>
          </p:nvCxnSpPr>
          <p:spPr>
            <a:xfrm>
              <a:off x="7141653" y="2790522"/>
              <a:ext cx="0" cy="347673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직사각형 31"/>
            <p:cNvSpPr/>
            <p:nvPr/>
          </p:nvSpPr>
          <p:spPr bwMode="ltGray">
            <a:xfrm>
              <a:off x="4983860" y="2804649"/>
              <a:ext cx="2100842" cy="25185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관리 교육은 최소한 연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회 이상 수행되어야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함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교육 대상의 특성을 고려하여 가장 효과적인 교육 방법과 교육 주기 정의가 필요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방법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집합 교육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달 교육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사이버 교육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존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AML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과의 연계성 고려 필요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- RBA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가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AML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제도 운영에 미치는 영향 등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" name="직사각형 32"/>
            <p:cNvSpPr/>
            <p:nvPr/>
          </p:nvSpPr>
          <p:spPr bwMode="ltGray">
            <a:xfrm>
              <a:off x="4983860" y="5390756"/>
              <a:ext cx="2100842" cy="88243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계획서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>
                <a:spcBef>
                  <a:spcPts val="9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관리대장</a:t>
              </a:r>
              <a:endPara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" name="직사각형 33"/>
            <p:cNvSpPr/>
            <p:nvPr/>
          </p:nvSpPr>
          <p:spPr bwMode="ltGray">
            <a:xfrm>
              <a:off x="7191535" y="2804649"/>
              <a:ext cx="2100842" cy="25185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실행 이후 교육계획에 따른 교육 실적 관리가 필요함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일정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참석 인원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주요 내용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 교재 등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필요 시 교육 효과성을 높이기 위한 교육 내용에 대한 평가 도입 고려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>
                <a:spcBef>
                  <a:spcPts val="900"/>
                </a:spcBef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교육 대상 그룹 별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별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인 별 교육 이력 관리가 가능하여야 함  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 bwMode="ltGray">
            <a:xfrm>
              <a:off x="7191535" y="5390066"/>
              <a:ext cx="2100842" cy="88243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72000" tIns="72000" rIns="72000" bIns="72000" rtlCol="0" anchor="t"/>
            <a:lstStyle/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관리대장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필요 시 교육 관리에 필요한 시스템 기능 요건 정의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3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3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3 RBA </a:t>
            </a:r>
            <a:r>
              <a:rPr lang="ko-KR" altLang="en-US" dirty="0"/>
              <a:t>내부통제 강화방안 </a:t>
            </a:r>
            <a:r>
              <a:rPr lang="ko-KR" altLang="en-US" dirty="0" smtClean="0"/>
              <a:t>마련 </a:t>
            </a:r>
            <a:r>
              <a:rPr lang="en-US" altLang="ko-KR" dirty="0" smtClean="0"/>
              <a:t>(10/10)</a:t>
            </a:r>
            <a:endParaRPr lang="ko-KR" altLang="en-US" dirty="0"/>
          </a:p>
        </p:txBody>
      </p:sp>
      <p:sp>
        <p:nvSpPr>
          <p:cNvPr id="4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774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4 KoFIU </a:t>
            </a:r>
            <a:r>
              <a:rPr lang="ko-KR" altLang="en-US" dirty="0"/>
              <a:t>지표 대응 체계 </a:t>
            </a:r>
            <a:r>
              <a:rPr lang="ko-KR" altLang="en-US" dirty="0" smtClean="0"/>
              <a:t>수립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유위험 및 운영위험 지표를 분석하여 지표값 산출 및 평가 대응을 위하여 필요한 시스템 및 프로세스 개선안을 도출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oFIU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지표 대응 체계 수립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9" name="그룹 18"/>
          <p:cNvGrpSpPr/>
          <p:nvPr/>
        </p:nvGrpSpPr>
        <p:grpSpPr>
          <a:xfrm>
            <a:off x="1017341" y="2384884"/>
            <a:ext cx="3098583" cy="230865"/>
            <a:chOff x="1089745" y="2641534"/>
            <a:chExt cx="3039971" cy="247459"/>
          </a:xfrm>
        </p:grpSpPr>
        <p:cxnSp>
          <p:nvCxnSpPr>
            <p:cNvPr id="20" name="직선 연결선 19"/>
            <p:cNvCxnSpPr/>
            <p:nvPr/>
          </p:nvCxnSpPr>
          <p:spPr>
            <a:xfrm>
              <a:off x="1089745" y="2888993"/>
              <a:ext cx="3039971" cy="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sp>
          <p:nvSpPr>
            <p:cNvPr id="21" name="TextBox 43"/>
            <p:cNvSpPr txBox="1">
              <a:spLocks noChangeArrowheads="1"/>
            </p:cNvSpPr>
            <p:nvPr/>
          </p:nvSpPr>
          <p:spPr bwMode="auto">
            <a:xfrm>
              <a:off x="1089870" y="2641534"/>
              <a:ext cx="3024188" cy="1979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7800" indent="-1778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5pPr>
              <a:lvl6pPr marL="25146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6pPr>
              <a:lvl7pPr marL="29718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7pPr>
              <a:lvl8pPr marL="34290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8pPr>
              <a:lvl9pPr marL="38862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9pPr>
            </a:lstStyle>
            <a:p>
              <a:pPr marL="177800" marR="0" lvl="0" indent="-17780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i="0" u="none" strike="noStrike" kern="0" cap="none" spc="-1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[ KoFIU </a:t>
              </a:r>
              <a:r>
                <a:rPr kumimoji="0" lang="ko-KR" altLang="en-US" sz="1200" i="0" u="none" strike="noStrike" kern="0" cap="none" spc="-1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금융회사</a:t>
              </a:r>
              <a:r>
                <a:rPr kumimoji="0" lang="en-US" altLang="ko-KR" sz="1200" i="0" u="none" strike="noStrike" kern="0" cap="none" spc="-1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kumimoji="0" lang="ko-KR" altLang="en-US" sz="1200" i="0" u="none" strike="noStrike" kern="0" cap="none" spc="-1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평가 </a:t>
              </a:r>
              <a:r>
                <a:rPr kumimoji="0" lang="ko-KR" altLang="en-US" sz="120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</a:t>
              </a:r>
              <a:r>
                <a:rPr kumimoji="0" lang="en-US" altLang="ko-KR" sz="120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]</a:t>
              </a:r>
              <a:endParaRPr kumimoji="0" lang="ko-KR" altLang="en-US" sz="1200" i="0" u="none" strike="noStrike" kern="0" cap="none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5109458" y="2600908"/>
            <a:ext cx="3984002" cy="3621563"/>
            <a:chOff x="4960393" y="2830546"/>
            <a:chExt cx="4188584" cy="3324496"/>
          </a:xfrm>
        </p:grpSpPr>
        <p:grpSp>
          <p:nvGrpSpPr>
            <p:cNvPr id="23" name="그룹 22"/>
            <p:cNvGrpSpPr/>
            <p:nvPr/>
          </p:nvGrpSpPr>
          <p:grpSpPr>
            <a:xfrm>
              <a:off x="4960394" y="2830546"/>
              <a:ext cx="2052000" cy="1580974"/>
              <a:chOff x="7142456" y="2244917"/>
              <a:chExt cx="2096794" cy="1580974"/>
            </a:xfrm>
          </p:grpSpPr>
          <p:sp>
            <p:nvSpPr>
              <p:cNvPr id="30" name="직사각형 29"/>
              <p:cNvSpPr/>
              <p:nvPr/>
            </p:nvSpPr>
            <p:spPr>
              <a:xfrm>
                <a:off x="7142456" y="2493891"/>
                <a:ext cx="2096794" cy="1332000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lIns="108000" tIns="144000" rIns="108000" bIns="144000" anchor="t" anchorCtr="0"/>
              <a:lstStyle/>
              <a:p>
                <a:pPr marL="171450" marR="0" lvl="0" indent="-171450" defTabSz="1042959" eaLnBrk="0" fontAlgn="auto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4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ko-KR" altLang="en-US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회사의 고객 및 거래 특성 상 </a:t>
                </a:r>
                <a:r>
                  <a:rPr kumimoji="0" lang="en-US" altLang="ko-KR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ML/TF</a:t>
                </a:r>
                <a:r>
                  <a:rPr kumimoji="0" lang="ko-KR" altLang="en-US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에 노출되어 있는 위험을 객관적으로 측정하기 위한 지표</a:t>
                </a:r>
                <a:endParaRPr kumimoji="0" lang="en-US" altLang="ko-KR" sz="10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171450" marR="0" lvl="0" indent="-171450" defTabSz="1042959" eaLnBrk="0" fontAlgn="auto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4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ko-KR" altLang="en-US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주로 금감원 업무보고서 양식 상의 데이터로 구성 </a:t>
                </a:r>
              </a:p>
            </p:txBody>
          </p:sp>
          <p:sp>
            <p:nvSpPr>
              <p:cNvPr id="31" name="직사각형 30"/>
              <p:cNvSpPr/>
              <p:nvPr/>
            </p:nvSpPr>
            <p:spPr>
              <a:xfrm>
                <a:off x="7142456" y="2244917"/>
                <a:ext cx="2096794" cy="252000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10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sym typeface="Wingdings" pitchFamily="2" charset="2"/>
                  </a:rPr>
                  <a:t>고유위험 지표</a:t>
                </a:r>
              </a:p>
            </p:txBody>
          </p:sp>
        </p:grpSp>
        <p:grpSp>
          <p:nvGrpSpPr>
            <p:cNvPr id="25" name="그룹 24"/>
            <p:cNvGrpSpPr/>
            <p:nvPr/>
          </p:nvGrpSpPr>
          <p:grpSpPr>
            <a:xfrm>
              <a:off x="7096977" y="2830546"/>
              <a:ext cx="2052000" cy="1580974"/>
              <a:chOff x="7142456" y="2244917"/>
              <a:chExt cx="2096794" cy="1580974"/>
            </a:xfrm>
          </p:grpSpPr>
          <p:sp>
            <p:nvSpPr>
              <p:cNvPr id="28" name="직사각형 27"/>
              <p:cNvSpPr/>
              <p:nvPr/>
            </p:nvSpPr>
            <p:spPr>
              <a:xfrm>
                <a:off x="7142456" y="2493891"/>
                <a:ext cx="2096794" cy="1332000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lIns="108000" tIns="144000" rIns="108000" bIns="144000" anchor="t" anchorCtr="0"/>
              <a:lstStyle/>
              <a:p>
                <a:pPr marL="171450" marR="0" lvl="0" indent="-171450" defTabSz="1042959" eaLnBrk="0" fontAlgn="auto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4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ko-KR" altLang="en-US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회사의 </a:t>
                </a:r>
                <a:r>
                  <a:rPr kumimoji="0" lang="en-US" altLang="ko-KR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AML</a:t>
                </a:r>
                <a:r>
                  <a:rPr kumimoji="0" lang="ko-KR" altLang="en-US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 제도 및 시스템 등의 통제를 효과적으로 운영하고 있는 정도를 측정하기 위한 지표</a:t>
                </a:r>
                <a:endParaRPr kumimoji="0" lang="en-US" altLang="ko-KR" sz="10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171450" marR="0" lvl="0" indent="-171450" defTabSz="1042959" eaLnBrk="0" fontAlgn="auto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4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ko-KR" altLang="en-US" sz="1000" b="0" i="0" u="none" strike="noStrike" kern="0" cap="none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항목 별 평가값을 직접 산출하고 관련 증빙을 제출</a:t>
                </a:r>
                <a:endParaRPr kumimoji="0" lang="en-US" altLang="ko-KR" sz="10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29" name="직사각형 28"/>
              <p:cNvSpPr/>
              <p:nvPr/>
            </p:nvSpPr>
            <p:spPr>
              <a:xfrm>
                <a:off x="7142456" y="2244917"/>
                <a:ext cx="2096794" cy="252000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1000" spc="-5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sym typeface="Wingdings" pitchFamily="2" charset="2"/>
                  </a:rPr>
                  <a:t>운영위험 지표</a:t>
                </a:r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endParaRPr>
              </a:p>
            </p:txBody>
          </p:sp>
        </p:grpSp>
        <p:sp>
          <p:nvSpPr>
            <p:cNvPr id="26" name="오른쪽 화살표 25"/>
            <p:cNvSpPr/>
            <p:nvPr/>
          </p:nvSpPr>
          <p:spPr bwMode="ltGray">
            <a:xfrm rot="5400000">
              <a:off x="6913982" y="3494005"/>
              <a:ext cx="283756" cy="2240535"/>
            </a:xfrm>
            <a:prstGeom prst="rightArrow">
              <a:avLst>
                <a:gd name="adj1" fmla="val 60770"/>
                <a:gd name="adj2" fmla="val 41656"/>
              </a:avLst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4960393" y="4823042"/>
              <a:ext cx="4188583" cy="1332000"/>
            </a:xfrm>
            <a:prstGeom prst="rect">
              <a:avLst/>
            </a:prstGeom>
            <a:solidFill>
              <a:srgbClr val="D3EDFD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108000" tIns="144000" rIns="108000" bIns="144000" anchor="t" anchorCtr="0"/>
            <a:lstStyle/>
            <a:p>
              <a:pPr marL="171450" marR="0" lvl="0" indent="-171450" defTabSz="1042959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4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0" lang="ko-KR" altLang="en-US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유위험 지표는 지표 산출이 대부분 수기 작업이며</a:t>
              </a:r>
              <a:r>
                <a:rPr kumimoji="0" lang="en-US" altLang="ko-KR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kumimoji="0" lang="ko-KR" altLang="en-US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그 외의 지표는 </a:t>
              </a:r>
              <a:r>
                <a:rPr kumimoji="0" lang="en-US" altLang="ko-KR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AML </a:t>
              </a:r>
              <a:r>
                <a:rPr kumimoji="0" lang="ko-KR" altLang="en-US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시스템에서 산출 가능 </a:t>
              </a:r>
              <a:r>
                <a:rPr kumimoji="0" lang="en-US" altLang="ko-KR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 [</a:t>
              </a:r>
              <a:r>
                <a:rPr kumimoji="0" lang="ko-KR" altLang="en-US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영역</a:t>
              </a:r>
              <a:r>
                <a:rPr kumimoji="0" lang="en-US" altLang="ko-KR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3]</a:t>
              </a:r>
              <a:r>
                <a:rPr kumimoji="0" lang="ko-KR" altLang="en-US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에서 데이터 추출 요건을 상세 정의</a:t>
              </a:r>
              <a:endParaRPr kumimoji="0" lang="en-US" altLang="ko-KR" sz="1100" b="0" i="0" u="none" strike="noStrike" kern="0" cap="none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endParaRPr>
            </a:p>
            <a:p>
              <a:pPr marL="171450" marR="0" lvl="0" indent="-171450" defTabSz="1042959" eaLnBrk="0" fontAlgn="auto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4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KoFIU </a:t>
              </a:r>
              <a:r>
                <a:rPr kumimoji="0" lang="ko-KR" altLang="en-US" sz="1100" b="0" i="0" u="none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sym typeface="Wingdings" panose="05000000000000000000" pitchFamily="2" charset="2"/>
                </a:rPr>
                <a:t>운영위험 지표는 지표값 산출 뿐만 아니라 </a:t>
              </a:r>
              <a:r>
                <a:rPr kumimoji="0" lang="ko-KR" altLang="en-US" sz="1100" i="0" u="sng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anose="05000000000000000000" pitchFamily="2" charset="2"/>
                </a:rPr>
                <a:t>고득점을 위하여 정책 및 절차 </a:t>
              </a:r>
              <a:r>
                <a:rPr kumimoji="0" lang="en-US" altLang="ko-KR" sz="1100" i="0" u="sng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anose="05000000000000000000" pitchFamily="2" charset="2"/>
                </a:rPr>
                <a:t>/ </a:t>
              </a:r>
              <a:r>
                <a:rPr kumimoji="0" lang="ko-KR" altLang="en-US" sz="1100" i="0" u="sng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anose="05000000000000000000" pitchFamily="2" charset="2"/>
                </a:rPr>
                <a:t>프로세스 </a:t>
              </a:r>
              <a:r>
                <a:rPr kumimoji="0" lang="en-US" altLang="ko-KR" sz="1100" i="0" u="sng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anose="05000000000000000000" pitchFamily="2" charset="2"/>
                </a:rPr>
                <a:t>/ </a:t>
              </a:r>
              <a:r>
                <a:rPr kumimoji="0" lang="ko-KR" altLang="en-US" sz="1100" i="0" u="sng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anose="05000000000000000000" pitchFamily="2" charset="2"/>
                </a:rPr>
                <a:t>시스템 측면에서 상당 수 개선이 필요함 </a:t>
              </a:r>
              <a:r>
                <a:rPr kumimoji="0" lang="en-US" altLang="ko-KR" sz="1100" i="0" u="sng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anose="05000000000000000000" pitchFamily="2" charset="2"/>
                </a:rPr>
                <a:t> </a:t>
              </a:r>
              <a:r>
                <a:rPr kumimoji="0" lang="ko-KR" altLang="en-US" sz="1100" i="0" u="sng" strike="noStrike" kern="0" cap="none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anose="05000000000000000000" pitchFamily="2" charset="2"/>
                </a:rPr>
                <a:t>진단을 통한 개선안 도출</a:t>
              </a:r>
              <a:endParaRPr kumimoji="0" lang="ko-KR" altLang="en-US" sz="1100" i="0" u="sng" strike="noStrike" kern="0" cap="none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347582"/>
              </p:ext>
            </p:extLst>
          </p:nvPr>
        </p:nvGraphicFramePr>
        <p:xfrm>
          <a:off x="596516" y="2759416"/>
          <a:ext cx="4176464" cy="3477896"/>
        </p:xfrm>
        <a:graphic>
          <a:graphicData uri="http://schemas.openxmlformats.org/drawingml/2006/table">
            <a:tbl>
              <a:tblPr firstRow="1" bandRow="1"/>
              <a:tblGrid>
                <a:gridCol w="951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248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7469"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 목적</a:t>
                      </a:r>
                      <a:endParaRPr lang="ko-KR" altLang="en-US" sz="10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r>
                        <a:rPr lang="ko-KR" altLang="en-US" sz="1000" b="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금융회사 등의 </a:t>
                      </a:r>
                      <a:r>
                        <a:rPr lang="en-US" altLang="ko-KR" sz="1000" b="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AML/CFT </a:t>
                      </a:r>
                      <a:r>
                        <a:rPr lang="ko-KR" altLang="en-US" sz="1000" b="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관련 위험관리수준 평가 목적</a:t>
                      </a:r>
                      <a:endParaRPr lang="ko-KR" altLang="en-US" sz="1000" b="0" spc="0" baseline="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298"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 주기</a:t>
                      </a:r>
                      <a:endParaRPr lang="ko-KR" altLang="en-US" sz="10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/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분기별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(Quarterly)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로 보고</a:t>
                      </a:r>
                      <a:endParaRPr lang="ko-KR" altLang="en-US" sz="1000" b="0" kern="1200" spc="0" baseline="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2000" marR="72000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192"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 방법</a:t>
                      </a:r>
                      <a:endParaRPr lang="ko-KR" altLang="en-US" sz="10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/>
                      <a:r>
                        <a:rPr lang="en-US" altLang="ko-KR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KoFIU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 위험평가시스템에 접속하여 위험평가지표 자료 보고</a:t>
                      </a:r>
                      <a:endParaRPr lang="ko-KR" altLang="en-US" sz="1000" b="0" kern="1200" spc="0" baseline="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2000" marR="72000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2937"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평가 결과</a:t>
                      </a:r>
                      <a:endParaRPr lang="ko-KR" altLang="en-US" sz="10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>
                      <a:lvl1pPr marL="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714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7429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1144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4859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85737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22885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600325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971800" algn="l" defTabSz="742950" rtl="0" eaLnBrk="1" latinLnBrk="1" hangingPunct="1">
                        <a:defRPr sz="1463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/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감독당국이 금융회사 등의 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ML/TF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위험을 확인하여 위험 기반 감독을 수행하는 추가적인 중요한 수단</a:t>
                      </a:r>
                      <a:endParaRPr lang="en-US" altLang="ko-KR" sz="1000" b="0" kern="1200" spc="0" baseline="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  <a:p>
                      <a:pPr algn="l"/>
                      <a:endParaRPr lang="en-US" altLang="ko-KR" sz="1000" b="0" kern="1200" spc="0" baseline="0" dirty="0" smtClean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  <a:p>
                      <a:pPr marL="171450" marR="0" lvl="0" indent="-171450" algn="l" defTabSz="898885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금융회사 피드백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절대적이거나 상대적인 위치를 가늠하여 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AML/CFT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개선대책 등을 강구할 수 있도록 결과 피드백</a:t>
                      </a:r>
                    </a:p>
                    <a:p>
                      <a:pPr marL="171450" marR="0" lvl="0" indent="-171450" algn="l" defTabSz="898885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검사수탁기관 공유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보고 지표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보고 결과 등을 종합적으로 활용하여 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ML/TF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dk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위험이 높은 경우 검사계획 등에 반영 의무화</a:t>
                      </a:r>
                    </a:p>
                    <a:p>
                      <a:pPr marL="171450" indent="-171450" algn="l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감독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교육 등 참고자료로 활용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개별 지표 자료 등을 활용하여 감독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교육 계획 수립</a:t>
                      </a:r>
                      <a:r>
                        <a:rPr lang="en-US" altLang="ko-KR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‧</a:t>
                      </a:r>
                      <a:r>
                        <a:rPr lang="ko-KR" altLang="en-US" sz="1000" b="0" kern="1200" spc="0" baseline="0" dirty="0" smtClean="0">
                          <a:solidFill>
                            <a:schemeClr val="tx1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시행에 참고</a:t>
                      </a:r>
                      <a:endParaRPr lang="ko-KR" altLang="en-US" sz="1000" b="0" kern="1200" spc="0" baseline="0" dirty="0">
                        <a:solidFill>
                          <a:schemeClr val="tx1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2000" marR="72000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3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3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4 KoFIU </a:t>
            </a:r>
            <a:r>
              <a:rPr lang="ko-KR" altLang="en-US" dirty="0"/>
              <a:t>지표 대응 체계 수립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유위험 지표는 부산은행의 고객 및 거래 특성을 고려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노출되어 있는 위험을 객관적으로 측정하기 위한 것으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5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영역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27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세부영역으로 구분하여 총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57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지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144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점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로 구성되어 있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oFIU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유위험 지표 구성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548718"/>
              </p:ext>
            </p:extLst>
          </p:nvPr>
        </p:nvGraphicFramePr>
        <p:xfrm>
          <a:off x="452376" y="2240868"/>
          <a:ext cx="4416795" cy="4032450"/>
        </p:xfrm>
        <a:graphic>
          <a:graphicData uri="http://schemas.openxmlformats.org/drawingml/2006/table">
            <a:tbl>
              <a:tblPr/>
              <a:tblGrid>
                <a:gridCol w="1004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95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63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63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002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평가영역 구분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평가 세부영역 구분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배점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평가항목 수</a:t>
                      </a:r>
                      <a:endParaRPr lang="en-US" altLang="ko-KR" sz="900" b="0" u="none" strike="noStrike" spc="0" baseline="0" dirty="0" smtClean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57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 smtClean="0"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국가특성</a:t>
                      </a:r>
                      <a:endParaRPr lang="ko-KR" altLang="en-US" sz="900" b="0" i="0" u="none" strike="noStrike" spc="0" baseline="0" dirty="0">
                        <a:solidFill>
                          <a:srgbClr val="FFFFFF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endParaRPr lang="ko-KR" altLang="en-US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</a:t>
                      </a:r>
                      <a:endParaRPr lang="en-US" altLang="ko-KR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7</a:t>
                      </a:r>
                      <a:endParaRPr lang="en-US" altLang="ko-KR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557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065" marR="6065" marT="60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AML </a:t>
                      </a:r>
                      <a:r>
                        <a:rPr lang="ko-KR" altLang="en-US" sz="90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취약국가 거래규모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6</a:t>
                      </a:r>
                      <a:endParaRPr lang="en-US" altLang="ko-KR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endParaRPr lang="en-US" altLang="ko-KR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557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spc="-100" baseline="0" dirty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해외거래 용이성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</a:t>
                      </a:r>
                      <a:endParaRPr lang="en-US" altLang="ko-KR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</a:t>
                      </a:r>
                      <a:endParaRPr lang="en-US" altLang="ko-KR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5578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 smtClean="0"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고객특성</a:t>
                      </a:r>
                      <a:endParaRPr lang="ko-KR" altLang="en-US" sz="900" b="0" i="0" u="none" strike="noStrike" spc="0" baseline="0" dirty="0">
                        <a:solidFill>
                          <a:srgbClr val="FFFFFF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endParaRPr lang="ko-KR" altLang="en-US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6</a:t>
                      </a:r>
                      <a:endParaRPr lang="en-US" altLang="ko-KR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8</a:t>
                      </a:r>
                      <a:endParaRPr lang="en-US" altLang="ko-KR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065" marR="6065" marT="60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CTR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보고고객 규모</a:t>
                      </a:r>
                    </a:p>
                  </a:txBody>
                  <a:tcPr marL="13716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065" marR="6065" marT="60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PEP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규모</a:t>
                      </a:r>
                    </a:p>
                  </a:txBody>
                  <a:tcPr marL="13716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거래고객 규모</a:t>
                      </a:r>
                    </a:p>
                  </a:txBody>
                  <a:tcPr marL="13716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0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액자산가 고객 규모</a:t>
                      </a:r>
                    </a:p>
                  </a:txBody>
                  <a:tcPr marL="13716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위험 업종 고객 거래 규모</a:t>
                      </a:r>
                    </a:p>
                  </a:txBody>
                  <a:tcPr marL="13716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위험국적 보유고객 규모</a:t>
                      </a:r>
                    </a:p>
                  </a:txBody>
                  <a:tcPr marL="13716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marL="0" marR="0" indent="0" algn="ctr" defTabSz="8988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spc="-100" baseline="0" dirty="0" smtClean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비영리단체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법인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)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고객 규모</a:t>
                      </a:r>
                    </a:p>
                  </a:txBody>
                  <a:tcPr marL="13716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5578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상품 및</a:t>
                      </a:r>
                      <a:endParaRPr lang="en-US" altLang="ko-KR" sz="900" b="0" i="0" u="none" strike="noStrike" spc="0" baseline="0" dirty="0" smtClean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b="0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서비스 특성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6373" marR="6373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0</a:t>
                      </a:r>
                      <a:endParaRPr lang="en-US" altLang="ko-KR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6373" marR="6373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0</a:t>
                      </a:r>
                      <a:endParaRPr lang="en-US" altLang="ko-KR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6373" marR="6373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marL="0" marR="0" indent="0" algn="ctr" defTabSz="8988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spc="-100" baseline="0" dirty="0" smtClean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가상계좌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6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marL="0" marR="0" indent="0" algn="ctr" defTabSz="8988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spc="-100" baseline="0" dirty="0" smtClean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국외현지법인거래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marL="0" marR="0" indent="0" algn="ctr" defTabSz="8988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spc="-100" baseline="0" dirty="0" smtClean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무역거래목적 송금거래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marL="0" marR="0" indent="0" algn="ctr" defTabSz="89888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spc="-100" baseline="0" dirty="0" smtClean="0">
                        <a:solidFill>
                          <a:srgbClr val="FFFFFF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보험료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  <a:endParaRPr lang="en-US" altLang="ko-KR" sz="900" u="none" strike="noStrike" kern="1200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  <a:endParaRPr lang="en-US" altLang="ko-KR" sz="900" u="none" strike="noStrike" kern="1200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2557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선불카드상품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208524"/>
              </p:ext>
            </p:extLst>
          </p:nvPr>
        </p:nvGraphicFramePr>
        <p:xfrm>
          <a:off x="5061011" y="2240874"/>
          <a:ext cx="4360746" cy="3806871"/>
        </p:xfrm>
        <a:graphic>
          <a:graphicData uri="http://schemas.openxmlformats.org/drawingml/2006/table">
            <a:tbl>
              <a:tblPr/>
              <a:tblGrid>
                <a:gridCol w="9921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62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61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61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001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평가영역 구분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평가 세부영역 구분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배점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평가항목 수</a:t>
                      </a:r>
                      <a:endParaRPr lang="en-US" altLang="ko-KR" sz="900" b="0" u="none" strike="noStrike" spc="0" baseline="0" dirty="0" smtClean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542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상품 및</a:t>
                      </a:r>
                      <a:endParaRPr lang="en-US" altLang="ko-KR" sz="900" b="0" i="0" u="none" strike="noStrike" spc="0" baseline="0" dirty="0" smtClean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b="0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서비스 특성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수신상품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여신상품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외환상품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투자상품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해외송금거래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8F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해외직접투자목적 송금 거래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현금거래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환전거래 규모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557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채널 </a:t>
                      </a:r>
                      <a:r>
                        <a:rPr lang="ko-KR" altLang="en-US" sz="900" b="0" u="none" strike="noStrike" spc="0" baseline="0" dirty="0" smtClean="0"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특성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kern="12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0</a:t>
                      </a:r>
                      <a:endParaRPr lang="en-US" altLang="ko-KR" sz="900" b="1" i="0" u="none" strike="noStrike" kern="1200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kern="12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8</a:t>
                      </a:r>
                      <a:endParaRPr lang="en-US" altLang="ko-KR" sz="900" b="1" i="0" u="none" strike="noStrike" kern="1200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55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익명거래 용이성</a:t>
                      </a:r>
                    </a:p>
                  </a:txBody>
                  <a:tcPr marL="6373" marR="6373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5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557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065" marR="6065" marT="60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지점거래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용이성</a:t>
                      </a:r>
                    </a:p>
                  </a:txBody>
                  <a:tcPr marL="6373" marR="6373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5578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spc="0" baseline="0" dirty="0" smtClean="0"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회사특성</a:t>
                      </a:r>
                      <a:endParaRPr lang="ko-KR" altLang="en-US" sz="900" b="0" i="0" u="none" strike="noStrike" spc="0" baseline="0" dirty="0">
                        <a:solidFill>
                          <a:srgbClr val="FF0000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kern="12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4</a:t>
                      </a:r>
                      <a:endParaRPr lang="en-US" altLang="ko-KR" sz="900" b="1" i="0" u="none" strike="noStrike" kern="1200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kern="12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4</a:t>
                      </a:r>
                      <a:endParaRPr lang="en-US" altLang="ko-KR" sz="900" b="1" i="0" u="none" strike="noStrike" kern="1200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065" marR="6065" marT="60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경영관리리스크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6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065" marR="6065" marT="60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비중변동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6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35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직원변동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u="none" strike="noStrike" kern="1200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2557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합계</a:t>
                      </a:r>
                      <a:endParaRPr lang="ko-KR" altLang="en-US" sz="900" b="1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065" marR="6065" marT="60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4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57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098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4 KoFIU </a:t>
            </a:r>
            <a:r>
              <a:rPr lang="ko-KR" altLang="en-US" dirty="0"/>
              <a:t>지표 대응 체계 수립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위험 지표는 부산은행의 자금세탁방지 제도 및 시스템 등의 통제활동을 효과적으로 운영하고 있는 정도를 객관적으로 측정하기 위한 것으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5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영역으로 구분하여 총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96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지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416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점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로 구성되어 있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oFIU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운영위험 지표 구성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7995836"/>
              </p:ext>
            </p:extLst>
          </p:nvPr>
        </p:nvGraphicFramePr>
        <p:xfrm>
          <a:off x="452376" y="2240862"/>
          <a:ext cx="4365514" cy="4068456"/>
        </p:xfrm>
        <a:graphic>
          <a:graphicData uri="http://schemas.openxmlformats.org/drawingml/2006/table">
            <a:tbl>
              <a:tblPr/>
              <a:tblGrid>
                <a:gridCol w="2289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89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89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89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89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9060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평가영역 </a:t>
                      </a:r>
                      <a:r>
                        <a:rPr lang="ko-KR" altLang="en-US" sz="900" b="0" u="none" strike="noStrike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9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배점</a:t>
                      </a:r>
                      <a:endParaRPr lang="ko-KR" altLang="en-US" sz="9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9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지표수</a:t>
                      </a:r>
                      <a:endParaRPr lang="ko-KR" altLang="en-US" sz="9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ko-KR" altLang="en-US" sz="9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배점 비중</a:t>
                      </a:r>
                      <a:endParaRPr lang="ko-KR" altLang="en-US" sz="9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ko-KR" sz="9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564" marB="36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6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endParaRPr lang="en-US" altLang="ko-KR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85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endParaRPr lang="en-US" altLang="ko-KR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8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r>
                        <a:rPr lang="ko-KR" altLang="en-US" sz="900" b="0" i="0" u="none" strike="noStrike" kern="1200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전체</a:t>
                      </a:r>
                      <a:endParaRPr lang="en-US" altLang="ko-KR" sz="900" b="0" i="0" u="none" strike="noStrike" kern="1200" spc="0" baseline="0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r>
                        <a:rPr lang="ko-KR" altLang="en-US" sz="900" b="0" i="0" u="none" strike="noStrike" kern="1200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영역내</a:t>
                      </a:r>
                      <a:endParaRPr lang="en-US" altLang="ko-KR" sz="900" b="0" i="0" u="none" strike="noStrike" kern="1200" spc="0" baseline="0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marL="228600" indent="-228600" algn="l" fontAlgn="b">
                        <a:buNone/>
                      </a:pPr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. </a:t>
                      </a:r>
                      <a:r>
                        <a:rPr lang="ko-KR" altLang="en-US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사통제정책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5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%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환경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5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. </a:t>
                      </a:r>
                      <a:r>
                        <a:rPr lang="ko-KR" altLang="en-US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내부통제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1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7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9%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담조직의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독립성 및 전문성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8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6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9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7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교육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및 연수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직원알기제도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9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5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3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독립적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감사체계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2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5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보안절차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5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. </a:t>
                      </a:r>
                      <a:r>
                        <a:rPr lang="ko-KR" altLang="en-US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확인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4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6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5%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확인의무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절차 수립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4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9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1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속적인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확인의무 수행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0604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요주의리스트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확인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7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2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/>
          </p:nvPr>
        </p:nvGraphicFramePr>
        <p:xfrm>
          <a:off x="5061012" y="2240864"/>
          <a:ext cx="4321295" cy="4068448"/>
        </p:xfrm>
        <a:graphic>
          <a:graphicData uri="http://schemas.openxmlformats.org/drawingml/2006/table">
            <a:tbl>
              <a:tblPr/>
              <a:tblGrid>
                <a:gridCol w="2192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2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2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2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2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427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평가영역 </a:t>
                      </a:r>
                      <a:r>
                        <a:rPr lang="ko-KR" altLang="en-US" sz="900" b="0" u="none" strike="noStrike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구분</a:t>
                      </a:r>
                      <a:endParaRPr lang="ko-KR" altLang="en-US" sz="9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900" b="0" spc="0" baseline="0" dirty="0" smtClean="0">
                          <a:solidFill>
                            <a:schemeClr val="bg1"/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배점</a:t>
                      </a:r>
                      <a:endParaRPr lang="ko-KR" altLang="en-US" sz="900" b="0" spc="0" baseline="0" dirty="0">
                        <a:solidFill>
                          <a:schemeClr val="bg1"/>
                        </a:solidFill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900" b="0" spc="0" baseline="0" dirty="0" smtClean="0">
                          <a:solidFill>
                            <a:schemeClr val="bg1"/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지표수</a:t>
                      </a:r>
                      <a:endParaRPr lang="ko-KR" altLang="en-US" sz="900" b="0" spc="0" baseline="0" dirty="0">
                        <a:solidFill>
                          <a:schemeClr val="bg1"/>
                        </a:solidFill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ko-KR" altLang="en-US" sz="900" b="0" spc="0" baseline="0" dirty="0" smtClean="0">
                          <a:solidFill>
                            <a:schemeClr val="bg1"/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배점 비중</a:t>
                      </a:r>
                      <a:endParaRPr lang="ko-KR" altLang="en-US" sz="900" b="0" spc="0" baseline="0" dirty="0">
                        <a:solidFill>
                          <a:schemeClr val="bg1"/>
                        </a:solidFill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ko-KR" sz="9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564" marB="36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2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endParaRPr lang="en-US" altLang="ko-KR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85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endParaRPr lang="en-US" altLang="ko-KR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68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r>
                        <a:rPr lang="ko-KR" altLang="en-US" sz="900" b="0" i="0" u="none" strike="noStrike" kern="1200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전체</a:t>
                      </a:r>
                      <a:endParaRPr lang="en-US" altLang="ko-KR" sz="900" b="0" i="0" u="none" strike="noStrike" kern="1200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98885" rtl="0" eaLnBrk="1" fontAlgn="b" latinLnBrk="1" hangingPunct="1"/>
                      <a:r>
                        <a:rPr lang="ko-KR" altLang="en-US" sz="900" b="0" i="0" u="none" strike="noStrike" kern="1200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영역내</a:t>
                      </a:r>
                      <a:endParaRPr lang="en-US" altLang="ko-KR" sz="900" b="0" i="0" u="none" strike="noStrike" kern="1200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0" marR="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8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. </a:t>
                      </a:r>
                      <a:r>
                        <a:rPr lang="ko-KR" altLang="en-US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확인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4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6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5%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신송금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확인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제</a:t>
                      </a:r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자 고객확인 및 아웃소싱 관리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9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6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위험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관리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61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8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5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2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</a:t>
                      </a:r>
                      <a:r>
                        <a:rPr lang="en-US" altLang="ko-KR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. </a:t>
                      </a:r>
                      <a:r>
                        <a:rPr lang="ko-KR" altLang="en-US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관리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7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8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1%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자금세탁 위험식별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61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2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5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70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자금세탁 위험평가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6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8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신상품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등 자금세탁 위험평가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5. </a:t>
                      </a:r>
                      <a:r>
                        <a:rPr lang="ko-KR" altLang="en-US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모니터링 및 보고관리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59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E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TR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거래 모니터링 및 보고절차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5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59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CTR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거래 모니터링 및 보고절차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7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TR </a:t>
                      </a:r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보고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  <a:r>
                        <a:rPr lang="en-US" altLang="ko-KR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TR </a:t>
                      </a:r>
                      <a:r>
                        <a:rPr lang="ko-KR" altLang="en-US" sz="900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제공</a:t>
                      </a:r>
                      <a:endParaRPr lang="ko-KR" altLang="en-US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2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0" i="0" u="none" strike="noStrike" spc="0" baseline="0" dirty="0" smtClean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0%</a:t>
                      </a:r>
                      <a:endParaRPr lang="en-US" altLang="ko-KR" sz="900" b="0" i="0" u="none" strike="noStrike" spc="0" baseline="0" dirty="0">
                        <a:solidFill>
                          <a:srgbClr val="000000"/>
                        </a:solidFill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427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 spc="0" baseline="0" dirty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합계</a:t>
                      </a:r>
                      <a:endParaRPr lang="ko-KR" altLang="en-US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u="none" strike="noStrike" spc="0" baseline="0" dirty="0" smtClean="0"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16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1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96</a:t>
                      </a:r>
                      <a:endParaRPr lang="en-US" altLang="ko-KR" sz="900" b="1" i="0" u="none" strike="noStrike" spc="0" baseline="0" dirty="0">
                        <a:solidFill>
                          <a:srgbClr val="000000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ko-KR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00%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ko-KR" altLang="en-US" sz="900" b="1" i="0" u="none" strike="noStrike" spc="0" baseline="0" dirty="0">
                          <a:solidFill>
                            <a:srgbClr val="000000"/>
                          </a:solidFill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　</a:t>
                      </a:r>
                    </a:p>
                  </a:txBody>
                  <a:tcPr marL="4763" marR="36000" marT="43200" marB="432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1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61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4 KoFIU </a:t>
            </a:r>
            <a:r>
              <a:rPr lang="ko-KR" altLang="en-US" dirty="0"/>
              <a:t>지표 대응 체계 수립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위험 지표에 대하여 이행수준 진단을 수행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그 결과에 따라 다음과 같이 정책 및 절차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프로세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영역별로 개선사항을 도출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평가지표 별 프로세스 개선 방안 도출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45" name="그룹 44"/>
          <p:cNvGrpSpPr/>
          <p:nvPr/>
        </p:nvGrpSpPr>
        <p:grpSpPr>
          <a:xfrm>
            <a:off x="452376" y="2276872"/>
            <a:ext cx="8965119" cy="3996443"/>
            <a:chOff x="725628" y="2381317"/>
            <a:chExt cx="8640000" cy="3465018"/>
          </a:xfrm>
        </p:grpSpPr>
        <p:sp>
          <p:nvSpPr>
            <p:cNvPr id="46" name="Rectangle 3"/>
            <p:cNvSpPr>
              <a:spLocks noChangeArrowheads="1"/>
            </p:cNvSpPr>
            <p:nvPr/>
          </p:nvSpPr>
          <p:spPr bwMode="gray">
            <a:xfrm>
              <a:off x="725628" y="2708728"/>
              <a:ext cx="2821836" cy="313760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144000" tIns="180000" rIns="144000" bIns="72000" anchor="t" anchorCtr="0"/>
            <a:lstStyle/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금세탁방지업무규정 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–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규정 제정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이사회의 역할 및 책임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개정권 정의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RBA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련 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R&amp;R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 포함 등</a:t>
              </a:r>
              <a:endParaRPr lang="en-US" altLang="ko-KR" sz="11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금세탁방지 업무 방법서 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–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내부통제 관련 항목 상세 추가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고객확인의무 관련 프로세스 상세화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전결권의 상향 조정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현재 업무 프로세스 반영하여 현행화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KoFIU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운영위험 지표 요구사항 반영</a:t>
              </a: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등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7" name="Rectangle 3"/>
            <p:cNvSpPr>
              <a:spLocks noChangeArrowheads="1"/>
            </p:cNvSpPr>
            <p:nvPr/>
          </p:nvSpPr>
          <p:spPr bwMode="gray">
            <a:xfrm>
              <a:off x="3621232" y="2708728"/>
              <a:ext cx="2838966" cy="313760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144000" tIns="180000" rIns="144000" bIns="72000" anchor="t" anchorCtr="0"/>
            <a:lstStyle/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금세탁방지업무 관련 임점 </a:t>
              </a: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모니터링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리 강화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직원알기제도 운영 강화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고객확인의무 이행 적정성에 대한 독립적 검증절차 수립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거래처에 대한 자금세탁 전제범죄 관련 여부 확인 및 모니터링 절차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외부 뉴스의 </a:t>
              </a:r>
              <a:r>
                <a:rPr lang="en-US" altLang="ko-KR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DB </a:t>
              </a: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리 및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모니터링 절차 정의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특정 고객에 대한 기준 정의 및 관리 절차 강화</a:t>
              </a:r>
              <a:endParaRPr lang="en-US" altLang="ko-KR" sz="11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48" name="Rectangle 3"/>
            <p:cNvSpPr>
              <a:spLocks noChangeArrowheads="1"/>
            </p:cNvSpPr>
            <p:nvPr/>
          </p:nvSpPr>
          <p:spPr bwMode="gray">
            <a:xfrm>
              <a:off x="6522522" y="2708728"/>
              <a:ext cx="2843106" cy="313760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144000" tIns="180000" rIns="144000" bIns="72000" anchor="t" anchorCtr="0"/>
            <a:lstStyle/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고객확인의무 대상 거래 및 관련인 완전성 확보</a:t>
              </a:r>
              <a:endParaRPr lang="en-US" altLang="ko-KR" sz="11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실소유자 </a:t>
              </a: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확인 적정성에 대한 제</a:t>
              </a:r>
              <a:r>
                <a:rPr lang="en-US" altLang="ko-KR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3</a:t>
              </a: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의 검증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화면 구현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en-US" altLang="ko-KR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WL </a:t>
              </a: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필터링 결과 본인 여부 확인 적정성에 대한 제</a:t>
              </a:r>
              <a:r>
                <a:rPr lang="en-US" altLang="ko-KR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3</a:t>
              </a:r>
              <a:r>
                <a:rPr lang="ko-KR" altLang="en-US" sz="1100" kern="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자의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검증 화면 구현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en-US" altLang="ko-KR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STR </a:t>
              </a: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미보고 사유 적정성에 대한 검토 기능 구현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특정 고객에 대한 추가 거래 모니터링 룰 구현</a:t>
              </a:r>
              <a:endParaRPr lang="en-US" altLang="ko-KR" sz="1100" kern="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171450" indent="-171450" algn="l" defTabSz="972559">
                <a:spcBef>
                  <a:spcPts val="120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kern="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일부 룰에 대한 추가 검증 및 개선</a:t>
              </a:r>
              <a:endParaRPr lang="en-US" altLang="ko-KR" sz="1100" kern="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grpSp>
          <p:nvGrpSpPr>
            <p:cNvPr id="49" name="그룹 48"/>
            <p:cNvGrpSpPr/>
            <p:nvPr/>
          </p:nvGrpSpPr>
          <p:grpSpPr>
            <a:xfrm>
              <a:off x="725628" y="2381317"/>
              <a:ext cx="8640000" cy="335802"/>
              <a:chOff x="725628" y="2381317"/>
              <a:chExt cx="8640000" cy="335802"/>
            </a:xfrm>
          </p:grpSpPr>
          <p:sp>
            <p:nvSpPr>
              <p:cNvPr id="50" name="Rectangle 3"/>
              <p:cNvSpPr>
                <a:spLocks noChangeArrowheads="1"/>
              </p:cNvSpPr>
              <p:nvPr/>
            </p:nvSpPr>
            <p:spPr bwMode="gray">
              <a:xfrm>
                <a:off x="725628" y="2381317"/>
                <a:ext cx="2821836" cy="335802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[1] </a:t>
                </a:r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정책 및 절차</a:t>
                </a:r>
              </a:p>
            </p:txBody>
          </p:sp>
          <p:sp>
            <p:nvSpPr>
              <p:cNvPr id="51" name="Rectangle 3"/>
              <p:cNvSpPr>
                <a:spLocks noChangeArrowheads="1"/>
              </p:cNvSpPr>
              <p:nvPr/>
            </p:nvSpPr>
            <p:spPr bwMode="gray">
              <a:xfrm>
                <a:off x="3621232" y="2381317"/>
                <a:ext cx="2838966" cy="335802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[2] </a:t>
                </a:r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업무 프로세스</a:t>
                </a:r>
              </a:p>
            </p:txBody>
          </p:sp>
          <p:sp>
            <p:nvSpPr>
              <p:cNvPr id="52" name="Rectangle 3"/>
              <p:cNvSpPr>
                <a:spLocks noChangeArrowheads="1"/>
              </p:cNvSpPr>
              <p:nvPr/>
            </p:nvSpPr>
            <p:spPr bwMode="gray">
              <a:xfrm>
                <a:off x="6522522" y="2381317"/>
                <a:ext cx="2843106" cy="335802"/>
              </a:xfrm>
              <a:prstGeom prst="rect">
                <a:avLst/>
              </a:prstGeom>
              <a:solidFill>
                <a:srgbClr val="D3EDFD"/>
              </a:solidFill>
              <a:ln w="6350">
                <a:solidFill>
                  <a:srgbClr val="ABDDFB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[3] </a:t>
                </a:r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시스템</a:t>
                </a:r>
              </a:p>
            </p:txBody>
          </p:sp>
        </p:grpSp>
      </p:grpSp>
      <p:sp>
        <p:nvSpPr>
          <p:cNvPr id="2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pic>
        <p:nvPicPr>
          <p:cNvPr id="26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39577" y="206566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9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1 RBA </a:t>
            </a:r>
            <a:r>
              <a:rPr lang="ko-KR" altLang="en-US" dirty="0"/>
              <a:t>구성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8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의 모듈로 구성되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평가에 필요한 데이터 마트를 구성하고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에 검증된 데이터를 추출 적재하여 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 보고 데이터의 산출을 목표로 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목표 시스템 구성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3" name="직사각형 22"/>
          <p:cNvSpPr/>
          <p:nvPr/>
        </p:nvSpPr>
        <p:spPr>
          <a:xfrm>
            <a:off x="416257" y="2628709"/>
            <a:ext cx="8100970" cy="2901307"/>
          </a:xfrm>
          <a:prstGeom prst="rect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01591" marR="0" lvl="0" indent="-101591" algn="ctr" defTabSz="1042959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ko-KR" altLang="en-US" sz="1100" b="0" i="0" u="none" strike="noStrike" kern="0" cap="none" spc="-10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416257" y="2348880"/>
            <a:ext cx="8100970" cy="251818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산은행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BA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스템</a:t>
            </a:r>
          </a:p>
        </p:txBody>
      </p:sp>
      <p:sp>
        <p:nvSpPr>
          <p:cNvPr id="26" name="AutoShape 89"/>
          <p:cNvSpPr>
            <a:spLocks noChangeArrowheads="1"/>
          </p:cNvSpPr>
          <p:nvPr/>
        </p:nvSpPr>
        <p:spPr bwMode="auto">
          <a:xfrm>
            <a:off x="414805" y="5835198"/>
            <a:ext cx="8100970" cy="531322"/>
          </a:xfrm>
          <a:prstGeom prst="roundRect">
            <a:avLst>
              <a:gd name="adj" fmla="val 1056"/>
            </a:avLst>
          </a:prstGeom>
          <a:noFill/>
          <a:ln w="3175" algn="ctr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400" b="1" i="1" u="none" strike="noStrike" kern="0" cap="none" spc="-100" normalizeH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27" name="Rectangle 230"/>
          <p:cNvSpPr>
            <a:spLocks noChangeArrowheads="1"/>
          </p:cNvSpPr>
          <p:nvPr/>
        </p:nvSpPr>
        <p:spPr bwMode="auto">
          <a:xfrm>
            <a:off x="414807" y="5619638"/>
            <a:ext cx="8100970" cy="20660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마트</a:t>
            </a:r>
            <a:endParaRPr lang="ko-KR" altLang="ko-KR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09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27" y="5231457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0" name="AutoShape 260"/>
          <p:cNvSpPr>
            <a:spLocks noChangeArrowheads="1"/>
          </p:cNvSpPr>
          <p:nvPr/>
        </p:nvSpPr>
        <p:spPr bwMode="gray">
          <a:xfrm>
            <a:off x="916068" y="5283880"/>
            <a:ext cx="464222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b="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준정보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07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515" y="605133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" name="AutoShape 260"/>
          <p:cNvSpPr>
            <a:spLocks noChangeArrowheads="1"/>
          </p:cNvSpPr>
          <p:nvPr/>
        </p:nvSpPr>
        <p:spPr bwMode="gray">
          <a:xfrm>
            <a:off x="1165881" y="6113450"/>
            <a:ext cx="487178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합 고객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05" name="Picture 645" descr="db1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770" y="6078311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6" name="AutoShape 260"/>
          <p:cNvSpPr>
            <a:spLocks noChangeArrowheads="1"/>
          </p:cNvSpPr>
          <p:nvPr/>
        </p:nvSpPr>
        <p:spPr bwMode="gray">
          <a:xfrm>
            <a:off x="2099578" y="6122838"/>
            <a:ext cx="476293" cy="22203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합 계솨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03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890" y="605133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4" name="AutoShape 260"/>
          <p:cNvSpPr>
            <a:spLocks noChangeArrowheads="1"/>
          </p:cNvSpPr>
          <p:nvPr/>
        </p:nvSpPr>
        <p:spPr bwMode="gray">
          <a:xfrm>
            <a:off x="2992256" y="6113450"/>
            <a:ext cx="487178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합 거래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01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9978" y="605133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2" name="AutoShape 260"/>
          <p:cNvSpPr>
            <a:spLocks noChangeArrowheads="1"/>
          </p:cNvSpPr>
          <p:nvPr/>
        </p:nvSpPr>
        <p:spPr bwMode="gray">
          <a:xfrm>
            <a:off x="3899344" y="6113450"/>
            <a:ext cx="487178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b="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합 코드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99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580" y="605133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0" name="AutoShape 260"/>
          <p:cNvSpPr>
            <a:spLocks noChangeArrowheads="1"/>
          </p:cNvSpPr>
          <p:nvPr/>
        </p:nvSpPr>
        <p:spPr bwMode="gray">
          <a:xfrm>
            <a:off x="4840947" y="6113450"/>
            <a:ext cx="487178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b="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합 상품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97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834" y="605133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8" name="AutoShape 260"/>
          <p:cNvSpPr>
            <a:spLocks noChangeArrowheads="1"/>
          </p:cNvSpPr>
          <p:nvPr/>
        </p:nvSpPr>
        <p:spPr bwMode="gray">
          <a:xfrm>
            <a:off x="5849540" y="6113450"/>
            <a:ext cx="326494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b="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조직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95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954" y="605133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AutoShape 260"/>
          <p:cNvSpPr>
            <a:spLocks noChangeArrowheads="1"/>
          </p:cNvSpPr>
          <p:nvPr/>
        </p:nvSpPr>
        <p:spPr bwMode="gray">
          <a:xfrm>
            <a:off x="6713228" y="6113450"/>
            <a:ext cx="395358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b="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사용자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93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044" y="605133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4" name="AutoShape 260"/>
          <p:cNvSpPr>
            <a:spLocks noChangeArrowheads="1"/>
          </p:cNvSpPr>
          <p:nvPr/>
        </p:nvSpPr>
        <p:spPr bwMode="gray">
          <a:xfrm>
            <a:off x="7568668" y="6113450"/>
            <a:ext cx="498655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공통</a:t>
            </a:r>
            <a:r>
              <a:rPr kumimoji="0" lang="en-US" altLang="ko-KR" sz="6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kumimoji="0" lang="ko-KR" altLang="en-US" sz="6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타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" name="Line 187"/>
          <p:cNvSpPr>
            <a:spLocks noChangeShapeType="1"/>
          </p:cNvSpPr>
          <p:nvPr/>
        </p:nvSpPr>
        <p:spPr bwMode="auto">
          <a:xfrm>
            <a:off x="1816656" y="5368405"/>
            <a:ext cx="0" cy="348741"/>
          </a:xfrm>
          <a:prstGeom prst="line">
            <a:avLst/>
          </a:prstGeom>
          <a:noFill/>
          <a:ln w="28575">
            <a:solidFill>
              <a:srgbClr val="333333"/>
            </a:solidFill>
            <a:round/>
            <a:headEnd type="diamond" w="med" len="med"/>
            <a:tailEnd type="diamond" w="med" len="med"/>
          </a:ln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" name="Line 187"/>
          <p:cNvSpPr>
            <a:spLocks noChangeShapeType="1"/>
          </p:cNvSpPr>
          <p:nvPr/>
        </p:nvSpPr>
        <p:spPr bwMode="auto">
          <a:xfrm>
            <a:off x="7490379" y="5355646"/>
            <a:ext cx="0" cy="348741"/>
          </a:xfrm>
          <a:prstGeom prst="line">
            <a:avLst/>
          </a:prstGeom>
          <a:noFill/>
          <a:ln w="28575">
            <a:solidFill>
              <a:srgbClr val="333333"/>
            </a:solidFill>
            <a:round/>
            <a:headEnd type="diamond" w="med" len="med"/>
            <a:tailEnd type="diamond" w="med" len="med"/>
          </a:ln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2" name="Rectangle 215"/>
          <p:cNvSpPr>
            <a:spLocks noChangeArrowheads="1"/>
          </p:cNvSpPr>
          <p:nvPr/>
        </p:nvSpPr>
        <p:spPr bwMode="gray">
          <a:xfrm>
            <a:off x="8576949" y="2652987"/>
            <a:ext cx="907101" cy="897358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" name="AutoShape 64"/>
          <p:cNvSpPr>
            <a:spLocks noChangeArrowheads="1"/>
          </p:cNvSpPr>
          <p:nvPr/>
        </p:nvSpPr>
        <p:spPr bwMode="auto">
          <a:xfrm>
            <a:off x="8581288" y="2357089"/>
            <a:ext cx="908216" cy="251398"/>
          </a:xfrm>
          <a:prstGeom prst="roundRect">
            <a:avLst>
              <a:gd name="adj" fmla="val 7144"/>
            </a:avLst>
          </a:prstGeom>
          <a:solidFill>
            <a:srgbClr val="038CDC"/>
          </a:solidFill>
          <a:ln w="6350">
            <a:solidFill>
              <a:srgbClr val="038CDC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KoFIU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34" name="AutoShape 64"/>
          <p:cNvSpPr>
            <a:spLocks noChangeArrowheads="1"/>
          </p:cNvSpPr>
          <p:nvPr/>
        </p:nvSpPr>
        <p:spPr bwMode="auto">
          <a:xfrm>
            <a:off x="8612746" y="2720974"/>
            <a:ext cx="842736" cy="260902"/>
          </a:xfrm>
          <a:prstGeom prst="roundRect">
            <a:avLst>
              <a:gd name="adj" fmla="val 7144"/>
            </a:avLst>
          </a:prstGeom>
          <a:solidFill>
            <a:srgbClr val="FFFFFF"/>
          </a:solidFill>
          <a:ln w="9525" algn="ctr">
            <a:solidFill>
              <a:srgbClr val="C0C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rPr>
              <a:t>국가위험</a:t>
            </a:r>
            <a:endParaRPr kumimoji="1" lang="en-US" altLang="ko-KR" sz="800" b="0" i="0" u="none" strike="noStrike" kern="1200" cap="none" spc="-10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Calibri" pitchFamily="34" charset="0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rPr>
              <a:t>/ </a:t>
            </a:r>
            <a:r>
              <a:rPr kumimoji="1" lang="ko-KR" altLang="en-US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rPr>
              <a:t>정보교류 </a:t>
            </a:r>
            <a:r>
              <a:rPr kumimoji="1" lang="en-US" altLang="ko-KR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rPr>
              <a:t>portal</a:t>
            </a:r>
            <a:endParaRPr kumimoji="1" lang="ko-KR" altLang="en-US" sz="800" b="0" i="0" u="none" strike="noStrike" kern="1200" cap="none" spc="-10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Calibri" pitchFamily="34" charset="0"/>
            </a:endParaRPr>
          </a:p>
        </p:txBody>
      </p:sp>
      <p:sp>
        <p:nvSpPr>
          <p:cNvPr id="35" name="AutoShape 64"/>
          <p:cNvSpPr>
            <a:spLocks noChangeArrowheads="1"/>
          </p:cNvSpPr>
          <p:nvPr/>
        </p:nvSpPr>
        <p:spPr bwMode="auto">
          <a:xfrm>
            <a:off x="8613863" y="3230480"/>
            <a:ext cx="821880" cy="250195"/>
          </a:xfrm>
          <a:prstGeom prst="roundRect">
            <a:avLst>
              <a:gd name="adj" fmla="val 7144"/>
            </a:avLst>
          </a:prstGeom>
          <a:solidFill>
            <a:srgbClr val="FFFFFF"/>
          </a:solidFill>
          <a:ln w="9525" algn="ctr">
            <a:solidFill>
              <a:srgbClr val="C0C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9pPr>
          </a:lstStyle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rPr>
              <a:t>STR/CTR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rPr>
              <a:t>접수 시스템</a:t>
            </a:r>
          </a:p>
        </p:txBody>
      </p:sp>
      <p:sp>
        <p:nvSpPr>
          <p:cNvPr id="36" name="직사각형 35"/>
          <p:cNvSpPr/>
          <p:nvPr/>
        </p:nvSpPr>
        <p:spPr>
          <a:xfrm>
            <a:off x="497562" y="2685292"/>
            <a:ext cx="1313691" cy="212733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547666" y="2760292"/>
            <a:ext cx="1215213" cy="1544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회차 관리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547666" y="3482534"/>
            <a:ext cx="1215213" cy="1544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목표 관리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547666" y="4583176"/>
            <a:ext cx="1215213" cy="1544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진행현황 조회</a:t>
            </a:r>
          </a:p>
        </p:txBody>
      </p:sp>
      <p:cxnSp>
        <p:nvCxnSpPr>
          <p:cNvPr id="45" name="직선 화살표 연결선 44"/>
          <p:cNvCxnSpPr>
            <a:stCxn id="37" idx="2"/>
            <a:endCxn id="46" idx="0"/>
          </p:cNvCxnSpPr>
          <p:nvPr/>
        </p:nvCxnSpPr>
        <p:spPr>
          <a:xfrm>
            <a:off x="1155272" y="2914781"/>
            <a:ext cx="0" cy="20663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직사각형 45"/>
          <p:cNvSpPr/>
          <p:nvPr/>
        </p:nvSpPr>
        <p:spPr>
          <a:xfrm>
            <a:off x="547666" y="3121413"/>
            <a:ext cx="1215213" cy="1544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정 관리</a:t>
            </a:r>
          </a:p>
        </p:txBody>
      </p:sp>
      <p:sp>
        <p:nvSpPr>
          <p:cNvPr id="47" name="직사각형 46"/>
          <p:cNvSpPr/>
          <p:nvPr/>
        </p:nvSpPr>
        <p:spPr>
          <a:xfrm>
            <a:off x="547666" y="3854716"/>
            <a:ext cx="334577" cy="53289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</a:t>
            </a:r>
          </a:p>
        </p:txBody>
      </p:sp>
      <p:cxnSp>
        <p:nvCxnSpPr>
          <p:cNvPr id="48" name="직선 화살표 연결선 47"/>
          <p:cNvCxnSpPr>
            <a:stCxn id="46" idx="2"/>
            <a:endCxn id="38" idx="0"/>
          </p:cNvCxnSpPr>
          <p:nvPr/>
        </p:nvCxnSpPr>
        <p:spPr>
          <a:xfrm>
            <a:off x="1155272" y="3275902"/>
            <a:ext cx="0" cy="20663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직사각형 48"/>
          <p:cNvSpPr/>
          <p:nvPr/>
        </p:nvSpPr>
        <p:spPr>
          <a:xfrm>
            <a:off x="987984" y="3854716"/>
            <a:ext cx="334577" cy="53289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효과성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1428302" y="3843655"/>
            <a:ext cx="334577" cy="53289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</a:t>
            </a:r>
          </a:p>
        </p:txBody>
      </p:sp>
      <p:cxnSp>
        <p:nvCxnSpPr>
          <p:cNvPr id="51" name="직선 화살표 연결선 50"/>
          <p:cNvCxnSpPr>
            <a:stCxn id="38" idx="2"/>
            <a:endCxn id="49" idx="0"/>
          </p:cNvCxnSpPr>
          <p:nvPr/>
        </p:nvCxnSpPr>
        <p:spPr>
          <a:xfrm>
            <a:off x="1155272" y="3637023"/>
            <a:ext cx="1" cy="21769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화살표 연결선 171"/>
          <p:cNvCxnSpPr>
            <a:stCxn id="50" idx="0"/>
            <a:endCxn id="47" idx="0"/>
          </p:cNvCxnSpPr>
          <p:nvPr/>
        </p:nvCxnSpPr>
        <p:spPr>
          <a:xfrm rot="16200000" flipH="1" flipV="1">
            <a:off x="1149743" y="3408867"/>
            <a:ext cx="11061" cy="880636"/>
          </a:xfrm>
          <a:prstGeom prst="bentConnector3">
            <a:avLst>
              <a:gd name="adj1" fmla="val -1363645"/>
            </a:avLst>
          </a:prstGeom>
          <a:ln w="3175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화살표 연결선 171"/>
          <p:cNvCxnSpPr>
            <a:stCxn id="50" idx="2"/>
            <a:endCxn id="47" idx="2"/>
          </p:cNvCxnSpPr>
          <p:nvPr/>
        </p:nvCxnSpPr>
        <p:spPr>
          <a:xfrm rot="5400000">
            <a:off x="1149743" y="3941758"/>
            <a:ext cx="11061" cy="880636"/>
          </a:xfrm>
          <a:prstGeom prst="bentConnector3">
            <a:avLst>
              <a:gd name="adj1" fmla="val 752196"/>
            </a:avLst>
          </a:prstGeom>
          <a:ln w="3175">
            <a:solidFill>
              <a:schemeClr val="bg1">
                <a:lumMod val="5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화살표 연결선 54"/>
          <p:cNvCxnSpPr>
            <a:stCxn id="49" idx="2"/>
            <a:endCxn id="44" idx="0"/>
          </p:cNvCxnSpPr>
          <p:nvPr/>
        </p:nvCxnSpPr>
        <p:spPr>
          <a:xfrm flipH="1">
            <a:off x="1155272" y="4387606"/>
            <a:ext cx="1" cy="19557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55"/>
          <p:cNvSpPr/>
          <p:nvPr/>
        </p:nvSpPr>
        <p:spPr>
          <a:xfrm>
            <a:off x="6454756" y="2685292"/>
            <a:ext cx="1932725" cy="235429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6540571" y="2760292"/>
            <a:ext cx="1775025" cy="20342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준정보 관리</a:t>
            </a:r>
          </a:p>
        </p:txBody>
      </p:sp>
      <p:sp>
        <p:nvSpPr>
          <p:cNvPr id="58" name="직사각형 57"/>
          <p:cNvSpPr/>
          <p:nvPr/>
        </p:nvSpPr>
        <p:spPr>
          <a:xfrm>
            <a:off x="7485567" y="3137860"/>
            <a:ext cx="830028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위험 관리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6540571" y="3828514"/>
            <a:ext cx="830028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위험</a:t>
            </a:r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산출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6540571" y="4173841"/>
            <a:ext cx="830028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위험 개선</a:t>
            </a:r>
          </a:p>
        </p:txBody>
      </p:sp>
      <p:sp>
        <p:nvSpPr>
          <p:cNvPr id="61" name="직사각형 60"/>
          <p:cNvSpPr/>
          <p:nvPr/>
        </p:nvSpPr>
        <p:spPr>
          <a:xfrm>
            <a:off x="6540571" y="4519167"/>
            <a:ext cx="1775025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연계표준 저장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6540571" y="4864497"/>
            <a:ext cx="1775025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</a:t>
            </a: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보고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6540571" y="3137860"/>
            <a:ext cx="830028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위험 관리</a:t>
            </a:r>
          </a:p>
        </p:txBody>
      </p:sp>
      <p:sp>
        <p:nvSpPr>
          <p:cNvPr id="64" name="직사각형 63"/>
          <p:cNvSpPr/>
          <p:nvPr/>
        </p:nvSpPr>
        <p:spPr>
          <a:xfrm>
            <a:off x="6540571" y="3483187"/>
            <a:ext cx="830028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목표 설정</a:t>
            </a:r>
          </a:p>
        </p:txBody>
      </p:sp>
      <p:cxnSp>
        <p:nvCxnSpPr>
          <p:cNvPr id="65" name="직선 화살표 연결선 153"/>
          <p:cNvCxnSpPr>
            <a:stCxn id="57" idx="2"/>
            <a:endCxn id="63" idx="0"/>
          </p:cNvCxnSpPr>
          <p:nvPr/>
        </p:nvCxnSpPr>
        <p:spPr>
          <a:xfrm rot="5400000">
            <a:off x="7104761" y="2814537"/>
            <a:ext cx="174148" cy="47249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화살표 연결선 153"/>
          <p:cNvCxnSpPr>
            <a:stCxn id="57" idx="2"/>
            <a:endCxn id="58" idx="0"/>
          </p:cNvCxnSpPr>
          <p:nvPr/>
        </p:nvCxnSpPr>
        <p:spPr>
          <a:xfrm rot="16200000" flipH="1">
            <a:off x="7577258" y="2814537"/>
            <a:ext cx="174148" cy="472497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화살표 연결선 153"/>
          <p:cNvCxnSpPr>
            <a:stCxn id="63" idx="2"/>
            <a:endCxn id="64" idx="0"/>
          </p:cNvCxnSpPr>
          <p:nvPr/>
        </p:nvCxnSpPr>
        <p:spPr>
          <a:xfrm>
            <a:off x="6955585" y="3276799"/>
            <a:ext cx="0" cy="20638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화살표 연결선 153"/>
          <p:cNvCxnSpPr>
            <a:stCxn id="64" idx="2"/>
            <a:endCxn id="59" idx="0"/>
          </p:cNvCxnSpPr>
          <p:nvPr/>
        </p:nvCxnSpPr>
        <p:spPr>
          <a:xfrm>
            <a:off x="6955585" y="3622126"/>
            <a:ext cx="0" cy="20638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화살표 연결선 153"/>
          <p:cNvCxnSpPr>
            <a:stCxn id="59" idx="2"/>
            <a:endCxn id="60" idx="0"/>
          </p:cNvCxnSpPr>
          <p:nvPr/>
        </p:nvCxnSpPr>
        <p:spPr>
          <a:xfrm>
            <a:off x="6955585" y="3967453"/>
            <a:ext cx="0" cy="20638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화살표 연결선 153"/>
          <p:cNvCxnSpPr>
            <a:stCxn id="60" idx="2"/>
            <a:endCxn id="61" idx="0"/>
          </p:cNvCxnSpPr>
          <p:nvPr/>
        </p:nvCxnSpPr>
        <p:spPr>
          <a:xfrm rot="16200000" flipH="1">
            <a:off x="7088640" y="4179725"/>
            <a:ext cx="206388" cy="47249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화살표 연결선 153"/>
          <p:cNvCxnSpPr>
            <a:stCxn id="61" idx="2"/>
            <a:endCxn id="62" idx="0"/>
          </p:cNvCxnSpPr>
          <p:nvPr/>
        </p:nvCxnSpPr>
        <p:spPr>
          <a:xfrm>
            <a:off x="7428083" y="4658107"/>
            <a:ext cx="0" cy="20638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/>
          <p:cNvSpPr/>
          <p:nvPr/>
        </p:nvSpPr>
        <p:spPr>
          <a:xfrm>
            <a:off x="7485567" y="3828514"/>
            <a:ext cx="830028" cy="1389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위험</a:t>
            </a:r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산출</a:t>
            </a:r>
          </a:p>
        </p:txBody>
      </p:sp>
      <p:cxnSp>
        <p:nvCxnSpPr>
          <p:cNvPr id="73" name="직선 화살표 연결선 153"/>
          <p:cNvCxnSpPr>
            <a:stCxn id="58" idx="2"/>
            <a:endCxn id="72" idx="0"/>
          </p:cNvCxnSpPr>
          <p:nvPr/>
        </p:nvCxnSpPr>
        <p:spPr>
          <a:xfrm>
            <a:off x="7900581" y="3276799"/>
            <a:ext cx="0" cy="55171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화살표 연결선 153"/>
          <p:cNvCxnSpPr>
            <a:stCxn id="72" idx="2"/>
            <a:endCxn id="61" idx="0"/>
          </p:cNvCxnSpPr>
          <p:nvPr/>
        </p:nvCxnSpPr>
        <p:spPr>
          <a:xfrm rot="5400000">
            <a:off x="7388475" y="4007062"/>
            <a:ext cx="551714" cy="472497"/>
          </a:xfrm>
          <a:prstGeom prst="bentConnector3">
            <a:avLst>
              <a:gd name="adj1" fmla="val 81272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직사각형 278"/>
          <p:cNvSpPr/>
          <p:nvPr/>
        </p:nvSpPr>
        <p:spPr>
          <a:xfrm>
            <a:off x="1886473" y="3890592"/>
            <a:ext cx="896087" cy="922032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80" name="직사각형 279"/>
          <p:cNvSpPr/>
          <p:nvPr/>
        </p:nvSpPr>
        <p:spPr>
          <a:xfrm>
            <a:off x="1977904" y="3950171"/>
            <a:ext cx="710247" cy="20641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RI </a:t>
            </a: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선정</a:t>
            </a:r>
          </a:p>
        </p:txBody>
      </p:sp>
      <p:sp>
        <p:nvSpPr>
          <p:cNvPr id="281" name="직사각형 280"/>
          <p:cNvSpPr/>
          <p:nvPr/>
        </p:nvSpPr>
        <p:spPr>
          <a:xfrm>
            <a:off x="1977904" y="4243790"/>
            <a:ext cx="710247" cy="20641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별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니터링</a:t>
            </a:r>
          </a:p>
        </p:txBody>
      </p:sp>
      <p:sp>
        <p:nvSpPr>
          <p:cNvPr id="282" name="직사각형 281"/>
          <p:cNvSpPr/>
          <p:nvPr/>
        </p:nvSpPr>
        <p:spPr>
          <a:xfrm>
            <a:off x="1977904" y="4537407"/>
            <a:ext cx="710247" cy="20641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별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후속조치 관리</a:t>
            </a:r>
          </a:p>
        </p:txBody>
      </p:sp>
      <p:cxnSp>
        <p:nvCxnSpPr>
          <p:cNvPr id="283" name="직선 화살표 연결선 282"/>
          <p:cNvCxnSpPr>
            <a:stCxn id="280" idx="2"/>
            <a:endCxn id="281" idx="0"/>
          </p:cNvCxnSpPr>
          <p:nvPr/>
        </p:nvCxnSpPr>
        <p:spPr>
          <a:xfrm>
            <a:off x="2333029" y="4156585"/>
            <a:ext cx="0" cy="8720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직선 화살표 연결선 283"/>
          <p:cNvCxnSpPr>
            <a:stCxn id="281" idx="2"/>
            <a:endCxn id="282" idx="0"/>
          </p:cNvCxnSpPr>
          <p:nvPr/>
        </p:nvCxnSpPr>
        <p:spPr>
          <a:xfrm>
            <a:off x="2333029" y="4450204"/>
            <a:ext cx="0" cy="8720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직사각형 75"/>
          <p:cNvSpPr/>
          <p:nvPr/>
        </p:nvSpPr>
        <p:spPr>
          <a:xfrm>
            <a:off x="4717961" y="2685292"/>
            <a:ext cx="1601383" cy="203690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4804031" y="2760292"/>
            <a:ext cx="1429241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관리</a:t>
            </a:r>
          </a:p>
        </p:txBody>
      </p:sp>
      <p:sp>
        <p:nvSpPr>
          <p:cNvPr id="78" name="직사각형 77"/>
          <p:cNvSpPr/>
          <p:nvPr/>
        </p:nvSpPr>
        <p:spPr>
          <a:xfrm>
            <a:off x="4804031" y="3072263"/>
            <a:ext cx="1429241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설계평가</a:t>
            </a:r>
          </a:p>
        </p:txBody>
      </p:sp>
      <p:sp>
        <p:nvSpPr>
          <p:cNvPr id="79" name="직사각형 78"/>
          <p:cNvSpPr/>
          <p:nvPr/>
        </p:nvSpPr>
        <p:spPr>
          <a:xfrm>
            <a:off x="4804031" y="3642895"/>
            <a:ext cx="1429241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평가 배분 관리</a:t>
            </a:r>
          </a:p>
        </p:txBody>
      </p:sp>
      <p:cxnSp>
        <p:nvCxnSpPr>
          <p:cNvPr id="80" name="직선 화살표 연결선 79"/>
          <p:cNvCxnSpPr>
            <a:stCxn id="77" idx="2"/>
            <a:endCxn id="78" idx="0"/>
          </p:cNvCxnSpPr>
          <p:nvPr/>
        </p:nvCxnSpPr>
        <p:spPr>
          <a:xfrm>
            <a:off x="5518652" y="2928834"/>
            <a:ext cx="0" cy="14342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직선 화살표 연결선 80"/>
          <p:cNvCxnSpPr>
            <a:stCxn id="78" idx="2"/>
            <a:endCxn id="79" idx="0"/>
          </p:cNvCxnSpPr>
          <p:nvPr/>
        </p:nvCxnSpPr>
        <p:spPr>
          <a:xfrm>
            <a:off x="5518651" y="3240805"/>
            <a:ext cx="0" cy="40209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직사각형 81"/>
          <p:cNvSpPr/>
          <p:nvPr/>
        </p:nvSpPr>
        <p:spPr>
          <a:xfrm>
            <a:off x="4717960" y="4810370"/>
            <a:ext cx="1601383" cy="694159"/>
          </a:xfrm>
          <a:prstGeom prst="rect">
            <a:avLst/>
          </a:prstGeom>
          <a:solidFill>
            <a:srgbClr val="D3EDFD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4916" eaLnBrk="0" hangingPunct="0">
              <a:lnSpc>
                <a:spcPct val="90000"/>
              </a:lnSpc>
              <a:buSzPct val="140000"/>
            </a:pPr>
            <a:endParaRPr lang="ko-KR" altLang="en-US" sz="700" b="1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4804031" y="5308598"/>
            <a:ext cx="668334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평가 개선</a:t>
            </a:r>
          </a:p>
        </p:txBody>
      </p:sp>
      <p:sp>
        <p:nvSpPr>
          <p:cNvPr id="84" name="직사각형 83"/>
          <p:cNvSpPr/>
          <p:nvPr/>
        </p:nvSpPr>
        <p:spPr>
          <a:xfrm>
            <a:off x="5564937" y="5308598"/>
            <a:ext cx="668334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설계평가 개선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5705512" y="3329489"/>
            <a:ext cx="527760" cy="22472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설계 </a:t>
            </a:r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취약점 등록</a:t>
            </a:r>
          </a:p>
        </p:txBody>
      </p:sp>
      <p:cxnSp>
        <p:nvCxnSpPr>
          <p:cNvPr id="86" name="직선 화살표 연결선 201"/>
          <p:cNvCxnSpPr>
            <a:stCxn id="78" idx="2"/>
            <a:endCxn id="85" idx="1"/>
          </p:cNvCxnSpPr>
          <p:nvPr/>
        </p:nvCxnSpPr>
        <p:spPr>
          <a:xfrm rot="16200000" flipH="1">
            <a:off x="5511559" y="3247896"/>
            <a:ext cx="201045" cy="186861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직사각형 86"/>
          <p:cNvSpPr/>
          <p:nvPr/>
        </p:nvSpPr>
        <p:spPr>
          <a:xfrm>
            <a:off x="4804031" y="3900121"/>
            <a:ext cx="1429241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운영평가</a:t>
            </a:r>
          </a:p>
        </p:txBody>
      </p:sp>
      <p:sp>
        <p:nvSpPr>
          <p:cNvPr id="88" name="직사각형 87"/>
          <p:cNvSpPr/>
          <p:nvPr/>
        </p:nvSpPr>
        <p:spPr>
          <a:xfrm>
            <a:off x="5705512" y="4157346"/>
            <a:ext cx="527760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mpling </a:t>
            </a: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</a:t>
            </a:r>
          </a:p>
        </p:txBody>
      </p:sp>
      <p:sp>
        <p:nvSpPr>
          <p:cNvPr id="89" name="직사각형 88"/>
          <p:cNvSpPr/>
          <p:nvPr/>
        </p:nvSpPr>
        <p:spPr>
          <a:xfrm>
            <a:off x="4804031" y="4466978"/>
            <a:ext cx="1429241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별 운영평가 결과 조회</a:t>
            </a:r>
          </a:p>
        </p:txBody>
      </p:sp>
      <p:cxnSp>
        <p:nvCxnSpPr>
          <p:cNvPr id="90" name="직선 화살표 연결선 89"/>
          <p:cNvCxnSpPr>
            <a:stCxn id="79" idx="2"/>
            <a:endCxn id="87" idx="0"/>
          </p:cNvCxnSpPr>
          <p:nvPr/>
        </p:nvCxnSpPr>
        <p:spPr>
          <a:xfrm>
            <a:off x="5518651" y="3811437"/>
            <a:ext cx="0" cy="8868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직선 화살표 연결선 212"/>
          <p:cNvCxnSpPr>
            <a:stCxn id="87" idx="2"/>
            <a:endCxn id="88" idx="1"/>
          </p:cNvCxnSpPr>
          <p:nvPr/>
        </p:nvCxnSpPr>
        <p:spPr>
          <a:xfrm rot="16200000" flipH="1">
            <a:off x="5525604" y="4061708"/>
            <a:ext cx="172955" cy="186861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/>
          <p:cNvCxnSpPr>
            <a:stCxn id="87" idx="2"/>
            <a:endCxn id="89" idx="0"/>
          </p:cNvCxnSpPr>
          <p:nvPr/>
        </p:nvCxnSpPr>
        <p:spPr>
          <a:xfrm>
            <a:off x="5518652" y="4068663"/>
            <a:ext cx="0" cy="398316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직선 화살표 연결선 218"/>
          <p:cNvCxnSpPr>
            <a:stCxn id="88" idx="2"/>
            <a:endCxn id="89" idx="0"/>
          </p:cNvCxnSpPr>
          <p:nvPr/>
        </p:nvCxnSpPr>
        <p:spPr>
          <a:xfrm rot="5400000">
            <a:off x="5673477" y="4171064"/>
            <a:ext cx="141090" cy="450740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245"/>
          <p:cNvCxnSpPr>
            <a:stCxn id="89" idx="2"/>
            <a:endCxn id="95" idx="0"/>
          </p:cNvCxnSpPr>
          <p:nvPr/>
        </p:nvCxnSpPr>
        <p:spPr>
          <a:xfrm>
            <a:off x="5518652" y="4635520"/>
            <a:ext cx="0" cy="219526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직사각형 94"/>
          <p:cNvSpPr/>
          <p:nvPr/>
        </p:nvSpPr>
        <p:spPr>
          <a:xfrm>
            <a:off x="4804031" y="4855047"/>
            <a:ext cx="1429241" cy="16854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개선조치 관리</a:t>
            </a:r>
          </a:p>
        </p:txBody>
      </p:sp>
      <p:cxnSp>
        <p:nvCxnSpPr>
          <p:cNvPr id="96" name="직선 화살표 연결선 304"/>
          <p:cNvCxnSpPr>
            <a:stCxn id="95" idx="2"/>
            <a:endCxn id="83" idx="0"/>
          </p:cNvCxnSpPr>
          <p:nvPr/>
        </p:nvCxnSpPr>
        <p:spPr>
          <a:xfrm rot="5400000">
            <a:off x="5185920" y="4975867"/>
            <a:ext cx="285011" cy="380454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화살표 연결선 305"/>
          <p:cNvCxnSpPr>
            <a:stCxn id="95" idx="2"/>
            <a:endCxn id="84" idx="0"/>
          </p:cNvCxnSpPr>
          <p:nvPr/>
        </p:nvCxnSpPr>
        <p:spPr>
          <a:xfrm rot="16200000" flipH="1">
            <a:off x="5566373" y="4975867"/>
            <a:ext cx="285011" cy="38045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화살표 연결선 124"/>
          <p:cNvCxnSpPr>
            <a:cxnSpLocks/>
          </p:cNvCxnSpPr>
          <p:nvPr/>
        </p:nvCxnSpPr>
        <p:spPr>
          <a:xfrm rot="10800000" flipV="1">
            <a:off x="1973497" y="2890534"/>
            <a:ext cx="123642" cy="1162842"/>
          </a:xfrm>
          <a:prstGeom prst="bentConnector3">
            <a:avLst>
              <a:gd name="adj1" fmla="val 198147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7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316" y="5231457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8" name="AutoShape 260"/>
          <p:cNvSpPr>
            <a:spLocks noChangeArrowheads="1"/>
          </p:cNvSpPr>
          <p:nvPr/>
        </p:nvSpPr>
        <p:spPr bwMode="gray">
          <a:xfrm>
            <a:off x="2028672" y="5283875"/>
            <a:ext cx="587194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600" b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RI</a:t>
            </a:r>
            <a:r>
              <a:rPr kumimoji="0" lang="ko-KR" altLang="en-US" sz="600" b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산출정보</a:t>
            </a:r>
          </a:p>
        </p:txBody>
      </p:sp>
      <p:pic>
        <p:nvPicPr>
          <p:cNvPr id="275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1755" y="529220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" name="AutoShape 260"/>
          <p:cNvSpPr>
            <a:spLocks noChangeArrowheads="1"/>
          </p:cNvSpPr>
          <p:nvPr/>
        </p:nvSpPr>
        <p:spPr bwMode="gray">
          <a:xfrm>
            <a:off x="6663731" y="5344629"/>
            <a:ext cx="601950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b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개선조치정보</a:t>
            </a:r>
          </a:p>
        </p:txBody>
      </p:sp>
      <p:pic>
        <p:nvPicPr>
          <p:cNvPr id="273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470" y="5194030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4" name="AutoShape 260"/>
          <p:cNvSpPr>
            <a:spLocks noChangeArrowheads="1"/>
          </p:cNvSpPr>
          <p:nvPr/>
        </p:nvSpPr>
        <p:spPr bwMode="gray">
          <a:xfrm>
            <a:off x="7741738" y="5240688"/>
            <a:ext cx="677375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600" b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</a:t>
            </a:r>
            <a:r>
              <a:rPr kumimoji="0" lang="ko-KR" altLang="en-US" sz="600" b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산출</a:t>
            </a:r>
          </a:p>
        </p:txBody>
      </p:sp>
      <p:pic>
        <p:nvPicPr>
          <p:cNvPr id="271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4962" y="5046999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2" name="AutoShape 260"/>
          <p:cNvSpPr>
            <a:spLocks noChangeArrowheads="1"/>
          </p:cNvSpPr>
          <p:nvPr/>
        </p:nvSpPr>
        <p:spPr bwMode="gray">
          <a:xfrm>
            <a:off x="6156938" y="5093658"/>
            <a:ext cx="601950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정보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3" name="위쪽/아래쪽 화살표 227"/>
          <p:cNvSpPr/>
          <p:nvPr/>
        </p:nvSpPr>
        <p:spPr>
          <a:xfrm rot="16200000">
            <a:off x="8433060" y="2892070"/>
            <a:ext cx="195887" cy="306543"/>
          </a:xfrm>
          <a:prstGeom prst="upDownArrow">
            <a:avLst>
              <a:gd name="adj1" fmla="val 50000"/>
              <a:gd name="adj2" fmla="val 34631"/>
            </a:avLst>
          </a:prstGeom>
          <a:solidFill>
            <a:srgbClr val="FFFFFF">
              <a:lumMod val="50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01591" marR="0" lvl="0" indent="-101591" algn="ctr" defTabSz="1042959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ko-KR" altLang="en-US" sz="1100" b="0" i="0" u="none" strike="noStrike" kern="0" cap="none" spc="-10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69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880" y="5037717"/>
            <a:ext cx="884618" cy="26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0" name="AutoShape 260"/>
          <p:cNvSpPr>
            <a:spLocks noChangeArrowheads="1"/>
          </p:cNvSpPr>
          <p:nvPr/>
        </p:nvSpPr>
        <p:spPr bwMode="gray">
          <a:xfrm>
            <a:off x="7031856" y="5084375"/>
            <a:ext cx="601950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평가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67" name="Picture 645" descr="db1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5232" y="5231456"/>
            <a:ext cx="884618" cy="26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8" name="AutoShape 260"/>
          <p:cNvSpPr>
            <a:spLocks noChangeArrowheads="1"/>
          </p:cNvSpPr>
          <p:nvPr/>
        </p:nvSpPr>
        <p:spPr bwMode="gray">
          <a:xfrm>
            <a:off x="3146529" y="5283873"/>
            <a:ext cx="601950" cy="2314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91381" tIns="82751" rIns="91381" bIns="45693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6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결과</a:t>
            </a:r>
            <a:endParaRPr kumimoji="0" lang="ko-KR" altLang="en-US" sz="600" b="0" kern="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06" name="직선 화살표 연결선 125"/>
          <p:cNvCxnSpPr>
            <a:cxnSpLocks/>
            <a:stCxn id="279" idx="2"/>
            <a:endCxn id="277" idx="0"/>
          </p:cNvCxnSpPr>
          <p:nvPr/>
        </p:nvCxnSpPr>
        <p:spPr>
          <a:xfrm flipH="1">
            <a:off x="2331625" y="4812624"/>
            <a:ext cx="2892" cy="41884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25"/>
          <p:cNvCxnSpPr>
            <a:cxnSpLocks/>
            <a:stCxn id="36" idx="2"/>
            <a:endCxn id="309" idx="0"/>
          </p:cNvCxnSpPr>
          <p:nvPr/>
        </p:nvCxnSpPr>
        <p:spPr>
          <a:xfrm>
            <a:off x="1154407" y="4812623"/>
            <a:ext cx="3129" cy="41883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화살표 연결선 125"/>
          <p:cNvCxnSpPr>
            <a:cxnSpLocks/>
            <a:stCxn id="248" idx="2"/>
            <a:endCxn id="267" idx="0"/>
          </p:cNvCxnSpPr>
          <p:nvPr/>
        </p:nvCxnSpPr>
        <p:spPr>
          <a:xfrm flipH="1">
            <a:off x="3487541" y="4812622"/>
            <a:ext cx="97" cy="41884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화살표 연결선 125"/>
          <p:cNvCxnSpPr>
            <a:cxnSpLocks/>
          </p:cNvCxnSpPr>
          <p:nvPr/>
        </p:nvCxnSpPr>
        <p:spPr>
          <a:xfrm rot="5400000">
            <a:off x="7964139" y="5115535"/>
            <a:ext cx="317946" cy="3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Rectangle 238"/>
          <p:cNvSpPr>
            <a:spLocks noChangeArrowheads="1"/>
          </p:cNvSpPr>
          <p:nvPr/>
        </p:nvSpPr>
        <p:spPr bwMode="auto">
          <a:xfrm rot="16200000">
            <a:off x="1996847" y="5622831"/>
            <a:ext cx="161808" cy="205825"/>
          </a:xfrm>
          <a:prstGeom prst="rect">
            <a:avLst/>
          </a:prstGeom>
          <a:solidFill>
            <a:srgbClr val="EAEAEA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rot="10800000" wrap="none" lIns="17989" tIns="45693" rIns="17989" bIns="4569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4" name="Rectangle 239"/>
          <p:cNvSpPr>
            <a:spLocks noChangeArrowheads="1"/>
          </p:cNvSpPr>
          <p:nvPr/>
        </p:nvSpPr>
        <p:spPr bwMode="auto">
          <a:xfrm rot="16200000">
            <a:off x="2350039" y="5635234"/>
            <a:ext cx="172872" cy="207296"/>
          </a:xfrm>
          <a:prstGeom prst="rect">
            <a:avLst/>
          </a:prstGeom>
          <a:solidFill>
            <a:srgbClr val="EAEAEA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rot="10800000" wrap="none" lIns="17989" tIns="45693" rIns="17989" bIns="4569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5" name="Rectangle 240"/>
          <p:cNvSpPr>
            <a:spLocks noChangeArrowheads="1"/>
          </p:cNvSpPr>
          <p:nvPr/>
        </p:nvSpPr>
        <p:spPr bwMode="auto">
          <a:xfrm rot="16200000">
            <a:off x="3245665" y="5667547"/>
            <a:ext cx="57624" cy="205825"/>
          </a:xfrm>
          <a:prstGeom prst="rect">
            <a:avLst/>
          </a:prstGeom>
          <a:solidFill>
            <a:srgbClr val="969696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rot="10800000" wrap="none" lIns="17989" tIns="45693" rIns="17989" bIns="4569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6" name="Rectangle 241"/>
          <p:cNvSpPr>
            <a:spLocks noChangeArrowheads="1"/>
          </p:cNvSpPr>
          <p:nvPr/>
        </p:nvSpPr>
        <p:spPr bwMode="auto">
          <a:xfrm rot="16200000">
            <a:off x="3923132" y="5627858"/>
            <a:ext cx="172872" cy="207296"/>
          </a:xfrm>
          <a:prstGeom prst="rect">
            <a:avLst/>
          </a:prstGeom>
          <a:solidFill>
            <a:srgbClr val="EAEAEA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rot="10800000" wrap="none" lIns="17989" tIns="45693" rIns="17989" bIns="4569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7" name="AutoShape 242"/>
          <p:cNvSpPr>
            <a:spLocks noChangeArrowheads="1"/>
          </p:cNvSpPr>
          <p:nvPr/>
        </p:nvSpPr>
        <p:spPr bwMode="auto">
          <a:xfrm rot="16200000">
            <a:off x="2744683" y="5607755"/>
            <a:ext cx="68687" cy="232288"/>
          </a:xfrm>
          <a:prstGeom prst="diamond">
            <a:avLst/>
          </a:prstGeom>
          <a:solidFill>
            <a:srgbClr val="FFFF99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rot="10800000" wrap="none" lIns="17989" tIns="45693" rIns="17989" bIns="4569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8" name="Rectangle 243"/>
          <p:cNvSpPr>
            <a:spLocks noChangeArrowheads="1"/>
          </p:cNvSpPr>
          <p:nvPr/>
        </p:nvSpPr>
        <p:spPr bwMode="auto">
          <a:xfrm rot="16200000">
            <a:off x="3254138" y="5566172"/>
            <a:ext cx="46560" cy="204355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rot="10800000" wrap="none" lIns="17989" tIns="45693" rIns="17989" bIns="4569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9" name="Rectangle 244"/>
          <p:cNvSpPr>
            <a:spLocks noChangeArrowheads="1"/>
          </p:cNvSpPr>
          <p:nvPr/>
        </p:nvSpPr>
        <p:spPr bwMode="auto">
          <a:xfrm rot="16200000">
            <a:off x="3576456" y="5577610"/>
            <a:ext cx="57624" cy="207296"/>
          </a:xfrm>
          <a:prstGeom prst="rect">
            <a:avLst/>
          </a:prstGeom>
          <a:solidFill>
            <a:srgbClr val="969696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rot="10800000" wrap="none" lIns="17989" tIns="45693" rIns="17989" bIns="4569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800" b="0" kern="0" spc="-100" dirty="0">
              <a:solidFill>
                <a:prstClr val="black">
                  <a:lumMod val="75000"/>
                  <a:lumOff val="25000"/>
                </a:prst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60" name="AutoShape 245"/>
          <p:cNvCxnSpPr>
            <a:cxnSpLocks noChangeShapeType="1"/>
            <a:stCxn id="253" idx="2"/>
            <a:endCxn id="254" idx="0"/>
          </p:cNvCxnSpPr>
          <p:nvPr/>
        </p:nvCxnSpPr>
        <p:spPr bwMode="auto">
          <a:xfrm>
            <a:off x="2181399" y="5740034"/>
            <a:ext cx="154368" cy="0"/>
          </a:xfrm>
          <a:prstGeom prst="straightConnector1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1" name="AutoShape 246"/>
          <p:cNvCxnSpPr>
            <a:cxnSpLocks noChangeShapeType="1"/>
            <a:stCxn id="254" idx="2"/>
            <a:endCxn id="257" idx="0"/>
          </p:cNvCxnSpPr>
          <p:nvPr/>
        </p:nvCxnSpPr>
        <p:spPr bwMode="auto">
          <a:xfrm flipV="1">
            <a:off x="2543063" y="5739573"/>
            <a:ext cx="122025" cy="461"/>
          </a:xfrm>
          <a:prstGeom prst="bentConnector3">
            <a:avLst>
              <a:gd name="adj1" fmla="val 49398"/>
            </a:avLst>
          </a:prstGeom>
          <a:noFill/>
          <a:ln w="12700">
            <a:solidFill>
              <a:srgbClr val="80808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2" name="AutoShape 247"/>
          <p:cNvCxnSpPr>
            <a:cxnSpLocks noChangeShapeType="1"/>
            <a:stCxn id="257" idx="2"/>
            <a:endCxn id="255" idx="0"/>
          </p:cNvCxnSpPr>
          <p:nvPr/>
        </p:nvCxnSpPr>
        <p:spPr bwMode="auto">
          <a:xfrm>
            <a:off x="2895906" y="5739573"/>
            <a:ext cx="273454" cy="51631"/>
          </a:xfrm>
          <a:prstGeom prst="bentConnector3">
            <a:avLst>
              <a:gd name="adj1" fmla="val 49463"/>
            </a:avLst>
          </a:prstGeom>
          <a:noFill/>
          <a:ln w="12700">
            <a:solidFill>
              <a:srgbClr val="80808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3" name="AutoShape 248"/>
          <p:cNvCxnSpPr>
            <a:cxnSpLocks noChangeShapeType="1"/>
            <a:stCxn id="257" idx="2"/>
            <a:endCxn id="258" idx="0"/>
          </p:cNvCxnSpPr>
          <p:nvPr/>
        </p:nvCxnSpPr>
        <p:spPr bwMode="auto">
          <a:xfrm flipV="1">
            <a:off x="2895906" y="5681949"/>
            <a:ext cx="273454" cy="57624"/>
          </a:xfrm>
          <a:prstGeom prst="bentConnector3">
            <a:avLst>
              <a:gd name="adj1" fmla="val 49463"/>
            </a:avLst>
          </a:prstGeom>
          <a:noFill/>
          <a:ln w="12700">
            <a:solidFill>
              <a:srgbClr val="80808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4" name="AutoShape 249"/>
          <p:cNvCxnSpPr>
            <a:cxnSpLocks noChangeShapeType="1"/>
            <a:stCxn id="258" idx="2"/>
            <a:endCxn id="259" idx="0"/>
          </p:cNvCxnSpPr>
          <p:nvPr/>
        </p:nvCxnSpPr>
        <p:spPr bwMode="auto">
          <a:xfrm>
            <a:off x="3376655" y="5681949"/>
            <a:ext cx="126435" cy="0"/>
          </a:xfrm>
          <a:prstGeom prst="straightConnector1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5" name="AutoShape 250"/>
          <p:cNvCxnSpPr>
            <a:cxnSpLocks noChangeShapeType="1"/>
            <a:stCxn id="259" idx="2"/>
            <a:endCxn id="256" idx="0"/>
          </p:cNvCxnSpPr>
          <p:nvPr/>
        </p:nvCxnSpPr>
        <p:spPr bwMode="auto">
          <a:xfrm>
            <a:off x="3710386" y="5681949"/>
            <a:ext cx="198474" cy="50709"/>
          </a:xfrm>
          <a:prstGeom prst="bentConnector3">
            <a:avLst>
              <a:gd name="adj1" fmla="val 49630"/>
            </a:avLst>
          </a:prstGeom>
          <a:noFill/>
          <a:ln w="12700">
            <a:solidFill>
              <a:srgbClr val="80808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" name="AutoShape 251"/>
          <p:cNvCxnSpPr>
            <a:cxnSpLocks noChangeShapeType="1"/>
            <a:stCxn id="255" idx="2"/>
            <a:endCxn id="256" idx="0"/>
          </p:cNvCxnSpPr>
          <p:nvPr/>
        </p:nvCxnSpPr>
        <p:spPr bwMode="auto">
          <a:xfrm flipV="1">
            <a:off x="3376655" y="5732658"/>
            <a:ext cx="532205" cy="58546"/>
          </a:xfrm>
          <a:prstGeom prst="bentConnector3">
            <a:avLst>
              <a:gd name="adj1" fmla="val 49722"/>
            </a:avLst>
          </a:prstGeom>
          <a:noFill/>
          <a:ln w="12700">
            <a:solidFill>
              <a:srgbClr val="80808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11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384" y="3829611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219" y="4903644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219" y="3840191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5072" y="3901533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4831" y="4887510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6" name="직사각형 115"/>
          <p:cNvSpPr/>
          <p:nvPr/>
        </p:nvSpPr>
        <p:spPr>
          <a:xfrm>
            <a:off x="1897993" y="2685292"/>
            <a:ext cx="1272200" cy="111848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2075567" y="2760292"/>
            <a:ext cx="951614" cy="1996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지표</a:t>
            </a:r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</a:t>
            </a:r>
          </a:p>
        </p:txBody>
      </p:sp>
      <p:sp>
        <p:nvSpPr>
          <p:cNvPr id="118" name="직사각형 117"/>
          <p:cNvSpPr/>
          <p:nvPr/>
        </p:nvSpPr>
        <p:spPr>
          <a:xfrm>
            <a:off x="1959330" y="3364582"/>
            <a:ext cx="512340" cy="3327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노출위험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산출</a:t>
            </a:r>
          </a:p>
        </p:txBody>
      </p:sp>
      <p:cxnSp>
        <p:nvCxnSpPr>
          <p:cNvPr id="119" name="직선 화살표 연결선 124"/>
          <p:cNvCxnSpPr>
            <a:cxnSpLocks/>
            <a:stCxn id="117" idx="2"/>
            <a:endCxn id="118" idx="0"/>
          </p:cNvCxnSpPr>
          <p:nvPr/>
        </p:nvCxnSpPr>
        <p:spPr>
          <a:xfrm rot="5400000">
            <a:off x="2181132" y="2994339"/>
            <a:ext cx="404612" cy="335874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25"/>
          <p:cNvCxnSpPr>
            <a:stCxn id="117" idx="2"/>
            <a:endCxn id="121" idx="0"/>
          </p:cNvCxnSpPr>
          <p:nvPr/>
        </p:nvCxnSpPr>
        <p:spPr>
          <a:xfrm rot="16200000" flipH="1">
            <a:off x="2497698" y="3013645"/>
            <a:ext cx="404612" cy="297260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직사각형 120"/>
          <p:cNvSpPr/>
          <p:nvPr/>
        </p:nvSpPr>
        <p:spPr>
          <a:xfrm>
            <a:off x="2592463" y="3364582"/>
            <a:ext cx="512340" cy="3327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사업위험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산출</a:t>
            </a:r>
          </a:p>
        </p:txBody>
      </p:sp>
      <p:pic>
        <p:nvPicPr>
          <p:cNvPr id="122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247" y="3549778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128" y="3549778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0847" y="3112314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5" name="직사각형 124"/>
          <p:cNvSpPr/>
          <p:nvPr/>
        </p:nvSpPr>
        <p:spPr>
          <a:xfrm>
            <a:off x="3256934" y="2685292"/>
            <a:ext cx="1325613" cy="111249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3316050" y="2760292"/>
            <a:ext cx="550321" cy="30686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사례 관리</a:t>
            </a:r>
          </a:p>
        </p:txBody>
      </p:sp>
      <p:sp>
        <p:nvSpPr>
          <p:cNvPr id="127" name="직사각형 126"/>
          <p:cNvSpPr/>
          <p:nvPr/>
        </p:nvSpPr>
        <p:spPr>
          <a:xfrm>
            <a:off x="3316050" y="3390512"/>
            <a:ext cx="550321" cy="30686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isk Event </a:t>
            </a: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3996118" y="2760292"/>
            <a:ext cx="550321" cy="30686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 취약점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</a:t>
            </a:r>
          </a:p>
        </p:txBody>
      </p:sp>
      <p:sp>
        <p:nvSpPr>
          <p:cNvPr id="129" name="직사각형 128"/>
          <p:cNvSpPr/>
          <p:nvPr/>
        </p:nvSpPr>
        <p:spPr>
          <a:xfrm>
            <a:off x="3996118" y="3390512"/>
            <a:ext cx="550321" cy="30686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 취약점 </a:t>
            </a:r>
            <a:endParaRPr lang="en-US" altLang="ko-KR" sz="7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</a:t>
            </a:r>
          </a:p>
        </p:txBody>
      </p:sp>
      <p:cxnSp>
        <p:nvCxnSpPr>
          <p:cNvPr id="130" name="직선 화살표 연결선 129"/>
          <p:cNvCxnSpPr>
            <a:stCxn id="126" idx="2"/>
            <a:endCxn id="127" idx="0"/>
          </p:cNvCxnSpPr>
          <p:nvPr/>
        </p:nvCxnSpPr>
        <p:spPr>
          <a:xfrm>
            <a:off x="3591211" y="3067158"/>
            <a:ext cx="0" cy="32335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직선 화살표 연결선 130"/>
          <p:cNvCxnSpPr>
            <a:stCxn id="128" idx="2"/>
            <a:endCxn id="129" idx="0"/>
          </p:cNvCxnSpPr>
          <p:nvPr/>
        </p:nvCxnSpPr>
        <p:spPr>
          <a:xfrm>
            <a:off x="4271279" y="3067158"/>
            <a:ext cx="0" cy="32335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직선 화살표 연결선 245"/>
          <p:cNvCxnSpPr>
            <a:cxnSpLocks/>
            <a:stCxn id="129" idx="3"/>
            <a:endCxn id="77" idx="1"/>
          </p:cNvCxnSpPr>
          <p:nvPr/>
        </p:nvCxnSpPr>
        <p:spPr>
          <a:xfrm flipV="1">
            <a:off x="4546439" y="2844564"/>
            <a:ext cx="257592" cy="69938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직사각형 247"/>
          <p:cNvSpPr/>
          <p:nvPr/>
        </p:nvSpPr>
        <p:spPr>
          <a:xfrm>
            <a:off x="2841467" y="3912009"/>
            <a:ext cx="1292342" cy="900613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9" name="직사각형 248"/>
          <p:cNvSpPr/>
          <p:nvPr/>
        </p:nvSpPr>
        <p:spPr>
          <a:xfrm>
            <a:off x="2959112" y="4047765"/>
            <a:ext cx="1067849" cy="1996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잔여위험 산출</a:t>
            </a:r>
          </a:p>
        </p:txBody>
      </p:sp>
      <p:sp>
        <p:nvSpPr>
          <p:cNvPr id="250" name="직사각형 249"/>
          <p:cNvSpPr/>
          <p:nvPr/>
        </p:nvSpPr>
        <p:spPr>
          <a:xfrm>
            <a:off x="2959112" y="4506985"/>
            <a:ext cx="1067849" cy="1996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7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보고서 작성</a:t>
            </a:r>
          </a:p>
        </p:txBody>
      </p:sp>
      <p:cxnSp>
        <p:nvCxnSpPr>
          <p:cNvPr id="251" name="직선 화살표 연결선 250"/>
          <p:cNvCxnSpPr>
            <a:stCxn id="249" idx="2"/>
            <a:endCxn id="250" idx="0"/>
          </p:cNvCxnSpPr>
          <p:nvPr/>
        </p:nvCxnSpPr>
        <p:spPr>
          <a:xfrm>
            <a:off x="3493036" y="4247443"/>
            <a:ext cx="0" cy="25954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2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771" y="4106352"/>
            <a:ext cx="178234" cy="1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4" name="직선 화살표 연결선 240"/>
          <p:cNvCxnSpPr>
            <a:stCxn id="118" idx="2"/>
            <a:endCxn id="249" idx="0"/>
          </p:cNvCxnSpPr>
          <p:nvPr/>
        </p:nvCxnSpPr>
        <p:spPr>
          <a:xfrm rot="16200000" flipH="1">
            <a:off x="2679075" y="3233802"/>
            <a:ext cx="350387" cy="1277536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직선 화살표 연결선 245"/>
          <p:cNvCxnSpPr>
            <a:cxnSpLocks/>
            <a:stCxn id="121" idx="2"/>
            <a:endCxn id="249" idx="0"/>
          </p:cNvCxnSpPr>
          <p:nvPr/>
        </p:nvCxnSpPr>
        <p:spPr>
          <a:xfrm rot="16200000" flipH="1">
            <a:off x="2995642" y="3550369"/>
            <a:ext cx="350387" cy="64440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직선 화살표 연결선 245"/>
          <p:cNvCxnSpPr>
            <a:cxnSpLocks/>
            <a:stCxn id="127" idx="1"/>
            <a:endCxn id="117" idx="3"/>
          </p:cNvCxnSpPr>
          <p:nvPr/>
        </p:nvCxnSpPr>
        <p:spPr>
          <a:xfrm rot="10800000">
            <a:off x="3027183" y="2860132"/>
            <a:ext cx="288868" cy="683814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그룹 3"/>
          <p:cNvGrpSpPr/>
          <p:nvPr/>
        </p:nvGrpSpPr>
        <p:grpSpPr>
          <a:xfrm>
            <a:off x="8583372" y="3635640"/>
            <a:ext cx="892842" cy="2724248"/>
            <a:chOff x="8583372" y="3635640"/>
            <a:chExt cx="892842" cy="2724248"/>
          </a:xfrm>
        </p:grpSpPr>
        <p:sp>
          <p:nvSpPr>
            <p:cNvPr id="138" name="AutoShape 12"/>
            <p:cNvSpPr>
              <a:spLocks noChangeArrowheads="1"/>
            </p:cNvSpPr>
            <p:nvPr/>
          </p:nvSpPr>
          <p:spPr bwMode="gray">
            <a:xfrm>
              <a:off x="8583372" y="3635640"/>
              <a:ext cx="892842" cy="1180117"/>
            </a:xfrm>
            <a:prstGeom prst="roundRect">
              <a:avLst>
                <a:gd name="adj" fmla="val 2190"/>
              </a:avLst>
            </a:prstGeom>
            <a:solidFill>
              <a:schemeClr val="bg1"/>
            </a:solidFill>
            <a:ln w="9525" algn="ctr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defTabSz="995363" latinLnBrk="0"/>
              <a:endParaRPr lang="ko-KR" altLang="ko-KR" sz="700" b="1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39" name="Text Box 82"/>
            <p:cNvSpPr txBox="1">
              <a:spLocks noChangeArrowheads="1"/>
            </p:cNvSpPr>
            <p:nvPr/>
          </p:nvSpPr>
          <p:spPr bwMode="auto">
            <a:xfrm>
              <a:off x="8915347" y="3667531"/>
              <a:ext cx="235642" cy="10772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95363"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계정계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216" name="AutoShape 87"/>
            <p:cNvSpPr>
              <a:spLocks noChangeAspect="1" noChangeArrowheads="1"/>
            </p:cNvSpPr>
            <p:nvPr/>
          </p:nvSpPr>
          <p:spPr bwMode="auto">
            <a:xfrm>
              <a:off x="8830125" y="4011003"/>
              <a:ext cx="228855" cy="473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7" name="Freeform 88"/>
            <p:cNvSpPr>
              <a:spLocks/>
            </p:cNvSpPr>
            <p:nvPr/>
          </p:nvSpPr>
          <p:spPr bwMode="auto">
            <a:xfrm>
              <a:off x="8830125" y="4011003"/>
              <a:ext cx="228855" cy="473205"/>
            </a:xfrm>
            <a:custGeom>
              <a:avLst/>
              <a:gdLst>
                <a:gd name="T0" fmla="*/ 0 w 10950"/>
                <a:gd name="T1" fmla="*/ 0 h 16320"/>
                <a:gd name="T2" fmla="*/ 0 w 10950"/>
                <a:gd name="T3" fmla="*/ 0 h 16320"/>
                <a:gd name="T4" fmla="*/ 0 w 10950"/>
                <a:gd name="T5" fmla="*/ 0 h 16320"/>
                <a:gd name="T6" fmla="*/ 0 w 10950"/>
                <a:gd name="T7" fmla="*/ 0 h 16320"/>
                <a:gd name="T8" fmla="*/ 0 w 10950"/>
                <a:gd name="T9" fmla="*/ 0 h 16320"/>
                <a:gd name="T10" fmla="*/ 0 w 10950"/>
                <a:gd name="T11" fmla="*/ 0 h 16320"/>
                <a:gd name="T12" fmla="*/ 0 w 10950"/>
                <a:gd name="T13" fmla="*/ 0 h 16320"/>
                <a:gd name="T14" fmla="*/ 0 w 10950"/>
                <a:gd name="T15" fmla="*/ 0 h 16320"/>
                <a:gd name="T16" fmla="*/ 0 w 10950"/>
                <a:gd name="T17" fmla="*/ 0 h 16320"/>
                <a:gd name="T18" fmla="*/ 0 w 10950"/>
                <a:gd name="T19" fmla="*/ 0 h 16320"/>
                <a:gd name="T20" fmla="*/ 0 w 10950"/>
                <a:gd name="T21" fmla="*/ 0 h 16320"/>
                <a:gd name="T22" fmla="*/ 0 w 10950"/>
                <a:gd name="T23" fmla="*/ 0 h 16320"/>
                <a:gd name="T24" fmla="*/ 0 w 10950"/>
                <a:gd name="T25" fmla="*/ 0 h 16320"/>
                <a:gd name="T26" fmla="*/ 0 w 10950"/>
                <a:gd name="T27" fmla="*/ 0 h 16320"/>
                <a:gd name="T28" fmla="*/ 0 w 10950"/>
                <a:gd name="T29" fmla="*/ 0 h 16320"/>
                <a:gd name="T30" fmla="*/ 0 w 10950"/>
                <a:gd name="T31" fmla="*/ 0 h 16320"/>
                <a:gd name="T32" fmla="*/ 0 w 10950"/>
                <a:gd name="T33" fmla="*/ 0 h 16320"/>
                <a:gd name="T34" fmla="*/ 0 w 10950"/>
                <a:gd name="T35" fmla="*/ 0 h 16320"/>
                <a:gd name="T36" fmla="*/ 0 w 10950"/>
                <a:gd name="T37" fmla="*/ 0 h 16320"/>
                <a:gd name="T38" fmla="*/ 0 w 10950"/>
                <a:gd name="T39" fmla="*/ 0 h 16320"/>
                <a:gd name="T40" fmla="*/ 0 w 10950"/>
                <a:gd name="T41" fmla="*/ 0 h 16320"/>
                <a:gd name="T42" fmla="*/ 0 w 10950"/>
                <a:gd name="T43" fmla="*/ 0 h 16320"/>
                <a:gd name="T44" fmla="*/ 0 w 10950"/>
                <a:gd name="T45" fmla="*/ 0 h 16320"/>
                <a:gd name="T46" fmla="*/ 0 w 10950"/>
                <a:gd name="T47" fmla="*/ 0 h 16320"/>
                <a:gd name="T48" fmla="*/ 0 w 10950"/>
                <a:gd name="T49" fmla="*/ 0 h 16320"/>
                <a:gd name="T50" fmla="*/ 0 w 10950"/>
                <a:gd name="T51" fmla="*/ 0 h 16320"/>
                <a:gd name="T52" fmla="*/ 0 w 10950"/>
                <a:gd name="T53" fmla="*/ 0 h 16320"/>
                <a:gd name="T54" fmla="*/ 0 w 10950"/>
                <a:gd name="T55" fmla="*/ 0 h 16320"/>
                <a:gd name="T56" fmla="*/ 0 w 10950"/>
                <a:gd name="T57" fmla="*/ 0 h 16320"/>
                <a:gd name="T58" fmla="*/ 0 w 10950"/>
                <a:gd name="T59" fmla="*/ 0 h 16320"/>
                <a:gd name="T60" fmla="*/ 0 w 10950"/>
                <a:gd name="T61" fmla="*/ 0 h 16320"/>
                <a:gd name="T62" fmla="*/ 0 w 10950"/>
                <a:gd name="T63" fmla="*/ 0 h 16320"/>
                <a:gd name="T64" fmla="*/ 0 w 10950"/>
                <a:gd name="T65" fmla="*/ 0 h 16320"/>
                <a:gd name="T66" fmla="*/ 0 w 10950"/>
                <a:gd name="T67" fmla="*/ 0 h 16320"/>
                <a:gd name="T68" fmla="*/ 0 w 10950"/>
                <a:gd name="T69" fmla="*/ 0 h 16320"/>
                <a:gd name="T70" fmla="*/ 0 w 10950"/>
                <a:gd name="T71" fmla="*/ 0 h 16320"/>
                <a:gd name="T72" fmla="*/ 0 w 10950"/>
                <a:gd name="T73" fmla="*/ 0 h 16320"/>
                <a:gd name="T74" fmla="*/ 0 w 10950"/>
                <a:gd name="T75" fmla="*/ 0 h 16320"/>
                <a:gd name="T76" fmla="*/ 0 w 10950"/>
                <a:gd name="T77" fmla="*/ 0 h 16320"/>
                <a:gd name="T78" fmla="*/ 0 w 10950"/>
                <a:gd name="T79" fmla="*/ 0 h 16320"/>
                <a:gd name="T80" fmla="*/ 0 w 10950"/>
                <a:gd name="T81" fmla="*/ 0 h 16320"/>
                <a:gd name="T82" fmla="*/ 0 w 10950"/>
                <a:gd name="T83" fmla="*/ 0 h 16320"/>
                <a:gd name="T84" fmla="*/ 0 w 10950"/>
                <a:gd name="T85" fmla="*/ 0 h 16320"/>
                <a:gd name="T86" fmla="*/ 0 w 10950"/>
                <a:gd name="T87" fmla="*/ 0 h 16320"/>
                <a:gd name="T88" fmla="*/ 0 w 10950"/>
                <a:gd name="T89" fmla="*/ 0 h 16320"/>
                <a:gd name="T90" fmla="*/ 0 w 10950"/>
                <a:gd name="T91" fmla="*/ 0 h 16320"/>
                <a:gd name="T92" fmla="*/ 0 w 10950"/>
                <a:gd name="T93" fmla="*/ 0 h 16320"/>
                <a:gd name="T94" fmla="*/ 0 w 10950"/>
                <a:gd name="T95" fmla="*/ 0 h 16320"/>
                <a:gd name="T96" fmla="*/ 0 w 10950"/>
                <a:gd name="T97" fmla="*/ 0 h 16320"/>
                <a:gd name="T98" fmla="*/ 0 w 10950"/>
                <a:gd name="T99" fmla="*/ 0 h 16320"/>
                <a:gd name="T100" fmla="*/ 0 w 10950"/>
                <a:gd name="T101" fmla="*/ 0 h 16320"/>
                <a:gd name="T102" fmla="*/ 0 w 10950"/>
                <a:gd name="T103" fmla="*/ 0 h 16320"/>
                <a:gd name="T104" fmla="*/ 0 w 10950"/>
                <a:gd name="T105" fmla="*/ 0 h 16320"/>
                <a:gd name="T106" fmla="*/ 0 w 10950"/>
                <a:gd name="T107" fmla="*/ 0 h 16320"/>
                <a:gd name="T108" fmla="*/ 0 w 10950"/>
                <a:gd name="T109" fmla="*/ 0 h 163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50"/>
                <a:gd name="T166" fmla="*/ 0 h 16320"/>
                <a:gd name="T167" fmla="*/ 10950 w 10950"/>
                <a:gd name="T168" fmla="*/ 16320 h 1632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50" h="16320">
                  <a:moveTo>
                    <a:pt x="154" y="2649"/>
                  </a:moveTo>
                  <a:lnTo>
                    <a:pt x="4466" y="72"/>
                  </a:lnTo>
                  <a:lnTo>
                    <a:pt x="4477" y="65"/>
                  </a:lnTo>
                  <a:lnTo>
                    <a:pt x="4508" y="48"/>
                  </a:lnTo>
                  <a:lnTo>
                    <a:pt x="4531" y="38"/>
                  </a:lnTo>
                  <a:lnTo>
                    <a:pt x="4558" y="27"/>
                  </a:lnTo>
                  <a:lnTo>
                    <a:pt x="4573" y="21"/>
                  </a:lnTo>
                  <a:lnTo>
                    <a:pt x="4589" y="17"/>
                  </a:lnTo>
                  <a:lnTo>
                    <a:pt x="4606" y="12"/>
                  </a:lnTo>
                  <a:lnTo>
                    <a:pt x="4624" y="8"/>
                  </a:lnTo>
                  <a:lnTo>
                    <a:pt x="4643" y="5"/>
                  </a:lnTo>
                  <a:lnTo>
                    <a:pt x="4662" y="3"/>
                  </a:lnTo>
                  <a:lnTo>
                    <a:pt x="4682" y="1"/>
                  </a:lnTo>
                  <a:lnTo>
                    <a:pt x="4703" y="0"/>
                  </a:lnTo>
                  <a:lnTo>
                    <a:pt x="4725" y="0"/>
                  </a:lnTo>
                  <a:lnTo>
                    <a:pt x="4748" y="1"/>
                  </a:lnTo>
                  <a:lnTo>
                    <a:pt x="4771" y="4"/>
                  </a:lnTo>
                  <a:lnTo>
                    <a:pt x="4794" y="8"/>
                  </a:lnTo>
                  <a:lnTo>
                    <a:pt x="4819" y="13"/>
                  </a:lnTo>
                  <a:lnTo>
                    <a:pt x="4843" y="20"/>
                  </a:lnTo>
                  <a:lnTo>
                    <a:pt x="4869" y="29"/>
                  </a:lnTo>
                  <a:lnTo>
                    <a:pt x="4894" y="39"/>
                  </a:lnTo>
                  <a:lnTo>
                    <a:pt x="4921" y="51"/>
                  </a:lnTo>
                  <a:lnTo>
                    <a:pt x="4947" y="64"/>
                  </a:lnTo>
                  <a:lnTo>
                    <a:pt x="4974" y="81"/>
                  </a:lnTo>
                  <a:lnTo>
                    <a:pt x="5002" y="99"/>
                  </a:lnTo>
                  <a:lnTo>
                    <a:pt x="10615" y="3377"/>
                  </a:lnTo>
                  <a:lnTo>
                    <a:pt x="10629" y="3382"/>
                  </a:lnTo>
                  <a:lnTo>
                    <a:pt x="10665" y="3398"/>
                  </a:lnTo>
                  <a:lnTo>
                    <a:pt x="10689" y="3411"/>
                  </a:lnTo>
                  <a:lnTo>
                    <a:pt x="10717" y="3426"/>
                  </a:lnTo>
                  <a:lnTo>
                    <a:pt x="10731" y="3435"/>
                  </a:lnTo>
                  <a:lnTo>
                    <a:pt x="10746" y="3446"/>
                  </a:lnTo>
                  <a:lnTo>
                    <a:pt x="10761" y="3457"/>
                  </a:lnTo>
                  <a:lnTo>
                    <a:pt x="10776" y="3469"/>
                  </a:lnTo>
                  <a:lnTo>
                    <a:pt x="10791" y="3482"/>
                  </a:lnTo>
                  <a:lnTo>
                    <a:pt x="10807" y="3497"/>
                  </a:lnTo>
                  <a:lnTo>
                    <a:pt x="10821" y="3512"/>
                  </a:lnTo>
                  <a:lnTo>
                    <a:pt x="10836" y="3528"/>
                  </a:lnTo>
                  <a:lnTo>
                    <a:pt x="10850" y="3546"/>
                  </a:lnTo>
                  <a:lnTo>
                    <a:pt x="10864" y="3564"/>
                  </a:lnTo>
                  <a:lnTo>
                    <a:pt x="10877" y="3584"/>
                  </a:lnTo>
                  <a:lnTo>
                    <a:pt x="10890" y="3605"/>
                  </a:lnTo>
                  <a:lnTo>
                    <a:pt x="10901" y="3627"/>
                  </a:lnTo>
                  <a:lnTo>
                    <a:pt x="10911" y="3651"/>
                  </a:lnTo>
                  <a:lnTo>
                    <a:pt x="10921" y="3675"/>
                  </a:lnTo>
                  <a:lnTo>
                    <a:pt x="10929" y="3702"/>
                  </a:lnTo>
                  <a:lnTo>
                    <a:pt x="10936" y="3729"/>
                  </a:lnTo>
                  <a:lnTo>
                    <a:pt x="10941" y="3758"/>
                  </a:lnTo>
                  <a:lnTo>
                    <a:pt x="10945" y="3788"/>
                  </a:lnTo>
                  <a:lnTo>
                    <a:pt x="10947" y="3819"/>
                  </a:lnTo>
                  <a:lnTo>
                    <a:pt x="10947" y="13186"/>
                  </a:lnTo>
                  <a:lnTo>
                    <a:pt x="10948" y="13202"/>
                  </a:lnTo>
                  <a:lnTo>
                    <a:pt x="10950" y="13246"/>
                  </a:lnTo>
                  <a:lnTo>
                    <a:pt x="10949" y="13275"/>
                  </a:lnTo>
                  <a:lnTo>
                    <a:pt x="10947" y="13311"/>
                  </a:lnTo>
                  <a:lnTo>
                    <a:pt x="10945" y="13329"/>
                  </a:lnTo>
                  <a:lnTo>
                    <a:pt x="10942" y="13349"/>
                  </a:lnTo>
                  <a:lnTo>
                    <a:pt x="10938" y="13369"/>
                  </a:lnTo>
                  <a:lnTo>
                    <a:pt x="10934" y="13391"/>
                  </a:lnTo>
                  <a:lnTo>
                    <a:pt x="10929" y="13412"/>
                  </a:lnTo>
                  <a:lnTo>
                    <a:pt x="10923" y="13434"/>
                  </a:lnTo>
                  <a:lnTo>
                    <a:pt x="10915" y="13457"/>
                  </a:lnTo>
                  <a:lnTo>
                    <a:pt x="10907" y="13479"/>
                  </a:lnTo>
                  <a:lnTo>
                    <a:pt x="10897" y="13502"/>
                  </a:lnTo>
                  <a:lnTo>
                    <a:pt x="10886" y="13525"/>
                  </a:lnTo>
                  <a:lnTo>
                    <a:pt x="10874" y="13548"/>
                  </a:lnTo>
                  <a:lnTo>
                    <a:pt x="10861" y="13570"/>
                  </a:lnTo>
                  <a:lnTo>
                    <a:pt x="10845" y="13593"/>
                  </a:lnTo>
                  <a:lnTo>
                    <a:pt x="10829" y="13614"/>
                  </a:lnTo>
                  <a:lnTo>
                    <a:pt x="10810" y="13635"/>
                  </a:lnTo>
                  <a:lnTo>
                    <a:pt x="10790" y="13657"/>
                  </a:lnTo>
                  <a:lnTo>
                    <a:pt x="10769" y="13677"/>
                  </a:lnTo>
                  <a:lnTo>
                    <a:pt x="10745" y="13697"/>
                  </a:lnTo>
                  <a:lnTo>
                    <a:pt x="10719" y="13715"/>
                  </a:lnTo>
                  <a:lnTo>
                    <a:pt x="10692" y="13732"/>
                  </a:lnTo>
                  <a:lnTo>
                    <a:pt x="6559" y="16230"/>
                  </a:lnTo>
                  <a:lnTo>
                    <a:pt x="6550" y="16237"/>
                  </a:lnTo>
                  <a:lnTo>
                    <a:pt x="6525" y="16256"/>
                  </a:lnTo>
                  <a:lnTo>
                    <a:pt x="6507" y="16268"/>
                  </a:lnTo>
                  <a:lnTo>
                    <a:pt x="6486" y="16280"/>
                  </a:lnTo>
                  <a:lnTo>
                    <a:pt x="6474" y="16286"/>
                  </a:lnTo>
                  <a:lnTo>
                    <a:pt x="6461" y="16291"/>
                  </a:lnTo>
                  <a:lnTo>
                    <a:pt x="6447" y="16298"/>
                  </a:lnTo>
                  <a:lnTo>
                    <a:pt x="6433" y="16303"/>
                  </a:lnTo>
                  <a:lnTo>
                    <a:pt x="6418" y="16307"/>
                  </a:lnTo>
                  <a:lnTo>
                    <a:pt x="6402" y="16311"/>
                  </a:lnTo>
                  <a:lnTo>
                    <a:pt x="6386" y="16315"/>
                  </a:lnTo>
                  <a:lnTo>
                    <a:pt x="6369" y="16317"/>
                  </a:lnTo>
                  <a:lnTo>
                    <a:pt x="6351" y="16319"/>
                  </a:lnTo>
                  <a:lnTo>
                    <a:pt x="6333" y="16320"/>
                  </a:lnTo>
                  <a:lnTo>
                    <a:pt x="6315" y="16320"/>
                  </a:lnTo>
                  <a:lnTo>
                    <a:pt x="6295" y="16319"/>
                  </a:lnTo>
                  <a:lnTo>
                    <a:pt x="6275" y="16316"/>
                  </a:lnTo>
                  <a:lnTo>
                    <a:pt x="6255" y="16313"/>
                  </a:lnTo>
                  <a:lnTo>
                    <a:pt x="6235" y="16307"/>
                  </a:lnTo>
                  <a:lnTo>
                    <a:pt x="6213" y="16301"/>
                  </a:lnTo>
                  <a:lnTo>
                    <a:pt x="6192" y="16292"/>
                  </a:lnTo>
                  <a:lnTo>
                    <a:pt x="6170" y="16282"/>
                  </a:lnTo>
                  <a:lnTo>
                    <a:pt x="6148" y="16270"/>
                  </a:lnTo>
                  <a:lnTo>
                    <a:pt x="6125" y="16256"/>
                  </a:lnTo>
                  <a:lnTo>
                    <a:pt x="2904" y="14418"/>
                  </a:lnTo>
                  <a:lnTo>
                    <a:pt x="2896" y="14415"/>
                  </a:lnTo>
                  <a:lnTo>
                    <a:pt x="2877" y="14401"/>
                  </a:lnTo>
                  <a:lnTo>
                    <a:pt x="2864" y="14391"/>
                  </a:lnTo>
                  <a:lnTo>
                    <a:pt x="2850" y="14378"/>
                  </a:lnTo>
                  <a:lnTo>
                    <a:pt x="2835" y="14363"/>
                  </a:lnTo>
                  <a:lnTo>
                    <a:pt x="2820" y="14343"/>
                  </a:lnTo>
                  <a:lnTo>
                    <a:pt x="2812" y="14332"/>
                  </a:lnTo>
                  <a:lnTo>
                    <a:pt x="2805" y="14320"/>
                  </a:lnTo>
                  <a:lnTo>
                    <a:pt x="2798" y="14308"/>
                  </a:lnTo>
                  <a:lnTo>
                    <a:pt x="2791" y="14293"/>
                  </a:lnTo>
                  <a:lnTo>
                    <a:pt x="2784" y="14279"/>
                  </a:lnTo>
                  <a:lnTo>
                    <a:pt x="2778" y="14263"/>
                  </a:lnTo>
                  <a:lnTo>
                    <a:pt x="2773" y="14246"/>
                  </a:lnTo>
                  <a:lnTo>
                    <a:pt x="2768" y="14228"/>
                  </a:lnTo>
                  <a:lnTo>
                    <a:pt x="2763" y="14210"/>
                  </a:lnTo>
                  <a:lnTo>
                    <a:pt x="2760" y="14189"/>
                  </a:lnTo>
                  <a:lnTo>
                    <a:pt x="2757" y="14168"/>
                  </a:lnTo>
                  <a:lnTo>
                    <a:pt x="2755" y="14146"/>
                  </a:lnTo>
                  <a:lnTo>
                    <a:pt x="2754" y="14123"/>
                  </a:lnTo>
                  <a:lnTo>
                    <a:pt x="2754" y="14097"/>
                  </a:lnTo>
                  <a:lnTo>
                    <a:pt x="2755" y="14072"/>
                  </a:lnTo>
                  <a:lnTo>
                    <a:pt x="2757" y="14044"/>
                  </a:lnTo>
                  <a:lnTo>
                    <a:pt x="2757" y="13668"/>
                  </a:lnTo>
                  <a:lnTo>
                    <a:pt x="2742" y="13662"/>
                  </a:lnTo>
                  <a:lnTo>
                    <a:pt x="2702" y="13647"/>
                  </a:lnTo>
                  <a:lnTo>
                    <a:pt x="2673" y="13638"/>
                  </a:lnTo>
                  <a:lnTo>
                    <a:pt x="2641" y="13630"/>
                  </a:lnTo>
                  <a:lnTo>
                    <a:pt x="2623" y="13626"/>
                  </a:lnTo>
                  <a:lnTo>
                    <a:pt x="2604" y="13623"/>
                  </a:lnTo>
                  <a:lnTo>
                    <a:pt x="2585" y="13621"/>
                  </a:lnTo>
                  <a:lnTo>
                    <a:pt x="2565" y="13619"/>
                  </a:lnTo>
                  <a:lnTo>
                    <a:pt x="2544" y="13619"/>
                  </a:lnTo>
                  <a:lnTo>
                    <a:pt x="2523" y="13619"/>
                  </a:lnTo>
                  <a:lnTo>
                    <a:pt x="2501" y="13620"/>
                  </a:lnTo>
                  <a:lnTo>
                    <a:pt x="2479" y="13622"/>
                  </a:lnTo>
                  <a:lnTo>
                    <a:pt x="2457" y="13626"/>
                  </a:lnTo>
                  <a:lnTo>
                    <a:pt x="2435" y="13631"/>
                  </a:lnTo>
                  <a:lnTo>
                    <a:pt x="2412" y="13637"/>
                  </a:lnTo>
                  <a:lnTo>
                    <a:pt x="2390" y="13646"/>
                  </a:lnTo>
                  <a:lnTo>
                    <a:pt x="2368" y="13656"/>
                  </a:lnTo>
                  <a:lnTo>
                    <a:pt x="2345" y="13668"/>
                  </a:lnTo>
                  <a:lnTo>
                    <a:pt x="2324" y="13681"/>
                  </a:lnTo>
                  <a:lnTo>
                    <a:pt x="2302" y="13698"/>
                  </a:lnTo>
                  <a:lnTo>
                    <a:pt x="2281" y="13716"/>
                  </a:lnTo>
                  <a:lnTo>
                    <a:pt x="2260" y="13736"/>
                  </a:lnTo>
                  <a:lnTo>
                    <a:pt x="2240" y="13759"/>
                  </a:lnTo>
                  <a:lnTo>
                    <a:pt x="2221" y="13784"/>
                  </a:lnTo>
                  <a:lnTo>
                    <a:pt x="2214" y="13793"/>
                  </a:lnTo>
                  <a:lnTo>
                    <a:pt x="2192" y="13817"/>
                  </a:lnTo>
                  <a:lnTo>
                    <a:pt x="2177" y="13831"/>
                  </a:lnTo>
                  <a:lnTo>
                    <a:pt x="2158" y="13847"/>
                  </a:lnTo>
                  <a:lnTo>
                    <a:pt x="2147" y="13854"/>
                  </a:lnTo>
                  <a:lnTo>
                    <a:pt x="2135" y="13862"/>
                  </a:lnTo>
                  <a:lnTo>
                    <a:pt x="2123" y="13869"/>
                  </a:lnTo>
                  <a:lnTo>
                    <a:pt x="2110" y="13875"/>
                  </a:lnTo>
                  <a:lnTo>
                    <a:pt x="2097" y="13881"/>
                  </a:lnTo>
                  <a:lnTo>
                    <a:pt x="2082" y="13887"/>
                  </a:lnTo>
                  <a:lnTo>
                    <a:pt x="2067" y="13892"/>
                  </a:lnTo>
                  <a:lnTo>
                    <a:pt x="2051" y="13896"/>
                  </a:lnTo>
                  <a:lnTo>
                    <a:pt x="2035" y="13900"/>
                  </a:lnTo>
                  <a:lnTo>
                    <a:pt x="2018" y="13902"/>
                  </a:lnTo>
                  <a:lnTo>
                    <a:pt x="2000" y="13902"/>
                  </a:lnTo>
                  <a:lnTo>
                    <a:pt x="1982" y="13902"/>
                  </a:lnTo>
                  <a:lnTo>
                    <a:pt x="1963" y="13900"/>
                  </a:lnTo>
                  <a:lnTo>
                    <a:pt x="1943" y="13896"/>
                  </a:lnTo>
                  <a:lnTo>
                    <a:pt x="1923" y="13890"/>
                  </a:lnTo>
                  <a:lnTo>
                    <a:pt x="1902" y="13884"/>
                  </a:lnTo>
                  <a:lnTo>
                    <a:pt x="1880" y="13875"/>
                  </a:lnTo>
                  <a:lnTo>
                    <a:pt x="1859" y="13864"/>
                  </a:lnTo>
                  <a:lnTo>
                    <a:pt x="1836" y="13852"/>
                  </a:lnTo>
                  <a:lnTo>
                    <a:pt x="1812" y="13836"/>
                  </a:lnTo>
                  <a:lnTo>
                    <a:pt x="281" y="12895"/>
                  </a:lnTo>
                  <a:lnTo>
                    <a:pt x="270" y="12891"/>
                  </a:lnTo>
                  <a:lnTo>
                    <a:pt x="239" y="12878"/>
                  </a:lnTo>
                  <a:lnTo>
                    <a:pt x="218" y="12866"/>
                  </a:lnTo>
                  <a:lnTo>
                    <a:pt x="194" y="12853"/>
                  </a:lnTo>
                  <a:lnTo>
                    <a:pt x="170" y="12838"/>
                  </a:lnTo>
                  <a:lnTo>
                    <a:pt x="144" y="12818"/>
                  </a:lnTo>
                  <a:lnTo>
                    <a:pt x="131" y="12807"/>
                  </a:lnTo>
                  <a:lnTo>
                    <a:pt x="118" y="12796"/>
                  </a:lnTo>
                  <a:lnTo>
                    <a:pt x="105" y="12784"/>
                  </a:lnTo>
                  <a:lnTo>
                    <a:pt x="93" y="12771"/>
                  </a:lnTo>
                  <a:lnTo>
                    <a:pt x="81" y="12757"/>
                  </a:lnTo>
                  <a:lnTo>
                    <a:pt x="69" y="12743"/>
                  </a:lnTo>
                  <a:lnTo>
                    <a:pt x="58" y="12727"/>
                  </a:lnTo>
                  <a:lnTo>
                    <a:pt x="48" y="12710"/>
                  </a:lnTo>
                  <a:lnTo>
                    <a:pt x="38" y="12694"/>
                  </a:lnTo>
                  <a:lnTo>
                    <a:pt x="30" y="12676"/>
                  </a:lnTo>
                  <a:lnTo>
                    <a:pt x="22" y="12656"/>
                  </a:lnTo>
                  <a:lnTo>
                    <a:pt x="15" y="12637"/>
                  </a:lnTo>
                  <a:lnTo>
                    <a:pt x="10" y="12615"/>
                  </a:lnTo>
                  <a:lnTo>
                    <a:pt x="6" y="12594"/>
                  </a:lnTo>
                  <a:lnTo>
                    <a:pt x="3" y="12570"/>
                  </a:lnTo>
                  <a:lnTo>
                    <a:pt x="2" y="12547"/>
                  </a:lnTo>
                  <a:lnTo>
                    <a:pt x="1" y="12525"/>
                  </a:lnTo>
                  <a:lnTo>
                    <a:pt x="1" y="12495"/>
                  </a:lnTo>
                  <a:lnTo>
                    <a:pt x="1" y="12468"/>
                  </a:lnTo>
                  <a:lnTo>
                    <a:pt x="1" y="12457"/>
                  </a:lnTo>
                  <a:lnTo>
                    <a:pt x="1" y="2909"/>
                  </a:lnTo>
                  <a:lnTo>
                    <a:pt x="0" y="2901"/>
                  </a:lnTo>
                  <a:lnTo>
                    <a:pt x="0" y="2879"/>
                  </a:lnTo>
                  <a:lnTo>
                    <a:pt x="1" y="2864"/>
                  </a:lnTo>
                  <a:lnTo>
                    <a:pt x="3" y="2847"/>
                  </a:lnTo>
                  <a:lnTo>
                    <a:pt x="6" y="2828"/>
                  </a:lnTo>
                  <a:lnTo>
                    <a:pt x="11" y="2808"/>
                  </a:lnTo>
                  <a:lnTo>
                    <a:pt x="14" y="2798"/>
                  </a:lnTo>
                  <a:lnTo>
                    <a:pt x="18" y="2787"/>
                  </a:lnTo>
                  <a:lnTo>
                    <a:pt x="22" y="2776"/>
                  </a:lnTo>
                  <a:lnTo>
                    <a:pt x="27" y="2765"/>
                  </a:lnTo>
                  <a:lnTo>
                    <a:pt x="33" y="2754"/>
                  </a:lnTo>
                  <a:lnTo>
                    <a:pt x="40" y="2744"/>
                  </a:lnTo>
                  <a:lnTo>
                    <a:pt x="47" y="2733"/>
                  </a:lnTo>
                  <a:lnTo>
                    <a:pt x="55" y="2722"/>
                  </a:lnTo>
                  <a:lnTo>
                    <a:pt x="64" y="2712"/>
                  </a:lnTo>
                  <a:lnTo>
                    <a:pt x="74" y="2702"/>
                  </a:lnTo>
                  <a:lnTo>
                    <a:pt x="85" y="2692"/>
                  </a:lnTo>
                  <a:lnTo>
                    <a:pt x="96" y="2683"/>
                  </a:lnTo>
                  <a:lnTo>
                    <a:pt x="109" y="2673"/>
                  </a:lnTo>
                  <a:lnTo>
                    <a:pt x="123" y="2664"/>
                  </a:lnTo>
                  <a:lnTo>
                    <a:pt x="138" y="2656"/>
                  </a:lnTo>
                  <a:lnTo>
                    <a:pt x="154" y="2649"/>
                  </a:lnTo>
                  <a:close/>
                </a:path>
              </a:pathLst>
            </a:custGeom>
            <a:solidFill>
              <a:srgbClr val="8E8D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8" name="Freeform 89"/>
            <p:cNvSpPr>
              <a:spLocks/>
            </p:cNvSpPr>
            <p:nvPr/>
          </p:nvSpPr>
          <p:spPr bwMode="auto">
            <a:xfrm>
              <a:off x="8857295" y="4107123"/>
              <a:ext cx="25080" cy="298710"/>
            </a:xfrm>
            <a:custGeom>
              <a:avLst/>
              <a:gdLst>
                <a:gd name="T0" fmla="*/ 0 w 1157"/>
                <a:gd name="T1" fmla="*/ 0 h 10318"/>
                <a:gd name="T2" fmla="*/ 0 w 1157"/>
                <a:gd name="T3" fmla="*/ 0 h 10318"/>
                <a:gd name="T4" fmla="*/ 0 w 1157"/>
                <a:gd name="T5" fmla="*/ 0 h 10318"/>
                <a:gd name="T6" fmla="*/ 0 w 1157"/>
                <a:gd name="T7" fmla="*/ 0 h 10318"/>
                <a:gd name="T8" fmla="*/ 0 w 1157"/>
                <a:gd name="T9" fmla="*/ 0 h 10318"/>
                <a:gd name="T10" fmla="*/ 0 w 1157"/>
                <a:gd name="T11" fmla="*/ 0 h 10318"/>
                <a:gd name="T12" fmla="*/ 0 w 1157"/>
                <a:gd name="T13" fmla="*/ 0 h 10318"/>
                <a:gd name="T14" fmla="*/ 0 w 1157"/>
                <a:gd name="T15" fmla="*/ 0 h 10318"/>
                <a:gd name="T16" fmla="*/ 0 w 1157"/>
                <a:gd name="T17" fmla="*/ 0 h 10318"/>
                <a:gd name="T18" fmla="*/ 0 w 1157"/>
                <a:gd name="T19" fmla="*/ 0 h 10318"/>
                <a:gd name="T20" fmla="*/ 0 w 1157"/>
                <a:gd name="T21" fmla="*/ 0 h 10318"/>
                <a:gd name="T22" fmla="*/ 0 w 1157"/>
                <a:gd name="T23" fmla="*/ 0 h 10318"/>
                <a:gd name="T24" fmla="*/ 0 w 1157"/>
                <a:gd name="T25" fmla="*/ 0 h 10318"/>
                <a:gd name="T26" fmla="*/ 0 w 1157"/>
                <a:gd name="T27" fmla="*/ 0 h 10318"/>
                <a:gd name="T28" fmla="*/ 0 w 1157"/>
                <a:gd name="T29" fmla="*/ 0 h 10318"/>
                <a:gd name="T30" fmla="*/ 0 w 1157"/>
                <a:gd name="T31" fmla="*/ 0 h 10318"/>
                <a:gd name="T32" fmla="*/ 0 w 1157"/>
                <a:gd name="T33" fmla="*/ 0 h 10318"/>
                <a:gd name="T34" fmla="*/ 0 w 1157"/>
                <a:gd name="T35" fmla="*/ 0 h 10318"/>
                <a:gd name="T36" fmla="*/ 0 w 1157"/>
                <a:gd name="T37" fmla="*/ 0 h 10318"/>
                <a:gd name="T38" fmla="*/ 0 w 1157"/>
                <a:gd name="T39" fmla="*/ 0 h 10318"/>
                <a:gd name="T40" fmla="*/ 0 w 1157"/>
                <a:gd name="T41" fmla="*/ 0 h 10318"/>
                <a:gd name="T42" fmla="*/ 0 w 1157"/>
                <a:gd name="T43" fmla="*/ 0 h 10318"/>
                <a:gd name="T44" fmla="*/ 0 w 1157"/>
                <a:gd name="T45" fmla="*/ 0 h 10318"/>
                <a:gd name="T46" fmla="*/ 0 w 1157"/>
                <a:gd name="T47" fmla="*/ 0 h 10318"/>
                <a:gd name="T48" fmla="*/ 0 w 1157"/>
                <a:gd name="T49" fmla="*/ 0 h 10318"/>
                <a:gd name="T50" fmla="*/ 0 w 1157"/>
                <a:gd name="T51" fmla="*/ 0 h 10318"/>
                <a:gd name="T52" fmla="*/ 0 w 1157"/>
                <a:gd name="T53" fmla="*/ 0 h 10318"/>
                <a:gd name="T54" fmla="*/ 0 w 1157"/>
                <a:gd name="T55" fmla="*/ 0 h 10318"/>
                <a:gd name="T56" fmla="*/ 0 w 1157"/>
                <a:gd name="T57" fmla="*/ 0 h 10318"/>
                <a:gd name="T58" fmla="*/ 0 w 1157"/>
                <a:gd name="T59" fmla="*/ 0 h 1031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57"/>
                <a:gd name="T91" fmla="*/ 0 h 10318"/>
                <a:gd name="T92" fmla="*/ 1157 w 1157"/>
                <a:gd name="T93" fmla="*/ 10318 h 1031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57" h="10318">
                  <a:moveTo>
                    <a:pt x="0" y="677"/>
                  </a:moveTo>
                  <a:lnTo>
                    <a:pt x="754" y="10318"/>
                  </a:lnTo>
                  <a:lnTo>
                    <a:pt x="757" y="10310"/>
                  </a:lnTo>
                  <a:lnTo>
                    <a:pt x="762" y="10299"/>
                  </a:lnTo>
                  <a:lnTo>
                    <a:pt x="768" y="10285"/>
                  </a:lnTo>
                  <a:lnTo>
                    <a:pt x="777" y="10271"/>
                  </a:lnTo>
                  <a:lnTo>
                    <a:pt x="788" y="10256"/>
                  </a:lnTo>
                  <a:lnTo>
                    <a:pt x="802" y="10239"/>
                  </a:lnTo>
                  <a:lnTo>
                    <a:pt x="810" y="10230"/>
                  </a:lnTo>
                  <a:lnTo>
                    <a:pt x="818" y="10221"/>
                  </a:lnTo>
                  <a:lnTo>
                    <a:pt x="828" y="10212"/>
                  </a:lnTo>
                  <a:lnTo>
                    <a:pt x="839" y="10204"/>
                  </a:lnTo>
                  <a:lnTo>
                    <a:pt x="850" y="10195"/>
                  </a:lnTo>
                  <a:lnTo>
                    <a:pt x="862" y="10187"/>
                  </a:lnTo>
                  <a:lnTo>
                    <a:pt x="876" y="10177"/>
                  </a:lnTo>
                  <a:lnTo>
                    <a:pt x="890" y="10169"/>
                  </a:lnTo>
                  <a:lnTo>
                    <a:pt x="906" y="10160"/>
                  </a:lnTo>
                  <a:lnTo>
                    <a:pt x="922" y="10152"/>
                  </a:lnTo>
                  <a:lnTo>
                    <a:pt x="940" y="10144"/>
                  </a:lnTo>
                  <a:lnTo>
                    <a:pt x="959" y="10137"/>
                  </a:lnTo>
                  <a:lnTo>
                    <a:pt x="979" y="10129"/>
                  </a:lnTo>
                  <a:lnTo>
                    <a:pt x="1001" y="10122"/>
                  </a:lnTo>
                  <a:lnTo>
                    <a:pt x="1023" y="10115"/>
                  </a:lnTo>
                  <a:lnTo>
                    <a:pt x="1047" y="10109"/>
                  </a:lnTo>
                  <a:lnTo>
                    <a:pt x="1073" y="10104"/>
                  </a:lnTo>
                  <a:lnTo>
                    <a:pt x="1099" y="10099"/>
                  </a:lnTo>
                  <a:lnTo>
                    <a:pt x="1127" y="10094"/>
                  </a:lnTo>
                  <a:lnTo>
                    <a:pt x="1157" y="10090"/>
                  </a:lnTo>
                  <a:lnTo>
                    <a:pt x="1157" y="0"/>
                  </a:lnTo>
                  <a:lnTo>
                    <a:pt x="0" y="677"/>
                  </a:lnTo>
                  <a:close/>
                </a:path>
              </a:pathLst>
            </a:custGeom>
            <a:solidFill>
              <a:srgbClr val="B5B5B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9" name="Freeform 90"/>
            <p:cNvSpPr>
              <a:spLocks/>
            </p:cNvSpPr>
            <p:nvPr/>
          </p:nvSpPr>
          <p:spPr bwMode="auto">
            <a:xfrm>
              <a:off x="8872970" y="4405833"/>
              <a:ext cx="1045" cy="1479"/>
            </a:xfrm>
            <a:custGeom>
              <a:avLst/>
              <a:gdLst>
                <a:gd name="T0" fmla="*/ 0 w 3"/>
                <a:gd name="T1" fmla="*/ 0 h 11"/>
                <a:gd name="T2" fmla="*/ 0 w 3"/>
                <a:gd name="T3" fmla="*/ 0 h 11"/>
                <a:gd name="T4" fmla="*/ 0 w 3"/>
                <a:gd name="T5" fmla="*/ 0 h 11"/>
                <a:gd name="T6" fmla="*/ 0 w 3"/>
                <a:gd name="T7" fmla="*/ 0 h 11"/>
                <a:gd name="T8" fmla="*/ 0 w 3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1"/>
                <a:gd name="T17" fmla="*/ 3 w 3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1">
                  <a:moveTo>
                    <a:pt x="3" y="5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0" name="Freeform 91"/>
            <p:cNvSpPr>
              <a:spLocks/>
            </p:cNvSpPr>
            <p:nvPr/>
          </p:nvSpPr>
          <p:spPr bwMode="auto">
            <a:xfrm>
              <a:off x="8882375" y="4101207"/>
              <a:ext cx="30305" cy="304625"/>
            </a:xfrm>
            <a:custGeom>
              <a:avLst/>
              <a:gdLst>
                <a:gd name="T0" fmla="*/ 0 w 1458"/>
                <a:gd name="T1" fmla="*/ 0 h 10522"/>
                <a:gd name="T2" fmla="*/ 0 w 1458"/>
                <a:gd name="T3" fmla="*/ 0 h 10522"/>
                <a:gd name="T4" fmla="*/ 0 w 1458"/>
                <a:gd name="T5" fmla="*/ 0 h 10522"/>
                <a:gd name="T6" fmla="*/ 0 w 1458"/>
                <a:gd name="T7" fmla="*/ 0 h 10522"/>
                <a:gd name="T8" fmla="*/ 0 w 1458"/>
                <a:gd name="T9" fmla="*/ 0 h 10522"/>
                <a:gd name="T10" fmla="*/ 0 w 1458"/>
                <a:gd name="T11" fmla="*/ 0 h 10522"/>
                <a:gd name="T12" fmla="*/ 0 w 1458"/>
                <a:gd name="T13" fmla="*/ 0 h 10522"/>
                <a:gd name="T14" fmla="*/ 0 w 1458"/>
                <a:gd name="T15" fmla="*/ 0 h 10522"/>
                <a:gd name="T16" fmla="*/ 0 w 1458"/>
                <a:gd name="T17" fmla="*/ 0 h 10522"/>
                <a:gd name="T18" fmla="*/ 0 w 1458"/>
                <a:gd name="T19" fmla="*/ 0 h 10522"/>
                <a:gd name="T20" fmla="*/ 0 w 1458"/>
                <a:gd name="T21" fmla="*/ 0 h 10522"/>
                <a:gd name="T22" fmla="*/ 0 w 1458"/>
                <a:gd name="T23" fmla="*/ 0 h 10522"/>
                <a:gd name="T24" fmla="*/ 0 w 1458"/>
                <a:gd name="T25" fmla="*/ 0 h 10522"/>
                <a:gd name="T26" fmla="*/ 0 w 1458"/>
                <a:gd name="T27" fmla="*/ 0 h 10522"/>
                <a:gd name="T28" fmla="*/ 0 w 1458"/>
                <a:gd name="T29" fmla="*/ 0 h 10522"/>
                <a:gd name="T30" fmla="*/ 0 w 1458"/>
                <a:gd name="T31" fmla="*/ 0 h 10522"/>
                <a:gd name="T32" fmla="*/ 0 w 1458"/>
                <a:gd name="T33" fmla="*/ 0 h 10522"/>
                <a:gd name="T34" fmla="*/ 0 w 1458"/>
                <a:gd name="T35" fmla="*/ 0 h 10522"/>
                <a:gd name="T36" fmla="*/ 0 w 1458"/>
                <a:gd name="T37" fmla="*/ 0 h 10522"/>
                <a:gd name="T38" fmla="*/ 0 w 1458"/>
                <a:gd name="T39" fmla="*/ 0 h 10522"/>
                <a:gd name="T40" fmla="*/ 0 w 1458"/>
                <a:gd name="T41" fmla="*/ 0 h 10522"/>
                <a:gd name="T42" fmla="*/ 0 w 1458"/>
                <a:gd name="T43" fmla="*/ 0 h 10522"/>
                <a:gd name="T44" fmla="*/ 0 w 1458"/>
                <a:gd name="T45" fmla="*/ 0 h 10522"/>
                <a:gd name="T46" fmla="*/ 0 w 1458"/>
                <a:gd name="T47" fmla="*/ 0 h 10522"/>
                <a:gd name="T48" fmla="*/ 0 w 1458"/>
                <a:gd name="T49" fmla="*/ 0 h 10522"/>
                <a:gd name="T50" fmla="*/ 0 w 1458"/>
                <a:gd name="T51" fmla="*/ 0 h 10522"/>
                <a:gd name="T52" fmla="*/ 0 w 1458"/>
                <a:gd name="T53" fmla="*/ 0 h 10522"/>
                <a:gd name="T54" fmla="*/ 0 w 1458"/>
                <a:gd name="T55" fmla="*/ 0 h 10522"/>
                <a:gd name="T56" fmla="*/ 0 w 1458"/>
                <a:gd name="T57" fmla="*/ 0 h 10522"/>
                <a:gd name="T58" fmla="*/ 0 w 1458"/>
                <a:gd name="T59" fmla="*/ 0 h 10522"/>
                <a:gd name="T60" fmla="*/ 0 w 1458"/>
                <a:gd name="T61" fmla="*/ 0 h 10522"/>
                <a:gd name="T62" fmla="*/ 0 w 1458"/>
                <a:gd name="T63" fmla="*/ 0 h 10522"/>
                <a:gd name="T64" fmla="*/ 0 w 1458"/>
                <a:gd name="T65" fmla="*/ 0 h 10522"/>
                <a:gd name="T66" fmla="*/ 0 w 1458"/>
                <a:gd name="T67" fmla="*/ 0 h 10522"/>
                <a:gd name="T68" fmla="*/ 0 w 1458"/>
                <a:gd name="T69" fmla="*/ 0 h 1052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58"/>
                <a:gd name="T106" fmla="*/ 0 h 10522"/>
                <a:gd name="T107" fmla="*/ 1458 w 1458"/>
                <a:gd name="T108" fmla="*/ 10522 h 1052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58" h="10522">
                  <a:moveTo>
                    <a:pt x="362" y="0"/>
                  </a:moveTo>
                  <a:lnTo>
                    <a:pt x="0" y="212"/>
                  </a:lnTo>
                  <a:lnTo>
                    <a:pt x="0" y="10302"/>
                  </a:lnTo>
                  <a:lnTo>
                    <a:pt x="19" y="10300"/>
                  </a:lnTo>
                  <a:lnTo>
                    <a:pt x="38" y="10299"/>
                  </a:lnTo>
                  <a:lnTo>
                    <a:pt x="58" y="10297"/>
                  </a:lnTo>
                  <a:lnTo>
                    <a:pt x="78" y="10296"/>
                  </a:lnTo>
                  <a:lnTo>
                    <a:pt x="99" y="10295"/>
                  </a:lnTo>
                  <a:lnTo>
                    <a:pt x="120" y="10293"/>
                  </a:lnTo>
                  <a:lnTo>
                    <a:pt x="143" y="10292"/>
                  </a:lnTo>
                  <a:lnTo>
                    <a:pt x="165" y="10292"/>
                  </a:lnTo>
                  <a:lnTo>
                    <a:pt x="178" y="10291"/>
                  </a:lnTo>
                  <a:lnTo>
                    <a:pt x="212" y="10292"/>
                  </a:lnTo>
                  <a:lnTo>
                    <a:pt x="236" y="10293"/>
                  </a:lnTo>
                  <a:lnTo>
                    <a:pt x="265" y="10298"/>
                  </a:lnTo>
                  <a:lnTo>
                    <a:pt x="296" y="10303"/>
                  </a:lnTo>
                  <a:lnTo>
                    <a:pt x="330" y="10311"/>
                  </a:lnTo>
                  <a:lnTo>
                    <a:pt x="348" y="10316"/>
                  </a:lnTo>
                  <a:lnTo>
                    <a:pt x="367" y="10322"/>
                  </a:lnTo>
                  <a:lnTo>
                    <a:pt x="386" y="10328"/>
                  </a:lnTo>
                  <a:lnTo>
                    <a:pt x="405" y="10336"/>
                  </a:lnTo>
                  <a:lnTo>
                    <a:pt x="425" y="10344"/>
                  </a:lnTo>
                  <a:lnTo>
                    <a:pt x="445" y="10355"/>
                  </a:lnTo>
                  <a:lnTo>
                    <a:pt x="465" y="10365"/>
                  </a:lnTo>
                  <a:lnTo>
                    <a:pt x="485" y="10377"/>
                  </a:lnTo>
                  <a:lnTo>
                    <a:pt x="506" y="10390"/>
                  </a:lnTo>
                  <a:lnTo>
                    <a:pt x="526" y="10405"/>
                  </a:lnTo>
                  <a:lnTo>
                    <a:pt x="546" y="10421"/>
                  </a:lnTo>
                  <a:lnTo>
                    <a:pt x="566" y="10438"/>
                  </a:lnTo>
                  <a:lnTo>
                    <a:pt x="586" y="10457"/>
                  </a:lnTo>
                  <a:lnTo>
                    <a:pt x="605" y="10477"/>
                  </a:lnTo>
                  <a:lnTo>
                    <a:pt x="624" y="10499"/>
                  </a:lnTo>
                  <a:lnTo>
                    <a:pt x="643" y="10522"/>
                  </a:lnTo>
                  <a:lnTo>
                    <a:pt x="1458" y="631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1" name="Freeform 92"/>
            <p:cNvSpPr>
              <a:spLocks/>
            </p:cNvSpPr>
            <p:nvPr/>
          </p:nvSpPr>
          <p:spPr bwMode="auto">
            <a:xfrm>
              <a:off x="8960750" y="4117474"/>
              <a:ext cx="93006" cy="359340"/>
            </a:xfrm>
            <a:custGeom>
              <a:avLst/>
              <a:gdLst>
                <a:gd name="T0" fmla="*/ 0 w 4414"/>
                <a:gd name="T1" fmla="*/ 0 h 12417"/>
                <a:gd name="T2" fmla="*/ 0 w 4414"/>
                <a:gd name="T3" fmla="*/ 0 h 12417"/>
                <a:gd name="T4" fmla="*/ 0 w 4414"/>
                <a:gd name="T5" fmla="*/ 0 h 12417"/>
                <a:gd name="T6" fmla="*/ 0 w 4414"/>
                <a:gd name="T7" fmla="*/ 0 h 12417"/>
                <a:gd name="T8" fmla="*/ 0 w 4414"/>
                <a:gd name="T9" fmla="*/ 0 h 124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14"/>
                <a:gd name="T16" fmla="*/ 0 h 12417"/>
                <a:gd name="T17" fmla="*/ 4414 w 4414"/>
                <a:gd name="T18" fmla="*/ 12417 h 124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14" h="12417">
                  <a:moveTo>
                    <a:pt x="0" y="2752"/>
                  </a:moveTo>
                  <a:lnTo>
                    <a:pt x="4414" y="0"/>
                  </a:lnTo>
                  <a:lnTo>
                    <a:pt x="4414" y="9747"/>
                  </a:lnTo>
                  <a:lnTo>
                    <a:pt x="60" y="12417"/>
                  </a:lnTo>
                  <a:lnTo>
                    <a:pt x="0" y="2752"/>
                  </a:lnTo>
                  <a:close/>
                </a:path>
              </a:pathLst>
            </a:custGeom>
            <a:solidFill>
              <a:srgbClr val="B9B9B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2" name="Freeform 93"/>
            <p:cNvSpPr>
              <a:spLocks/>
            </p:cNvSpPr>
            <p:nvPr/>
          </p:nvSpPr>
          <p:spPr bwMode="auto">
            <a:xfrm>
              <a:off x="8891780" y="4138176"/>
              <a:ext cx="71060" cy="338637"/>
            </a:xfrm>
            <a:custGeom>
              <a:avLst/>
              <a:gdLst>
                <a:gd name="T0" fmla="*/ 0 w 3381"/>
                <a:gd name="T1" fmla="*/ 0 h 11718"/>
                <a:gd name="T2" fmla="*/ 0 w 3381"/>
                <a:gd name="T3" fmla="*/ 0 h 11718"/>
                <a:gd name="T4" fmla="*/ 0 w 3381"/>
                <a:gd name="T5" fmla="*/ 0 h 11718"/>
                <a:gd name="T6" fmla="*/ 0 w 3381"/>
                <a:gd name="T7" fmla="*/ 0 h 11718"/>
                <a:gd name="T8" fmla="*/ 0 w 3381"/>
                <a:gd name="T9" fmla="*/ 0 h 117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81"/>
                <a:gd name="T16" fmla="*/ 0 h 11718"/>
                <a:gd name="T17" fmla="*/ 3381 w 3381"/>
                <a:gd name="T18" fmla="*/ 11718 h 117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81" h="11718">
                  <a:moveTo>
                    <a:pt x="3381" y="2029"/>
                  </a:moveTo>
                  <a:lnTo>
                    <a:pt x="0" y="0"/>
                  </a:lnTo>
                  <a:lnTo>
                    <a:pt x="0" y="9779"/>
                  </a:lnTo>
                  <a:lnTo>
                    <a:pt x="3381" y="11718"/>
                  </a:lnTo>
                  <a:lnTo>
                    <a:pt x="3381" y="2029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3" name="Freeform 94"/>
            <p:cNvSpPr>
              <a:spLocks/>
            </p:cNvSpPr>
            <p:nvPr/>
          </p:nvSpPr>
          <p:spPr bwMode="auto">
            <a:xfrm>
              <a:off x="8898050" y="4158879"/>
              <a:ext cx="56431" cy="115344"/>
            </a:xfrm>
            <a:custGeom>
              <a:avLst/>
              <a:gdLst>
                <a:gd name="T0" fmla="*/ 0 w 2733"/>
                <a:gd name="T1" fmla="*/ 0 h 3953"/>
                <a:gd name="T2" fmla="*/ 0 w 2733"/>
                <a:gd name="T3" fmla="*/ 0 h 3953"/>
                <a:gd name="T4" fmla="*/ 0 w 2733"/>
                <a:gd name="T5" fmla="*/ 0 h 3953"/>
                <a:gd name="T6" fmla="*/ 0 w 2733"/>
                <a:gd name="T7" fmla="*/ 0 h 3953"/>
                <a:gd name="T8" fmla="*/ 0 w 2733"/>
                <a:gd name="T9" fmla="*/ 0 h 39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33"/>
                <a:gd name="T16" fmla="*/ 0 h 3953"/>
                <a:gd name="T17" fmla="*/ 2733 w 2733"/>
                <a:gd name="T18" fmla="*/ 3953 h 39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33" h="3953">
                  <a:moveTo>
                    <a:pt x="0" y="0"/>
                  </a:moveTo>
                  <a:lnTo>
                    <a:pt x="0" y="2385"/>
                  </a:lnTo>
                  <a:lnTo>
                    <a:pt x="2733" y="3953"/>
                  </a:lnTo>
                  <a:lnTo>
                    <a:pt x="2733" y="15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4" name="Freeform 95"/>
            <p:cNvSpPr>
              <a:spLocks/>
            </p:cNvSpPr>
            <p:nvPr/>
          </p:nvSpPr>
          <p:spPr bwMode="auto">
            <a:xfrm>
              <a:off x="8835350" y="4092335"/>
              <a:ext cx="37620" cy="313498"/>
            </a:xfrm>
            <a:custGeom>
              <a:avLst/>
              <a:gdLst>
                <a:gd name="T0" fmla="*/ 0 w 1839"/>
                <a:gd name="T1" fmla="*/ 0 h 10814"/>
                <a:gd name="T2" fmla="*/ 0 w 1839"/>
                <a:gd name="T3" fmla="*/ 0 h 10814"/>
                <a:gd name="T4" fmla="*/ 0 w 1839"/>
                <a:gd name="T5" fmla="*/ 0 h 10814"/>
                <a:gd name="T6" fmla="*/ 0 w 1839"/>
                <a:gd name="T7" fmla="*/ 0 h 10814"/>
                <a:gd name="T8" fmla="*/ 0 w 1839"/>
                <a:gd name="T9" fmla="*/ 0 h 10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39"/>
                <a:gd name="T16" fmla="*/ 0 h 10814"/>
                <a:gd name="T17" fmla="*/ 1839 w 1839"/>
                <a:gd name="T18" fmla="*/ 10814 h 10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39" h="10814">
                  <a:moveTo>
                    <a:pt x="5" y="0"/>
                  </a:moveTo>
                  <a:lnTo>
                    <a:pt x="0" y="9760"/>
                  </a:lnTo>
                  <a:lnTo>
                    <a:pt x="1839" y="10814"/>
                  </a:lnTo>
                  <a:lnTo>
                    <a:pt x="1839" y="101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5" name="Freeform 96"/>
            <p:cNvSpPr>
              <a:spLocks/>
            </p:cNvSpPr>
            <p:nvPr/>
          </p:nvSpPr>
          <p:spPr bwMode="auto">
            <a:xfrm>
              <a:off x="8841620" y="4114516"/>
              <a:ext cx="28215" cy="96120"/>
            </a:xfrm>
            <a:custGeom>
              <a:avLst/>
              <a:gdLst>
                <a:gd name="T0" fmla="*/ 0 w 1368"/>
                <a:gd name="T1" fmla="*/ 0 h 3287"/>
                <a:gd name="T2" fmla="*/ 0 w 1368"/>
                <a:gd name="T3" fmla="*/ 0 h 3287"/>
                <a:gd name="T4" fmla="*/ 0 w 1368"/>
                <a:gd name="T5" fmla="*/ 0 h 3287"/>
                <a:gd name="T6" fmla="*/ 0 w 1368"/>
                <a:gd name="T7" fmla="*/ 0 h 3287"/>
                <a:gd name="T8" fmla="*/ 0 w 1368"/>
                <a:gd name="T9" fmla="*/ 0 h 32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8"/>
                <a:gd name="T16" fmla="*/ 0 h 3287"/>
                <a:gd name="T17" fmla="*/ 1368 w 1368"/>
                <a:gd name="T18" fmla="*/ 3287 h 328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8" h="3287">
                  <a:moveTo>
                    <a:pt x="0" y="0"/>
                  </a:moveTo>
                  <a:lnTo>
                    <a:pt x="0" y="2516"/>
                  </a:lnTo>
                  <a:lnTo>
                    <a:pt x="1368" y="3287"/>
                  </a:lnTo>
                  <a:lnTo>
                    <a:pt x="1368" y="7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6" name="Freeform 97"/>
            <p:cNvSpPr>
              <a:spLocks/>
            </p:cNvSpPr>
            <p:nvPr/>
          </p:nvSpPr>
          <p:spPr bwMode="auto">
            <a:xfrm>
              <a:off x="8897005" y="4243168"/>
              <a:ext cx="56431" cy="69502"/>
            </a:xfrm>
            <a:custGeom>
              <a:avLst/>
              <a:gdLst>
                <a:gd name="T0" fmla="*/ 0 w 2688"/>
                <a:gd name="T1" fmla="*/ 0 h 2433"/>
                <a:gd name="T2" fmla="*/ 0 w 2688"/>
                <a:gd name="T3" fmla="*/ 0 h 2433"/>
                <a:gd name="T4" fmla="*/ 0 w 2688"/>
                <a:gd name="T5" fmla="*/ 0 h 2433"/>
                <a:gd name="T6" fmla="*/ 0 w 2688"/>
                <a:gd name="T7" fmla="*/ 0 h 2433"/>
                <a:gd name="T8" fmla="*/ 0 w 2688"/>
                <a:gd name="T9" fmla="*/ 0 h 2433"/>
                <a:gd name="T10" fmla="*/ 0 w 2688"/>
                <a:gd name="T11" fmla="*/ 0 h 2433"/>
                <a:gd name="T12" fmla="*/ 0 w 2688"/>
                <a:gd name="T13" fmla="*/ 0 h 2433"/>
                <a:gd name="T14" fmla="*/ 0 w 2688"/>
                <a:gd name="T15" fmla="*/ 0 h 2433"/>
                <a:gd name="T16" fmla="*/ 0 w 2688"/>
                <a:gd name="T17" fmla="*/ 0 h 2433"/>
                <a:gd name="T18" fmla="*/ 0 w 2688"/>
                <a:gd name="T19" fmla="*/ 0 h 2433"/>
                <a:gd name="T20" fmla="*/ 0 w 2688"/>
                <a:gd name="T21" fmla="*/ 0 h 2433"/>
                <a:gd name="T22" fmla="*/ 0 w 2688"/>
                <a:gd name="T23" fmla="*/ 0 h 2433"/>
                <a:gd name="T24" fmla="*/ 0 w 2688"/>
                <a:gd name="T25" fmla="*/ 0 h 2433"/>
                <a:gd name="T26" fmla="*/ 0 w 2688"/>
                <a:gd name="T27" fmla="*/ 0 h 2433"/>
                <a:gd name="T28" fmla="*/ 0 w 2688"/>
                <a:gd name="T29" fmla="*/ 0 h 2433"/>
                <a:gd name="T30" fmla="*/ 0 w 2688"/>
                <a:gd name="T31" fmla="*/ 0 h 2433"/>
                <a:gd name="T32" fmla="*/ 0 w 2688"/>
                <a:gd name="T33" fmla="*/ 0 h 2433"/>
                <a:gd name="T34" fmla="*/ 0 w 2688"/>
                <a:gd name="T35" fmla="*/ 0 h 2433"/>
                <a:gd name="T36" fmla="*/ 0 w 2688"/>
                <a:gd name="T37" fmla="*/ 0 h 2433"/>
                <a:gd name="T38" fmla="*/ 0 w 2688"/>
                <a:gd name="T39" fmla="*/ 0 h 2433"/>
                <a:gd name="T40" fmla="*/ 0 w 2688"/>
                <a:gd name="T41" fmla="*/ 0 h 2433"/>
                <a:gd name="T42" fmla="*/ 0 w 2688"/>
                <a:gd name="T43" fmla="*/ 0 h 2433"/>
                <a:gd name="T44" fmla="*/ 0 w 2688"/>
                <a:gd name="T45" fmla="*/ 0 h 2433"/>
                <a:gd name="T46" fmla="*/ 0 w 2688"/>
                <a:gd name="T47" fmla="*/ 0 h 2433"/>
                <a:gd name="T48" fmla="*/ 0 w 2688"/>
                <a:gd name="T49" fmla="*/ 0 h 2433"/>
                <a:gd name="T50" fmla="*/ 0 w 2688"/>
                <a:gd name="T51" fmla="*/ 0 h 2433"/>
                <a:gd name="T52" fmla="*/ 0 w 2688"/>
                <a:gd name="T53" fmla="*/ 0 h 2433"/>
                <a:gd name="T54" fmla="*/ 0 w 2688"/>
                <a:gd name="T55" fmla="*/ 0 h 2433"/>
                <a:gd name="T56" fmla="*/ 0 w 2688"/>
                <a:gd name="T57" fmla="*/ 0 h 2433"/>
                <a:gd name="T58" fmla="*/ 0 w 2688"/>
                <a:gd name="T59" fmla="*/ 0 h 2433"/>
                <a:gd name="T60" fmla="*/ 0 w 2688"/>
                <a:gd name="T61" fmla="*/ 0 h 2433"/>
                <a:gd name="T62" fmla="*/ 0 w 2688"/>
                <a:gd name="T63" fmla="*/ 0 h 2433"/>
                <a:gd name="T64" fmla="*/ 0 w 2688"/>
                <a:gd name="T65" fmla="*/ 0 h 2433"/>
                <a:gd name="T66" fmla="*/ 0 w 2688"/>
                <a:gd name="T67" fmla="*/ 0 h 2433"/>
                <a:gd name="T68" fmla="*/ 0 w 2688"/>
                <a:gd name="T69" fmla="*/ 0 h 2433"/>
                <a:gd name="T70" fmla="*/ 0 w 2688"/>
                <a:gd name="T71" fmla="*/ 0 h 2433"/>
                <a:gd name="T72" fmla="*/ 0 w 2688"/>
                <a:gd name="T73" fmla="*/ 0 h 2433"/>
                <a:gd name="T74" fmla="*/ 0 w 2688"/>
                <a:gd name="T75" fmla="*/ 0 h 2433"/>
                <a:gd name="T76" fmla="*/ 0 w 2688"/>
                <a:gd name="T77" fmla="*/ 0 h 2433"/>
                <a:gd name="T78" fmla="*/ 0 w 2688"/>
                <a:gd name="T79" fmla="*/ 0 h 2433"/>
                <a:gd name="T80" fmla="*/ 0 w 2688"/>
                <a:gd name="T81" fmla="*/ 0 h 2433"/>
                <a:gd name="T82" fmla="*/ 0 w 2688"/>
                <a:gd name="T83" fmla="*/ 0 h 2433"/>
                <a:gd name="T84" fmla="*/ 0 w 2688"/>
                <a:gd name="T85" fmla="*/ 0 h 2433"/>
                <a:gd name="T86" fmla="*/ 0 w 2688"/>
                <a:gd name="T87" fmla="*/ 0 h 2433"/>
                <a:gd name="T88" fmla="*/ 0 w 2688"/>
                <a:gd name="T89" fmla="*/ 0 h 2433"/>
                <a:gd name="T90" fmla="*/ 0 w 2688"/>
                <a:gd name="T91" fmla="*/ 0 h 2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88"/>
                <a:gd name="T139" fmla="*/ 0 h 2433"/>
                <a:gd name="T140" fmla="*/ 2688 w 2688"/>
                <a:gd name="T141" fmla="*/ 2433 h 2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88" h="2433">
                  <a:moveTo>
                    <a:pt x="2688" y="2312"/>
                  </a:moveTo>
                  <a:lnTo>
                    <a:pt x="2688" y="2322"/>
                  </a:lnTo>
                  <a:lnTo>
                    <a:pt x="2687" y="2332"/>
                  </a:lnTo>
                  <a:lnTo>
                    <a:pt x="2686" y="2342"/>
                  </a:lnTo>
                  <a:lnTo>
                    <a:pt x="2684" y="2351"/>
                  </a:lnTo>
                  <a:lnTo>
                    <a:pt x="2682" y="2359"/>
                  </a:lnTo>
                  <a:lnTo>
                    <a:pt x="2679" y="2367"/>
                  </a:lnTo>
                  <a:lnTo>
                    <a:pt x="2676" y="2375"/>
                  </a:lnTo>
                  <a:lnTo>
                    <a:pt x="2673" y="2382"/>
                  </a:lnTo>
                  <a:lnTo>
                    <a:pt x="2669" y="2390"/>
                  </a:lnTo>
                  <a:lnTo>
                    <a:pt x="2664" y="2396"/>
                  </a:lnTo>
                  <a:lnTo>
                    <a:pt x="2660" y="2402"/>
                  </a:lnTo>
                  <a:lnTo>
                    <a:pt x="2655" y="2407"/>
                  </a:lnTo>
                  <a:lnTo>
                    <a:pt x="2649" y="2412"/>
                  </a:lnTo>
                  <a:lnTo>
                    <a:pt x="2643" y="2416"/>
                  </a:lnTo>
                  <a:lnTo>
                    <a:pt x="2637" y="2420"/>
                  </a:lnTo>
                  <a:lnTo>
                    <a:pt x="2631" y="2424"/>
                  </a:lnTo>
                  <a:lnTo>
                    <a:pt x="2624" y="2426"/>
                  </a:lnTo>
                  <a:lnTo>
                    <a:pt x="2617" y="2429"/>
                  </a:lnTo>
                  <a:lnTo>
                    <a:pt x="2609" y="2431"/>
                  </a:lnTo>
                  <a:lnTo>
                    <a:pt x="2602" y="2432"/>
                  </a:lnTo>
                  <a:lnTo>
                    <a:pt x="2594" y="2433"/>
                  </a:lnTo>
                  <a:lnTo>
                    <a:pt x="2586" y="2433"/>
                  </a:lnTo>
                  <a:lnTo>
                    <a:pt x="2577" y="2433"/>
                  </a:lnTo>
                  <a:lnTo>
                    <a:pt x="2569" y="2433"/>
                  </a:lnTo>
                  <a:lnTo>
                    <a:pt x="2551" y="2429"/>
                  </a:lnTo>
                  <a:lnTo>
                    <a:pt x="2532" y="2424"/>
                  </a:lnTo>
                  <a:lnTo>
                    <a:pt x="2513" y="2417"/>
                  </a:lnTo>
                  <a:lnTo>
                    <a:pt x="2493" y="2407"/>
                  </a:lnTo>
                  <a:lnTo>
                    <a:pt x="196" y="1138"/>
                  </a:lnTo>
                  <a:lnTo>
                    <a:pt x="176" y="1127"/>
                  </a:lnTo>
                  <a:lnTo>
                    <a:pt x="156" y="1113"/>
                  </a:lnTo>
                  <a:lnTo>
                    <a:pt x="138" y="1097"/>
                  </a:lnTo>
                  <a:lnTo>
                    <a:pt x="120" y="1081"/>
                  </a:lnTo>
                  <a:lnTo>
                    <a:pt x="103" y="1063"/>
                  </a:lnTo>
                  <a:lnTo>
                    <a:pt x="86" y="1043"/>
                  </a:lnTo>
                  <a:lnTo>
                    <a:pt x="71" y="1024"/>
                  </a:lnTo>
                  <a:lnTo>
                    <a:pt x="58" y="1002"/>
                  </a:lnTo>
                  <a:lnTo>
                    <a:pt x="45" y="981"/>
                  </a:lnTo>
                  <a:lnTo>
                    <a:pt x="34" y="960"/>
                  </a:lnTo>
                  <a:lnTo>
                    <a:pt x="24" y="937"/>
                  </a:lnTo>
                  <a:lnTo>
                    <a:pt x="16" y="915"/>
                  </a:lnTo>
                  <a:lnTo>
                    <a:pt x="9" y="892"/>
                  </a:lnTo>
                  <a:lnTo>
                    <a:pt x="4" y="871"/>
                  </a:lnTo>
                  <a:lnTo>
                    <a:pt x="1" y="848"/>
                  </a:lnTo>
                  <a:lnTo>
                    <a:pt x="0" y="827"/>
                  </a:lnTo>
                  <a:lnTo>
                    <a:pt x="0" y="122"/>
                  </a:lnTo>
                  <a:lnTo>
                    <a:pt x="1" y="112"/>
                  </a:lnTo>
                  <a:lnTo>
                    <a:pt x="1" y="102"/>
                  </a:lnTo>
                  <a:lnTo>
                    <a:pt x="3" y="93"/>
                  </a:lnTo>
                  <a:lnTo>
                    <a:pt x="4" y="83"/>
                  </a:lnTo>
                  <a:lnTo>
                    <a:pt x="6" y="74"/>
                  </a:lnTo>
                  <a:lnTo>
                    <a:pt x="9" y="66"/>
                  </a:lnTo>
                  <a:lnTo>
                    <a:pt x="12" y="59"/>
                  </a:lnTo>
                  <a:lnTo>
                    <a:pt x="16" y="52"/>
                  </a:lnTo>
                  <a:lnTo>
                    <a:pt x="20" y="45"/>
                  </a:lnTo>
                  <a:lnTo>
                    <a:pt x="24" y="38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9" y="22"/>
                  </a:lnTo>
                  <a:lnTo>
                    <a:pt x="45" y="17"/>
                  </a:lnTo>
                  <a:lnTo>
                    <a:pt x="51" y="13"/>
                  </a:lnTo>
                  <a:lnTo>
                    <a:pt x="58" y="10"/>
                  </a:lnTo>
                  <a:lnTo>
                    <a:pt x="64" y="7"/>
                  </a:lnTo>
                  <a:lnTo>
                    <a:pt x="71" y="5"/>
                  </a:lnTo>
                  <a:lnTo>
                    <a:pt x="79" y="3"/>
                  </a:lnTo>
                  <a:lnTo>
                    <a:pt x="86" y="1"/>
                  </a:lnTo>
                  <a:lnTo>
                    <a:pt x="94" y="1"/>
                  </a:lnTo>
                  <a:lnTo>
                    <a:pt x="103" y="0"/>
                  </a:lnTo>
                  <a:lnTo>
                    <a:pt x="111" y="0"/>
                  </a:lnTo>
                  <a:lnTo>
                    <a:pt x="120" y="1"/>
                  </a:lnTo>
                  <a:lnTo>
                    <a:pt x="138" y="4"/>
                  </a:lnTo>
                  <a:lnTo>
                    <a:pt x="156" y="9"/>
                  </a:lnTo>
                  <a:lnTo>
                    <a:pt x="176" y="17"/>
                  </a:lnTo>
                  <a:lnTo>
                    <a:pt x="196" y="26"/>
                  </a:lnTo>
                  <a:lnTo>
                    <a:pt x="2493" y="1295"/>
                  </a:lnTo>
                  <a:lnTo>
                    <a:pt x="2513" y="1307"/>
                  </a:lnTo>
                  <a:lnTo>
                    <a:pt x="2532" y="1321"/>
                  </a:lnTo>
                  <a:lnTo>
                    <a:pt x="2551" y="1336"/>
                  </a:lnTo>
                  <a:lnTo>
                    <a:pt x="2569" y="1353"/>
                  </a:lnTo>
                  <a:lnTo>
                    <a:pt x="2586" y="1372"/>
                  </a:lnTo>
                  <a:lnTo>
                    <a:pt x="2602" y="1390"/>
                  </a:lnTo>
                  <a:lnTo>
                    <a:pt x="2617" y="1410"/>
                  </a:lnTo>
                  <a:lnTo>
                    <a:pt x="2631" y="1431"/>
                  </a:lnTo>
                  <a:lnTo>
                    <a:pt x="2643" y="1452"/>
                  </a:lnTo>
                  <a:lnTo>
                    <a:pt x="2655" y="1475"/>
                  </a:lnTo>
                  <a:lnTo>
                    <a:pt x="2664" y="1496"/>
                  </a:lnTo>
                  <a:lnTo>
                    <a:pt x="2673" y="1518"/>
                  </a:lnTo>
                  <a:lnTo>
                    <a:pt x="2679" y="1541"/>
                  </a:lnTo>
                  <a:lnTo>
                    <a:pt x="2684" y="1563"/>
                  </a:lnTo>
                  <a:lnTo>
                    <a:pt x="2687" y="1585"/>
                  </a:lnTo>
                  <a:lnTo>
                    <a:pt x="2688" y="1606"/>
                  </a:lnTo>
                  <a:lnTo>
                    <a:pt x="2688" y="2312"/>
                  </a:lnTo>
                  <a:close/>
                </a:path>
              </a:pathLst>
            </a:custGeom>
            <a:solidFill>
              <a:srgbClr val="EDA74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7" name="Freeform 98"/>
            <p:cNvSpPr>
              <a:spLocks/>
            </p:cNvSpPr>
            <p:nvPr/>
          </p:nvSpPr>
          <p:spPr bwMode="auto">
            <a:xfrm>
              <a:off x="8841620" y="4117474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2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2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8" name="Freeform 99"/>
            <p:cNvSpPr>
              <a:spLocks/>
            </p:cNvSpPr>
            <p:nvPr/>
          </p:nvSpPr>
          <p:spPr bwMode="auto">
            <a:xfrm>
              <a:off x="8841620" y="4129304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29" name="Freeform 100"/>
            <p:cNvSpPr>
              <a:spLocks/>
            </p:cNvSpPr>
            <p:nvPr/>
          </p:nvSpPr>
          <p:spPr bwMode="auto">
            <a:xfrm>
              <a:off x="8841620" y="4141133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7"/>
                  </a:lnTo>
                  <a:lnTo>
                    <a:pt x="1366" y="831"/>
                  </a:lnTo>
                  <a:lnTo>
                    <a:pt x="1371" y="824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6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6"/>
                  </a:lnTo>
                  <a:lnTo>
                    <a:pt x="1359" y="730"/>
                  </a:lnTo>
                  <a:lnTo>
                    <a:pt x="1354" y="725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0" name="Freeform 101"/>
            <p:cNvSpPr>
              <a:spLocks/>
            </p:cNvSpPr>
            <p:nvPr/>
          </p:nvSpPr>
          <p:spPr bwMode="auto">
            <a:xfrm>
              <a:off x="8841620" y="4154442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4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1" name="Freeform 102"/>
            <p:cNvSpPr>
              <a:spLocks/>
            </p:cNvSpPr>
            <p:nvPr/>
          </p:nvSpPr>
          <p:spPr bwMode="auto">
            <a:xfrm>
              <a:off x="8841620" y="4166273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4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4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6"/>
                  </a:lnTo>
                  <a:lnTo>
                    <a:pt x="1344" y="852"/>
                  </a:lnTo>
                  <a:lnTo>
                    <a:pt x="1350" y="848"/>
                  </a:lnTo>
                  <a:lnTo>
                    <a:pt x="1356" y="843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1"/>
                  </a:lnTo>
                  <a:lnTo>
                    <a:pt x="1380" y="794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2" name="Freeform 103"/>
            <p:cNvSpPr>
              <a:spLocks/>
            </p:cNvSpPr>
            <p:nvPr/>
          </p:nvSpPr>
          <p:spPr bwMode="auto">
            <a:xfrm>
              <a:off x="8841620" y="4178103"/>
              <a:ext cx="28215" cy="25139"/>
            </a:xfrm>
            <a:custGeom>
              <a:avLst/>
              <a:gdLst>
                <a:gd name="T0" fmla="*/ 0 w 1380"/>
                <a:gd name="T1" fmla="*/ 0 h 863"/>
                <a:gd name="T2" fmla="*/ 0 w 1380"/>
                <a:gd name="T3" fmla="*/ 0 h 863"/>
                <a:gd name="T4" fmla="*/ 0 w 1380"/>
                <a:gd name="T5" fmla="*/ 0 h 863"/>
                <a:gd name="T6" fmla="*/ 0 w 1380"/>
                <a:gd name="T7" fmla="*/ 0 h 863"/>
                <a:gd name="T8" fmla="*/ 0 w 1380"/>
                <a:gd name="T9" fmla="*/ 0 h 863"/>
                <a:gd name="T10" fmla="*/ 0 w 1380"/>
                <a:gd name="T11" fmla="*/ 0 h 863"/>
                <a:gd name="T12" fmla="*/ 0 w 1380"/>
                <a:gd name="T13" fmla="*/ 0 h 863"/>
                <a:gd name="T14" fmla="*/ 0 w 1380"/>
                <a:gd name="T15" fmla="*/ 0 h 863"/>
                <a:gd name="T16" fmla="*/ 0 w 1380"/>
                <a:gd name="T17" fmla="*/ 0 h 863"/>
                <a:gd name="T18" fmla="*/ 0 w 1380"/>
                <a:gd name="T19" fmla="*/ 0 h 863"/>
                <a:gd name="T20" fmla="*/ 0 w 1380"/>
                <a:gd name="T21" fmla="*/ 0 h 863"/>
                <a:gd name="T22" fmla="*/ 0 w 1380"/>
                <a:gd name="T23" fmla="*/ 0 h 863"/>
                <a:gd name="T24" fmla="*/ 0 w 1380"/>
                <a:gd name="T25" fmla="*/ 0 h 863"/>
                <a:gd name="T26" fmla="*/ 0 w 1380"/>
                <a:gd name="T27" fmla="*/ 0 h 863"/>
                <a:gd name="T28" fmla="*/ 0 w 1380"/>
                <a:gd name="T29" fmla="*/ 0 h 863"/>
                <a:gd name="T30" fmla="*/ 0 w 1380"/>
                <a:gd name="T31" fmla="*/ 0 h 863"/>
                <a:gd name="T32" fmla="*/ 0 w 1380"/>
                <a:gd name="T33" fmla="*/ 0 h 863"/>
                <a:gd name="T34" fmla="*/ 0 w 1380"/>
                <a:gd name="T35" fmla="*/ 0 h 863"/>
                <a:gd name="T36" fmla="*/ 0 w 1380"/>
                <a:gd name="T37" fmla="*/ 0 h 863"/>
                <a:gd name="T38" fmla="*/ 0 w 1380"/>
                <a:gd name="T39" fmla="*/ 0 h 863"/>
                <a:gd name="T40" fmla="*/ 0 w 1380"/>
                <a:gd name="T41" fmla="*/ 0 h 863"/>
                <a:gd name="T42" fmla="*/ 0 w 1380"/>
                <a:gd name="T43" fmla="*/ 0 h 863"/>
                <a:gd name="T44" fmla="*/ 0 w 1380"/>
                <a:gd name="T45" fmla="*/ 0 h 863"/>
                <a:gd name="T46" fmla="*/ 0 w 1380"/>
                <a:gd name="T47" fmla="*/ 0 h 863"/>
                <a:gd name="T48" fmla="*/ 0 w 1380"/>
                <a:gd name="T49" fmla="*/ 0 h 863"/>
                <a:gd name="T50" fmla="*/ 0 w 1380"/>
                <a:gd name="T51" fmla="*/ 0 h 863"/>
                <a:gd name="T52" fmla="*/ 0 w 1380"/>
                <a:gd name="T53" fmla="*/ 0 h 863"/>
                <a:gd name="T54" fmla="*/ 0 w 1380"/>
                <a:gd name="T55" fmla="*/ 0 h 863"/>
                <a:gd name="T56" fmla="*/ 0 w 1380"/>
                <a:gd name="T57" fmla="*/ 0 h 863"/>
                <a:gd name="T58" fmla="*/ 0 w 1380"/>
                <a:gd name="T59" fmla="*/ 0 h 863"/>
                <a:gd name="T60" fmla="*/ 0 w 1380"/>
                <a:gd name="T61" fmla="*/ 0 h 863"/>
                <a:gd name="T62" fmla="*/ 0 w 1380"/>
                <a:gd name="T63" fmla="*/ 0 h 863"/>
                <a:gd name="T64" fmla="*/ 0 w 1380"/>
                <a:gd name="T65" fmla="*/ 0 h 86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3"/>
                <a:gd name="T101" fmla="*/ 1380 w 1380"/>
                <a:gd name="T102" fmla="*/ 863 h 86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3">
                  <a:moveTo>
                    <a:pt x="10" y="40"/>
                  </a:moveTo>
                  <a:lnTo>
                    <a:pt x="6" y="47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3"/>
                  </a:lnTo>
                  <a:lnTo>
                    <a:pt x="3" y="100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4"/>
                  </a:lnTo>
                  <a:lnTo>
                    <a:pt x="40" y="148"/>
                  </a:lnTo>
                  <a:lnTo>
                    <a:pt x="1263" y="853"/>
                  </a:lnTo>
                  <a:lnTo>
                    <a:pt x="1270" y="856"/>
                  </a:lnTo>
                  <a:lnTo>
                    <a:pt x="1278" y="859"/>
                  </a:lnTo>
                  <a:lnTo>
                    <a:pt x="1286" y="861"/>
                  </a:lnTo>
                  <a:lnTo>
                    <a:pt x="1294" y="862"/>
                  </a:lnTo>
                  <a:lnTo>
                    <a:pt x="1301" y="863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0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2"/>
                  </a:lnTo>
                  <a:lnTo>
                    <a:pt x="1374" y="815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69"/>
                  </a:lnTo>
                  <a:lnTo>
                    <a:pt x="1378" y="762"/>
                  </a:lnTo>
                  <a:lnTo>
                    <a:pt x="1375" y="755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8"/>
                  </a:lnTo>
                  <a:lnTo>
                    <a:pt x="1341" y="714"/>
                  </a:lnTo>
                  <a:lnTo>
                    <a:pt x="116" y="10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7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2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0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3" name="Freeform 104"/>
            <p:cNvSpPr>
              <a:spLocks/>
            </p:cNvSpPr>
            <p:nvPr/>
          </p:nvSpPr>
          <p:spPr bwMode="auto">
            <a:xfrm>
              <a:off x="8898050" y="4158879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7"/>
                  </a:lnTo>
                  <a:lnTo>
                    <a:pt x="1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10"/>
                  </a:lnTo>
                  <a:lnTo>
                    <a:pt x="8" y="117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3"/>
                  </a:lnTo>
                  <a:lnTo>
                    <a:pt x="2754" y="1596"/>
                  </a:lnTo>
                  <a:lnTo>
                    <a:pt x="2758" y="1589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1"/>
                  </a:lnTo>
                  <a:lnTo>
                    <a:pt x="2763" y="1543"/>
                  </a:lnTo>
                  <a:lnTo>
                    <a:pt x="2761" y="1536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7"/>
                  </a:lnTo>
                  <a:lnTo>
                    <a:pt x="2731" y="1492"/>
                  </a:lnTo>
                  <a:lnTo>
                    <a:pt x="2724" y="1488"/>
                  </a:lnTo>
                  <a:lnTo>
                    <a:pt x="116" y="11"/>
                  </a:lnTo>
                  <a:lnTo>
                    <a:pt x="108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7"/>
                  </a:lnTo>
                  <a:lnTo>
                    <a:pt x="42" y="10"/>
                  </a:lnTo>
                  <a:lnTo>
                    <a:pt x="36" y="14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4" name="Freeform 105"/>
            <p:cNvSpPr>
              <a:spLocks/>
            </p:cNvSpPr>
            <p:nvPr/>
          </p:nvSpPr>
          <p:spPr bwMode="auto">
            <a:xfrm>
              <a:off x="8898050" y="4172188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5" name="Freeform 106"/>
            <p:cNvSpPr>
              <a:spLocks/>
            </p:cNvSpPr>
            <p:nvPr/>
          </p:nvSpPr>
          <p:spPr bwMode="auto">
            <a:xfrm>
              <a:off x="8898050" y="4184018"/>
              <a:ext cx="57475" cy="47321"/>
            </a:xfrm>
            <a:custGeom>
              <a:avLst/>
              <a:gdLst>
                <a:gd name="T0" fmla="*/ 0 w 2764"/>
                <a:gd name="T1" fmla="*/ 0 h 1637"/>
                <a:gd name="T2" fmla="*/ 0 w 2764"/>
                <a:gd name="T3" fmla="*/ 0 h 1637"/>
                <a:gd name="T4" fmla="*/ 0 w 2764"/>
                <a:gd name="T5" fmla="*/ 0 h 1637"/>
                <a:gd name="T6" fmla="*/ 0 w 2764"/>
                <a:gd name="T7" fmla="*/ 0 h 1637"/>
                <a:gd name="T8" fmla="*/ 0 w 2764"/>
                <a:gd name="T9" fmla="*/ 0 h 1637"/>
                <a:gd name="T10" fmla="*/ 0 w 2764"/>
                <a:gd name="T11" fmla="*/ 0 h 1637"/>
                <a:gd name="T12" fmla="*/ 0 w 2764"/>
                <a:gd name="T13" fmla="*/ 0 h 1637"/>
                <a:gd name="T14" fmla="*/ 0 w 2764"/>
                <a:gd name="T15" fmla="*/ 0 h 1637"/>
                <a:gd name="T16" fmla="*/ 0 w 2764"/>
                <a:gd name="T17" fmla="*/ 0 h 1637"/>
                <a:gd name="T18" fmla="*/ 0 w 2764"/>
                <a:gd name="T19" fmla="*/ 0 h 1637"/>
                <a:gd name="T20" fmla="*/ 0 w 2764"/>
                <a:gd name="T21" fmla="*/ 0 h 1637"/>
                <a:gd name="T22" fmla="*/ 0 w 2764"/>
                <a:gd name="T23" fmla="*/ 0 h 1637"/>
                <a:gd name="T24" fmla="*/ 0 w 2764"/>
                <a:gd name="T25" fmla="*/ 0 h 1637"/>
                <a:gd name="T26" fmla="*/ 0 w 2764"/>
                <a:gd name="T27" fmla="*/ 0 h 1637"/>
                <a:gd name="T28" fmla="*/ 0 w 2764"/>
                <a:gd name="T29" fmla="*/ 0 h 1637"/>
                <a:gd name="T30" fmla="*/ 0 w 2764"/>
                <a:gd name="T31" fmla="*/ 0 h 1637"/>
                <a:gd name="T32" fmla="*/ 0 w 2764"/>
                <a:gd name="T33" fmla="*/ 0 h 1637"/>
                <a:gd name="T34" fmla="*/ 0 w 2764"/>
                <a:gd name="T35" fmla="*/ 0 h 1637"/>
                <a:gd name="T36" fmla="*/ 0 w 2764"/>
                <a:gd name="T37" fmla="*/ 0 h 1637"/>
                <a:gd name="T38" fmla="*/ 0 w 2764"/>
                <a:gd name="T39" fmla="*/ 0 h 1637"/>
                <a:gd name="T40" fmla="*/ 0 w 2764"/>
                <a:gd name="T41" fmla="*/ 0 h 1637"/>
                <a:gd name="T42" fmla="*/ 0 w 2764"/>
                <a:gd name="T43" fmla="*/ 0 h 1637"/>
                <a:gd name="T44" fmla="*/ 0 w 2764"/>
                <a:gd name="T45" fmla="*/ 0 h 1637"/>
                <a:gd name="T46" fmla="*/ 0 w 2764"/>
                <a:gd name="T47" fmla="*/ 0 h 1637"/>
                <a:gd name="T48" fmla="*/ 0 w 2764"/>
                <a:gd name="T49" fmla="*/ 0 h 1637"/>
                <a:gd name="T50" fmla="*/ 0 w 2764"/>
                <a:gd name="T51" fmla="*/ 0 h 1637"/>
                <a:gd name="T52" fmla="*/ 0 w 2764"/>
                <a:gd name="T53" fmla="*/ 0 h 1637"/>
                <a:gd name="T54" fmla="*/ 0 w 2764"/>
                <a:gd name="T55" fmla="*/ 0 h 1637"/>
                <a:gd name="T56" fmla="*/ 0 w 2764"/>
                <a:gd name="T57" fmla="*/ 0 h 1637"/>
                <a:gd name="T58" fmla="*/ 0 w 2764"/>
                <a:gd name="T59" fmla="*/ 0 h 1637"/>
                <a:gd name="T60" fmla="*/ 0 w 2764"/>
                <a:gd name="T61" fmla="*/ 0 h 1637"/>
                <a:gd name="T62" fmla="*/ 0 w 2764"/>
                <a:gd name="T63" fmla="*/ 0 h 1637"/>
                <a:gd name="T64" fmla="*/ 0 w 2764"/>
                <a:gd name="T65" fmla="*/ 0 h 163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7"/>
                <a:gd name="T101" fmla="*/ 2764 w 2764"/>
                <a:gd name="T102" fmla="*/ 1637 h 163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7">
                  <a:moveTo>
                    <a:pt x="9" y="42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30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7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6"/>
                  </a:lnTo>
                  <a:lnTo>
                    <a:pt x="2731" y="1491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2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6" name="Freeform 107"/>
            <p:cNvSpPr>
              <a:spLocks/>
            </p:cNvSpPr>
            <p:nvPr/>
          </p:nvSpPr>
          <p:spPr bwMode="auto">
            <a:xfrm>
              <a:off x="8898050" y="4195848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4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2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6"/>
                  </a:lnTo>
                  <a:lnTo>
                    <a:pt x="2758" y="1588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7" name="Freeform 108"/>
            <p:cNvSpPr>
              <a:spLocks/>
            </p:cNvSpPr>
            <p:nvPr/>
          </p:nvSpPr>
          <p:spPr bwMode="auto">
            <a:xfrm>
              <a:off x="8898050" y="4209157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8"/>
                  </a:lnTo>
                  <a:lnTo>
                    <a:pt x="21" y="133"/>
                  </a:lnTo>
                  <a:lnTo>
                    <a:pt x="27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8"/>
                  </a:lnTo>
                  <a:lnTo>
                    <a:pt x="2740" y="1613"/>
                  </a:lnTo>
                  <a:lnTo>
                    <a:pt x="2745" y="1607"/>
                  </a:lnTo>
                  <a:lnTo>
                    <a:pt x="2750" y="1601"/>
                  </a:lnTo>
                  <a:lnTo>
                    <a:pt x="2754" y="1594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4"/>
                  </a:lnTo>
                  <a:lnTo>
                    <a:pt x="2764" y="1556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3"/>
                  </a:lnTo>
                  <a:lnTo>
                    <a:pt x="2747" y="1507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7"/>
                  </a:lnTo>
                  <a:lnTo>
                    <a:pt x="14" y="33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8" name="Freeform 109"/>
            <p:cNvSpPr>
              <a:spLocks/>
            </p:cNvSpPr>
            <p:nvPr/>
          </p:nvSpPr>
          <p:spPr bwMode="auto">
            <a:xfrm>
              <a:off x="8898050" y="4220987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9"/>
                  </a:lnTo>
                  <a:lnTo>
                    <a:pt x="2750" y="1601"/>
                  </a:lnTo>
                  <a:lnTo>
                    <a:pt x="2754" y="1595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8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8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39" name="Freeform 110"/>
            <p:cNvSpPr>
              <a:spLocks/>
            </p:cNvSpPr>
            <p:nvPr/>
          </p:nvSpPr>
          <p:spPr bwMode="auto">
            <a:xfrm>
              <a:off x="8891780" y="4376257"/>
              <a:ext cx="71060" cy="59150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1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7"/>
                  </a:lnTo>
                  <a:lnTo>
                    <a:pt x="3412" y="2001"/>
                  </a:lnTo>
                  <a:lnTo>
                    <a:pt x="3416" y="1995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7"/>
                  </a:lnTo>
                  <a:lnTo>
                    <a:pt x="3426" y="1949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6"/>
                  </a:lnTo>
                  <a:lnTo>
                    <a:pt x="3405" y="1901"/>
                  </a:lnTo>
                  <a:lnTo>
                    <a:pt x="3399" y="1895"/>
                  </a:lnTo>
                  <a:lnTo>
                    <a:pt x="3393" y="1890"/>
                  </a:lnTo>
                  <a:lnTo>
                    <a:pt x="3386" y="1886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0" name="Freeform 111"/>
            <p:cNvSpPr>
              <a:spLocks/>
            </p:cNvSpPr>
            <p:nvPr/>
          </p:nvSpPr>
          <p:spPr bwMode="auto">
            <a:xfrm>
              <a:off x="8891780" y="4388087"/>
              <a:ext cx="71060" cy="59150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2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8"/>
                  </a:lnTo>
                  <a:lnTo>
                    <a:pt x="3412" y="2002"/>
                  </a:lnTo>
                  <a:lnTo>
                    <a:pt x="3416" y="1994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8"/>
                  </a:lnTo>
                  <a:lnTo>
                    <a:pt x="3426" y="1950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8"/>
                  </a:lnTo>
                  <a:lnTo>
                    <a:pt x="3405" y="1902"/>
                  </a:lnTo>
                  <a:lnTo>
                    <a:pt x="3399" y="1896"/>
                  </a:lnTo>
                  <a:lnTo>
                    <a:pt x="3393" y="1891"/>
                  </a:lnTo>
                  <a:lnTo>
                    <a:pt x="3386" y="1886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7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1" name="Freeform 112"/>
            <p:cNvSpPr>
              <a:spLocks/>
            </p:cNvSpPr>
            <p:nvPr/>
          </p:nvSpPr>
          <p:spPr bwMode="auto">
            <a:xfrm>
              <a:off x="8906410" y="4259435"/>
              <a:ext cx="10450" cy="16267"/>
            </a:xfrm>
            <a:custGeom>
              <a:avLst/>
              <a:gdLst>
                <a:gd name="T0" fmla="*/ 0 w 505"/>
                <a:gd name="T1" fmla="*/ 0 h 593"/>
                <a:gd name="T2" fmla="*/ 0 w 505"/>
                <a:gd name="T3" fmla="*/ 0 h 593"/>
                <a:gd name="T4" fmla="*/ 0 w 505"/>
                <a:gd name="T5" fmla="*/ 0 h 593"/>
                <a:gd name="T6" fmla="*/ 0 w 505"/>
                <a:gd name="T7" fmla="*/ 0 h 593"/>
                <a:gd name="T8" fmla="*/ 0 w 505"/>
                <a:gd name="T9" fmla="*/ 0 h 593"/>
                <a:gd name="T10" fmla="*/ 0 w 505"/>
                <a:gd name="T11" fmla="*/ 0 h 593"/>
                <a:gd name="T12" fmla="*/ 0 w 505"/>
                <a:gd name="T13" fmla="*/ 0 h 593"/>
                <a:gd name="T14" fmla="*/ 0 w 505"/>
                <a:gd name="T15" fmla="*/ 0 h 593"/>
                <a:gd name="T16" fmla="*/ 0 w 505"/>
                <a:gd name="T17" fmla="*/ 0 h 593"/>
                <a:gd name="T18" fmla="*/ 0 w 505"/>
                <a:gd name="T19" fmla="*/ 0 h 593"/>
                <a:gd name="T20" fmla="*/ 0 w 505"/>
                <a:gd name="T21" fmla="*/ 0 h 593"/>
                <a:gd name="T22" fmla="*/ 0 w 505"/>
                <a:gd name="T23" fmla="*/ 0 h 593"/>
                <a:gd name="T24" fmla="*/ 0 w 505"/>
                <a:gd name="T25" fmla="*/ 0 h 593"/>
                <a:gd name="T26" fmla="*/ 0 w 505"/>
                <a:gd name="T27" fmla="*/ 0 h 593"/>
                <a:gd name="T28" fmla="*/ 0 w 505"/>
                <a:gd name="T29" fmla="*/ 0 h 593"/>
                <a:gd name="T30" fmla="*/ 0 w 505"/>
                <a:gd name="T31" fmla="*/ 0 h 593"/>
                <a:gd name="T32" fmla="*/ 0 w 505"/>
                <a:gd name="T33" fmla="*/ 0 h 593"/>
                <a:gd name="T34" fmla="*/ 0 w 505"/>
                <a:gd name="T35" fmla="*/ 0 h 593"/>
                <a:gd name="T36" fmla="*/ 0 w 505"/>
                <a:gd name="T37" fmla="*/ 0 h 593"/>
                <a:gd name="T38" fmla="*/ 0 w 505"/>
                <a:gd name="T39" fmla="*/ 0 h 593"/>
                <a:gd name="T40" fmla="*/ 0 w 505"/>
                <a:gd name="T41" fmla="*/ 0 h 593"/>
                <a:gd name="T42" fmla="*/ 0 w 505"/>
                <a:gd name="T43" fmla="*/ 0 h 593"/>
                <a:gd name="T44" fmla="*/ 0 w 505"/>
                <a:gd name="T45" fmla="*/ 0 h 593"/>
                <a:gd name="T46" fmla="*/ 0 w 505"/>
                <a:gd name="T47" fmla="*/ 0 h 593"/>
                <a:gd name="T48" fmla="*/ 0 w 505"/>
                <a:gd name="T49" fmla="*/ 0 h 593"/>
                <a:gd name="T50" fmla="*/ 0 w 505"/>
                <a:gd name="T51" fmla="*/ 0 h 593"/>
                <a:gd name="T52" fmla="*/ 0 w 505"/>
                <a:gd name="T53" fmla="*/ 0 h 593"/>
                <a:gd name="T54" fmla="*/ 0 w 505"/>
                <a:gd name="T55" fmla="*/ 0 h 593"/>
                <a:gd name="T56" fmla="*/ 0 w 505"/>
                <a:gd name="T57" fmla="*/ 0 h 593"/>
                <a:gd name="T58" fmla="*/ 0 w 505"/>
                <a:gd name="T59" fmla="*/ 0 h 593"/>
                <a:gd name="T60" fmla="*/ 0 w 505"/>
                <a:gd name="T61" fmla="*/ 0 h 593"/>
                <a:gd name="T62" fmla="*/ 0 w 505"/>
                <a:gd name="T63" fmla="*/ 0 h 593"/>
                <a:gd name="T64" fmla="*/ 0 w 505"/>
                <a:gd name="T65" fmla="*/ 0 h 593"/>
                <a:gd name="T66" fmla="*/ 0 w 505"/>
                <a:gd name="T67" fmla="*/ 0 h 593"/>
                <a:gd name="T68" fmla="*/ 0 w 505"/>
                <a:gd name="T69" fmla="*/ 0 h 593"/>
                <a:gd name="T70" fmla="*/ 0 w 505"/>
                <a:gd name="T71" fmla="*/ 0 h 593"/>
                <a:gd name="T72" fmla="*/ 0 w 505"/>
                <a:gd name="T73" fmla="*/ 0 h 593"/>
                <a:gd name="T74" fmla="*/ 0 w 505"/>
                <a:gd name="T75" fmla="*/ 0 h 593"/>
                <a:gd name="T76" fmla="*/ 0 w 505"/>
                <a:gd name="T77" fmla="*/ 0 h 593"/>
                <a:gd name="T78" fmla="*/ 0 w 505"/>
                <a:gd name="T79" fmla="*/ 0 h 593"/>
                <a:gd name="T80" fmla="*/ 0 w 505"/>
                <a:gd name="T81" fmla="*/ 0 h 593"/>
                <a:gd name="T82" fmla="*/ 0 w 505"/>
                <a:gd name="T83" fmla="*/ 0 h 593"/>
                <a:gd name="T84" fmla="*/ 0 w 505"/>
                <a:gd name="T85" fmla="*/ 0 h 5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593"/>
                <a:gd name="T131" fmla="*/ 505 w 505"/>
                <a:gd name="T132" fmla="*/ 593 h 5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593">
                  <a:moveTo>
                    <a:pt x="505" y="320"/>
                  </a:moveTo>
                  <a:lnTo>
                    <a:pt x="505" y="335"/>
                  </a:lnTo>
                  <a:lnTo>
                    <a:pt x="505" y="350"/>
                  </a:lnTo>
                  <a:lnTo>
                    <a:pt x="504" y="365"/>
                  </a:lnTo>
                  <a:lnTo>
                    <a:pt x="503" y="379"/>
                  </a:lnTo>
                  <a:lnTo>
                    <a:pt x="501" y="394"/>
                  </a:lnTo>
                  <a:lnTo>
                    <a:pt x="498" y="407"/>
                  </a:lnTo>
                  <a:lnTo>
                    <a:pt x="495" y="420"/>
                  </a:lnTo>
                  <a:lnTo>
                    <a:pt x="491" y="433"/>
                  </a:lnTo>
                  <a:lnTo>
                    <a:pt x="487" y="446"/>
                  </a:lnTo>
                  <a:lnTo>
                    <a:pt x="482" y="458"/>
                  </a:lnTo>
                  <a:lnTo>
                    <a:pt x="476" y="470"/>
                  </a:lnTo>
                  <a:lnTo>
                    <a:pt x="470" y="481"/>
                  </a:lnTo>
                  <a:lnTo>
                    <a:pt x="464" y="492"/>
                  </a:lnTo>
                  <a:lnTo>
                    <a:pt x="457" y="503"/>
                  </a:lnTo>
                  <a:lnTo>
                    <a:pt x="450" y="513"/>
                  </a:lnTo>
                  <a:lnTo>
                    <a:pt x="442" y="522"/>
                  </a:lnTo>
                  <a:lnTo>
                    <a:pt x="434" y="531"/>
                  </a:lnTo>
                  <a:lnTo>
                    <a:pt x="425" y="539"/>
                  </a:lnTo>
                  <a:lnTo>
                    <a:pt x="416" y="548"/>
                  </a:lnTo>
                  <a:lnTo>
                    <a:pt x="406" y="555"/>
                  </a:lnTo>
                  <a:lnTo>
                    <a:pt x="397" y="562"/>
                  </a:lnTo>
                  <a:lnTo>
                    <a:pt x="386" y="568"/>
                  </a:lnTo>
                  <a:lnTo>
                    <a:pt x="376" y="573"/>
                  </a:lnTo>
                  <a:lnTo>
                    <a:pt x="365" y="578"/>
                  </a:lnTo>
                  <a:lnTo>
                    <a:pt x="354" y="582"/>
                  </a:lnTo>
                  <a:lnTo>
                    <a:pt x="342" y="586"/>
                  </a:lnTo>
                  <a:lnTo>
                    <a:pt x="331" y="588"/>
                  </a:lnTo>
                  <a:lnTo>
                    <a:pt x="319" y="590"/>
                  </a:lnTo>
                  <a:lnTo>
                    <a:pt x="306" y="592"/>
                  </a:lnTo>
                  <a:lnTo>
                    <a:pt x="294" y="593"/>
                  </a:lnTo>
                  <a:lnTo>
                    <a:pt x="281" y="593"/>
                  </a:lnTo>
                  <a:lnTo>
                    <a:pt x="268" y="592"/>
                  </a:lnTo>
                  <a:lnTo>
                    <a:pt x="255" y="590"/>
                  </a:lnTo>
                  <a:lnTo>
                    <a:pt x="242" y="588"/>
                  </a:lnTo>
                  <a:lnTo>
                    <a:pt x="229" y="585"/>
                  </a:lnTo>
                  <a:lnTo>
                    <a:pt x="217" y="581"/>
                  </a:lnTo>
                  <a:lnTo>
                    <a:pt x="204" y="577"/>
                  </a:lnTo>
                  <a:lnTo>
                    <a:pt x="192" y="572"/>
                  </a:lnTo>
                  <a:lnTo>
                    <a:pt x="180" y="566"/>
                  </a:lnTo>
                  <a:lnTo>
                    <a:pt x="169" y="560"/>
                  </a:lnTo>
                  <a:lnTo>
                    <a:pt x="157" y="553"/>
                  </a:lnTo>
                  <a:lnTo>
                    <a:pt x="146" y="546"/>
                  </a:lnTo>
                  <a:lnTo>
                    <a:pt x="135" y="537"/>
                  </a:lnTo>
                  <a:lnTo>
                    <a:pt x="124" y="528"/>
                  </a:lnTo>
                  <a:lnTo>
                    <a:pt x="114" y="519"/>
                  </a:lnTo>
                  <a:lnTo>
                    <a:pt x="104" y="510"/>
                  </a:lnTo>
                  <a:lnTo>
                    <a:pt x="94" y="500"/>
                  </a:lnTo>
                  <a:lnTo>
                    <a:pt x="85" y="488"/>
                  </a:lnTo>
                  <a:lnTo>
                    <a:pt x="76" y="478"/>
                  </a:lnTo>
                  <a:lnTo>
                    <a:pt x="68" y="466"/>
                  </a:lnTo>
                  <a:lnTo>
                    <a:pt x="60" y="455"/>
                  </a:lnTo>
                  <a:lnTo>
                    <a:pt x="52" y="443"/>
                  </a:lnTo>
                  <a:lnTo>
                    <a:pt x="45" y="429"/>
                  </a:lnTo>
                  <a:lnTo>
                    <a:pt x="38" y="417"/>
                  </a:lnTo>
                  <a:lnTo>
                    <a:pt x="32" y="404"/>
                  </a:lnTo>
                  <a:lnTo>
                    <a:pt x="26" y="389"/>
                  </a:lnTo>
                  <a:lnTo>
                    <a:pt x="21" y="376"/>
                  </a:lnTo>
                  <a:lnTo>
                    <a:pt x="16" y="362"/>
                  </a:lnTo>
                  <a:lnTo>
                    <a:pt x="12" y="348"/>
                  </a:lnTo>
                  <a:lnTo>
                    <a:pt x="8" y="333"/>
                  </a:lnTo>
                  <a:lnTo>
                    <a:pt x="5" y="318"/>
                  </a:lnTo>
                  <a:lnTo>
                    <a:pt x="3" y="304"/>
                  </a:lnTo>
                  <a:lnTo>
                    <a:pt x="1" y="288"/>
                  </a:lnTo>
                  <a:lnTo>
                    <a:pt x="0" y="273"/>
                  </a:lnTo>
                  <a:lnTo>
                    <a:pt x="0" y="258"/>
                  </a:lnTo>
                  <a:lnTo>
                    <a:pt x="0" y="243"/>
                  </a:lnTo>
                  <a:lnTo>
                    <a:pt x="1" y="228"/>
                  </a:lnTo>
                  <a:lnTo>
                    <a:pt x="2" y="214"/>
                  </a:lnTo>
                  <a:lnTo>
                    <a:pt x="4" y="200"/>
                  </a:lnTo>
                  <a:lnTo>
                    <a:pt x="7" y="186"/>
                  </a:lnTo>
                  <a:lnTo>
                    <a:pt x="10" y="173"/>
                  </a:lnTo>
                  <a:lnTo>
                    <a:pt x="14" y="160"/>
                  </a:lnTo>
                  <a:lnTo>
                    <a:pt x="18" y="147"/>
                  </a:lnTo>
                  <a:lnTo>
                    <a:pt x="23" y="134"/>
                  </a:lnTo>
                  <a:lnTo>
                    <a:pt x="29" y="123"/>
                  </a:lnTo>
                  <a:lnTo>
                    <a:pt x="35" y="112"/>
                  </a:lnTo>
                  <a:lnTo>
                    <a:pt x="41" y="101"/>
                  </a:lnTo>
                  <a:lnTo>
                    <a:pt x="48" y="91"/>
                  </a:lnTo>
                  <a:lnTo>
                    <a:pt x="55" y="80"/>
                  </a:lnTo>
                  <a:lnTo>
                    <a:pt x="63" y="71"/>
                  </a:lnTo>
                  <a:lnTo>
                    <a:pt x="71" y="62"/>
                  </a:lnTo>
                  <a:lnTo>
                    <a:pt x="80" y="54"/>
                  </a:lnTo>
                  <a:lnTo>
                    <a:pt x="89" y="46"/>
                  </a:lnTo>
                  <a:lnTo>
                    <a:pt x="99" y="39"/>
                  </a:lnTo>
                  <a:lnTo>
                    <a:pt x="108" y="31"/>
                  </a:lnTo>
                  <a:lnTo>
                    <a:pt x="119" y="25"/>
                  </a:lnTo>
                  <a:lnTo>
                    <a:pt x="129" y="20"/>
                  </a:lnTo>
                  <a:lnTo>
                    <a:pt x="140" y="15"/>
                  </a:lnTo>
                  <a:lnTo>
                    <a:pt x="151" y="11"/>
                  </a:lnTo>
                  <a:lnTo>
                    <a:pt x="163" y="7"/>
                  </a:lnTo>
                  <a:lnTo>
                    <a:pt x="174" y="4"/>
                  </a:lnTo>
                  <a:lnTo>
                    <a:pt x="187" y="2"/>
                  </a:lnTo>
                  <a:lnTo>
                    <a:pt x="199" y="1"/>
                  </a:lnTo>
                  <a:lnTo>
                    <a:pt x="211" y="0"/>
                  </a:lnTo>
                  <a:lnTo>
                    <a:pt x="224" y="0"/>
                  </a:lnTo>
                  <a:lnTo>
                    <a:pt x="237" y="1"/>
                  </a:lnTo>
                  <a:lnTo>
                    <a:pt x="250" y="2"/>
                  </a:lnTo>
                  <a:lnTo>
                    <a:pt x="263" y="5"/>
                  </a:lnTo>
                  <a:lnTo>
                    <a:pt x="276" y="8"/>
                  </a:lnTo>
                  <a:lnTo>
                    <a:pt x="288" y="11"/>
                  </a:lnTo>
                  <a:lnTo>
                    <a:pt x="301" y="16"/>
                  </a:lnTo>
                  <a:lnTo>
                    <a:pt x="313" y="21"/>
                  </a:lnTo>
                  <a:lnTo>
                    <a:pt x="325" y="27"/>
                  </a:lnTo>
                  <a:lnTo>
                    <a:pt x="337" y="33"/>
                  </a:lnTo>
                  <a:lnTo>
                    <a:pt x="348" y="41"/>
                  </a:lnTo>
                  <a:lnTo>
                    <a:pt x="359" y="48"/>
                  </a:lnTo>
                  <a:lnTo>
                    <a:pt x="370" y="56"/>
                  </a:lnTo>
                  <a:lnTo>
                    <a:pt x="381" y="64"/>
                  </a:lnTo>
                  <a:lnTo>
                    <a:pt x="391" y="73"/>
                  </a:lnTo>
                  <a:lnTo>
                    <a:pt x="401" y="83"/>
                  </a:lnTo>
                  <a:lnTo>
                    <a:pt x="411" y="94"/>
                  </a:lnTo>
                  <a:lnTo>
                    <a:pt x="420" y="104"/>
                  </a:lnTo>
                  <a:lnTo>
                    <a:pt x="429" y="115"/>
                  </a:lnTo>
                  <a:lnTo>
                    <a:pt x="437" y="126"/>
                  </a:lnTo>
                  <a:lnTo>
                    <a:pt x="445" y="139"/>
                  </a:lnTo>
                  <a:lnTo>
                    <a:pt x="453" y="151"/>
                  </a:lnTo>
                  <a:lnTo>
                    <a:pt x="460" y="163"/>
                  </a:lnTo>
                  <a:lnTo>
                    <a:pt x="467" y="176"/>
                  </a:lnTo>
                  <a:lnTo>
                    <a:pt x="473" y="190"/>
                  </a:lnTo>
                  <a:lnTo>
                    <a:pt x="479" y="203"/>
                  </a:lnTo>
                  <a:lnTo>
                    <a:pt x="484" y="217"/>
                  </a:lnTo>
                  <a:lnTo>
                    <a:pt x="489" y="231"/>
                  </a:lnTo>
                  <a:lnTo>
                    <a:pt x="493" y="246"/>
                  </a:lnTo>
                  <a:lnTo>
                    <a:pt x="497" y="260"/>
                  </a:lnTo>
                  <a:lnTo>
                    <a:pt x="499" y="275"/>
                  </a:lnTo>
                  <a:lnTo>
                    <a:pt x="502" y="290"/>
                  </a:lnTo>
                  <a:lnTo>
                    <a:pt x="504" y="305"/>
                  </a:lnTo>
                  <a:lnTo>
                    <a:pt x="505" y="3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2" name="Freeform 113"/>
            <p:cNvSpPr>
              <a:spLocks/>
            </p:cNvSpPr>
            <p:nvPr/>
          </p:nvSpPr>
          <p:spPr bwMode="auto">
            <a:xfrm>
              <a:off x="8925220" y="4274223"/>
              <a:ext cx="10450" cy="17745"/>
            </a:xfrm>
            <a:custGeom>
              <a:avLst/>
              <a:gdLst>
                <a:gd name="T0" fmla="*/ 0 w 523"/>
                <a:gd name="T1" fmla="*/ 0 h 611"/>
                <a:gd name="T2" fmla="*/ 0 w 523"/>
                <a:gd name="T3" fmla="*/ 0 h 611"/>
                <a:gd name="T4" fmla="*/ 0 w 523"/>
                <a:gd name="T5" fmla="*/ 0 h 611"/>
                <a:gd name="T6" fmla="*/ 0 w 523"/>
                <a:gd name="T7" fmla="*/ 0 h 611"/>
                <a:gd name="T8" fmla="*/ 0 w 523"/>
                <a:gd name="T9" fmla="*/ 0 h 611"/>
                <a:gd name="T10" fmla="*/ 0 w 523"/>
                <a:gd name="T11" fmla="*/ 0 h 611"/>
                <a:gd name="T12" fmla="*/ 0 w 523"/>
                <a:gd name="T13" fmla="*/ 0 h 611"/>
                <a:gd name="T14" fmla="*/ 0 w 523"/>
                <a:gd name="T15" fmla="*/ 0 h 611"/>
                <a:gd name="T16" fmla="*/ 0 w 523"/>
                <a:gd name="T17" fmla="*/ 0 h 611"/>
                <a:gd name="T18" fmla="*/ 0 w 523"/>
                <a:gd name="T19" fmla="*/ 0 h 611"/>
                <a:gd name="T20" fmla="*/ 0 w 523"/>
                <a:gd name="T21" fmla="*/ 0 h 611"/>
                <a:gd name="T22" fmla="*/ 0 w 523"/>
                <a:gd name="T23" fmla="*/ 0 h 611"/>
                <a:gd name="T24" fmla="*/ 0 w 523"/>
                <a:gd name="T25" fmla="*/ 0 h 611"/>
                <a:gd name="T26" fmla="*/ 0 w 523"/>
                <a:gd name="T27" fmla="*/ 0 h 611"/>
                <a:gd name="T28" fmla="*/ 0 w 523"/>
                <a:gd name="T29" fmla="*/ 0 h 611"/>
                <a:gd name="T30" fmla="*/ 0 w 523"/>
                <a:gd name="T31" fmla="*/ 0 h 611"/>
                <a:gd name="T32" fmla="*/ 0 w 523"/>
                <a:gd name="T33" fmla="*/ 0 h 611"/>
                <a:gd name="T34" fmla="*/ 0 w 523"/>
                <a:gd name="T35" fmla="*/ 0 h 611"/>
                <a:gd name="T36" fmla="*/ 0 w 523"/>
                <a:gd name="T37" fmla="*/ 0 h 611"/>
                <a:gd name="T38" fmla="*/ 0 w 523"/>
                <a:gd name="T39" fmla="*/ 0 h 611"/>
                <a:gd name="T40" fmla="*/ 0 w 523"/>
                <a:gd name="T41" fmla="*/ 0 h 611"/>
                <a:gd name="T42" fmla="*/ 0 w 523"/>
                <a:gd name="T43" fmla="*/ 0 h 611"/>
                <a:gd name="T44" fmla="*/ 0 w 523"/>
                <a:gd name="T45" fmla="*/ 0 h 611"/>
                <a:gd name="T46" fmla="*/ 0 w 523"/>
                <a:gd name="T47" fmla="*/ 0 h 611"/>
                <a:gd name="T48" fmla="*/ 0 w 523"/>
                <a:gd name="T49" fmla="*/ 0 h 611"/>
                <a:gd name="T50" fmla="*/ 0 w 523"/>
                <a:gd name="T51" fmla="*/ 0 h 611"/>
                <a:gd name="T52" fmla="*/ 0 w 523"/>
                <a:gd name="T53" fmla="*/ 0 h 611"/>
                <a:gd name="T54" fmla="*/ 0 w 523"/>
                <a:gd name="T55" fmla="*/ 0 h 611"/>
                <a:gd name="T56" fmla="*/ 0 w 523"/>
                <a:gd name="T57" fmla="*/ 0 h 611"/>
                <a:gd name="T58" fmla="*/ 0 w 523"/>
                <a:gd name="T59" fmla="*/ 0 h 611"/>
                <a:gd name="T60" fmla="*/ 0 w 523"/>
                <a:gd name="T61" fmla="*/ 0 h 611"/>
                <a:gd name="T62" fmla="*/ 0 w 523"/>
                <a:gd name="T63" fmla="*/ 0 h 611"/>
                <a:gd name="T64" fmla="*/ 0 w 523"/>
                <a:gd name="T65" fmla="*/ 0 h 611"/>
                <a:gd name="T66" fmla="*/ 0 w 523"/>
                <a:gd name="T67" fmla="*/ 0 h 611"/>
                <a:gd name="T68" fmla="*/ 0 w 523"/>
                <a:gd name="T69" fmla="*/ 0 h 611"/>
                <a:gd name="T70" fmla="*/ 0 w 523"/>
                <a:gd name="T71" fmla="*/ 0 h 611"/>
                <a:gd name="T72" fmla="*/ 0 w 523"/>
                <a:gd name="T73" fmla="*/ 0 h 611"/>
                <a:gd name="T74" fmla="*/ 0 w 523"/>
                <a:gd name="T75" fmla="*/ 0 h 611"/>
                <a:gd name="T76" fmla="*/ 0 w 523"/>
                <a:gd name="T77" fmla="*/ 0 h 611"/>
                <a:gd name="T78" fmla="*/ 0 w 523"/>
                <a:gd name="T79" fmla="*/ 0 h 611"/>
                <a:gd name="T80" fmla="*/ 0 w 523"/>
                <a:gd name="T81" fmla="*/ 0 h 611"/>
                <a:gd name="T82" fmla="*/ 0 w 523"/>
                <a:gd name="T83" fmla="*/ 0 h 611"/>
                <a:gd name="T84" fmla="*/ 0 w 523"/>
                <a:gd name="T85" fmla="*/ 0 h 6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3"/>
                <a:gd name="T130" fmla="*/ 0 h 611"/>
                <a:gd name="T131" fmla="*/ 523 w 523"/>
                <a:gd name="T132" fmla="*/ 611 h 6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3" h="611">
                  <a:moveTo>
                    <a:pt x="522" y="329"/>
                  </a:moveTo>
                  <a:lnTo>
                    <a:pt x="523" y="345"/>
                  </a:lnTo>
                  <a:lnTo>
                    <a:pt x="523" y="361"/>
                  </a:lnTo>
                  <a:lnTo>
                    <a:pt x="522" y="376"/>
                  </a:lnTo>
                  <a:lnTo>
                    <a:pt x="520" y="390"/>
                  </a:lnTo>
                  <a:lnTo>
                    <a:pt x="518" y="405"/>
                  </a:lnTo>
                  <a:lnTo>
                    <a:pt x="515" y="419"/>
                  </a:lnTo>
                  <a:lnTo>
                    <a:pt x="512" y="433"/>
                  </a:lnTo>
                  <a:lnTo>
                    <a:pt x="508" y="446"/>
                  </a:lnTo>
                  <a:lnTo>
                    <a:pt x="504" y="460"/>
                  </a:lnTo>
                  <a:lnTo>
                    <a:pt x="498" y="472"/>
                  </a:lnTo>
                  <a:lnTo>
                    <a:pt x="493" y="484"/>
                  </a:lnTo>
                  <a:lnTo>
                    <a:pt x="487" y="495"/>
                  </a:lnTo>
                  <a:lnTo>
                    <a:pt x="480" y="507"/>
                  </a:lnTo>
                  <a:lnTo>
                    <a:pt x="473" y="518"/>
                  </a:lnTo>
                  <a:lnTo>
                    <a:pt x="465" y="528"/>
                  </a:lnTo>
                  <a:lnTo>
                    <a:pt x="457" y="538"/>
                  </a:lnTo>
                  <a:lnTo>
                    <a:pt x="449" y="547"/>
                  </a:lnTo>
                  <a:lnTo>
                    <a:pt x="440" y="556"/>
                  </a:lnTo>
                  <a:lnTo>
                    <a:pt x="430" y="564"/>
                  </a:lnTo>
                  <a:lnTo>
                    <a:pt x="421" y="572"/>
                  </a:lnTo>
                  <a:lnTo>
                    <a:pt x="410" y="578"/>
                  </a:lnTo>
                  <a:lnTo>
                    <a:pt x="400" y="585"/>
                  </a:lnTo>
                  <a:lnTo>
                    <a:pt x="389" y="590"/>
                  </a:lnTo>
                  <a:lnTo>
                    <a:pt x="378" y="595"/>
                  </a:lnTo>
                  <a:lnTo>
                    <a:pt x="366" y="599"/>
                  </a:lnTo>
                  <a:lnTo>
                    <a:pt x="354" y="604"/>
                  </a:lnTo>
                  <a:lnTo>
                    <a:pt x="342" y="607"/>
                  </a:lnTo>
                  <a:lnTo>
                    <a:pt x="330" y="609"/>
                  </a:lnTo>
                  <a:lnTo>
                    <a:pt x="317" y="610"/>
                  </a:lnTo>
                  <a:lnTo>
                    <a:pt x="304" y="611"/>
                  </a:lnTo>
                  <a:lnTo>
                    <a:pt x="291" y="611"/>
                  </a:lnTo>
                  <a:lnTo>
                    <a:pt x="277" y="610"/>
                  </a:lnTo>
                  <a:lnTo>
                    <a:pt x="264" y="609"/>
                  </a:lnTo>
                  <a:lnTo>
                    <a:pt x="251" y="606"/>
                  </a:lnTo>
                  <a:lnTo>
                    <a:pt x="237" y="603"/>
                  </a:lnTo>
                  <a:lnTo>
                    <a:pt x="224" y="598"/>
                  </a:lnTo>
                  <a:lnTo>
                    <a:pt x="212" y="594"/>
                  </a:lnTo>
                  <a:lnTo>
                    <a:pt x="199" y="589"/>
                  </a:lnTo>
                  <a:lnTo>
                    <a:pt x="187" y="583"/>
                  </a:lnTo>
                  <a:lnTo>
                    <a:pt x="174" y="576"/>
                  </a:lnTo>
                  <a:lnTo>
                    <a:pt x="163" y="569"/>
                  </a:lnTo>
                  <a:lnTo>
                    <a:pt x="151" y="562"/>
                  </a:lnTo>
                  <a:lnTo>
                    <a:pt x="140" y="554"/>
                  </a:lnTo>
                  <a:lnTo>
                    <a:pt x="129" y="544"/>
                  </a:lnTo>
                  <a:lnTo>
                    <a:pt x="118" y="535"/>
                  </a:lnTo>
                  <a:lnTo>
                    <a:pt x="108" y="525"/>
                  </a:lnTo>
                  <a:lnTo>
                    <a:pt x="98" y="515"/>
                  </a:lnTo>
                  <a:lnTo>
                    <a:pt x="88" y="504"/>
                  </a:lnTo>
                  <a:lnTo>
                    <a:pt x="79" y="492"/>
                  </a:lnTo>
                  <a:lnTo>
                    <a:pt x="70" y="480"/>
                  </a:lnTo>
                  <a:lnTo>
                    <a:pt x="62" y="468"/>
                  </a:lnTo>
                  <a:lnTo>
                    <a:pt x="54" y="456"/>
                  </a:lnTo>
                  <a:lnTo>
                    <a:pt x="46" y="442"/>
                  </a:lnTo>
                  <a:lnTo>
                    <a:pt x="39" y="429"/>
                  </a:lnTo>
                  <a:lnTo>
                    <a:pt x="33" y="416"/>
                  </a:lnTo>
                  <a:lnTo>
                    <a:pt x="27" y="402"/>
                  </a:lnTo>
                  <a:lnTo>
                    <a:pt x="22" y="387"/>
                  </a:lnTo>
                  <a:lnTo>
                    <a:pt x="17" y="373"/>
                  </a:lnTo>
                  <a:lnTo>
                    <a:pt x="12" y="358"/>
                  </a:lnTo>
                  <a:lnTo>
                    <a:pt x="9" y="343"/>
                  </a:lnTo>
                  <a:lnTo>
                    <a:pt x="6" y="328"/>
                  </a:lnTo>
                  <a:lnTo>
                    <a:pt x="3" y="313"/>
                  </a:lnTo>
                  <a:lnTo>
                    <a:pt x="1" y="297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0" y="250"/>
                  </a:lnTo>
                  <a:lnTo>
                    <a:pt x="1" y="235"/>
                  </a:lnTo>
                  <a:lnTo>
                    <a:pt x="2" y="220"/>
                  </a:lnTo>
                  <a:lnTo>
                    <a:pt x="4" y="206"/>
                  </a:lnTo>
                  <a:lnTo>
                    <a:pt x="7" y="191"/>
                  </a:lnTo>
                  <a:lnTo>
                    <a:pt x="11" y="178"/>
                  </a:lnTo>
                  <a:lnTo>
                    <a:pt x="15" y="165"/>
                  </a:lnTo>
                  <a:lnTo>
                    <a:pt x="19" y="152"/>
                  </a:lnTo>
                  <a:lnTo>
                    <a:pt x="24" y="139"/>
                  </a:lnTo>
                  <a:lnTo>
                    <a:pt x="30" y="127"/>
                  </a:lnTo>
                  <a:lnTo>
                    <a:pt x="36" y="115"/>
                  </a:lnTo>
                  <a:lnTo>
                    <a:pt x="43" y="104"/>
                  </a:lnTo>
                  <a:lnTo>
                    <a:pt x="50" y="93"/>
                  </a:lnTo>
                  <a:lnTo>
                    <a:pt x="57" y="82"/>
                  </a:lnTo>
                  <a:lnTo>
                    <a:pt x="65" y="73"/>
                  </a:lnTo>
                  <a:lnTo>
                    <a:pt x="74" y="64"/>
                  </a:lnTo>
                  <a:lnTo>
                    <a:pt x="83" y="55"/>
                  </a:lnTo>
                  <a:lnTo>
                    <a:pt x="92" y="47"/>
                  </a:lnTo>
                  <a:lnTo>
                    <a:pt x="102" y="39"/>
                  </a:lnTo>
                  <a:lnTo>
                    <a:pt x="112" y="32"/>
                  </a:lnTo>
                  <a:lnTo>
                    <a:pt x="123" y="26"/>
                  </a:lnTo>
                  <a:lnTo>
                    <a:pt x="134" y="20"/>
                  </a:lnTo>
                  <a:lnTo>
                    <a:pt x="145" y="15"/>
                  </a:lnTo>
                  <a:lnTo>
                    <a:pt x="157" y="11"/>
                  </a:lnTo>
                  <a:lnTo>
                    <a:pt x="168" y="7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6" y="1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45" y="1"/>
                  </a:lnTo>
                  <a:lnTo>
                    <a:pt x="259" y="3"/>
                  </a:lnTo>
                  <a:lnTo>
                    <a:pt x="272" y="5"/>
                  </a:lnTo>
                  <a:lnTo>
                    <a:pt x="285" y="8"/>
                  </a:lnTo>
                  <a:lnTo>
                    <a:pt x="298" y="12"/>
                  </a:lnTo>
                  <a:lnTo>
                    <a:pt x="311" y="16"/>
                  </a:lnTo>
                  <a:lnTo>
                    <a:pt x="324" y="22"/>
                  </a:lnTo>
                  <a:lnTo>
                    <a:pt x="336" y="27"/>
                  </a:lnTo>
                  <a:lnTo>
                    <a:pt x="348" y="34"/>
                  </a:lnTo>
                  <a:lnTo>
                    <a:pt x="360" y="42"/>
                  </a:lnTo>
                  <a:lnTo>
                    <a:pt x="372" y="50"/>
                  </a:lnTo>
                  <a:lnTo>
                    <a:pt x="383" y="58"/>
                  </a:lnTo>
                  <a:lnTo>
                    <a:pt x="394" y="66"/>
                  </a:lnTo>
                  <a:lnTo>
                    <a:pt x="405" y="76"/>
                  </a:lnTo>
                  <a:lnTo>
                    <a:pt x="415" y="85"/>
                  </a:lnTo>
                  <a:lnTo>
                    <a:pt x="425" y="97"/>
                  </a:lnTo>
                  <a:lnTo>
                    <a:pt x="435" y="107"/>
                  </a:lnTo>
                  <a:lnTo>
                    <a:pt x="444" y="119"/>
                  </a:lnTo>
                  <a:lnTo>
                    <a:pt x="453" y="130"/>
                  </a:lnTo>
                  <a:lnTo>
                    <a:pt x="461" y="143"/>
                  </a:lnTo>
                  <a:lnTo>
                    <a:pt x="469" y="155"/>
                  </a:lnTo>
                  <a:lnTo>
                    <a:pt x="476" y="168"/>
                  </a:lnTo>
                  <a:lnTo>
                    <a:pt x="483" y="181"/>
                  </a:lnTo>
                  <a:lnTo>
                    <a:pt x="490" y="196"/>
                  </a:lnTo>
                  <a:lnTo>
                    <a:pt x="496" y="209"/>
                  </a:lnTo>
                  <a:lnTo>
                    <a:pt x="501" y="223"/>
                  </a:lnTo>
                  <a:lnTo>
                    <a:pt x="506" y="238"/>
                  </a:lnTo>
                  <a:lnTo>
                    <a:pt x="510" y="253"/>
                  </a:lnTo>
                  <a:lnTo>
                    <a:pt x="514" y="268"/>
                  </a:lnTo>
                  <a:lnTo>
                    <a:pt x="517" y="283"/>
                  </a:lnTo>
                  <a:lnTo>
                    <a:pt x="519" y="299"/>
                  </a:lnTo>
                  <a:lnTo>
                    <a:pt x="521" y="314"/>
                  </a:lnTo>
                  <a:lnTo>
                    <a:pt x="522" y="3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3" name="Freeform 114"/>
            <p:cNvSpPr>
              <a:spLocks/>
            </p:cNvSpPr>
            <p:nvPr/>
          </p:nvSpPr>
          <p:spPr bwMode="auto">
            <a:xfrm>
              <a:off x="8905365" y="4259435"/>
              <a:ext cx="10450" cy="14788"/>
            </a:xfrm>
            <a:custGeom>
              <a:avLst/>
              <a:gdLst>
                <a:gd name="T0" fmla="*/ 0 w 464"/>
                <a:gd name="T1" fmla="*/ 0 h 542"/>
                <a:gd name="T2" fmla="*/ 0 w 464"/>
                <a:gd name="T3" fmla="*/ 0 h 542"/>
                <a:gd name="T4" fmla="*/ 0 w 464"/>
                <a:gd name="T5" fmla="*/ 0 h 542"/>
                <a:gd name="T6" fmla="*/ 0 w 464"/>
                <a:gd name="T7" fmla="*/ 0 h 542"/>
                <a:gd name="T8" fmla="*/ 0 w 464"/>
                <a:gd name="T9" fmla="*/ 0 h 542"/>
                <a:gd name="T10" fmla="*/ 0 w 464"/>
                <a:gd name="T11" fmla="*/ 0 h 542"/>
                <a:gd name="T12" fmla="*/ 0 w 464"/>
                <a:gd name="T13" fmla="*/ 0 h 542"/>
                <a:gd name="T14" fmla="*/ 0 w 464"/>
                <a:gd name="T15" fmla="*/ 0 h 542"/>
                <a:gd name="T16" fmla="*/ 0 w 464"/>
                <a:gd name="T17" fmla="*/ 0 h 542"/>
                <a:gd name="T18" fmla="*/ 0 w 464"/>
                <a:gd name="T19" fmla="*/ 0 h 542"/>
                <a:gd name="T20" fmla="*/ 0 w 464"/>
                <a:gd name="T21" fmla="*/ 0 h 542"/>
                <a:gd name="T22" fmla="*/ 0 w 464"/>
                <a:gd name="T23" fmla="*/ 0 h 542"/>
                <a:gd name="T24" fmla="*/ 0 w 464"/>
                <a:gd name="T25" fmla="*/ 0 h 542"/>
                <a:gd name="T26" fmla="*/ 0 w 464"/>
                <a:gd name="T27" fmla="*/ 0 h 542"/>
                <a:gd name="T28" fmla="*/ 0 w 464"/>
                <a:gd name="T29" fmla="*/ 0 h 542"/>
                <a:gd name="T30" fmla="*/ 0 w 464"/>
                <a:gd name="T31" fmla="*/ 0 h 542"/>
                <a:gd name="T32" fmla="*/ 0 w 464"/>
                <a:gd name="T33" fmla="*/ 0 h 542"/>
                <a:gd name="T34" fmla="*/ 0 w 464"/>
                <a:gd name="T35" fmla="*/ 0 h 542"/>
                <a:gd name="T36" fmla="*/ 0 w 464"/>
                <a:gd name="T37" fmla="*/ 0 h 542"/>
                <a:gd name="T38" fmla="*/ 0 w 464"/>
                <a:gd name="T39" fmla="*/ 0 h 542"/>
                <a:gd name="T40" fmla="*/ 0 w 464"/>
                <a:gd name="T41" fmla="*/ 0 h 542"/>
                <a:gd name="T42" fmla="*/ 0 w 464"/>
                <a:gd name="T43" fmla="*/ 0 h 542"/>
                <a:gd name="T44" fmla="*/ 0 w 464"/>
                <a:gd name="T45" fmla="*/ 0 h 542"/>
                <a:gd name="T46" fmla="*/ 0 w 464"/>
                <a:gd name="T47" fmla="*/ 0 h 542"/>
                <a:gd name="T48" fmla="*/ 0 w 464"/>
                <a:gd name="T49" fmla="*/ 0 h 542"/>
                <a:gd name="T50" fmla="*/ 0 w 464"/>
                <a:gd name="T51" fmla="*/ 0 h 542"/>
                <a:gd name="T52" fmla="*/ 0 w 464"/>
                <a:gd name="T53" fmla="*/ 0 h 542"/>
                <a:gd name="T54" fmla="*/ 0 w 464"/>
                <a:gd name="T55" fmla="*/ 0 h 542"/>
                <a:gd name="T56" fmla="*/ 0 w 464"/>
                <a:gd name="T57" fmla="*/ 0 h 542"/>
                <a:gd name="T58" fmla="*/ 0 w 464"/>
                <a:gd name="T59" fmla="*/ 0 h 542"/>
                <a:gd name="T60" fmla="*/ 0 w 464"/>
                <a:gd name="T61" fmla="*/ 0 h 542"/>
                <a:gd name="T62" fmla="*/ 0 w 464"/>
                <a:gd name="T63" fmla="*/ 0 h 542"/>
                <a:gd name="T64" fmla="*/ 0 w 464"/>
                <a:gd name="T65" fmla="*/ 0 h 542"/>
                <a:gd name="T66" fmla="*/ 0 w 464"/>
                <a:gd name="T67" fmla="*/ 0 h 542"/>
                <a:gd name="T68" fmla="*/ 0 w 464"/>
                <a:gd name="T69" fmla="*/ 0 h 542"/>
                <a:gd name="T70" fmla="*/ 0 w 464"/>
                <a:gd name="T71" fmla="*/ 0 h 542"/>
                <a:gd name="T72" fmla="*/ 0 w 464"/>
                <a:gd name="T73" fmla="*/ 0 h 542"/>
                <a:gd name="T74" fmla="*/ 0 w 464"/>
                <a:gd name="T75" fmla="*/ 0 h 542"/>
                <a:gd name="T76" fmla="*/ 0 w 464"/>
                <a:gd name="T77" fmla="*/ 0 h 542"/>
                <a:gd name="T78" fmla="*/ 0 w 464"/>
                <a:gd name="T79" fmla="*/ 0 h 542"/>
                <a:gd name="T80" fmla="*/ 0 w 464"/>
                <a:gd name="T81" fmla="*/ 0 h 542"/>
                <a:gd name="T82" fmla="*/ 0 w 464"/>
                <a:gd name="T83" fmla="*/ 0 h 542"/>
                <a:gd name="T84" fmla="*/ 0 w 464"/>
                <a:gd name="T85" fmla="*/ 0 h 542"/>
                <a:gd name="T86" fmla="*/ 0 w 464"/>
                <a:gd name="T87" fmla="*/ 0 h 542"/>
                <a:gd name="T88" fmla="*/ 0 w 464"/>
                <a:gd name="T89" fmla="*/ 0 h 542"/>
                <a:gd name="T90" fmla="*/ 0 w 464"/>
                <a:gd name="T91" fmla="*/ 0 h 542"/>
                <a:gd name="T92" fmla="*/ 0 w 464"/>
                <a:gd name="T93" fmla="*/ 0 h 542"/>
                <a:gd name="T94" fmla="*/ 0 w 464"/>
                <a:gd name="T95" fmla="*/ 0 h 542"/>
                <a:gd name="T96" fmla="*/ 0 w 464"/>
                <a:gd name="T97" fmla="*/ 0 h 542"/>
                <a:gd name="T98" fmla="*/ 0 w 464"/>
                <a:gd name="T99" fmla="*/ 0 h 542"/>
                <a:gd name="T100" fmla="*/ 0 w 464"/>
                <a:gd name="T101" fmla="*/ 0 h 542"/>
                <a:gd name="T102" fmla="*/ 0 w 464"/>
                <a:gd name="T103" fmla="*/ 0 h 542"/>
                <a:gd name="T104" fmla="*/ 0 w 464"/>
                <a:gd name="T105" fmla="*/ 0 h 542"/>
                <a:gd name="T106" fmla="*/ 0 w 464"/>
                <a:gd name="T107" fmla="*/ 0 h 542"/>
                <a:gd name="T108" fmla="*/ 0 w 464"/>
                <a:gd name="T109" fmla="*/ 0 h 542"/>
                <a:gd name="T110" fmla="*/ 0 w 464"/>
                <a:gd name="T111" fmla="*/ 0 h 542"/>
                <a:gd name="T112" fmla="*/ 0 w 464"/>
                <a:gd name="T113" fmla="*/ 0 h 542"/>
                <a:gd name="T114" fmla="*/ 0 w 464"/>
                <a:gd name="T115" fmla="*/ 0 h 542"/>
                <a:gd name="T116" fmla="*/ 0 w 464"/>
                <a:gd name="T117" fmla="*/ 0 h 542"/>
                <a:gd name="T118" fmla="*/ 0 w 464"/>
                <a:gd name="T119" fmla="*/ 0 h 542"/>
                <a:gd name="T120" fmla="*/ 0 w 464"/>
                <a:gd name="T121" fmla="*/ 0 h 542"/>
                <a:gd name="T122" fmla="*/ 0 w 464"/>
                <a:gd name="T123" fmla="*/ 0 h 542"/>
                <a:gd name="T124" fmla="*/ 0 w 464"/>
                <a:gd name="T125" fmla="*/ 0 h 54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2"/>
                <a:gd name="T191" fmla="*/ 464 w 464"/>
                <a:gd name="T192" fmla="*/ 542 h 54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2">
                  <a:moveTo>
                    <a:pt x="464" y="292"/>
                  </a:moveTo>
                  <a:lnTo>
                    <a:pt x="464" y="307"/>
                  </a:lnTo>
                  <a:lnTo>
                    <a:pt x="464" y="320"/>
                  </a:lnTo>
                  <a:lnTo>
                    <a:pt x="463" y="333"/>
                  </a:lnTo>
                  <a:lnTo>
                    <a:pt x="462" y="346"/>
                  </a:lnTo>
                  <a:lnTo>
                    <a:pt x="460" y="360"/>
                  </a:lnTo>
                  <a:lnTo>
                    <a:pt x="457" y="372"/>
                  </a:lnTo>
                  <a:lnTo>
                    <a:pt x="454" y="384"/>
                  </a:lnTo>
                  <a:lnTo>
                    <a:pt x="451" y="396"/>
                  </a:lnTo>
                  <a:lnTo>
                    <a:pt x="447" y="408"/>
                  </a:lnTo>
                  <a:lnTo>
                    <a:pt x="442" y="419"/>
                  </a:lnTo>
                  <a:lnTo>
                    <a:pt x="437" y="429"/>
                  </a:lnTo>
                  <a:lnTo>
                    <a:pt x="432" y="440"/>
                  </a:lnTo>
                  <a:lnTo>
                    <a:pt x="426" y="449"/>
                  </a:lnTo>
                  <a:lnTo>
                    <a:pt x="420" y="460"/>
                  </a:lnTo>
                  <a:lnTo>
                    <a:pt x="413" y="469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3"/>
                  </a:lnTo>
                  <a:lnTo>
                    <a:pt x="382" y="500"/>
                  </a:lnTo>
                  <a:lnTo>
                    <a:pt x="373" y="507"/>
                  </a:lnTo>
                  <a:lnTo>
                    <a:pt x="364" y="514"/>
                  </a:lnTo>
                  <a:lnTo>
                    <a:pt x="355" y="519"/>
                  </a:lnTo>
                  <a:lnTo>
                    <a:pt x="345" y="524"/>
                  </a:lnTo>
                  <a:lnTo>
                    <a:pt x="335" y="528"/>
                  </a:lnTo>
                  <a:lnTo>
                    <a:pt x="325" y="532"/>
                  </a:lnTo>
                  <a:lnTo>
                    <a:pt x="314" y="535"/>
                  </a:lnTo>
                  <a:lnTo>
                    <a:pt x="304" y="538"/>
                  </a:lnTo>
                  <a:lnTo>
                    <a:pt x="293" y="540"/>
                  </a:lnTo>
                  <a:lnTo>
                    <a:pt x="281" y="541"/>
                  </a:lnTo>
                  <a:lnTo>
                    <a:pt x="270" y="542"/>
                  </a:lnTo>
                  <a:lnTo>
                    <a:pt x="258" y="542"/>
                  </a:lnTo>
                  <a:lnTo>
                    <a:pt x="246" y="541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5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3"/>
                  </a:lnTo>
                  <a:lnTo>
                    <a:pt x="166" y="518"/>
                  </a:lnTo>
                  <a:lnTo>
                    <a:pt x="155" y="512"/>
                  </a:lnTo>
                  <a:lnTo>
                    <a:pt x="144" y="506"/>
                  </a:lnTo>
                  <a:lnTo>
                    <a:pt x="134" y="498"/>
                  </a:lnTo>
                  <a:lnTo>
                    <a:pt x="124" y="491"/>
                  </a:lnTo>
                  <a:lnTo>
                    <a:pt x="114" y="483"/>
                  </a:lnTo>
                  <a:lnTo>
                    <a:pt x="105" y="475"/>
                  </a:lnTo>
                  <a:lnTo>
                    <a:pt x="96" y="466"/>
                  </a:lnTo>
                  <a:lnTo>
                    <a:pt x="87" y="457"/>
                  </a:lnTo>
                  <a:lnTo>
                    <a:pt x="78" y="446"/>
                  </a:lnTo>
                  <a:lnTo>
                    <a:pt x="70" y="437"/>
                  </a:lnTo>
                  <a:lnTo>
                    <a:pt x="62" y="426"/>
                  </a:lnTo>
                  <a:lnTo>
                    <a:pt x="55" y="416"/>
                  </a:lnTo>
                  <a:lnTo>
                    <a:pt x="48" y="405"/>
                  </a:lnTo>
                  <a:lnTo>
                    <a:pt x="41" y="392"/>
                  </a:lnTo>
                  <a:lnTo>
                    <a:pt x="35" y="381"/>
                  </a:lnTo>
                  <a:lnTo>
                    <a:pt x="29" y="369"/>
                  </a:lnTo>
                  <a:lnTo>
                    <a:pt x="24" y="357"/>
                  </a:lnTo>
                  <a:lnTo>
                    <a:pt x="19" y="343"/>
                  </a:lnTo>
                  <a:lnTo>
                    <a:pt x="15" y="331"/>
                  </a:lnTo>
                  <a:lnTo>
                    <a:pt x="11" y="318"/>
                  </a:lnTo>
                  <a:lnTo>
                    <a:pt x="8" y="305"/>
                  </a:lnTo>
                  <a:lnTo>
                    <a:pt x="5" y="291"/>
                  </a:lnTo>
                  <a:lnTo>
                    <a:pt x="3" y="277"/>
                  </a:lnTo>
                  <a:lnTo>
                    <a:pt x="1" y="264"/>
                  </a:lnTo>
                  <a:lnTo>
                    <a:pt x="0" y="250"/>
                  </a:lnTo>
                  <a:lnTo>
                    <a:pt x="0" y="236"/>
                  </a:lnTo>
                  <a:lnTo>
                    <a:pt x="0" y="222"/>
                  </a:lnTo>
                  <a:lnTo>
                    <a:pt x="1" y="209"/>
                  </a:lnTo>
                  <a:lnTo>
                    <a:pt x="2" y="196"/>
                  </a:lnTo>
                  <a:lnTo>
                    <a:pt x="4" y="183"/>
                  </a:lnTo>
                  <a:lnTo>
                    <a:pt x="7" y="170"/>
                  </a:lnTo>
                  <a:lnTo>
                    <a:pt x="10" y="158"/>
                  </a:lnTo>
                  <a:lnTo>
                    <a:pt x="13" y="147"/>
                  </a:lnTo>
                  <a:lnTo>
                    <a:pt x="17" y="134"/>
                  </a:lnTo>
                  <a:lnTo>
                    <a:pt x="22" y="123"/>
                  </a:lnTo>
                  <a:lnTo>
                    <a:pt x="27" y="113"/>
                  </a:lnTo>
                  <a:lnTo>
                    <a:pt x="32" y="103"/>
                  </a:lnTo>
                  <a:lnTo>
                    <a:pt x="38" y="92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5"/>
                  </a:lnTo>
                  <a:lnTo>
                    <a:pt x="66" y="57"/>
                  </a:lnTo>
                  <a:lnTo>
                    <a:pt x="74" y="49"/>
                  </a:lnTo>
                  <a:lnTo>
                    <a:pt x="82" y="41"/>
                  </a:lnTo>
                  <a:lnTo>
                    <a:pt x="91" y="35"/>
                  </a:lnTo>
                  <a:lnTo>
                    <a:pt x="100" y="29"/>
                  </a:lnTo>
                  <a:lnTo>
                    <a:pt x="109" y="23"/>
                  </a:lnTo>
                  <a:lnTo>
                    <a:pt x="119" y="18"/>
                  </a:lnTo>
                  <a:lnTo>
                    <a:pt x="129" y="14"/>
                  </a:lnTo>
                  <a:lnTo>
                    <a:pt x="139" y="10"/>
                  </a:lnTo>
                  <a:lnTo>
                    <a:pt x="150" y="7"/>
                  </a:lnTo>
                  <a:lnTo>
                    <a:pt x="160" y="4"/>
                  </a:lnTo>
                  <a:lnTo>
                    <a:pt x="172" y="2"/>
                  </a:lnTo>
                  <a:lnTo>
                    <a:pt x="183" y="1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1"/>
                  </a:lnTo>
                  <a:lnTo>
                    <a:pt x="230" y="3"/>
                  </a:lnTo>
                  <a:lnTo>
                    <a:pt x="242" y="5"/>
                  </a:lnTo>
                  <a:lnTo>
                    <a:pt x="253" y="7"/>
                  </a:lnTo>
                  <a:lnTo>
                    <a:pt x="265" y="11"/>
                  </a:lnTo>
                  <a:lnTo>
                    <a:pt x="276" y="15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30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2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6"/>
                  </a:lnTo>
                  <a:lnTo>
                    <a:pt x="377" y="85"/>
                  </a:lnTo>
                  <a:lnTo>
                    <a:pt x="386" y="96"/>
                  </a:lnTo>
                  <a:lnTo>
                    <a:pt x="402" y="116"/>
                  </a:lnTo>
                  <a:lnTo>
                    <a:pt x="416" y="138"/>
                  </a:lnTo>
                  <a:lnTo>
                    <a:pt x="423" y="150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9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2"/>
                  </a:lnTo>
                  <a:lnTo>
                    <a:pt x="461" y="265"/>
                  </a:lnTo>
                  <a:lnTo>
                    <a:pt x="462" y="278"/>
                  </a:lnTo>
                  <a:lnTo>
                    <a:pt x="464" y="292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4" name="Freeform 115"/>
            <p:cNvSpPr>
              <a:spLocks/>
            </p:cNvSpPr>
            <p:nvPr/>
          </p:nvSpPr>
          <p:spPr bwMode="auto">
            <a:xfrm>
              <a:off x="8925220" y="4274223"/>
              <a:ext cx="9405" cy="14788"/>
            </a:xfrm>
            <a:custGeom>
              <a:avLst/>
              <a:gdLst>
                <a:gd name="T0" fmla="*/ 0 w 464"/>
                <a:gd name="T1" fmla="*/ 0 h 541"/>
                <a:gd name="T2" fmla="*/ 0 w 464"/>
                <a:gd name="T3" fmla="*/ 0 h 541"/>
                <a:gd name="T4" fmla="*/ 0 w 464"/>
                <a:gd name="T5" fmla="*/ 0 h 541"/>
                <a:gd name="T6" fmla="*/ 0 w 464"/>
                <a:gd name="T7" fmla="*/ 0 h 541"/>
                <a:gd name="T8" fmla="*/ 0 w 464"/>
                <a:gd name="T9" fmla="*/ 0 h 541"/>
                <a:gd name="T10" fmla="*/ 0 w 464"/>
                <a:gd name="T11" fmla="*/ 0 h 541"/>
                <a:gd name="T12" fmla="*/ 0 w 464"/>
                <a:gd name="T13" fmla="*/ 0 h 541"/>
                <a:gd name="T14" fmla="*/ 0 w 464"/>
                <a:gd name="T15" fmla="*/ 0 h 541"/>
                <a:gd name="T16" fmla="*/ 0 w 464"/>
                <a:gd name="T17" fmla="*/ 0 h 541"/>
                <a:gd name="T18" fmla="*/ 0 w 464"/>
                <a:gd name="T19" fmla="*/ 0 h 541"/>
                <a:gd name="T20" fmla="*/ 0 w 464"/>
                <a:gd name="T21" fmla="*/ 0 h 541"/>
                <a:gd name="T22" fmla="*/ 0 w 464"/>
                <a:gd name="T23" fmla="*/ 0 h 541"/>
                <a:gd name="T24" fmla="*/ 0 w 464"/>
                <a:gd name="T25" fmla="*/ 0 h 541"/>
                <a:gd name="T26" fmla="*/ 0 w 464"/>
                <a:gd name="T27" fmla="*/ 0 h 541"/>
                <a:gd name="T28" fmla="*/ 0 w 464"/>
                <a:gd name="T29" fmla="*/ 0 h 541"/>
                <a:gd name="T30" fmla="*/ 0 w 464"/>
                <a:gd name="T31" fmla="*/ 0 h 541"/>
                <a:gd name="T32" fmla="*/ 0 w 464"/>
                <a:gd name="T33" fmla="*/ 0 h 541"/>
                <a:gd name="T34" fmla="*/ 0 w 464"/>
                <a:gd name="T35" fmla="*/ 0 h 541"/>
                <a:gd name="T36" fmla="*/ 0 w 464"/>
                <a:gd name="T37" fmla="*/ 0 h 541"/>
                <a:gd name="T38" fmla="*/ 0 w 464"/>
                <a:gd name="T39" fmla="*/ 0 h 541"/>
                <a:gd name="T40" fmla="*/ 0 w 464"/>
                <a:gd name="T41" fmla="*/ 0 h 541"/>
                <a:gd name="T42" fmla="*/ 0 w 464"/>
                <a:gd name="T43" fmla="*/ 0 h 541"/>
                <a:gd name="T44" fmla="*/ 0 w 464"/>
                <a:gd name="T45" fmla="*/ 0 h 541"/>
                <a:gd name="T46" fmla="*/ 0 w 464"/>
                <a:gd name="T47" fmla="*/ 0 h 541"/>
                <a:gd name="T48" fmla="*/ 0 w 464"/>
                <a:gd name="T49" fmla="*/ 0 h 541"/>
                <a:gd name="T50" fmla="*/ 0 w 464"/>
                <a:gd name="T51" fmla="*/ 0 h 541"/>
                <a:gd name="T52" fmla="*/ 0 w 464"/>
                <a:gd name="T53" fmla="*/ 0 h 541"/>
                <a:gd name="T54" fmla="*/ 0 w 464"/>
                <a:gd name="T55" fmla="*/ 0 h 541"/>
                <a:gd name="T56" fmla="*/ 0 w 464"/>
                <a:gd name="T57" fmla="*/ 0 h 541"/>
                <a:gd name="T58" fmla="*/ 0 w 464"/>
                <a:gd name="T59" fmla="*/ 0 h 541"/>
                <a:gd name="T60" fmla="*/ 0 w 464"/>
                <a:gd name="T61" fmla="*/ 0 h 541"/>
                <a:gd name="T62" fmla="*/ 0 w 464"/>
                <a:gd name="T63" fmla="*/ 0 h 541"/>
                <a:gd name="T64" fmla="*/ 0 w 464"/>
                <a:gd name="T65" fmla="*/ 0 h 541"/>
                <a:gd name="T66" fmla="*/ 0 w 464"/>
                <a:gd name="T67" fmla="*/ 0 h 541"/>
                <a:gd name="T68" fmla="*/ 0 w 464"/>
                <a:gd name="T69" fmla="*/ 0 h 541"/>
                <a:gd name="T70" fmla="*/ 0 w 464"/>
                <a:gd name="T71" fmla="*/ 0 h 541"/>
                <a:gd name="T72" fmla="*/ 0 w 464"/>
                <a:gd name="T73" fmla="*/ 0 h 541"/>
                <a:gd name="T74" fmla="*/ 0 w 464"/>
                <a:gd name="T75" fmla="*/ 0 h 541"/>
                <a:gd name="T76" fmla="*/ 0 w 464"/>
                <a:gd name="T77" fmla="*/ 0 h 541"/>
                <a:gd name="T78" fmla="*/ 0 w 464"/>
                <a:gd name="T79" fmla="*/ 0 h 541"/>
                <a:gd name="T80" fmla="*/ 0 w 464"/>
                <a:gd name="T81" fmla="*/ 0 h 541"/>
                <a:gd name="T82" fmla="*/ 0 w 464"/>
                <a:gd name="T83" fmla="*/ 0 h 541"/>
                <a:gd name="T84" fmla="*/ 0 w 464"/>
                <a:gd name="T85" fmla="*/ 0 h 541"/>
                <a:gd name="T86" fmla="*/ 0 w 464"/>
                <a:gd name="T87" fmla="*/ 0 h 541"/>
                <a:gd name="T88" fmla="*/ 0 w 464"/>
                <a:gd name="T89" fmla="*/ 0 h 541"/>
                <a:gd name="T90" fmla="*/ 0 w 464"/>
                <a:gd name="T91" fmla="*/ 0 h 541"/>
                <a:gd name="T92" fmla="*/ 0 w 464"/>
                <a:gd name="T93" fmla="*/ 0 h 541"/>
                <a:gd name="T94" fmla="*/ 0 w 464"/>
                <a:gd name="T95" fmla="*/ 0 h 541"/>
                <a:gd name="T96" fmla="*/ 0 w 464"/>
                <a:gd name="T97" fmla="*/ 0 h 541"/>
                <a:gd name="T98" fmla="*/ 0 w 464"/>
                <a:gd name="T99" fmla="*/ 0 h 541"/>
                <a:gd name="T100" fmla="*/ 0 w 464"/>
                <a:gd name="T101" fmla="*/ 0 h 541"/>
                <a:gd name="T102" fmla="*/ 0 w 464"/>
                <a:gd name="T103" fmla="*/ 0 h 541"/>
                <a:gd name="T104" fmla="*/ 0 w 464"/>
                <a:gd name="T105" fmla="*/ 0 h 541"/>
                <a:gd name="T106" fmla="*/ 0 w 464"/>
                <a:gd name="T107" fmla="*/ 0 h 541"/>
                <a:gd name="T108" fmla="*/ 0 w 464"/>
                <a:gd name="T109" fmla="*/ 0 h 541"/>
                <a:gd name="T110" fmla="*/ 0 w 464"/>
                <a:gd name="T111" fmla="*/ 0 h 541"/>
                <a:gd name="T112" fmla="*/ 0 w 464"/>
                <a:gd name="T113" fmla="*/ 0 h 541"/>
                <a:gd name="T114" fmla="*/ 0 w 464"/>
                <a:gd name="T115" fmla="*/ 0 h 541"/>
                <a:gd name="T116" fmla="*/ 0 w 464"/>
                <a:gd name="T117" fmla="*/ 0 h 541"/>
                <a:gd name="T118" fmla="*/ 0 w 464"/>
                <a:gd name="T119" fmla="*/ 0 h 541"/>
                <a:gd name="T120" fmla="*/ 0 w 464"/>
                <a:gd name="T121" fmla="*/ 0 h 541"/>
                <a:gd name="T122" fmla="*/ 0 w 464"/>
                <a:gd name="T123" fmla="*/ 0 h 541"/>
                <a:gd name="T124" fmla="*/ 0 w 464"/>
                <a:gd name="T125" fmla="*/ 0 h 54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1"/>
                <a:gd name="T191" fmla="*/ 464 w 464"/>
                <a:gd name="T192" fmla="*/ 541 h 54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1">
                  <a:moveTo>
                    <a:pt x="464" y="291"/>
                  </a:moveTo>
                  <a:lnTo>
                    <a:pt x="464" y="306"/>
                  </a:lnTo>
                  <a:lnTo>
                    <a:pt x="464" y="319"/>
                  </a:lnTo>
                  <a:lnTo>
                    <a:pt x="463" y="333"/>
                  </a:lnTo>
                  <a:lnTo>
                    <a:pt x="462" y="345"/>
                  </a:lnTo>
                  <a:lnTo>
                    <a:pt x="460" y="359"/>
                  </a:lnTo>
                  <a:lnTo>
                    <a:pt x="457" y="371"/>
                  </a:lnTo>
                  <a:lnTo>
                    <a:pt x="454" y="383"/>
                  </a:lnTo>
                  <a:lnTo>
                    <a:pt x="451" y="395"/>
                  </a:lnTo>
                  <a:lnTo>
                    <a:pt x="447" y="407"/>
                  </a:lnTo>
                  <a:lnTo>
                    <a:pt x="442" y="418"/>
                  </a:lnTo>
                  <a:lnTo>
                    <a:pt x="437" y="429"/>
                  </a:lnTo>
                  <a:lnTo>
                    <a:pt x="432" y="439"/>
                  </a:lnTo>
                  <a:lnTo>
                    <a:pt x="426" y="450"/>
                  </a:lnTo>
                  <a:lnTo>
                    <a:pt x="420" y="459"/>
                  </a:lnTo>
                  <a:lnTo>
                    <a:pt x="413" y="468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2"/>
                  </a:lnTo>
                  <a:lnTo>
                    <a:pt x="382" y="499"/>
                  </a:lnTo>
                  <a:lnTo>
                    <a:pt x="373" y="507"/>
                  </a:lnTo>
                  <a:lnTo>
                    <a:pt x="364" y="513"/>
                  </a:lnTo>
                  <a:lnTo>
                    <a:pt x="355" y="518"/>
                  </a:lnTo>
                  <a:lnTo>
                    <a:pt x="345" y="523"/>
                  </a:lnTo>
                  <a:lnTo>
                    <a:pt x="335" y="528"/>
                  </a:lnTo>
                  <a:lnTo>
                    <a:pt x="325" y="531"/>
                  </a:lnTo>
                  <a:lnTo>
                    <a:pt x="314" y="535"/>
                  </a:lnTo>
                  <a:lnTo>
                    <a:pt x="304" y="537"/>
                  </a:lnTo>
                  <a:lnTo>
                    <a:pt x="293" y="539"/>
                  </a:lnTo>
                  <a:lnTo>
                    <a:pt x="281" y="540"/>
                  </a:lnTo>
                  <a:lnTo>
                    <a:pt x="270" y="541"/>
                  </a:lnTo>
                  <a:lnTo>
                    <a:pt x="258" y="541"/>
                  </a:lnTo>
                  <a:lnTo>
                    <a:pt x="246" y="540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4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2"/>
                  </a:lnTo>
                  <a:lnTo>
                    <a:pt x="166" y="517"/>
                  </a:lnTo>
                  <a:lnTo>
                    <a:pt x="155" y="511"/>
                  </a:lnTo>
                  <a:lnTo>
                    <a:pt x="144" y="505"/>
                  </a:lnTo>
                  <a:lnTo>
                    <a:pt x="134" y="497"/>
                  </a:lnTo>
                  <a:lnTo>
                    <a:pt x="124" y="490"/>
                  </a:lnTo>
                  <a:lnTo>
                    <a:pt x="114" y="482"/>
                  </a:lnTo>
                  <a:lnTo>
                    <a:pt x="105" y="474"/>
                  </a:lnTo>
                  <a:lnTo>
                    <a:pt x="96" y="465"/>
                  </a:lnTo>
                  <a:lnTo>
                    <a:pt x="87" y="456"/>
                  </a:lnTo>
                  <a:lnTo>
                    <a:pt x="78" y="446"/>
                  </a:lnTo>
                  <a:lnTo>
                    <a:pt x="70" y="436"/>
                  </a:lnTo>
                  <a:lnTo>
                    <a:pt x="62" y="426"/>
                  </a:lnTo>
                  <a:lnTo>
                    <a:pt x="55" y="415"/>
                  </a:lnTo>
                  <a:lnTo>
                    <a:pt x="48" y="404"/>
                  </a:lnTo>
                  <a:lnTo>
                    <a:pt x="41" y="392"/>
                  </a:lnTo>
                  <a:lnTo>
                    <a:pt x="35" y="380"/>
                  </a:lnTo>
                  <a:lnTo>
                    <a:pt x="30" y="368"/>
                  </a:lnTo>
                  <a:lnTo>
                    <a:pt x="24" y="356"/>
                  </a:lnTo>
                  <a:lnTo>
                    <a:pt x="19" y="343"/>
                  </a:lnTo>
                  <a:lnTo>
                    <a:pt x="15" y="330"/>
                  </a:lnTo>
                  <a:lnTo>
                    <a:pt x="11" y="317"/>
                  </a:lnTo>
                  <a:lnTo>
                    <a:pt x="8" y="304"/>
                  </a:lnTo>
                  <a:lnTo>
                    <a:pt x="5" y="290"/>
                  </a:lnTo>
                  <a:lnTo>
                    <a:pt x="3" y="276"/>
                  </a:lnTo>
                  <a:lnTo>
                    <a:pt x="1" y="263"/>
                  </a:lnTo>
                  <a:lnTo>
                    <a:pt x="1" y="249"/>
                  </a:lnTo>
                  <a:lnTo>
                    <a:pt x="0" y="235"/>
                  </a:lnTo>
                  <a:lnTo>
                    <a:pt x="0" y="221"/>
                  </a:lnTo>
                  <a:lnTo>
                    <a:pt x="1" y="208"/>
                  </a:lnTo>
                  <a:lnTo>
                    <a:pt x="2" y="195"/>
                  </a:lnTo>
                  <a:lnTo>
                    <a:pt x="4" y="182"/>
                  </a:lnTo>
                  <a:lnTo>
                    <a:pt x="7" y="169"/>
                  </a:lnTo>
                  <a:lnTo>
                    <a:pt x="10" y="157"/>
                  </a:lnTo>
                  <a:lnTo>
                    <a:pt x="13" y="146"/>
                  </a:lnTo>
                  <a:lnTo>
                    <a:pt x="17" y="133"/>
                  </a:lnTo>
                  <a:lnTo>
                    <a:pt x="22" y="123"/>
                  </a:lnTo>
                  <a:lnTo>
                    <a:pt x="27" y="112"/>
                  </a:lnTo>
                  <a:lnTo>
                    <a:pt x="32" y="102"/>
                  </a:lnTo>
                  <a:lnTo>
                    <a:pt x="38" y="91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4"/>
                  </a:lnTo>
                  <a:lnTo>
                    <a:pt x="66" y="56"/>
                  </a:lnTo>
                  <a:lnTo>
                    <a:pt x="74" y="49"/>
                  </a:lnTo>
                  <a:lnTo>
                    <a:pt x="82" y="40"/>
                  </a:lnTo>
                  <a:lnTo>
                    <a:pt x="91" y="34"/>
                  </a:lnTo>
                  <a:lnTo>
                    <a:pt x="100" y="28"/>
                  </a:lnTo>
                  <a:lnTo>
                    <a:pt x="109" y="22"/>
                  </a:lnTo>
                  <a:lnTo>
                    <a:pt x="119" y="17"/>
                  </a:lnTo>
                  <a:lnTo>
                    <a:pt x="129" y="13"/>
                  </a:lnTo>
                  <a:lnTo>
                    <a:pt x="139" y="9"/>
                  </a:lnTo>
                  <a:lnTo>
                    <a:pt x="150" y="6"/>
                  </a:lnTo>
                  <a:lnTo>
                    <a:pt x="160" y="4"/>
                  </a:lnTo>
                  <a:lnTo>
                    <a:pt x="171" y="1"/>
                  </a:lnTo>
                  <a:lnTo>
                    <a:pt x="183" y="0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30" y="2"/>
                  </a:lnTo>
                  <a:lnTo>
                    <a:pt x="242" y="4"/>
                  </a:lnTo>
                  <a:lnTo>
                    <a:pt x="253" y="7"/>
                  </a:lnTo>
                  <a:lnTo>
                    <a:pt x="265" y="10"/>
                  </a:lnTo>
                  <a:lnTo>
                    <a:pt x="276" y="14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29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1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5"/>
                  </a:lnTo>
                  <a:lnTo>
                    <a:pt x="377" y="85"/>
                  </a:lnTo>
                  <a:lnTo>
                    <a:pt x="386" y="95"/>
                  </a:lnTo>
                  <a:lnTo>
                    <a:pt x="402" y="115"/>
                  </a:lnTo>
                  <a:lnTo>
                    <a:pt x="416" y="137"/>
                  </a:lnTo>
                  <a:lnTo>
                    <a:pt x="423" y="149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8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1"/>
                  </a:lnTo>
                  <a:lnTo>
                    <a:pt x="461" y="264"/>
                  </a:lnTo>
                  <a:lnTo>
                    <a:pt x="463" y="278"/>
                  </a:lnTo>
                  <a:lnTo>
                    <a:pt x="464" y="291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5" name="Freeform 116"/>
            <p:cNvSpPr>
              <a:spLocks/>
            </p:cNvSpPr>
            <p:nvPr/>
          </p:nvSpPr>
          <p:spPr bwMode="auto">
            <a:xfrm>
              <a:off x="8835350" y="4018397"/>
              <a:ext cx="218405" cy="177451"/>
            </a:xfrm>
            <a:custGeom>
              <a:avLst/>
              <a:gdLst>
                <a:gd name="T0" fmla="*/ 0 w 10451"/>
                <a:gd name="T1" fmla="*/ 0 h 6136"/>
                <a:gd name="T2" fmla="*/ 0 w 10451"/>
                <a:gd name="T3" fmla="*/ 0 h 6136"/>
                <a:gd name="T4" fmla="*/ 0 w 10451"/>
                <a:gd name="T5" fmla="*/ 0 h 6136"/>
                <a:gd name="T6" fmla="*/ 0 w 10451"/>
                <a:gd name="T7" fmla="*/ 0 h 6136"/>
                <a:gd name="T8" fmla="*/ 0 w 10451"/>
                <a:gd name="T9" fmla="*/ 0 h 6136"/>
                <a:gd name="T10" fmla="*/ 0 w 10451"/>
                <a:gd name="T11" fmla="*/ 0 h 6136"/>
                <a:gd name="T12" fmla="*/ 0 w 10451"/>
                <a:gd name="T13" fmla="*/ 0 h 6136"/>
                <a:gd name="T14" fmla="*/ 0 w 10451"/>
                <a:gd name="T15" fmla="*/ 0 h 6136"/>
                <a:gd name="T16" fmla="*/ 0 w 10451"/>
                <a:gd name="T17" fmla="*/ 0 h 6136"/>
                <a:gd name="T18" fmla="*/ 0 w 10451"/>
                <a:gd name="T19" fmla="*/ 0 h 6136"/>
                <a:gd name="T20" fmla="*/ 0 w 10451"/>
                <a:gd name="T21" fmla="*/ 0 h 6136"/>
                <a:gd name="T22" fmla="*/ 0 w 10451"/>
                <a:gd name="T23" fmla="*/ 0 h 6136"/>
                <a:gd name="T24" fmla="*/ 0 w 10451"/>
                <a:gd name="T25" fmla="*/ 0 h 6136"/>
                <a:gd name="T26" fmla="*/ 0 w 10451"/>
                <a:gd name="T27" fmla="*/ 0 h 6136"/>
                <a:gd name="T28" fmla="*/ 0 w 10451"/>
                <a:gd name="T29" fmla="*/ 0 h 6136"/>
                <a:gd name="T30" fmla="*/ 0 w 10451"/>
                <a:gd name="T31" fmla="*/ 0 h 6136"/>
                <a:gd name="T32" fmla="*/ 0 w 10451"/>
                <a:gd name="T33" fmla="*/ 0 h 6136"/>
                <a:gd name="T34" fmla="*/ 0 w 10451"/>
                <a:gd name="T35" fmla="*/ 0 h 6136"/>
                <a:gd name="T36" fmla="*/ 0 w 10451"/>
                <a:gd name="T37" fmla="*/ 0 h 6136"/>
                <a:gd name="T38" fmla="*/ 0 w 10451"/>
                <a:gd name="T39" fmla="*/ 0 h 6136"/>
                <a:gd name="T40" fmla="*/ 0 w 10451"/>
                <a:gd name="T41" fmla="*/ 0 h 6136"/>
                <a:gd name="T42" fmla="*/ 0 w 10451"/>
                <a:gd name="T43" fmla="*/ 0 h 6136"/>
                <a:gd name="T44" fmla="*/ 0 w 10451"/>
                <a:gd name="T45" fmla="*/ 0 h 6136"/>
                <a:gd name="T46" fmla="*/ 0 w 10451"/>
                <a:gd name="T47" fmla="*/ 0 h 6136"/>
                <a:gd name="T48" fmla="*/ 0 w 10451"/>
                <a:gd name="T49" fmla="*/ 0 h 6136"/>
                <a:gd name="T50" fmla="*/ 0 w 10451"/>
                <a:gd name="T51" fmla="*/ 0 h 6136"/>
                <a:gd name="T52" fmla="*/ 0 w 10451"/>
                <a:gd name="T53" fmla="*/ 0 h 6136"/>
                <a:gd name="T54" fmla="*/ 0 w 10451"/>
                <a:gd name="T55" fmla="*/ 0 h 6136"/>
                <a:gd name="T56" fmla="*/ 0 w 10451"/>
                <a:gd name="T57" fmla="*/ 0 h 6136"/>
                <a:gd name="T58" fmla="*/ 0 w 10451"/>
                <a:gd name="T59" fmla="*/ 0 h 6136"/>
                <a:gd name="T60" fmla="*/ 0 w 10451"/>
                <a:gd name="T61" fmla="*/ 0 h 6136"/>
                <a:gd name="T62" fmla="*/ 0 w 10451"/>
                <a:gd name="T63" fmla="*/ 0 h 6136"/>
                <a:gd name="T64" fmla="*/ 0 w 10451"/>
                <a:gd name="T65" fmla="*/ 0 h 6136"/>
                <a:gd name="T66" fmla="*/ 0 w 10451"/>
                <a:gd name="T67" fmla="*/ 0 h 6136"/>
                <a:gd name="T68" fmla="*/ 0 w 10451"/>
                <a:gd name="T69" fmla="*/ 0 h 6136"/>
                <a:gd name="T70" fmla="*/ 0 w 10451"/>
                <a:gd name="T71" fmla="*/ 0 h 6136"/>
                <a:gd name="T72" fmla="*/ 0 w 10451"/>
                <a:gd name="T73" fmla="*/ 0 h 6136"/>
                <a:gd name="T74" fmla="*/ 0 w 10451"/>
                <a:gd name="T75" fmla="*/ 0 h 6136"/>
                <a:gd name="T76" fmla="*/ 0 w 10451"/>
                <a:gd name="T77" fmla="*/ 0 h 6136"/>
                <a:gd name="T78" fmla="*/ 0 w 10451"/>
                <a:gd name="T79" fmla="*/ 0 h 6136"/>
                <a:gd name="T80" fmla="*/ 0 w 10451"/>
                <a:gd name="T81" fmla="*/ 0 h 6136"/>
                <a:gd name="T82" fmla="*/ 0 w 10451"/>
                <a:gd name="T83" fmla="*/ 0 h 6136"/>
                <a:gd name="T84" fmla="*/ 0 w 10451"/>
                <a:gd name="T85" fmla="*/ 0 h 6136"/>
                <a:gd name="T86" fmla="*/ 0 w 10451"/>
                <a:gd name="T87" fmla="*/ 0 h 6136"/>
                <a:gd name="T88" fmla="*/ 0 w 10451"/>
                <a:gd name="T89" fmla="*/ 0 h 6136"/>
                <a:gd name="T90" fmla="*/ 0 w 10451"/>
                <a:gd name="T91" fmla="*/ 0 h 6136"/>
                <a:gd name="T92" fmla="*/ 0 w 10451"/>
                <a:gd name="T93" fmla="*/ 0 h 6136"/>
                <a:gd name="T94" fmla="*/ 0 w 10451"/>
                <a:gd name="T95" fmla="*/ 0 h 6136"/>
                <a:gd name="T96" fmla="*/ 0 w 10451"/>
                <a:gd name="T97" fmla="*/ 0 h 6136"/>
                <a:gd name="T98" fmla="*/ 0 w 10451"/>
                <a:gd name="T99" fmla="*/ 0 h 6136"/>
                <a:gd name="T100" fmla="*/ 0 w 10451"/>
                <a:gd name="T101" fmla="*/ 0 h 6136"/>
                <a:gd name="T102" fmla="*/ 0 w 10451"/>
                <a:gd name="T103" fmla="*/ 0 h 6136"/>
                <a:gd name="T104" fmla="*/ 0 w 10451"/>
                <a:gd name="T105" fmla="*/ 0 h 6136"/>
                <a:gd name="T106" fmla="*/ 0 w 10451"/>
                <a:gd name="T107" fmla="*/ 0 h 6136"/>
                <a:gd name="T108" fmla="*/ 0 w 10451"/>
                <a:gd name="T109" fmla="*/ 0 h 6136"/>
                <a:gd name="T110" fmla="*/ 0 w 10451"/>
                <a:gd name="T111" fmla="*/ 0 h 6136"/>
                <a:gd name="T112" fmla="*/ 0 w 10451"/>
                <a:gd name="T113" fmla="*/ 0 h 6136"/>
                <a:gd name="T114" fmla="*/ 0 w 10451"/>
                <a:gd name="T115" fmla="*/ 0 h 6136"/>
                <a:gd name="T116" fmla="*/ 0 w 10451"/>
                <a:gd name="T117" fmla="*/ 0 h 6136"/>
                <a:gd name="T118" fmla="*/ 0 w 10451"/>
                <a:gd name="T119" fmla="*/ 0 h 6136"/>
                <a:gd name="T120" fmla="*/ 0 w 10451"/>
                <a:gd name="T121" fmla="*/ 0 h 6136"/>
                <a:gd name="T122" fmla="*/ 0 w 10451"/>
                <a:gd name="T123" fmla="*/ 0 h 6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51"/>
                <a:gd name="T187" fmla="*/ 0 h 6136"/>
                <a:gd name="T188" fmla="*/ 10451 w 10451"/>
                <a:gd name="T189" fmla="*/ 6136 h 6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51" h="6136">
                  <a:moveTo>
                    <a:pt x="0" y="2565"/>
                  </a:moveTo>
                  <a:lnTo>
                    <a:pt x="4484" y="0"/>
                  </a:lnTo>
                  <a:lnTo>
                    <a:pt x="10451" y="3430"/>
                  </a:lnTo>
                  <a:lnTo>
                    <a:pt x="6099" y="6136"/>
                  </a:lnTo>
                  <a:lnTo>
                    <a:pt x="2735" y="4102"/>
                  </a:lnTo>
                  <a:lnTo>
                    <a:pt x="2742" y="4098"/>
                  </a:lnTo>
                  <a:lnTo>
                    <a:pt x="2763" y="4087"/>
                  </a:lnTo>
                  <a:lnTo>
                    <a:pt x="2793" y="4070"/>
                  </a:lnTo>
                  <a:lnTo>
                    <a:pt x="2830" y="4045"/>
                  </a:lnTo>
                  <a:lnTo>
                    <a:pt x="2851" y="4031"/>
                  </a:lnTo>
                  <a:lnTo>
                    <a:pt x="2872" y="4016"/>
                  </a:lnTo>
                  <a:lnTo>
                    <a:pt x="2894" y="3998"/>
                  </a:lnTo>
                  <a:lnTo>
                    <a:pt x="2917" y="3980"/>
                  </a:lnTo>
                  <a:lnTo>
                    <a:pt x="2939" y="3962"/>
                  </a:lnTo>
                  <a:lnTo>
                    <a:pt x="2960" y="3941"/>
                  </a:lnTo>
                  <a:lnTo>
                    <a:pt x="2981" y="3920"/>
                  </a:lnTo>
                  <a:lnTo>
                    <a:pt x="3001" y="3897"/>
                  </a:lnTo>
                  <a:lnTo>
                    <a:pt x="3019" y="3874"/>
                  </a:lnTo>
                  <a:lnTo>
                    <a:pt x="3035" y="3851"/>
                  </a:lnTo>
                  <a:lnTo>
                    <a:pt x="3049" y="3825"/>
                  </a:lnTo>
                  <a:lnTo>
                    <a:pt x="3061" y="3801"/>
                  </a:lnTo>
                  <a:lnTo>
                    <a:pt x="3069" y="3774"/>
                  </a:lnTo>
                  <a:lnTo>
                    <a:pt x="3075" y="3747"/>
                  </a:lnTo>
                  <a:lnTo>
                    <a:pt x="3077" y="3721"/>
                  </a:lnTo>
                  <a:lnTo>
                    <a:pt x="3075" y="3693"/>
                  </a:lnTo>
                  <a:lnTo>
                    <a:pt x="3069" y="3666"/>
                  </a:lnTo>
                  <a:lnTo>
                    <a:pt x="3059" y="3638"/>
                  </a:lnTo>
                  <a:lnTo>
                    <a:pt x="3043" y="3610"/>
                  </a:lnTo>
                  <a:lnTo>
                    <a:pt x="3023" y="3581"/>
                  </a:lnTo>
                  <a:lnTo>
                    <a:pt x="2997" y="3554"/>
                  </a:lnTo>
                  <a:lnTo>
                    <a:pt x="2965" y="3525"/>
                  </a:lnTo>
                  <a:lnTo>
                    <a:pt x="2927" y="3497"/>
                  </a:lnTo>
                  <a:lnTo>
                    <a:pt x="2882" y="3469"/>
                  </a:lnTo>
                  <a:lnTo>
                    <a:pt x="2877" y="3465"/>
                  </a:lnTo>
                  <a:lnTo>
                    <a:pt x="2861" y="3456"/>
                  </a:lnTo>
                  <a:lnTo>
                    <a:pt x="2836" y="3440"/>
                  </a:lnTo>
                  <a:lnTo>
                    <a:pt x="2801" y="3424"/>
                  </a:lnTo>
                  <a:lnTo>
                    <a:pt x="2780" y="3415"/>
                  </a:lnTo>
                  <a:lnTo>
                    <a:pt x="2757" y="3406"/>
                  </a:lnTo>
                  <a:lnTo>
                    <a:pt x="2732" y="3397"/>
                  </a:lnTo>
                  <a:lnTo>
                    <a:pt x="2705" y="3388"/>
                  </a:lnTo>
                  <a:lnTo>
                    <a:pt x="2676" y="3381"/>
                  </a:lnTo>
                  <a:lnTo>
                    <a:pt x="2645" y="3374"/>
                  </a:lnTo>
                  <a:lnTo>
                    <a:pt x="2612" y="3368"/>
                  </a:lnTo>
                  <a:lnTo>
                    <a:pt x="2577" y="3363"/>
                  </a:lnTo>
                  <a:lnTo>
                    <a:pt x="2540" y="3361"/>
                  </a:lnTo>
                  <a:lnTo>
                    <a:pt x="2502" y="3359"/>
                  </a:lnTo>
                  <a:lnTo>
                    <a:pt x="2462" y="3360"/>
                  </a:lnTo>
                  <a:lnTo>
                    <a:pt x="2420" y="3362"/>
                  </a:lnTo>
                  <a:lnTo>
                    <a:pt x="2377" y="3367"/>
                  </a:lnTo>
                  <a:lnTo>
                    <a:pt x="2332" y="3375"/>
                  </a:lnTo>
                  <a:lnTo>
                    <a:pt x="2286" y="3385"/>
                  </a:lnTo>
                  <a:lnTo>
                    <a:pt x="2239" y="3400"/>
                  </a:lnTo>
                  <a:lnTo>
                    <a:pt x="2190" y="3416"/>
                  </a:lnTo>
                  <a:lnTo>
                    <a:pt x="2140" y="3436"/>
                  </a:lnTo>
                  <a:lnTo>
                    <a:pt x="2089" y="3460"/>
                  </a:lnTo>
                  <a:lnTo>
                    <a:pt x="2037" y="3488"/>
                  </a:lnTo>
                  <a:lnTo>
                    <a:pt x="1983" y="3520"/>
                  </a:lnTo>
                  <a:lnTo>
                    <a:pt x="1929" y="3556"/>
                  </a:lnTo>
                  <a:lnTo>
                    <a:pt x="1873" y="3598"/>
                  </a:lnTo>
                  <a:lnTo>
                    <a:pt x="1817" y="3642"/>
                  </a:lnTo>
                  <a:lnTo>
                    <a:pt x="0" y="2565"/>
                  </a:lnTo>
                  <a:close/>
                </a:path>
              </a:pathLst>
            </a:custGeom>
            <a:solidFill>
              <a:srgbClr val="EBEB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6" name="Freeform 117"/>
            <p:cNvSpPr>
              <a:spLocks/>
            </p:cNvSpPr>
            <p:nvPr/>
          </p:nvSpPr>
          <p:spPr bwMode="auto">
            <a:xfrm>
              <a:off x="8892825" y="4114516"/>
              <a:ext cx="160930" cy="81332"/>
            </a:xfrm>
            <a:custGeom>
              <a:avLst/>
              <a:gdLst>
                <a:gd name="T0" fmla="*/ 0 w 7716"/>
                <a:gd name="T1" fmla="*/ 0 h 2814"/>
                <a:gd name="T2" fmla="*/ 0 w 7716"/>
                <a:gd name="T3" fmla="*/ 0 h 2814"/>
                <a:gd name="T4" fmla="*/ 0 w 7716"/>
                <a:gd name="T5" fmla="*/ 0 h 2814"/>
                <a:gd name="T6" fmla="*/ 0 w 7716"/>
                <a:gd name="T7" fmla="*/ 0 h 2814"/>
                <a:gd name="T8" fmla="*/ 0 w 7716"/>
                <a:gd name="T9" fmla="*/ 0 h 2814"/>
                <a:gd name="T10" fmla="*/ 0 w 7716"/>
                <a:gd name="T11" fmla="*/ 0 h 2814"/>
                <a:gd name="T12" fmla="*/ 0 w 7716"/>
                <a:gd name="T13" fmla="*/ 0 h 28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16"/>
                <a:gd name="T22" fmla="*/ 0 h 2814"/>
                <a:gd name="T23" fmla="*/ 7716 w 7716"/>
                <a:gd name="T24" fmla="*/ 2814 h 28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16" h="2814">
                  <a:moveTo>
                    <a:pt x="0" y="780"/>
                  </a:moveTo>
                  <a:lnTo>
                    <a:pt x="3364" y="2814"/>
                  </a:lnTo>
                  <a:lnTo>
                    <a:pt x="7716" y="108"/>
                  </a:lnTo>
                  <a:lnTo>
                    <a:pt x="7527" y="0"/>
                  </a:lnTo>
                  <a:lnTo>
                    <a:pt x="3362" y="2429"/>
                  </a:lnTo>
                  <a:lnTo>
                    <a:pt x="183" y="692"/>
                  </a:lnTo>
                  <a:lnTo>
                    <a:pt x="0" y="7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7" name="Freeform 118"/>
            <p:cNvSpPr>
              <a:spLocks/>
            </p:cNvSpPr>
            <p:nvPr/>
          </p:nvSpPr>
          <p:spPr bwMode="auto">
            <a:xfrm>
              <a:off x="8962841" y="4118953"/>
              <a:ext cx="89871" cy="193718"/>
            </a:xfrm>
            <a:custGeom>
              <a:avLst/>
              <a:gdLst>
                <a:gd name="T0" fmla="*/ 0 w 4309"/>
                <a:gd name="T1" fmla="*/ 0 h 6670"/>
                <a:gd name="T2" fmla="*/ 0 w 4309"/>
                <a:gd name="T3" fmla="*/ 0 h 6670"/>
                <a:gd name="T4" fmla="*/ 0 w 4309"/>
                <a:gd name="T5" fmla="*/ 0 h 6670"/>
                <a:gd name="T6" fmla="*/ 0 w 4309"/>
                <a:gd name="T7" fmla="*/ 0 h 6670"/>
                <a:gd name="T8" fmla="*/ 0 w 4309"/>
                <a:gd name="T9" fmla="*/ 0 h 6670"/>
                <a:gd name="T10" fmla="*/ 0 w 4309"/>
                <a:gd name="T11" fmla="*/ 0 h 6670"/>
                <a:gd name="T12" fmla="*/ 0 w 4309"/>
                <a:gd name="T13" fmla="*/ 0 h 6670"/>
                <a:gd name="T14" fmla="*/ 0 w 4309"/>
                <a:gd name="T15" fmla="*/ 0 h 6670"/>
                <a:gd name="T16" fmla="*/ 0 w 4309"/>
                <a:gd name="T17" fmla="*/ 0 h 6670"/>
                <a:gd name="T18" fmla="*/ 0 w 4309"/>
                <a:gd name="T19" fmla="*/ 0 h 6670"/>
                <a:gd name="T20" fmla="*/ 0 w 4309"/>
                <a:gd name="T21" fmla="*/ 0 h 6670"/>
                <a:gd name="T22" fmla="*/ 0 w 4309"/>
                <a:gd name="T23" fmla="*/ 0 h 6670"/>
                <a:gd name="T24" fmla="*/ 0 w 4309"/>
                <a:gd name="T25" fmla="*/ 0 h 6670"/>
                <a:gd name="T26" fmla="*/ 0 w 4309"/>
                <a:gd name="T27" fmla="*/ 0 h 6670"/>
                <a:gd name="T28" fmla="*/ 0 w 4309"/>
                <a:gd name="T29" fmla="*/ 0 h 6670"/>
                <a:gd name="T30" fmla="*/ 0 w 4309"/>
                <a:gd name="T31" fmla="*/ 0 h 6670"/>
                <a:gd name="T32" fmla="*/ 0 w 4309"/>
                <a:gd name="T33" fmla="*/ 0 h 6670"/>
                <a:gd name="T34" fmla="*/ 0 w 4309"/>
                <a:gd name="T35" fmla="*/ 0 h 6670"/>
                <a:gd name="T36" fmla="*/ 0 w 4309"/>
                <a:gd name="T37" fmla="*/ 0 h 6670"/>
                <a:gd name="T38" fmla="*/ 0 w 4309"/>
                <a:gd name="T39" fmla="*/ 0 h 6670"/>
                <a:gd name="T40" fmla="*/ 0 w 4309"/>
                <a:gd name="T41" fmla="*/ 0 h 6670"/>
                <a:gd name="T42" fmla="*/ 0 w 4309"/>
                <a:gd name="T43" fmla="*/ 0 h 6670"/>
                <a:gd name="T44" fmla="*/ 0 w 4309"/>
                <a:gd name="T45" fmla="*/ 0 h 6670"/>
                <a:gd name="T46" fmla="*/ 0 w 4309"/>
                <a:gd name="T47" fmla="*/ 0 h 6670"/>
                <a:gd name="T48" fmla="*/ 0 w 4309"/>
                <a:gd name="T49" fmla="*/ 0 h 6670"/>
                <a:gd name="T50" fmla="*/ 0 w 4309"/>
                <a:gd name="T51" fmla="*/ 0 h 6670"/>
                <a:gd name="T52" fmla="*/ 0 w 4309"/>
                <a:gd name="T53" fmla="*/ 0 h 6670"/>
                <a:gd name="T54" fmla="*/ 0 w 4309"/>
                <a:gd name="T55" fmla="*/ 0 h 6670"/>
                <a:gd name="T56" fmla="*/ 0 w 4309"/>
                <a:gd name="T57" fmla="*/ 0 h 6670"/>
                <a:gd name="T58" fmla="*/ 0 w 4309"/>
                <a:gd name="T59" fmla="*/ 0 h 6670"/>
                <a:gd name="T60" fmla="*/ 0 w 4309"/>
                <a:gd name="T61" fmla="*/ 0 h 6670"/>
                <a:gd name="T62" fmla="*/ 0 w 4309"/>
                <a:gd name="T63" fmla="*/ 0 h 6670"/>
                <a:gd name="T64" fmla="*/ 0 w 4309"/>
                <a:gd name="T65" fmla="*/ 0 h 6670"/>
                <a:gd name="T66" fmla="*/ 0 w 4309"/>
                <a:gd name="T67" fmla="*/ 0 h 6670"/>
                <a:gd name="T68" fmla="*/ 0 w 4309"/>
                <a:gd name="T69" fmla="*/ 0 h 6670"/>
                <a:gd name="T70" fmla="*/ 0 w 4309"/>
                <a:gd name="T71" fmla="*/ 0 h 6670"/>
                <a:gd name="T72" fmla="*/ 0 w 4309"/>
                <a:gd name="T73" fmla="*/ 0 h 6670"/>
                <a:gd name="T74" fmla="*/ 0 w 4309"/>
                <a:gd name="T75" fmla="*/ 0 h 6670"/>
                <a:gd name="T76" fmla="*/ 0 w 4309"/>
                <a:gd name="T77" fmla="*/ 0 h 6670"/>
                <a:gd name="T78" fmla="*/ 0 w 4309"/>
                <a:gd name="T79" fmla="*/ 0 h 6670"/>
                <a:gd name="T80" fmla="*/ 0 w 4309"/>
                <a:gd name="T81" fmla="*/ 0 h 6670"/>
                <a:gd name="T82" fmla="*/ 0 w 4309"/>
                <a:gd name="T83" fmla="*/ 0 h 6670"/>
                <a:gd name="T84" fmla="*/ 0 w 4309"/>
                <a:gd name="T85" fmla="*/ 0 h 6670"/>
                <a:gd name="T86" fmla="*/ 0 w 4309"/>
                <a:gd name="T87" fmla="*/ 0 h 6670"/>
                <a:gd name="T88" fmla="*/ 0 w 4309"/>
                <a:gd name="T89" fmla="*/ 0 h 6670"/>
                <a:gd name="T90" fmla="*/ 0 w 4309"/>
                <a:gd name="T91" fmla="*/ 0 h 6670"/>
                <a:gd name="T92" fmla="*/ 0 w 4309"/>
                <a:gd name="T93" fmla="*/ 0 h 6670"/>
                <a:gd name="T94" fmla="*/ 0 w 4309"/>
                <a:gd name="T95" fmla="*/ 0 h 6670"/>
                <a:gd name="T96" fmla="*/ 0 w 4309"/>
                <a:gd name="T97" fmla="*/ 0 h 6670"/>
                <a:gd name="T98" fmla="*/ 0 w 4309"/>
                <a:gd name="T99" fmla="*/ 0 h 6670"/>
                <a:gd name="T100" fmla="*/ 0 w 4309"/>
                <a:gd name="T101" fmla="*/ 0 h 6670"/>
                <a:gd name="T102" fmla="*/ 0 w 4309"/>
                <a:gd name="T103" fmla="*/ 0 h 6670"/>
                <a:gd name="T104" fmla="*/ 0 w 4309"/>
                <a:gd name="T105" fmla="*/ 0 h 6670"/>
                <a:gd name="T106" fmla="*/ 0 w 4309"/>
                <a:gd name="T107" fmla="*/ 0 h 6670"/>
                <a:gd name="T108" fmla="*/ 0 w 4309"/>
                <a:gd name="T109" fmla="*/ 0 h 6670"/>
                <a:gd name="T110" fmla="*/ 0 w 4309"/>
                <a:gd name="T111" fmla="*/ 0 h 6670"/>
                <a:gd name="T112" fmla="*/ 0 w 4309"/>
                <a:gd name="T113" fmla="*/ 0 h 6670"/>
                <a:gd name="T114" fmla="*/ 0 w 4309"/>
                <a:gd name="T115" fmla="*/ 0 h 6670"/>
                <a:gd name="T116" fmla="*/ 0 w 4309"/>
                <a:gd name="T117" fmla="*/ 0 h 6670"/>
                <a:gd name="T118" fmla="*/ 0 w 4309"/>
                <a:gd name="T119" fmla="*/ 0 h 6670"/>
                <a:gd name="T120" fmla="*/ 0 w 4309"/>
                <a:gd name="T121" fmla="*/ 0 h 66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9"/>
                <a:gd name="T184" fmla="*/ 0 h 6670"/>
                <a:gd name="T185" fmla="*/ 4309 w 4309"/>
                <a:gd name="T186" fmla="*/ 6670 h 667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9" h="6670">
                  <a:moveTo>
                    <a:pt x="4309" y="0"/>
                  </a:moveTo>
                  <a:lnTo>
                    <a:pt x="0" y="2672"/>
                  </a:lnTo>
                  <a:lnTo>
                    <a:pt x="24" y="6670"/>
                  </a:lnTo>
                  <a:lnTo>
                    <a:pt x="25" y="6644"/>
                  </a:lnTo>
                  <a:lnTo>
                    <a:pt x="30" y="6573"/>
                  </a:lnTo>
                  <a:lnTo>
                    <a:pt x="39" y="6460"/>
                  </a:lnTo>
                  <a:lnTo>
                    <a:pt x="53" y="6310"/>
                  </a:lnTo>
                  <a:lnTo>
                    <a:pt x="62" y="6222"/>
                  </a:lnTo>
                  <a:lnTo>
                    <a:pt x="72" y="6127"/>
                  </a:lnTo>
                  <a:lnTo>
                    <a:pt x="84" y="6026"/>
                  </a:lnTo>
                  <a:lnTo>
                    <a:pt x="98" y="5919"/>
                  </a:lnTo>
                  <a:lnTo>
                    <a:pt x="114" y="5806"/>
                  </a:lnTo>
                  <a:lnTo>
                    <a:pt x="131" y="5687"/>
                  </a:lnTo>
                  <a:lnTo>
                    <a:pt x="151" y="5565"/>
                  </a:lnTo>
                  <a:lnTo>
                    <a:pt x="172" y="5439"/>
                  </a:lnTo>
                  <a:lnTo>
                    <a:pt x="196" y="5310"/>
                  </a:lnTo>
                  <a:lnTo>
                    <a:pt x="222" y="5178"/>
                  </a:lnTo>
                  <a:lnTo>
                    <a:pt x="250" y="5045"/>
                  </a:lnTo>
                  <a:lnTo>
                    <a:pt x="281" y="4910"/>
                  </a:lnTo>
                  <a:lnTo>
                    <a:pt x="314" y="4775"/>
                  </a:lnTo>
                  <a:lnTo>
                    <a:pt x="350" y="4640"/>
                  </a:lnTo>
                  <a:lnTo>
                    <a:pt x="389" y="4504"/>
                  </a:lnTo>
                  <a:lnTo>
                    <a:pt x="431" y="4371"/>
                  </a:lnTo>
                  <a:lnTo>
                    <a:pt x="475" y="4239"/>
                  </a:lnTo>
                  <a:lnTo>
                    <a:pt x="523" y="4110"/>
                  </a:lnTo>
                  <a:lnTo>
                    <a:pt x="573" y="3984"/>
                  </a:lnTo>
                  <a:lnTo>
                    <a:pt x="627" y="3861"/>
                  </a:lnTo>
                  <a:lnTo>
                    <a:pt x="684" y="3742"/>
                  </a:lnTo>
                  <a:lnTo>
                    <a:pt x="745" y="3629"/>
                  </a:lnTo>
                  <a:lnTo>
                    <a:pt x="809" y="3521"/>
                  </a:lnTo>
                  <a:lnTo>
                    <a:pt x="876" y="3419"/>
                  </a:lnTo>
                  <a:lnTo>
                    <a:pt x="889" y="3398"/>
                  </a:lnTo>
                  <a:lnTo>
                    <a:pt x="925" y="3335"/>
                  </a:lnTo>
                  <a:lnTo>
                    <a:pt x="953" y="3289"/>
                  </a:lnTo>
                  <a:lnTo>
                    <a:pt x="987" y="3235"/>
                  </a:lnTo>
                  <a:lnTo>
                    <a:pt x="1028" y="3172"/>
                  </a:lnTo>
                  <a:lnTo>
                    <a:pt x="1075" y="3101"/>
                  </a:lnTo>
                  <a:lnTo>
                    <a:pt x="1128" y="3021"/>
                  </a:lnTo>
                  <a:lnTo>
                    <a:pt x="1189" y="2934"/>
                  </a:lnTo>
                  <a:lnTo>
                    <a:pt x="1255" y="2842"/>
                  </a:lnTo>
                  <a:lnTo>
                    <a:pt x="1329" y="2742"/>
                  </a:lnTo>
                  <a:lnTo>
                    <a:pt x="1409" y="2636"/>
                  </a:lnTo>
                  <a:lnTo>
                    <a:pt x="1497" y="2523"/>
                  </a:lnTo>
                  <a:lnTo>
                    <a:pt x="1591" y="2406"/>
                  </a:lnTo>
                  <a:lnTo>
                    <a:pt x="1692" y="2285"/>
                  </a:lnTo>
                  <a:lnTo>
                    <a:pt x="1800" y="2158"/>
                  </a:lnTo>
                  <a:lnTo>
                    <a:pt x="1915" y="2028"/>
                  </a:lnTo>
                  <a:lnTo>
                    <a:pt x="2037" y="1893"/>
                  </a:lnTo>
                  <a:lnTo>
                    <a:pt x="2167" y="1755"/>
                  </a:lnTo>
                  <a:lnTo>
                    <a:pt x="2304" y="1616"/>
                  </a:lnTo>
                  <a:lnTo>
                    <a:pt x="2448" y="1473"/>
                  </a:lnTo>
                  <a:lnTo>
                    <a:pt x="2600" y="1327"/>
                  </a:lnTo>
                  <a:lnTo>
                    <a:pt x="2759" y="1181"/>
                  </a:lnTo>
                  <a:lnTo>
                    <a:pt x="2926" y="1033"/>
                  </a:lnTo>
                  <a:lnTo>
                    <a:pt x="3101" y="884"/>
                  </a:lnTo>
                  <a:lnTo>
                    <a:pt x="3282" y="735"/>
                  </a:lnTo>
                  <a:lnTo>
                    <a:pt x="3472" y="586"/>
                  </a:lnTo>
                  <a:lnTo>
                    <a:pt x="3669" y="439"/>
                  </a:lnTo>
                  <a:lnTo>
                    <a:pt x="3875" y="291"/>
                  </a:lnTo>
                  <a:lnTo>
                    <a:pt x="4088" y="145"/>
                  </a:lnTo>
                  <a:lnTo>
                    <a:pt x="4309" y="0"/>
                  </a:lnTo>
                  <a:close/>
                </a:path>
              </a:pathLst>
            </a:custGeom>
            <a:solidFill>
              <a:srgbClr val="ABAAA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1" name="AutoShape 23" descr="채우기4"/>
            <p:cNvSpPr>
              <a:spLocks noChangeArrowheads="1"/>
            </p:cNvSpPr>
            <p:nvPr/>
          </p:nvSpPr>
          <p:spPr bwMode="auto">
            <a:xfrm>
              <a:off x="9066558" y="3818098"/>
              <a:ext cx="364888" cy="120515"/>
            </a:xfrm>
            <a:prstGeom prst="roundRect">
              <a:avLst>
                <a:gd name="adj" fmla="val 9204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신</a:t>
              </a:r>
              <a:endParaRPr lang="ko-KR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2" name="AutoShape 23" descr="채우기4"/>
            <p:cNvSpPr>
              <a:spLocks noChangeArrowheads="1"/>
            </p:cNvSpPr>
            <p:nvPr/>
          </p:nvSpPr>
          <p:spPr bwMode="auto">
            <a:xfrm>
              <a:off x="9066558" y="3964933"/>
              <a:ext cx="364888" cy="123925"/>
            </a:xfrm>
            <a:prstGeom prst="roundRect">
              <a:avLst>
                <a:gd name="adj" fmla="val 9204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여신</a:t>
              </a:r>
              <a:endParaRPr lang="ko-KR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3" name="AutoShape 23" descr="채우기4"/>
            <p:cNvSpPr>
              <a:spLocks noChangeArrowheads="1"/>
            </p:cNvSpPr>
            <p:nvPr/>
          </p:nvSpPr>
          <p:spPr bwMode="auto">
            <a:xfrm>
              <a:off x="9066558" y="4115177"/>
              <a:ext cx="364888" cy="123925"/>
            </a:xfrm>
            <a:prstGeom prst="roundRect">
              <a:avLst>
                <a:gd name="adj" fmla="val 9204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</a:t>
              </a:r>
              <a:endParaRPr lang="ko-KR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4" name="AutoShape 23" descr="채우기4"/>
            <p:cNvSpPr>
              <a:spLocks noChangeArrowheads="1"/>
            </p:cNvSpPr>
            <p:nvPr/>
          </p:nvSpPr>
          <p:spPr bwMode="auto">
            <a:xfrm>
              <a:off x="9066558" y="4265422"/>
              <a:ext cx="364888" cy="120515"/>
            </a:xfrm>
            <a:prstGeom prst="roundRect">
              <a:avLst>
                <a:gd name="adj" fmla="val 9204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공통</a:t>
              </a:r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타</a:t>
              </a:r>
              <a:endParaRPr lang="ko-KR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5" name="AutoShape 23" descr="채우기4"/>
            <p:cNvSpPr>
              <a:spLocks noChangeArrowheads="1"/>
            </p:cNvSpPr>
            <p:nvPr/>
          </p:nvSpPr>
          <p:spPr bwMode="auto">
            <a:xfrm>
              <a:off x="9066558" y="4412258"/>
              <a:ext cx="364888" cy="120515"/>
            </a:xfrm>
            <a:prstGeom prst="roundRect">
              <a:avLst>
                <a:gd name="adj" fmla="val 9204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YC</a:t>
              </a:r>
              <a:endParaRPr lang="ko-KR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209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1429" y="4626206"/>
              <a:ext cx="402696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0" name="Text Box 57"/>
            <p:cNvSpPr txBox="1">
              <a:spLocks noChangeArrowheads="1"/>
            </p:cNvSpPr>
            <p:nvPr/>
          </p:nvSpPr>
          <p:spPr bwMode="gray">
            <a:xfrm>
              <a:off x="8636268" y="4651213"/>
              <a:ext cx="392736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별원장</a:t>
              </a:r>
            </a:p>
          </p:txBody>
        </p:sp>
        <p:pic>
          <p:nvPicPr>
            <p:cNvPr id="207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883" y="4626206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8" name="Text Box 57"/>
            <p:cNvSpPr txBox="1">
              <a:spLocks noChangeArrowheads="1"/>
            </p:cNvSpPr>
            <p:nvPr/>
          </p:nvSpPr>
          <p:spPr bwMode="gray">
            <a:xfrm>
              <a:off x="9103420" y="4651213"/>
              <a:ext cx="33823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래</a:t>
              </a:r>
              <a:r>
                <a:rPr lang="en-US" altLang="ko-KR" sz="7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LOG</a:t>
              </a:r>
              <a:endParaRPr lang="ko-KR" altLang="en-US" sz="7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44" name="AutoShape 682"/>
            <p:cNvSpPr>
              <a:spLocks noChangeArrowheads="1"/>
            </p:cNvSpPr>
            <p:nvPr/>
          </p:nvSpPr>
          <p:spPr bwMode="auto">
            <a:xfrm>
              <a:off x="8954544" y="4834591"/>
              <a:ext cx="176467" cy="157736"/>
            </a:xfrm>
            <a:prstGeom prst="downArrow">
              <a:avLst>
                <a:gd name="adj1" fmla="val 57241"/>
                <a:gd name="adj2" fmla="val 48429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969696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45" name="AutoShape 12"/>
            <p:cNvSpPr>
              <a:spLocks noChangeArrowheads="1"/>
            </p:cNvSpPr>
            <p:nvPr/>
          </p:nvSpPr>
          <p:spPr bwMode="gray">
            <a:xfrm>
              <a:off x="8583372" y="5003354"/>
              <a:ext cx="892842" cy="1356534"/>
            </a:xfrm>
            <a:prstGeom prst="roundRect">
              <a:avLst>
                <a:gd name="adj" fmla="val 2190"/>
              </a:avLst>
            </a:prstGeom>
            <a:solidFill>
              <a:schemeClr val="bg1"/>
            </a:solidFill>
            <a:ln w="9525" algn="ctr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defTabSz="995363" latinLnBrk="0"/>
              <a:endParaRPr lang="ko-KR" altLang="ko-KR" sz="700" b="1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2" name="AutoShape 87"/>
            <p:cNvSpPr>
              <a:spLocks noChangeAspect="1" noChangeArrowheads="1"/>
            </p:cNvSpPr>
            <p:nvPr/>
          </p:nvSpPr>
          <p:spPr bwMode="auto">
            <a:xfrm>
              <a:off x="8915365" y="5173405"/>
              <a:ext cx="228855" cy="473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3" name="Freeform 88"/>
            <p:cNvSpPr>
              <a:spLocks/>
            </p:cNvSpPr>
            <p:nvPr/>
          </p:nvSpPr>
          <p:spPr bwMode="auto">
            <a:xfrm>
              <a:off x="8915365" y="5173405"/>
              <a:ext cx="228855" cy="473205"/>
            </a:xfrm>
            <a:custGeom>
              <a:avLst/>
              <a:gdLst>
                <a:gd name="T0" fmla="*/ 0 w 10950"/>
                <a:gd name="T1" fmla="*/ 0 h 16320"/>
                <a:gd name="T2" fmla="*/ 0 w 10950"/>
                <a:gd name="T3" fmla="*/ 0 h 16320"/>
                <a:gd name="T4" fmla="*/ 0 w 10950"/>
                <a:gd name="T5" fmla="*/ 0 h 16320"/>
                <a:gd name="T6" fmla="*/ 0 w 10950"/>
                <a:gd name="T7" fmla="*/ 0 h 16320"/>
                <a:gd name="T8" fmla="*/ 0 w 10950"/>
                <a:gd name="T9" fmla="*/ 0 h 16320"/>
                <a:gd name="T10" fmla="*/ 0 w 10950"/>
                <a:gd name="T11" fmla="*/ 0 h 16320"/>
                <a:gd name="T12" fmla="*/ 0 w 10950"/>
                <a:gd name="T13" fmla="*/ 0 h 16320"/>
                <a:gd name="T14" fmla="*/ 0 w 10950"/>
                <a:gd name="T15" fmla="*/ 0 h 16320"/>
                <a:gd name="T16" fmla="*/ 0 w 10950"/>
                <a:gd name="T17" fmla="*/ 0 h 16320"/>
                <a:gd name="T18" fmla="*/ 0 w 10950"/>
                <a:gd name="T19" fmla="*/ 0 h 16320"/>
                <a:gd name="T20" fmla="*/ 0 w 10950"/>
                <a:gd name="T21" fmla="*/ 0 h 16320"/>
                <a:gd name="T22" fmla="*/ 0 w 10950"/>
                <a:gd name="T23" fmla="*/ 0 h 16320"/>
                <a:gd name="T24" fmla="*/ 0 w 10950"/>
                <a:gd name="T25" fmla="*/ 0 h 16320"/>
                <a:gd name="T26" fmla="*/ 0 w 10950"/>
                <a:gd name="T27" fmla="*/ 0 h 16320"/>
                <a:gd name="T28" fmla="*/ 0 w 10950"/>
                <a:gd name="T29" fmla="*/ 0 h 16320"/>
                <a:gd name="T30" fmla="*/ 0 w 10950"/>
                <a:gd name="T31" fmla="*/ 0 h 16320"/>
                <a:gd name="T32" fmla="*/ 0 w 10950"/>
                <a:gd name="T33" fmla="*/ 0 h 16320"/>
                <a:gd name="T34" fmla="*/ 0 w 10950"/>
                <a:gd name="T35" fmla="*/ 0 h 16320"/>
                <a:gd name="T36" fmla="*/ 0 w 10950"/>
                <a:gd name="T37" fmla="*/ 0 h 16320"/>
                <a:gd name="T38" fmla="*/ 0 w 10950"/>
                <a:gd name="T39" fmla="*/ 0 h 16320"/>
                <a:gd name="T40" fmla="*/ 0 w 10950"/>
                <a:gd name="T41" fmla="*/ 0 h 16320"/>
                <a:gd name="T42" fmla="*/ 0 w 10950"/>
                <a:gd name="T43" fmla="*/ 0 h 16320"/>
                <a:gd name="T44" fmla="*/ 0 w 10950"/>
                <a:gd name="T45" fmla="*/ 0 h 16320"/>
                <a:gd name="T46" fmla="*/ 0 w 10950"/>
                <a:gd name="T47" fmla="*/ 0 h 16320"/>
                <a:gd name="T48" fmla="*/ 0 w 10950"/>
                <a:gd name="T49" fmla="*/ 0 h 16320"/>
                <a:gd name="T50" fmla="*/ 0 w 10950"/>
                <a:gd name="T51" fmla="*/ 0 h 16320"/>
                <a:gd name="T52" fmla="*/ 0 w 10950"/>
                <a:gd name="T53" fmla="*/ 0 h 16320"/>
                <a:gd name="T54" fmla="*/ 0 w 10950"/>
                <a:gd name="T55" fmla="*/ 0 h 16320"/>
                <a:gd name="T56" fmla="*/ 0 w 10950"/>
                <a:gd name="T57" fmla="*/ 0 h 16320"/>
                <a:gd name="T58" fmla="*/ 0 w 10950"/>
                <a:gd name="T59" fmla="*/ 0 h 16320"/>
                <a:gd name="T60" fmla="*/ 0 w 10950"/>
                <a:gd name="T61" fmla="*/ 0 h 16320"/>
                <a:gd name="T62" fmla="*/ 0 w 10950"/>
                <a:gd name="T63" fmla="*/ 0 h 16320"/>
                <a:gd name="T64" fmla="*/ 0 w 10950"/>
                <a:gd name="T65" fmla="*/ 0 h 16320"/>
                <a:gd name="T66" fmla="*/ 0 w 10950"/>
                <a:gd name="T67" fmla="*/ 0 h 16320"/>
                <a:gd name="T68" fmla="*/ 0 w 10950"/>
                <a:gd name="T69" fmla="*/ 0 h 16320"/>
                <a:gd name="T70" fmla="*/ 0 w 10950"/>
                <a:gd name="T71" fmla="*/ 0 h 16320"/>
                <a:gd name="T72" fmla="*/ 0 w 10950"/>
                <a:gd name="T73" fmla="*/ 0 h 16320"/>
                <a:gd name="T74" fmla="*/ 0 w 10950"/>
                <a:gd name="T75" fmla="*/ 0 h 16320"/>
                <a:gd name="T76" fmla="*/ 0 w 10950"/>
                <a:gd name="T77" fmla="*/ 0 h 16320"/>
                <a:gd name="T78" fmla="*/ 0 w 10950"/>
                <a:gd name="T79" fmla="*/ 0 h 16320"/>
                <a:gd name="T80" fmla="*/ 0 w 10950"/>
                <a:gd name="T81" fmla="*/ 0 h 16320"/>
                <a:gd name="T82" fmla="*/ 0 w 10950"/>
                <a:gd name="T83" fmla="*/ 0 h 16320"/>
                <a:gd name="T84" fmla="*/ 0 w 10950"/>
                <a:gd name="T85" fmla="*/ 0 h 16320"/>
                <a:gd name="T86" fmla="*/ 0 w 10950"/>
                <a:gd name="T87" fmla="*/ 0 h 16320"/>
                <a:gd name="T88" fmla="*/ 0 w 10950"/>
                <a:gd name="T89" fmla="*/ 0 h 16320"/>
                <a:gd name="T90" fmla="*/ 0 w 10950"/>
                <a:gd name="T91" fmla="*/ 0 h 16320"/>
                <a:gd name="T92" fmla="*/ 0 w 10950"/>
                <a:gd name="T93" fmla="*/ 0 h 16320"/>
                <a:gd name="T94" fmla="*/ 0 w 10950"/>
                <a:gd name="T95" fmla="*/ 0 h 16320"/>
                <a:gd name="T96" fmla="*/ 0 w 10950"/>
                <a:gd name="T97" fmla="*/ 0 h 16320"/>
                <a:gd name="T98" fmla="*/ 0 w 10950"/>
                <a:gd name="T99" fmla="*/ 0 h 16320"/>
                <a:gd name="T100" fmla="*/ 0 w 10950"/>
                <a:gd name="T101" fmla="*/ 0 h 16320"/>
                <a:gd name="T102" fmla="*/ 0 w 10950"/>
                <a:gd name="T103" fmla="*/ 0 h 16320"/>
                <a:gd name="T104" fmla="*/ 0 w 10950"/>
                <a:gd name="T105" fmla="*/ 0 h 16320"/>
                <a:gd name="T106" fmla="*/ 0 w 10950"/>
                <a:gd name="T107" fmla="*/ 0 h 16320"/>
                <a:gd name="T108" fmla="*/ 0 w 10950"/>
                <a:gd name="T109" fmla="*/ 0 h 163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50"/>
                <a:gd name="T166" fmla="*/ 0 h 16320"/>
                <a:gd name="T167" fmla="*/ 10950 w 10950"/>
                <a:gd name="T168" fmla="*/ 16320 h 1632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50" h="16320">
                  <a:moveTo>
                    <a:pt x="154" y="2649"/>
                  </a:moveTo>
                  <a:lnTo>
                    <a:pt x="4466" y="72"/>
                  </a:lnTo>
                  <a:lnTo>
                    <a:pt x="4477" y="65"/>
                  </a:lnTo>
                  <a:lnTo>
                    <a:pt x="4508" y="48"/>
                  </a:lnTo>
                  <a:lnTo>
                    <a:pt x="4531" y="38"/>
                  </a:lnTo>
                  <a:lnTo>
                    <a:pt x="4558" y="27"/>
                  </a:lnTo>
                  <a:lnTo>
                    <a:pt x="4573" y="21"/>
                  </a:lnTo>
                  <a:lnTo>
                    <a:pt x="4589" y="17"/>
                  </a:lnTo>
                  <a:lnTo>
                    <a:pt x="4606" y="12"/>
                  </a:lnTo>
                  <a:lnTo>
                    <a:pt x="4624" y="8"/>
                  </a:lnTo>
                  <a:lnTo>
                    <a:pt x="4643" y="5"/>
                  </a:lnTo>
                  <a:lnTo>
                    <a:pt x="4662" y="3"/>
                  </a:lnTo>
                  <a:lnTo>
                    <a:pt x="4682" y="1"/>
                  </a:lnTo>
                  <a:lnTo>
                    <a:pt x="4703" y="0"/>
                  </a:lnTo>
                  <a:lnTo>
                    <a:pt x="4725" y="0"/>
                  </a:lnTo>
                  <a:lnTo>
                    <a:pt x="4748" y="1"/>
                  </a:lnTo>
                  <a:lnTo>
                    <a:pt x="4771" y="4"/>
                  </a:lnTo>
                  <a:lnTo>
                    <a:pt x="4794" y="8"/>
                  </a:lnTo>
                  <a:lnTo>
                    <a:pt x="4819" y="13"/>
                  </a:lnTo>
                  <a:lnTo>
                    <a:pt x="4843" y="20"/>
                  </a:lnTo>
                  <a:lnTo>
                    <a:pt x="4869" y="29"/>
                  </a:lnTo>
                  <a:lnTo>
                    <a:pt x="4894" y="39"/>
                  </a:lnTo>
                  <a:lnTo>
                    <a:pt x="4921" y="51"/>
                  </a:lnTo>
                  <a:lnTo>
                    <a:pt x="4947" y="64"/>
                  </a:lnTo>
                  <a:lnTo>
                    <a:pt x="4974" y="81"/>
                  </a:lnTo>
                  <a:lnTo>
                    <a:pt x="5002" y="99"/>
                  </a:lnTo>
                  <a:lnTo>
                    <a:pt x="10615" y="3377"/>
                  </a:lnTo>
                  <a:lnTo>
                    <a:pt x="10629" y="3382"/>
                  </a:lnTo>
                  <a:lnTo>
                    <a:pt x="10665" y="3398"/>
                  </a:lnTo>
                  <a:lnTo>
                    <a:pt x="10689" y="3411"/>
                  </a:lnTo>
                  <a:lnTo>
                    <a:pt x="10717" y="3426"/>
                  </a:lnTo>
                  <a:lnTo>
                    <a:pt x="10731" y="3435"/>
                  </a:lnTo>
                  <a:lnTo>
                    <a:pt x="10746" y="3446"/>
                  </a:lnTo>
                  <a:lnTo>
                    <a:pt x="10761" y="3457"/>
                  </a:lnTo>
                  <a:lnTo>
                    <a:pt x="10776" y="3469"/>
                  </a:lnTo>
                  <a:lnTo>
                    <a:pt x="10791" y="3482"/>
                  </a:lnTo>
                  <a:lnTo>
                    <a:pt x="10807" y="3497"/>
                  </a:lnTo>
                  <a:lnTo>
                    <a:pt x="10821" y="3512"/>
                  </a:lnTo>
                  <a:lnTo>
                    <a:pt x="10836" y="3528"/>
                  </a:lnTo>
                  <a:lnTo>
                    <a:pt x="10850" y="3546"/>
                  </a:lnTo>
                  <a:lnTo>
                    <a:pt x="10864" y="3564"/>
                  </a:lnTo>
                  <a:lnTo>
                    <a:pt x="10877" y="3584"/>
                  </a:lnTo>
                  <a:lnTo>
                    <a:pt x="10890" y="3605"/>
                  </a:lnTo>
                  <a:lnTo>
                    <a:pt x="10901" y="3627"/>
                  </a:lnTo>
                  <a:lnTo>
                    <a:pt x="10911" y="3651"/>
                  </a:lnTo>
                  <a:lnTo>
                    <a:pt x="10921" y="3675"/>
                  </a:lnTo>
                  <a:lnTo>
                    <a:pt x="10929" y="3702"/>
                  </a:lnTo>
                  <a:lnTo>
                    <a:pt x="10936" y="3729"/>
                  </a:lnTo>
                  <a:lnTo>
                    <a:pt x="10941" y="3758"/>
                  </a:lnTo>
                  <a:lnTo>
                    <a:pt x="10945" y="3788"/>
                  </a:lnTo>
                  <a:lnTo>
                    <a:pt x="10947" y="3819"/>
                  </a:lnTo>
                  <a:lnTo>
                    <a:pt x="10947" y="13186"/>
                  </a:lnTo>
                  <a:lnTo>
                    <a:pt x="10948" y="13202"/>
                  </a:lnTo>
                  <a:lnTo>
                    <a:pt x="10950" y="13246"/>
                  </a:lnTo>
                  <a:lnTo>
                    <a:pt x="10949" y="13275"/>
                  </a:lnTo>
                  <a:lnTo>
                    <a:pt x="10947" y="13311"/>
                  </a:lnTo>
                  <a:lnTo>
                    <a:pt x="10945" y="13329"/>
                  </a:lnTo>
                  <a:lnTo>
                    <a:pt x="10942" y="13349"/>
                  </a:lnTo>
                  <a:lnTo>
                    <a:pt x="10938" y="13369"/>
                  </a:lnTo>
                  <a:lnTo>
                    <a:pt x="10934" y="13391"/>
                  </a:lnTo>
                  <a:lnTo>
                    <a:pt x="10929" y="13412"/>
                  </a:lnTo>
                  <a:lnTo>
                    <a:pt x="10923" y="13434"/>
                  </a:lnTo>
                  <a:lnTo>
                    <a:pt x="10915" y="13457"/>
                  </a:lnTo>
                  <a:lnTo>
                    <a:pt x="10907" y="13479"/>
                  </a:lnTo>
                  <a:lnTo>
                    <a:pt x="10897" y="13502"/>
                  </a:lnTo>
                  <a:lnTo>
                    <a:pt x="10886" y="13525"/>
                  </a:lnTo>
                  <a:lnTo>
                    <a:pt x="10874" y="13548"/>
                  </a:lnTo>
                  <a:lnTo>
                    <a:pt x="10861" y="13570"/>
                  </a:lnTo>
                  <a:lnTo>
                    <a:pt x="10845" y="13593"/>
                  </a:lnTo>
                  <a:lnTo>
                    <a:pt x="10829" y="13614"/>
                  </a:lnTo>
                  <a:lnTo>
                    <a:pt x="10810" y="13635"/>
                  </a:lnTo>
                  <a:lnTo>
                    <a:pt x="10790" y="13657"/>
                  </a:lnTo>
                  <a:lnTo>
                    <a:pt x="10769" y="13677"/>
                  </a:lnTo>
                  <a:lnTo>
                    <a:pt x="10745" y="13697"/>
                  </a:lnTo>
                  <a:lnTo>
                    <a:pt x="10719" y="13715"/>
                  </a:lnTo>
                  <a:lnTo>
                    <a:pt x="10692" y="13732"/>
                  </a:lnTo>
                  <a:lnTo>
                    <a:pt x="6559" y="16230"/>
                  </a:lnTo>
                  <a:lnTo>
                    <a:pt x="6550" y="16237"/>
                  </a:lnTo>
                  <a:lnTo>
                    <a:pt x="6525" y="16256"/>
                  </a:lnTo>
                  <a:lnTo>
                    <a:pt x="6507" y="16268"/>
                  </a:lnTo>
                  <a:lnTo>
                    <a:pt x="6486" y="16280"/>
                  </a:lnTo>
                  <a:lnTo>
                    <a:pt x="6474" y="16286"/>
                  </a:lnTo>
                  <a:lnTo>
                    <a:pt x="6461" y="16291"/>
                  </a:lnTo>
                  <a:lnTo>
                    <a:pt x="6447" y="16298"/>
                  </a:lnTo>
                  <a:lnTo>
                    <a:pt x="6433" y="16303"/>
                  </a:lnTo>
                  <a:lnTo>
                    <a:pt x="6418" y="16307"/>
                  </a:lnTo>
                  <a:lnTo>
                    <a:pt x="6402" y="16311"/>
                  </a:lnTo>
                  <a:lnTo>
                    <a:pt x="6386" y="16315"/>
                  </a:lnTo>
                  <a:lnTo>
                    <a:pt x="6369" y="16317"/>
                  </a:lnTo>
                  <a:lnTo>
                    <a:pt x="6351" y="16319"/>
                  </a:lnTo>
                  <a:lnTo>
                    <a:pt x="6333" y="16320"/>
                  </a:lnTo>
                  <a:lnTo>
                    <a:pt x="6315" y="16320"/>
                  </a:lnTo>
                  <a:lnTo>
                    <a:pt x="6295" y="16319"/>
                  </a:lnTo>
                  <a:lnTo>
                    <a:pt x="6275" y="16316"/>
                  </a:lnTo>
                  <a:lnTo>
                    <a:pt x="6255" y="16313"/>
                  </a:lnTo>
                  <a:lnTo>
                    <a:pt x="6235" y="16307"/>
                  </a:lnTo>
                  <a:lnTo>
                    <a:pt x="6213" y="16301"/>
                  </a:lnTo>
                  <a:lnTo>
                    <a:pt x="6192" y="16292"/>
                  </a:lnTo>
                  <a:lnTo>
                    <a:pt x="6170" y="16282"/>
                  </a:lnTo>
                  <a:lnTo>
                    <a:pt x="6148" y="16270"/>
                  </a:lnTo>
                  <a:lnTo>
                    <a:pt x="6125" y="16256"/>
                  </a:lnTo>
                  <a:lnTo>
                    <a:pt x="2904" y="14418"/>
                  </a:lnTo>
                  <a:lnTo>
                    <a:pt x="2896" y="14415"/>
                  </a:lnTo>
                  <a:lnTo>
                    <a:pt x="2877" y="14401"/>
                  </a:lnTo>
                  <a:lnTo>
                    <a:pt x="2864" y="14391"/>
                  </a:lnTo>
                  <a:lnTo>
                    <a:pt x="2850" y="14378"/>
                  </a:lnTo>
                  <a:lnTo>
                    <a:pt x="2835" y="14363"/>
                  </a:lnTo>
                  <a:lnTo>
                    <a:pt x="2820" y="14343"/>
                  </a:lnTo>
                  <a:lnTo>
                    <a:pt x="2812" y="14332"/>
                  </a:lnTo>
                  <a:lnTo>
                    <a:pt x="2805" y="14320"/>
                  </a:lnTo>
                  <a:lnTo>
                    <a:pt x="2798" y="14308"/>
                  </a:lnTo>
                  <a:lnTo>
                    <a:pt x="2791" y="14293"/>
                  </a:lnTo>
                  <a:lnTo>
                    <a:pt x="2784" y="14279"/>
                  </a:lnTo>
                  <a:lnTo>
                    <a:pt x="2778" y="14263"/>
                  </a:lnTo>
                  <a:lnTo>
                    <a:pt x="2773" y="14246"/>
                  </a:lnTo>
                  <a:lnTo>
                    <a:pt x="2768" y="14228"/>
                  </a:lnTo>
                  <a:lnTo>
                    <a:pt x="2763" y="14210"/>
                  </a:lnTo>
                  <a:lnTo>
                    <a:pt x="2760" y="14189"/>
                  </a:lnTo>
                  <a:lnTo>
                    <a:pt x="2757" y="14168"/>
                  </a:lnTo>
                  <a:lnTo>
                    <a:pt x="2755" y="14146"/>
                  </a:lnTo>
                  <a:lnTo>
                    <a:pt x="2754" y="14123"/>
                  </a:lnTo>
                  <a:lnTo>
                    <a:pt x="2754" y="14097"/>
                  </a:lnTo>
                  <a:lnTo>
                    <a:pt x="2755" y="14072"/>
                  </a:lnTo>
                  <a:lnTo>
                    <a:pt x="2757" y="14044"/>
                  </a:lnTo>
                  <a:lnTo>
                    <a:pt x="2757" y="13668"/>
                  </a:lnTo>
                  <a:lnTo>
                    <a:pt x="2742" y="13662"/>
                  </a:lnTo>
                  <a:lnTo>
                    <a:pt x="2702" y="13647"/>
                  </a:lnTo>
                  <a:lnTo>
                    <a:pt x="2673" y="13638"/>
                  </a:lnTo>
                  <a:lnTo>
                    <a:pt x="2641" y="13630"/>
                  </a:lnTo>
                  <a:lnTo>
                    <a:pt x="2623" y="13626"/>
                  </a:lnTo>
                  <a:lnTo>
                    <a:pt x="2604" y="13623"/>
                  </a:lnTo>
                  <a:lnTo>
                    <a:pt x="2585" y="13621"/>
                  </a:lnTo>
                  <a:lnTo>
                    <a:pt x="2565" y="13619"/>
                  </a:lnTo>
                  <a:lnTo>
                    <a:pt x="2544" y="13619"/>
                  </a:lnTo>
                  <a:lnTo>
                    <a:pt x="2523" y="13619"/>
                  </a:lnTo>
                  <a:lnTo>
                    <a:pt x="2501" y="13620"/>
                  </a:lnTo>
                  <a:lnTo>
                    <a:pt x="2479" y="13622"/>
                  </a:lnTo>
                  <a:lnTo>
                    <a:pt x="2457" y="13626"/>
                  </a:lnTo>
                  <a:lnTo>
                    <a:pt x="2435" y="13631"/>
                  </a:lnTo>
                  <a:lnTo>
                    <a:pt x="2412" y="13637"/>
                  </a:lnTo>
                  <a:lnTo>
                    <a:pt x="2390" y="13646"/>
                  </a:lnTo>
                  <a:lnTo>
                    <a:pt x="2368" y="13656"/>
                  </a:lnTo>
                  <a:lnTo>
                    <a:pt x="2345" y="13668"/>
                  </a:lnTo>
                  <a:lnTo>
                    <a:pt x="2324" y="13681"/>
                  </a:lnTo>
                  <a:lnTo>
                    <a:pt x="2302" y="13698"/>
                  </a:lnTo>
                  <a:lnTo>
                    <a:pt x="2281" y="13716"/>
                  </a:lnTo>
                  <a:lnTo>
                    <a:pt x="2260" y="13736"/>
                  </a:lnTo>
                  <a:lnTo>
                    <a:pt x="2240" y="13759"/>
                  </a:lnTo>
                  <a:lnTo>
                    <a:pt x="2221" y="13784"/>
                  </a:lnTo>
                  <a:lnTo>
                    <a:pt x="2214" y="13793"/>
                  </a:lnTo>
                  <a:lnTo>
                    <a:pt x="2192" y="13817"/>
                  </a:lnTo>
                  <a:lnTo>
                    <a:pt x="2177" y="13831"/>
                  </a:lnTo>
                  <a:lnTo>
                    <a:pt x="2158" y="13847"/>
                  </a:lnTo>
                  <a:lnTo>
                    <a:pt x="2147" y="13854"/>
                  </a:lnTo>
                  <a:lnTo>
                    <a:pt x="2135" y="13862"/>
                  </a:lnTo>
                  <a:lnTo>
                    <a:pt x="2123" y="13869"/>
                  </a:lnTo>
                  <a:lnTo>
                    <a:pt x="2110" y="13875"/>
                  </a:lnTo>
                  <a:lnTo>
                    <a:pt x="2097" y="13881"/>
                  </a:lnTo>
                  <a:lnTo>
                    <a:pt x="2082" y="13887"/>
                  </a:lnTo>
                  <a:lnTo>
                    <a:pt x="2067" y="13892"/>
                  </a:lnTo>
                  <a:lnTo>
                    <a:pt x="2051" y="13896"/>
                  </a:lnTo>
                  <a:lnTo>
                    <a:pt x="2035" y="13900"/>
                  </a:lnTo>
                  <a:lnTo>
                    <a:pt x="2018" y="13902"/>
                  </a:lnTo>
                  <a:lnTo>
                    <a:pt x="2000" y="13902"/>
                  </a:lnTo>
                  <a:lnTo>
                    <a:pt x="1982" y="13902"/>
                  </a:lnTo>
                  <a:lnTo>
                    <a:pt x="1963" y="13900"/>
                  </a:lnTo>
                  <a:lnTo>
                    <a:pt x="1943" y="13896"/>
                  </a:lnTo>
                  <a:lnTo>
                    <a:pt x="1923" y="13890"/>
                  </a:lnTo>
                  <a:lnTo>
                    <a:pt x="1902" y="13884"/>
                  </a:lnTo>
                  <a:lnTo>
                    <a:pt x="1880" y="13875"/>
                  </a:lnTo>
                  <a:lnTo>
                    <a:pt x="1859" y="13864"/>
                  </a:lnTo>
                  <a:lnTo>
                    <a:pt x="1836" y="13852"/>
                  </a:lnTo>
                  <a:lnTo>
                    <a:pt x="1812" y="13836"/>
                  </a:lnTo>
                  <a:lnTo>
                    <a:pt x="281" y="12895"/>
                  </a:lnTo>
                  <a:lnTo>
                    <a:pt x="270" y="12891"/>
                  </a:lnTo>
                  <a:lnTo>
                    <a:pt x="239" y="12878"/>
                  </a:lnTo>
                  <a:lnTo>
                    <a:pt x="218" y="12866"/>
                  </a:lnTo>
                  <a:lnTo>
                    <a:pt x="194" y="12853"/>
                  </a:lnTo>
                  <a:lnTo>
                    <a:pt x="170" y="12838"/>
                  </a:lnTo>
                  <a:lnTo>
                    <a:pt x="144" y="12818"/>
                  </a:lnTo>
                  <a:lnTo>
                    <a:pt x="131" y="12807"/>
                  </a:lnTo>
                  <a:lnTo>
                    <a:pt x="118" y="12796"/>
                  </a:lnTo>
                  <a:lnTo>
                    <a:pt x="105" y="12784"/>
                  </a:lnTo>
                  <a:lnTo>
                    <a:pt x="93" y="12771"/>
                  </a:lnTo>
                  <a:lnTo>
                    <a:pt x="81" y="12757"/>
                  </a:lnTo>
                  <a:lnTo>
                    <a:pt x="69" y="12743"/>
                  </a:lnTo>
                  <a:lnTo>
                    <a:pt x="58" y="12727"/>
                  </a:lnTo>
                  <a:lnTo>
                    <a:pt x="48" y="12710"/>
                  </a:lnTo>
                  <a:lnTo>
                    <a:pt x="38" y="12694"/>
                  </a:lnTo>
                  <a:lnTo>
                    <a:pt x="30" y="12676"/>
                  </a:lnTo>
                  <a:lnTo>
                    <a:pt x="22" y="12656"/>
                  </a:lnTo>
                  <a:lnTo>
                    <a:pt x="15" y="12637"/>
                  </a:lnTo>
                  <a:lnTo>
                    <a:pt x="10" y="12615"/>
                  </a:lnTo>
                  <a:lnTo>
                    <a:pt x="6" y="12594"/>
                  </a:lnTo>
                  <a:lnTo>
                    <a:pt x="3" y="12570"/>
                  </a:lnTo>
                  <a:lnTo>
                    <a:pt x="2" y="12547"/>
                  </a:lnTo>
                  <a:lnTo>
                    <a:pt x="1" y="12525"/>
                  </a:lnTo>
                  <a:lnTo>
                    <a:pt x="1" y="12495"/>
                  </a:lnTo>
                  <a:lnTo>
                    <a:pt x="1" y="12468"/>
                  </a:lnTo>
                  <a:lnTo>
                    <a:pt x="1" y="12457"/>
                  </a:lnTo>
                  <a:lnTo>
                    <a:pt x="1" y="2909"/>
                  </a:lnTo>
                  <a:lnTo>
                    <a:pt x="0" y="2901"/>
                  </a:lnTo>
                  <a:lnTo>
                    <a:pt x="0" y="2879"/>
                  </a:lnTo>
                  <a:lnTo>
                    <a:pt x="1" y="2864"/>
                  </a:lnTo>
                  <a:lnTo>
                    <a:pt x="3" y="2847"/>
                  </a:lnTo>
                  <a:lnTo>
                    <a:pt x="6" y="2828"/>
                  </a:lnTo>
                  <a:lnTo>
                    <a:pt x="11" y="2808"/>
                  </a:lnTo>
                  <a:lnTo>
                    <a:pt x="14" y="2798"/>
                  </a:lnTo>
                  <a:lnTo>
                    <a:pt x="18" y="2787"/>
                  </a:lnTo>
                  <a:lnTo>
                    <a:pt x="22" y="2776"/>
                  </a:lnTo>
                  <a:lnTo>
                    <a:pt x="27" y="2765"/>
                  </a:lnTo>
                  <a:lnTo>
                    <a:pt x="33" y="2754"/>
                  </a:lnTo>
                  <a:lnTo>
                    <a:pt x="40" y="2744"/>
                  </a:lnTo>
                  <a:lnTo>
                    <a:pt x="47" y="2733"/>
                  </a:lnTo>
                  <a:lnTo>
                    <a:pt x="55" y="2722"/>
                  </a:lnTo>
                  <a:lnTo>
                    <a:pt x="64" y="2712"/>
                  </a:lnTo>
                  <a:lnTo>
                    <a:pt x="74" y="2702"/>
                  </a:lnTo>
                  <a:lnTo>
                    <a:pt x="85" y="2692"/>
                  </a:lnTo>
                  <a:lnTo>
                    <a:pt x="96" y="2683"/>
                  </a:lnTo>
                  <a:lnTo>
                    <a:pt x="109" y="2673"/>
                  </a:lnTo>
                  <a:lnTo>
                    <a:pt x="123" y="2664"/>
                  </a:lnTo>
                  <a:lnTo>
                    <a:pt x="138" y="2656"/>
                  </a:lnTo>
                  <a:lnTo>
                    <a:pt x="154" y="2649"/>
                  </a:lnTo>
                  <a:close/>
                </a:path>
              </a:pathLst>
            </a:custGeom>
            <a:solidFill>
              <a:srgbClr val="8E8D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4" name="Freeform 89"/>
            <p:cNvSpPr>
              <a:spLocks/>
            </p:cNvSpPr>
            <p:nvPr/>
          </p:nvSpPr>
          <p:spPr bwMode="auto">
            <a:xfrm>
              <a:off x="8942535" y="5269525"/>
              <a:ext cx="25080" cy="298710"/>
            </a:xfrm>
            <a:custGeom>
              <a:avLst/>
              <a:gdLst>
                <a:gd name="T0" fmla="*/ 0 w 1157"/>
                <a:gd name="T1" fmla="*/ 0 h 10318"/>
                <a:gd name="T2" fmla="*/ 0 w 1157"/>
                <a:gd name="T3" fmla="*/ 0 h 10318"/>
                <a:gd name="T4" fmla="*/ 0 w 1157"/>
                <a:gd name="T5" fmla="*/ 0 h 10318"/>
                <a:gd name="T6" fmla="*/ 0 w 1157"/>
                <a:gd name="T7" fmla="*/ 0 h 10318"/>
                <a:gd name="T8" fmla="*/ 0 w 1157"/>
                <a:gd name="T9" fmla="*/ 0 h 10318"/>
                <a:gd name="T10" fmla="*/ 0 w 1157"/>
                <a:gd name="T11" fmla="*/ 0 h 10318"/>
                <a:gd name="T12" fmla="*/ 0 w 1157"/>
                <a:gd name="T13" fmla="*/ 0 h 10318"/>
                <a:gd name="T14" fmla="*/ 0 w 1157"/>
                <a:gd name="T15" fmla="*/ 0 h 10318"/>
                <a:gd name="T16" fmla="*/ 0 w 1157"/>
                <a:gd name="T17" fmla="*/ 0 h 10318"/>
                <a:gd name="T18" fmla="*/ 0 w 1157"/>
                <a:gd name="T19" fmla="*/ 0 h 10318"/>
                <a:gd name="T20" fmla="*/ 0 w 1157"/>
                <a:gd name="T21" fmla="*/ 0 h 10318"/>
                <a:gd name="T22" fmla="*/ 0 w 1157"/>
                <a:gd name="T23" fmla="*/ 0 h 10318"/>
                <a:gd name="T24" fmla="*/ 0 w 1157"/>
                <a:gd name="T25" fmla="*/ 0 h 10318"/>
                <a:gd name="T26" fmla="*/ 0 w 1157"/>
                <a:gd name="T27" fmla="*/ 0 h 10318"/>
                <a:gd name="T28" fmla="*/ 0 w 1157"/>
                <a:gd name="T29" fmla="*/ 0 h 10318"/>
                <a:gd name="T30" fmla="*/ 0 w 1157"/>
                <a:gd name="T31" fmla="*/ 0 h 10318"/>
                <a:gd name="T32" fmla="*/ 0 w 1157"/>
                <a:gd name="T33" fmla="*/ 0 h 10318"/>
                <a:gd name="T34" fmla="*/ 0 w 1157"/>
                <a:gd name="T35" fmla="*/ 0 h 10318"/>
                <a:gd name="T36" fmla="*/ 0 w 1157"/>
                <a:gd name="T37" fmla="*/ 0 h 10318"/>
                <a:gd name="T38" fmla="*/ 0 w 1157"/>
                <a:gd name="T39" fmla="*/ 0 h 10318"/>
                <a:gd name="T40" fmla="*/ 0 w 1157"/>
                <a:gd name="T41" fmla="*/ 0 h 10318"/>
                <a:gd name="T42" fmla="*/ 0 w 1157"/>
                <a:gd name="T43" fmla="*/ 0 h 10318"/>
                <a:gd name="T44" fmla="*/ 0 w 1157"/>
                <a:gd name="T45" fmla="*/ 0 h 10318"/>
                <a:gd name="T46" fmla="*/ 0 w 1157"/>
                <a:gd name="T47" fmla="*/ 0 h 10318"/>
                <a:gd name="T48" fmla="*/ 0 w 1157"/>
                <a:gd name="T49" fmla="*/ 0 h 10318"/>
                <a:gd name="T50" fmla="*/ 0 w 1157"/>
                <a:gd name="T51" fmla="*/ 0 h 10318"/>
                <a:gd name="T52" fmla="*/ 0 w 1157"/>
                <a:gd name="T53" fmla="*/ 0 h 10318"/>
                <a:gd name="T54" fmla="*/ 0 w 1157"/>
                <a:gd name="T55" fmla="*/ 0 h 10318"/>
                <a:gd name="T56" fmla="*/ 0 w 1157"/>
                <a:gd name="T57" fmla="*/ 0 h 10318"/>
                <a:gd name="T58" fmla="*/ 0 w 1157"/>
                <a:gd name="T59" fmla="*/ 0 h 1031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57"/>
                <a:gd name="T91" fmla="*/ 0 h 10318"/>
                <a:gd name="T92" fmla="*/ 1157 w 1157"/>
                <a:gd name="T93" fmla="*/ 10318 h 1031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57" h="10318">
                  <a:moveTo>
                    <a:pt x="0" y="677"/>
                  </a:moveTo>
                  <a:lnTo>
                    <a:pt x="754" y="10318"/>
                  </a:lnTo>
                  <a:lnTo>
                    <a:pt x="757" y="10310"/>
                  </a:lnTo>
                  <a:lnTo>
                    <a:pt x="762" y="10299"/>
                  </a:lnTo>
                  <a:lnTo>
                    <a:pt x="768" y="10285"/>
                  </a:lnTo>
                  <a:lnTo>
                    <a:pt x="777" y="10271"/>
                  </a:lnTo>
                  <a:lnTo>
                    <a:pt x="788" y="10256"/>
                  </a:lnTo>
                  <a:lnTo>
                    <a:pt x="802" y="10239"/>
                  </a:lnTo>
                  <a:lnTo>
                    <a:pt x="810" y="10230"/>
                  </a:lnTo>
                  <a:lnTo>
                    <a:pt x="818" y="10221"/>
                  </a:lnTo>
                  <a:lnTo>
                    <a:pt x="828" y="10212"/>
                  </a:lnTo>
                  <a:lnTo>
                    <a:pt x="839" y="10204"/>
                  </a:lnTo>
                  <a:lnTo>
                    <a:pt x="850" y="10195"/>
                  </a:lnTo>
                  <a:lnTo>
                    <a:pt x="862" y="10187"/>
                  </a:lnTo>
                  <a:lnTo>
                    <a:pt x="876" y="10177"/>
                  </a:lnTo>
                  <a:lnTo>
                    <a:pt x="890" y="10169"/>
                  </a:lnTo>
                  <a:lnTo>
                    <a:pt x="906" y="10160"/>
                  </a:lnTo>
                  <a:lnTo>
                    <a:pt x="922" y="10152"/>
                  </a:lnTo>
                  <a:lnTo>
                    <a:pt x="940" y="10144"/>
                  </a:lnTo>
                  <a:lnTo>
                    <a:pt x="959" y="10137"/>
                  </a:lnTo>
                  <a:lnTo>
                    <a:pt x="979" y="10129"/>
                  </a:lnTo>
                  <a:lnTo>
                    <a:pt x="1001" y="10122"/>
                  </a:lnTo>
                  <a:lnTo>
                    <a:pt x="1023" y="10115"/>
                  </a:lnTo>
                  <a:lnTo>
                    <a:pt x="1047" y="10109"/>
                  </a:lnTo>
                  <a:lnTo>
                    <a:pt x="1073" y="10104"/>
                  </a:lnTo>
                  <a:lnTo>
                    <a:pt x="1099" y="10099"/>
                  </a:lnTo>
                  <a:lnTo>
                    <a:pt x="1127" y="10094"/>
                  </a:lnTo>
                  <a:lnTo>
                    <a:pt x="1157" y="10090"/>
                  </a:lnTo>
                  <a:lnTo>
                    <a:pt x="1157" y="0"/>
                  </a:lnTo>
                  <a:lnTo>
                    <a:pt x="0" y="677"/>
                  </a:lnTo>
                  <a:close/>
                </a:path>
              </a:pathLst>
            </a:custGeom>
            <a:solidFill>
              <a:srgbClr val="B5B5B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5" name="Freeform 90"/>
            <p:cNvSpPr>
              <a:spLocks/>
            </p:cNvSpPr>
            <p:nvPr/>
          </p:nvSpPr>
          <p:spPr bwMode="auto">
            <a:xfrm>
              <a:off x="8958210" y="5568235"/>
              <a:ext cx="1045" cy="1479"/>
            </a:xfrm>
            <a:custGeom>
              <a:avLst/>
              <a:gdLst>
                <a:gd name="T0" fmla="*/ 0 w 3"/>
                <a:gd name="T1" fmla="*/ 0 h 11"/>
                <a:gd name="T2" fmla="*/ 0 w 3"/>
                <a:gd name="T3" fmla="*/ 0 h 11"/>
                <a:gd name="T4" fmla="*/ 0 w 3"/>
                <a:gd name="T5" fmla="*/ 0 h 11"/>
                <a:gd name="T6" fmla="*/ 0 w 3"/>
                <a:gd name="T7" fmla="*/ 0 h 11"/>
                <a:gd name="T8" fmla="*/ 0 w 3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1"/>
                <a:gd name="T17" fmla="*/ 3 w 3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1">
                  <a:moveTo>
                    <a:pt x="3" y="5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76" name="Freeform 91"/>
            <p:cNvSpPr>
              <a:spLocks/>
            </p:cNvSpPr>
            <p:nvPr/>
          </p:nvSpPr>
          <p:spPr bwMode="auto">
            <a:xfrm>
              <a:off x="8967615" y="5263609"/>
              <a:ext cx="30305" cy="304625"/>
            </a:xfrm>
            <a:custGeom>
              <a:avLst/>
              <a:gdLst>
                <a:gd name="T0" fmla="*/ 0 w 1458"/>
                <a:gd name="T1" fmla="*/ 0 h 10522"/>
                <a:gd name="T2" fmla="*/ 0 w 1458"/>
                <a:gd name="T3" fmla="*/ 0 h 10522"/>
                <a:gd name="T4" fmla="*/ 0 w 1458"/>
                <a:gd name="T5" fmla="*/ 0 h 10522"/>
                <a:gd name="T6" fmla="*/ 0 w 1458"/>
                <a:gd name="T7" fmla="*/ 0 h 10522"/>
                <a:gd name="T8" fmla="*/ 0 w 1458"/>
                <a:gd name="T9" fmla="*/ 0 h 10522"/>
                <a:gd name="T10" fmla="*/ 0 w 1458"/>
                <a:gd name="T11" fmla="*/ 0 h 10522"/>
                <a:gd name="T12" fmla="*/ 0 w 1458"/>
                <a:gd name="T13" fmla="*/ 0 h 10522"/>
                <a:gd name="T14" fmla="*/ 0 w 1458"/>
                <a:gd name="T15" fmla="*/ 0 h 10522"/>
                <a:gd name="T16" fmla="*/ 0 w 1458"/>
                <a:gd name="T17" fmla="*/ 0 h 10522"/>
                <a:gd name="T18" fmla="*/ 0 w 1458"/>
                <a:gd name="T19" fmla="*/ 0 h 10522"/>
                <a:gd name="T20" fmla="*/ 0 w 1458"/>
                <a:gd name="T21" fmla="*/ 0 h 10522"/>
                <a:gd name="T22" fmla="*/ 0 w 1458"/>
                <a:gd name="T23" fmla="*/ 0 h 10522"/>
                <a:gd name="T24" fmla="*/ 0 w 1458"/>
                <a:gd name="T25" fmla="*/ 0 h 10522"/>
                <a:gd name="T26" fmla="*/ 0 w 1458"/>
                <a:gd name="T27" fmla="*/ 0 h 10522"/>
                <a:gd name="T28" fmla="*/ 0 w 1458"/>
                <a:gd name="T29" fmla="*/ 0 h 10522"/>
                <a:gd name="T30" fmla="*/ 0 w 1458"/>
                <a:gd name="T31" fmla="*/ 0 h 10522"/>
                <a:gd name="T32" fmla="*/ 0 w 1458"/>
                <a:gd name="T33" fmla="*/ 0 h 10522"/>
                <a:gd name="T34" fmla="*/ 0 w 1458"/>
                <a:gd name="T35" fmla="*/ 0 h 10522"/>
                <a:gd name="T36" fmla="*/ 0 w 1458"/>
                <a:gd name="T37" fmla="*/ 0 h 10522"/>
                <a:gd name="T38" fmla="*/ 0 w 1458"/>
                <a:gd name="T39" fmla="*/ 0 h 10522"/>
                <a:gd name="T40" fmla="*/ 0 w 1458"/>
                <a:gd name="T41" fmla="*/ 0 h 10522"/>
                <a:gd name="T42" fmla="*/ 0 w 1458"/>
                <a:gd name="T43" fmla="*/ 0 h 10522"/>
                <a:gd name="T44" fmla="*/ 0 w 1458"/>
                <a:gd name="T45" fmla="*/ 0 h 10522"/>
                <a:gd name="T46" fmla="*/ 0 w 1458"/>
                <a:gd name="T47" fmla="*/ 0 h 10522"/>
                <a:gd name="T48" fmla="*/ 0 w 1458"/>
                <a:gd name="T49" fmla="*/ 0 h 10522"/>
                <a:gd name="T50" fmla="*/ 0 w 1458"/>
                <a:gd name="T51" fmla="*/ 0 h 10522"/>
                <a:gd name="T52" fmla="*/ 0 w 1458"/>
                <a:gd name="T53" fmla="*/ 0 h 10522"/>
                <a:gd name="T54" fmla="*/ 0 w 1458"/>
                <a:gd name="T55" fmla="*/ 0 h 10522"/>
                <a:gd name="T56" fmla="*/ 0 w 1458"/>
                <a:gd name="T57" fmla="*/ 0 h 10522"/>
                <a:gd name="T58" fmla="*/ 0 w 1458"/>
                <a:gd name="T59" fmla="*/ 0 h 10522"/>
                <a:gd name="T60" fmla="*/ 0 w 1458"/>
                <a:gd name="T61" fmla="*/ 0 h 10522"/>
                <a:gd name="T62" fmla="*/ 0 w 1458"/>
                <a:gd name="T63" fmla="*/ 0 h 10522"/>
                <a:gd name="T64" fmla="*/ 0 w 1458"/>
                <a:gd name="T65" fmla="*/ 0 h 10522"/>
                <a:gd name="T66" fmla="*/ 0 w 1458"/>
                <a:gd name="T67" fmla="*/ 0 h 10522"/>
                <a:gd name="T68" fmla="*/ 0 w 1458"/>
                <a:gd name="T69" fmla="*/ 0 h 1052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58"/>
                <a:gd name="T106" fmla="*/ 0 h 10522"/>
                <a:gd name="T107" fmla="*/ 1458 w 1458"/>
                <a:gd name="T108" fmla="*/ 10522 h 1052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58" h="10522">
                  <a:moveTo>
                    <a:pt x="362" y="0"/>
                  </a:moveTo>
                  <a:lnTo>
                    <a:pt x="0" y="212"/>
                  </a:lnTo>
                  <a:lnTo>
                    <a:pt x="0" y="10302"/>
                  </a:lnTo>
                  <a:lnTo>
                    <a:pt x="19" y="10300"/>
                  </a:lnTo>
                  <a:lnTo>
                    <a:pt x="38" y="10299"/>
                  </a:lnTo>
                  <a:lnTo>
                    <a:pt x="58" y="10297"/>
                  </a:lnTo>
                  <a:lnTo>
                    <a:pt x="78" y="10296"/>
                  </a:lnTo>
                  <a:lnTo>
                    <a:pt x="99" y="10295"/>
                  </a:lnTo>
                  <a:lnTo>
                    <a:pt x="120" y="10293"/>
                  </a:lnTo>
                  <a:lnTo>
                    <a:pt x="143" y="10292"/>
                  </a:lnTo>
                  <a:lnTo>
                    <a:pt x="165" y="10292"/>
                  </a:lnTo>
                  <a:lnTo>
                    <a:pt x="178" y="10291"/>
                  </a:lnTo>
                  <a:lnTo>
                    <a:pt x="212" y="10292"/>
                  </a:lnTo>
                  <a:lnTo>
                    <a:pt x="236" y="10293"/>
                  </a:lnTo>
                  <a:lnTo>
                    <a:pt x="265" y="10298"/>
                  </a:lnTo>
                  <a:lnTo>
                    <a:pt x="296" y="10303"/>
                  </a:lnTo>
                  <a:lnTo>
                    <a:pt x="330" y="10311"/>
                  </a:lnTo>
                  <a:lnTo>
                    <a:pt x="348" y="10316"/>
                  </a:lnTo>
                  <a:lnTo>
                    <a:pt x="367" y="10322"/>
                  </a:lnTo>
                  <a:lnTo>
                    <a:pt x="386" y="10328"/>
                  </a:lnTo>
                  <a:lnTo>
                    <a:pt x="405" y="10336"/>
                  </a:lnTo>
                  <a:lnTo>
                    <a:pt x="425" y="10344"/>
                  </a:lnTo>
                  <a:lnTo>
                    <a:pt x="445" y="10355"/>
                  </a:lnTo>
                  <a:lnTo>
                    <a:pt x="465" y="10365"/>
                  </a:lnTo>
                  <a:lnTo>
                    <a:pt x="485" y="10377"/>
                  </a:lnTo>
                  <a:lnTo>
                    <a:pt x="506" y="10390"/>
                  </a:lnTo>
                  <a:lnTo>
                    <a:pt x="526" y="10405"/>
                  </a:lnTo>
                  <a:lnTo>
                    <a:pt x="546" y="10421"/>
                  </a:lnTo>
                  <a:lnTo>
                    <a:pt x="566" y="10438"/>
                  </a:lnTo>
                  <a:lnTo>
                    <a:pt x="586" y="10457"/>
                  </a:lnTo>
                  <a:lnTo>
                    <a:pt x="605" y="10477"/>
                  </a:lnTo>
                  <a:lnTo>
                    <a:pt x="624" y="10499"/>
                  </a:lnTo>
                  <a:lnTo>
                    <a:pt x="643" y="10522"/>
                  </a:lnTo>
                  <a:lnTo>
                    <a:pt x="1458" y="631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7" name="Freeform 92"/>
            <p:cNvSpPr>
              <a:spLocks/>
            </p:cNvSpPr>
            <p:nvPr/>
          </p:nvSpPr>
          <p:spPr bwMode="auto">
            <a:xfrm>
              <a:off x="9045990" y="5279876"/>
              <a:ext cx="93006" cy="359340"/>
            </a:xfrm>
            <a:custGeom>
              <a:avLst/>
              <a:gdLst>
                <a:gd name="T0" fmla="*/ 0 w 4414"/>
                <a:gd name="T1" fmla="*/ 0 h 12417"/>
                <a:gd name="T2" fmla="*/ 0 w 4414"/>
                <a:gd name="T3" fmla="*/ 0 h 12417"/>
                <a:gd name="T4" fmla="*/ 0 w 4414"/>
                <a:gd name="T5" fmla="*/ 0 h 12417"/>
                <a:gd name="T6" fmla="*/ 0 w 4414"/>
                <a:gd name="T7" fmla="*/ 0 h 12417"/>
                <a:gd name="T8" fmla="*/ 0 w 4414"/>
                <a:gd name="T9" fmla="*/ 0 h 124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14"/>
                <a:gd name="T16" fmla="*/ 0 h 12417"/>
                <a:gd name="T17" fmla="*/ 4414 w 4414"/>
                <a:gd name="T18" fmla="*/ 12417 h 124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14" h="12417">
                  <a:moveTo>
                    <a:pt x="0" y="2752"/>
                  </a:moveTo>
                  <a:lnTo>
                    <a:pt x="4414" y="0"/>
                  </a:lnTo>
                  <a:lnTo>
                    <a:pt x="4414" y="9747"/>
                  </a:lnTo>
                  <a:lnTo>
                    <a:pt x="60" y="12417"/>
                  </a:lnTo>
                  <a:lnTo>
                    <a:pt x="0" y="2752"/>
                  </a:lnTo>
                  <a:close/>
                </a:path>
              </a:pathLst>
            </a:custGeom>
            <a:solidFill>
              <a:srgbClr val="B9B9B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8" name="Freeform 93"/>
            <p:cNvSpPr>
              <a:spLocks/>
            </p:cNvSpPr>
            <p:nvPr/>
          </p:nvSpPr>
          <p:spPr bwMode="auto">
            <a:xfrm>
              <a:off x="8977021" y="5300579"/>
              <a:ext cx="71060" cy="338637"/>
            </a:xfrm>
            <a:custGeom>
              <a:avLst/>
              <a:gdLst>
                <a:gd name="T0" fmla="*/ 0 w 3381"/>
                <a:gd name="T1" fmla="*/ 0 h 11718"/>
                <a:gd name="T2" fmla="*/ 0 w 3381"/>
                <a:gd name="T3" fmla="*/ 0 h 11718"/>
                <a:gd name="T4" fmla="*/ 0 w 3381"/>
                <a:gd name="T5" fmla="*/ 0 h 11718"/>
                <a:gd name="T6" fmla="*/ 0 w 3381"/>
                <a:gd name="T7" fmla="*/ 0 h 11718"/>
                <a:gd name="T8" fmla="*/ 0 w 3381"/>
                <a:gd name="T9" fmla="*/ 0 h 117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81"/>
                <a:gd name="T16" fmla="*/ 0 h 11718"/>
                <a:gd name="T17" fmla="*/ 3381 w 3381"/>
                <a:gd name="T18" fmla="*/ 11718 h 117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81" h="11718">
                  <a:moveTo>
                    <a:pt x="3381" y="2029"/>
                  </a:moveTo>
                  <a:lnTo>
                    <a:pt x="0" y="0"/>
                  </a:lnTo>
                  <a:lnTo>
                    <a:pt x="0" y="9779"/>
                  </a:lnTo>
                  <a:lnTo>
                    <a:pt x="3381" y="11718"/>
                  </a:lnTo>
                  <a:lnTo>
                    <a:pt x="3381" y="2029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9" name="Freeform 94"/>
            <p:cNvSpPr>
              <a:spLocks/>
            </p:cNvSpPr>
            <p:nvPr/>
          </p:nvSpPr>
          <p:spPr bwMode="auto">
            <a:xfrm>
              <a:off x="8983291" y="5321282"/>
              <a:ext cx="56431" cy="115344"/>
            </a:xfrm>
            <a:custGeom>
              <a:avLst/>
              <a:gdLst>
                <a:gd name="T0" fmla="*/ 0 w 2733"/>
                <a:gd name="T1" fmla="*/ 0 h 3953"/>
                <a:gd name="T2" fmla="*/ 0 w 2733"/>
                <a:gd name="T3" fmla="*/ 0 h 3953"/>
                <a:gd name="T4" fmla="*/ 0 w 2733"/>
                <a:gd name="T5" fmla="*/ 0 h 3953"/>
                <a:gd name="T6" fmla="*/ 0 w 2733"/>
                <a:gd name="T7" fmla="*/ 0 h 3953"/>
                <a:gd name="T8" fmla="*/ 0 w 2733"/>
                <a:gd name="T9" fmla="*/ 0 h 39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33"/>
                <a:gd name="T16" fmla="*/ 0 h 3953"/>
                <a:gd name="T17" fmla="*/ 2733 w 2733"/>
                <a:gd name="T18" fmla="*/ 3953 h 39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33" h="3953">
                  <a:moveTo>
                    <a:pt x="0" y="0"/>
                  </a:moveTo>
                  <a:lnTo>
                    <a:pt x="0" y="2385"/>
                  </a:lnTo>
                  <a:lnTo>
                    <a:pt x="2733" y="3953"/>
                  </a:lnTo>
                  <a:lnTo>
                    <a:pt x="2733" y="15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80" name="Freeform 95"/>
            <p:cNvSpPr>
              <a:spLocks/>
            </p:cNvSpPr>
            <p:nvPr/>
          </p:nvSpPr>
          <p:spPr bwMode="auto">
            <a:xfrm>
              <a:off x="8920590" y="5254737"/>
              <a:ext cx="37620" cy="313498"/>
            </a:xfrm>
            <a:custGeom>
              <a:avLst/>
              <a:gdLst>
                <a:gd name="T0" fmla="*/ 0 w 1839"/>
                <a:gd name="T1" fmla="*/ 0 h 10814"/>
                <a:gd name="T2" fmla="*/ 0 w 1839"/>
                <a:gd name="T3" fmla="*/ 0 h 10814"/>
                <a:gd name="T4" fmla="*/ 0 w 1839"/>
                <a:gd name="T5" fmla="*/ 0 h 10814"/>
                <a:gd name="T6" fmla="*/ 0 w 1839"/>
                <a:gd name="T7" fmla="*/ 0 h 10814"/>
                <a:gd name="T8" fmla="*/ 0 w 1839"/>
                <a:gd name="T9" fmla="*/ 0 h 10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39"/>
                <a:gd name="T16" fmla="*/ 0 h 10814"/>
                <a:gd name="T17" fmla="*/ 1839 w 1839"/>
                <a:gd name="T18" fmla="*/ 10814 h 10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39" h="10814">
                  <a:moveTo>
                    <a:pt x="5" y="0"/>
                  </a:moveTo>
                  <a:lnTo>
                    <a:pt x="0" y="9760"/>
                  </a:lnTo>
                  <a:lnTo>
                    <a:pt x="1839" y="10814"/>
                  </a:lnTo>
                  <a:lnTo>
                    <a:pt x="1839" y="101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1" name="Freeform 96"/>
            <p:cNvSpPr>
              <a:spLocks/>
            </p:cNvSpPr>
            <p:nvPr/>
          </p:nvSpPr>
          <p:spPr bwMode="auto">
            <a:xfrm>
              <a:off x="8926860" y="5276918"/>
              <a:ext cx="28215" cy="96120"/>
            </a:xfrm>
            <a:custGeom>
              <a:avLst/>
              <a:gdLst>
                <a:gd name="T0" fmla="*/ 0 w 1368"/>
                <a:gd name="T1" fmla="*/ 0 h 3287"/>
                <a:gd name="T2" fmla="*/ 0 w 1368"/>
                <a:gd name="T3" fmla="*/ 0 h 3287"/>
                <a:gd name="T4" fmla="*/ 0 w 1368"/>
                <a:gd name="T5" fmla="*/ 0 h 3287"/>
                <a:gd name="T6" fmla="*/ 0 w 1368"/>
                <a:gd name="T7" fmla="*/ 0 h 3287"/>
                <a:gd name="T8" fmla="*/ 0 w 1368"/>
                <a:gd name="T9" fmla="*/ 0 h 32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8"/>
                <a:gd name="T16" fmla="*/ 0 h 3287"/>
                <a:gd name="T17" fmla="*/ 1368 w 1368"/>
                <a:gd name="T18" fmla="*/ 3287 h 328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8" h="3287">
                  <a:moveTo>
                    <a:pt x="0" y="0"/>
                  </a:moveTo>
                  <a:lnTo>
                    <a:pt x="0" y="2516"/>
                  </a:lnTo>
                  <a:lnTo>
                    <a:pt x="1368" y="3287"/>
                  </a:lnTo>
                  <a:lnTo>
                    <a:pt x="1368" y="7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2" name="Freeform 97"/>
            <p:cNvSpPr>
              <a:spLocks/>
            </p:cNvSpPr>
            <p:nvPr/>
          </p:nvSpPr>
          <p:spPr bwMode="auto">
            <a:xfrm>
              <a:off x="8982245" y="5405571"/>
              <a:ext cx="56431" cy="69502"/>
            </a:xfrm>
            <a:custGeom>
              <a:avLst/>
              <a:gdLst>
                <a:gd name="T0" fmla="*/ 0 w 2688"/>
                <a:gd name="T1" fmla="*/ 0 h 2433"/>
                <a:gd name="T2" fmla="*/ 0 w 2688"/>
                <a:gd name="T3" fmla="*/ 0 h 2433"/>
                <a:gd name="T4" fmla="*/ 0 w 2688"/>
                <a:gd name="T5" fmla="*/ 0 h 2433"/>
                <a:gd name="T6" fmla="*/ 0 w 2688"/>
                <a:gd name="T7" fmla="*/ 0 h 2433"/>
                <a:gd name="T8" fmla="*/ 0 w 2688"/>
                <a:gd name="T9" fmla="*/ 0 h 2433"/>
                <a:gd name="T10" fmla="*/ 0 w 2688"/>
                <a:gd name="T11" fmla="*/ 0 h 2433"/>
                <a:gd name="T12" fmla="*/ 0 w 2688"/>
                <a:gd name="T13" fmla="*/ 0 h 2433"/>
                <a:gd name="T14" fmla="*/ 0 w 2688"/>
                <a:gd name="T15" fmla="*/ 0 h 2433"/>
                <a:gd name="T16" fmla="*/ 0 w 2688"/>
                <a:gd name="T17" fmla="*/ 0 h 2433"/>
                <a:gd name="T18" fmla="*/ 0 w 2688"/>
                <a:gd name="T19" fmla="*/ 0 h 2433"/>
                <a:gd name="T20" fmla="*/ 0 w 2688"/>
                <a:gd name="T21" fmla="*/ 0 h 2433"/>
                <a:gd name="T22" fmla="*/ 0 w 2688"/>
                <a:gd name="T23" fmla="*/ 0 h 2433"/>
                <a:gd name="T24" fmla="*/ 0 w 2688"/>
                <a:gd name="T25" fmla="*/ 0 h 2433"/>
                <a:gd name="T26" fmla="*/ 0 w 2688"/>
                <a:gd name="T27" fmla="*/ 0 h 2433"/>
                <a:gd name="T28" fmla="*/ 0 w 2688"/>
                <a:gd name="T29" fmla="*/ 0 h 2433"/>
                <a:gd name="T30" fmla="*/ 0 w 2688"/>
                <a:gd name="T31" fmla="*/ 0 h 2433"/>
                <a:gd name="T32" fmla="*/ 0 w 2688"/>
                <a:gd name="T33" fmla="*/ 0 h 2433"/>
                <a:gd name="T34" fmla="*/ 0 w 2688"/>
                <a:gd name="T35" fmla="*/ 0 h 2433"/>
                <a:gd name="T36" fmla="*/ 0 w 2688"/>
                <a:gd name="T37" fmla="*/ 0 h 2433"/>
                <a:gd name="T38" fmla="*/ 0 w 2688"/>
                <a:gd name="T39" fmla="*/ 0 h 2433"/>
                <a:gd name="T40" fmla="*/ 0 w 2688"/>
                <a:gd name="T41" fmla="*/ 0 h 2433"/>
                <a:gd name="T42" fmla="*/ 0 w 2688"/>
                <a:gd name="T43" fmla="*/ 0 h 2433"/>
                <a:gd name="T44" fmla="*/ 0 w 2688"/>
                <a:gd name="T45" fmla="*/ 0 h 2433"/>
                <a:gd name="T46" fmla="*/ 0 w 2688"/>
                <a:gd name="T47" fmla="*/ 0 h 2433"/>
                <a:gd name="T48" fmla="*/ 0 w 2688"/>
                <a:gd name="T49" fmla="*/ 0 h 2433"/>
                <a:gd name="T50" fmla="*/ 0 w 2688"/>
                <a:gd name="T51" fmla="*/ 0 h 2433"/>
                <a:gd name="T52" fmla="*/ 0 w 2688"/>
                <a:gd name="T53" fmla="*/ 0 h 2433"/>
                <a:gd name="T54" fmla="*/ 0 w 2688"/>
                <a:gd name="T55" fmla="*/ 0 h 2433"/>
                <a:gd name="T56" fmla="*/ 0 w 2688"/>
                <a:gd name="T57" fmla="*/ 0 h 2433"/>
                <a:gd name="T58" fmla="*/ 0 w 2688"/>
                <a:gd name="T59" fmla="*/ 0 h 2433"/>
                <a:gd name="T60" fmla="*/ 0 w 2688"/>
                <a:gd name="T61" fmla="*/ 0 h 2433"/>
                <a:gd name="T62" fmla="*/ 0 w 2688"/>
                <a:gd name="T63" fmla="*/ 0 h 2433"/>
                <a:gd name="T64" fmla="*/ 0 w 2688"/>
                <a:gd name="T65" fmla="*/ 0 h 2433"/>
                <a:gd name="T66" fmla="*/ 0 w 2688"/>
                <a:gd name="T67" fmla="*/ 0 h 2433"/>
                <a:gd name="T68" fmla="*/ 0 w 2688"/>
                <a:gd name="T69" fmla="*/ 0 h 2433"/>
                <a:gd name="T70" fmla="*/ 0 w 2688"/>
                <a:gd name="T71" fmla="*/ 0 h 2433"/>
                <a:gd name="T72" fmla="*/ 0 w 2688"/>
                <a:gd name="T73" fmla="*/ 0 h 2433"/>
                <a:gd name="T74" fmla="*/ 0 w 2688"/>
                <a:gd name="T75" fmla="*/ 0 h 2433"/>
                <a:gd name="T76" fmla="*/ 0 w 2688"/>
                <a:gd name="T77" fmla="*/ 0 h 2433"/>
                <a:gd name="T78" fmla="*/ 0 w 2688"/>
                <a:gd name="T79" fmla="*/ 0 h 2433"/>
                <a:gd name="T80" fmla="*/ 0 w 2688"/>
                <a:gd name="T81" fmla="*/ 0 h 2433"/>
                <a:gd name="T82" fmla="*/ 0 w 2688"/>
                <a:gd name="T83" fmla="*/ 0 h 2433"/>
                <a:gd name="T84" fmla="*/ 0 w 2688"/>
                <a:gd name="T85" fmla="*/ 0 h 2433"/>
                <a:gd name="T86" fmla="*/ 0 w 2688"/>
                <a:gd name="T87" fmla="*/ 0 h 2433"/>
                <a:gd name="T88" fmla="*/ 0 w 2688"/>
                <a:gd name="T89" fmla="*/ 0 h 2433"/>
                <a:gd name="T90" fmla="*/ 0 w 2688"/>
                <a:gd name="T91" fmla="*/ 0 h 2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88"/>
                <a:gd name="T139" fmla="*/ 0 h 2433"/>
                <a:gd name="T140" fmla="*/ 2688 w 2688"/>
                <a:gd name="T141" fmla="*/ 2433 h 2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88" h="2433">
                  <a:moveTo>
                    <a:pt x="2688" y="2312"/>
                  </a:moveTo>
                  <a:lnTo>
                    <a:pt x="2688" y="2322"/>
                  </a:lnTo>
                  <a:lnTo>
                    <a:pt x="2687" y="2332"/>
                  </a:lnTo>
                  <a:lnTo>
                    <a:pt x="2686" y="2342"/>
                  </a:lnTo>
                  <a:lnTo>
                    <a:pt x="2684" y="2351"/>
                  </a:lnTo>
                  <a:lnTo>
                    <a:pt x="2682" y="2359"/>
                  </a:lnTo>
                  <a:lnTo>
                    <a:pt x="2679" y="2367"/>
                  </a:lnTo>
                  <a:lnTo>
                    <a:pt x="2676" y="2375"/>
                  </a:lnTo>
                  <a:lnTo>
                    <a:pt x="2673" y="2382"/>
                  </a:lnTo>
                  <a:lnTo>
                    <a:pt x="2669" y="2390"/>
                  </a:lnTo>
                  <a:lnTo>
                    <a:pt x="2664" y="2396"/>
                  </a:lnTo>
                  <a:lnTo>
                    <a:pt x="2660" y="2402"/>
                  </a:lnTo>
                  <a:lnTo>
                    <a:pt x="2655" y="2407"/>
                  </a:lnTo>
                  <a:lnTo>
                    <a:pt x="2649" y="2412"/>
                  </a:lnTo>
                  <a:lnTo>
                    <a:pt x="2643" y="2416"/>
                  </a:lnTo>
                  <a:lnTo>
                    <a:pt x="2637" y="2420"/>
                  </a:lnTo>
                  <a:lnTo>
                    <a:pt x="2631" y="2424"/>
                  </a:lnTo>
                  <a:lnTo>
                    <a:pt x="2624" y="2426"/>
                  </a:lnTo>
                  <a:lnTo>
                    <a:pt x="2617" y="2429"/>
                  </a:lnTo>
                  <a:lnTo>
                    <a:pt x="2609" y="2431"/>
                  </a:lnTo>
                  <a:lnTo>
                    <a:pt x="2602" y="2432"/>
                  </a:lnTo>
                  <a:lnTo>
                    <a:pt x="2594" y="2433"/>
                  </a:lnTo>
                  <a:lnTo>
                    <a:pt x="2586" y="2433"/>
                  </a:lnTo>
                  <a:lnTo>
                    <a:pt x="2577" y="2433"/>
                  </a:lnTo>
                  <a:lnTo>
                    <a:pt x="2569" y="2433"/>
                  </a:lnTo>
                  <a:lnTo>
                    <a:pt x="2551" y="2429"/>
                  </a:lnTo>
                  <a:lnTo>
                    <a:pt x="2532" y="2424"/>
                  </a:lnTo>
                  <a:lnTo>
                    <a:pt x="2513" y="2417"/>
                  </a:lnTo>
                  <a:lnTo>
                    <a:pt x="2493" y="2407"/>
                  </a:lnTo>
                  <a:lnTo>
                    <a:pt x="196" y="1138"/>
                  </a:lnTo>
                  <a:lnTo>
                    <a:pt x="176" y="1127"/>
                  </a:lnTo>
                  <a:lnTo>
                    <a:pt x="156" y="1113"/>
                  </a:lnTo>
                  <a:lnTo>
                    <a:pt x="138" y="1097"/>
                  </a:lnTo>
                  <a:lnTo>
                    <a:pt x="120" y="1081"/>
                  </a:lnTo>
                  <a:lnTo>
                    <a:pt x="103" y="1063"/>
                  </a:lnTo>
                  <a:lnTo>
                    <a:pt x="86" y="1043"/>
                  </a:lnTo>
                  <a:lnTo>
                    <a:pt x="71" y="1024"/>
                  </a:lnTo>
                  <a:lnTo>
                    <a:pt x="58" y="1002"/>
                  </a:lnTo>
                  <a:lnTo>
                    <a:pt x="45" y="981"/>
                  </a:lnTo>
                  <a:lnTo>
                    <a:pt x="34" y="960"/>
                  </a:lnTo>
                  <a:lnTo>
                    <a:pt x="24" y="937"/>
                  </a:lnTo>
                  <a:lnTo>
                    <a:pt x="16" y="915"/>
                  </a:lnTo>
                  <a:lnTo>
                    <a:pt x="9" y="892"/>
                  </a:lnTo>
                  <a:lnTo>
                    <a:pt x="4" y="871"/>
                  </a:lnTo>
                  <a:lnTo>
                    <a:pt x="1" y="848"/>
                  </a:lnTo>
                  <a:lnTo>
                    <a:pt x="0" y="827"/>
                  </a:lnTo>
                  <a:lnTo>
                    <a:pt x="0" y="122"/>
                  </a:lnTo>
                  <a:lnTo>
                    <a:pt x="1" y="112"/>
                  </a:lnTo>
                  <a:lnTo>
                    <a:pt x="1" y="102"/>
                  </a:lnTo>
                  <a:lnTo>
                    <a:pt x="3" y="93"/>
                  </a:lnTo>
                  <a:lnTo>
                    <a:pt x="4" y="83"/>
                  </a:lnTo>
                  <a:lnTo>
                    <a:pt x="6" y="74"/>
                  </a:lnTo>
                  <a:lnTo>
                    <a:pt x="9" y="66"/>
                  </a:lnTo>
                  <a:lnTo>
                    <a:pt x="12" y="59"/>
                  </a:lnTo>
                  <a:lnTo>
                    <a:pt x="16" y="52"/>
                  </a:lnTo>
                  <a:lnTo>
                    <a:pt x="20" y="45"/>
                  </a:lnTo>
                  <a:lnTo>
                    <a:pt x="24" y="38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9" y="22"/>
                  </a:lnTo>
                  <a:lnTo>
                    <a:pt x="45" y="17"/>
                  </a:lnTo>
                  <a:lnTo>
                    <a:pt x="51" y="13"/>
                  </a:lnTo>
                  <a:lnTo>
                    <a:pt x="58" y="10"/>
                  </a:lnTo>
                  <a:lnTo>
                    <a:pt x="64" y="7"/>
                  </a:lnTo>
                  <a:lnTo>
                    <a:pt x="71" y="5"/>
                  </a:lnTo>
                  <a:lnTo>
                    <a:pt x="79" y="3"/>
                  </a:lnTo>
                  <a:lnTo>
                    <a:pt x="86" y="1"/>
                  </a:lnTo>
                  <a:lnTo>
                    <a:pt x="94" y="1"/>
                  </a:lnTo>
                  <a:lnTo>
                    <a:pt x="103" y="0"/>
                  </a:lnTo>
                  <a:lnTo>
                    <a:pt x="111" y="0"/>
                  </a:lnTo>
                  <a:lnTo>
                    <a:pt x="120" y="1"/>
                  </a:lnTo>
                  <a:lnTo>
                    <a:pt x="138" y="4"/>
                  </a:lnTo>
                  <a:lnTo>
                    <a:pt x="156" y="9"/>
                  </a:lnTo>
                  <a:lnTo>
                    <a:pt x="176" y="17"/>
                  </a:lnTo>
                  <a:lnTo>
                    <a:pt x="196" y="26"/>
                  </a:lnTo>
                  <a:lnTo>
                    <a:pt x="2493" y="1295"/>
                  </a:lnTo>
                  <a:lnTo>
                    <a:pt x="2513" y="1307"/>
                  </a:lnTo>
                  <a:lnTo>
                    <a:pt x="2532" y="1321"/>
                  </a:lnTo>
                  <a:lnTo>
                    <a:pt x="2551" y="1336"/>
                  </a:lnTo>
                  <a:lnTo>
                    <a:pt x="2569" y="1353"/>
                  </a:lnTo>
                  <a:lnTo>
                    <a:pt x="2586" y="1372"/>
                  </a:lnTo>
                  <a:lnTo>
                    <a:pt x="2602" y="1390"/>
                  </a:lnTo>
                  <a:lnTo>
                    <a:pt x="2617" y="1410"/>
                  </a:lnTo>
                  <a:lnTo>
                    <a:pt x="2631" y="1431"/>
                  </a:lnTo>
                  <a:lnTo>
                    <a:pt x="2643" y="1452"/>
                  </a:lnTo>
                  <a:lnTo>
                    <a:pt x="2655" y="1475"/>
                  </a:lnTo>
                  <a:lnTo>
                    <a:pt x="2664" y="1496"/>
                  </a:lnTo>
                  <a:lnTo>
                    <a:pt x="2673" y="1518"/>
                  </a:lnTo>
                  <a:lnTo>
                    <a:pt x="2679" y="1541"/>
                  </a:lnTo>
                  <a:lnTo>
                    <a:pt x="2684" y="1563"/>
                  </a:lnTo>
                  <a:lnTo>
                    <a:pt x="2687" y="1585"/>
                  </a:lnTo>
                  <a:lnTo>
                    <a:pt x="2688" y="1606"/>
                  </a:lnTo>
                  <a:lnTo>
                    <a:pt x="2688" y="2312"/>
                  </a:lnTo>
                  <a:close/>
                </a:path>
              </a:pathLst>
            </a:custGeom>
            <a:solidFill>
              <a:srgbClr val="EDA74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83" name="Freeform 98"/>
            <p:cNvSpPr>
              <a:spLocks/>
            </p:cNvSpPr>
            <p:nvPr/>
          </p:nvSpPr>
          <p:spPr bwMode="auto">
            <a:xfrm>
              <a:off x="8926860" y="5279876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2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2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4" name="Freeform 99"/>
            <p:cNvSpPr>
              <a:spLocks/>
            </p:cNvSpPr>
            <p:nvPr/>
          </p:nvSpPr>
          <p:spPr bwMode="auto">
            <a:xfrm>
              <a:off x="8926860" y="5291706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5" name="Freeform 100"/>
            <p:cNvSpPr>
              <a:spLocks/>
            </p:cNvSpPr>
            <p:nvPr/>
          </p:nvSpPr>
          <p:spPr bwMode="auto">
            <a:xfrm>
              <a:off x="8926860" y="5303536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7"/>
                  </a:lnTo>
                  <a:lnTo>
                    <a:pt x="1366" y="831"/>
                  </a:lnTo>
                  <a:lnTo>
                    <a:pt x="1371" y="824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6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6"/>
                  </a:lnTo>
                  <a:lnTo>
                    <a:pt x="1359" y="730"/>
                  </a:lnTo>
                  <a:lnTo>
                    <a:pt x="1354" y="725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6" name="Freeform 101"/>
            <p:cNvSpPr>
              <a:spLocks/>
            </p:cNvSpPr>
            <p:nvPr/>
          </p:nvSpPr>
          <p:spPr bwMode="auto">
            <a:xfrm>
              <a:off x="8926860" y="5316845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4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7" name="Freeform 102"/>
            <p:cNvSpPr>
              <a:spLocks/>
            </p:cNvSpPr>
            <p:nvPr/>
          </p:nvSpPr>
          <p:spPr bwMode="auto">
            <a:xfrm>
              <a:off x="8926860" y="5328675"/>
              <a:ext cx="28215" cy="25139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4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4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6"/>
                  </a:lnTo>
                  <a:lnTo>
                    <a:pt x="1344" y="852"/>
                  </a:lnTo>
                  <a:lnTo>
                    <a:pt x="1350" y="848"/>
                  </a:lnTo>
                  <a:lnTo>
                    <a:pt x="1356" y="843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1"/>
                  </a:lnTo>
                  <a:lnTo>
                    <a:pt x="1380" y="794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88" name="Freeform 103"/>
            <p:cNvSpPr>
              <a:spLocks/>
            </p:cNvSpPr>
            <p:nvPr/>
          </p:nvSpPr>
          <p:spPr bwMode="auto">
            <a:xfrm>
              <a:off x="8926860" y="5340505"/>
              <a:ext cx="28215" cy="25139"/>
            </a:xfrm>
            <a:custGeom>
              <a:avLst/>
              <a:gdLst>
                <a:gd name="T0" fmla="*/ 0 w 1380"/>
                <a:gd name="T1" fmla="*/ 0 h 863"/>
                <a:gd name="T2" fmla="*/ 0 w 1380"/>
                <a:gd name="T3" fmla="*/ 0 h 863"/>
                <a:gd name="T4" fmla="*/ 0 w 1380"/>
                <a:gd name="T5" fmla="*/ 0 h 863"/>
                <a:gd name="T6" fmla="*/ 0 w 1380"/>
                <a:gd name="T7" fmla="*/ 0 h 863"/>
                <a:gd name="T8" fmla="*/ 0 w 1380"/>
                <a:gd name="T9" fmla="*/ 0 h 863"/>
                <a:gd name="T10" fmla="*/ 0 w 1380"/>
                <a:gd name="T11" fmla="*/ 0 h 863"/>
                <a:gd name="T12" fmla="*/ 0 w 1380"/>
                <a:gd name="T13" fmla="*/ 0 h 863"/>
                <a:gd name="T14" fmla="*/ 0 w 1380"/>
                <a:gd name="T15" fmla="*/ 0 h 863"/>
                <a:gd name="T16" fmla="*/ 0 w 1380"/>
                <a:gd name="T17" fmla="*/ 0 h 863"/>
                <a:gd name="T18" fmla="*/ 0 w 1380"/>
                <a:gd name="T19" fmla="*/ 0 h 863"/>
                <a:gd name="T20" fmla="*/ 0 w 1380"/>
                <a:gd name="T21" fmla="*/ 0 h 863"/>
                <a:gd name="T22" fmla="*/ 0 w 1380"/>
                <a:gd name="T23" fmla="*/ 0 h 863"/>
                <a:gd name="T24" fmla="*/ 0 w 1380"/>
                <a:gd name="T25" fmla="*/ 0 h 863"/>
                <a:gd name="T26" fmla="*/ 0 w 1380"/>
                <a:gd name="T27" fmla="*/ 0 h 863"/>
                <a:gd name="T28" fmla="*/ 0 w 1380"/>
                <a:gd name="T29" fmla="*/ 0 h 863"/>
                <a:gd name="T30" fmla="*/ 0 w 1380"/>
                <a:gd name="T31" fmla="*/ 0 h 863"/>
                <a:gd name="T32" fmla="*/ 0 w 1380"/>
                <a:gd name="T33" fmla="*/ 0 h 863"/>
                <a:gd name="T34" fmla="*/ 0 w 1380"/>
                <a:gd name="T35" fmla="*/ 0 h 863"/>
                <a:gd name="T36" fmla="*/ 0 w 1380"/>
                <a:gd name="T37" fmla="*/ 0 h 863"/>
                <a:gd name="T38" fmla="*/ 0 w 1380"/>
                <a:gd name="T39" fmla="*/ 0 h 863"/>
                <a:gd name="T40" fmla="*/ 0 w 1380"/>
                <a:gd name="T41" fmla="*/ 0 h 863"/>
                <a:gd name="T42" fmla="*/ 0 w 1380"/>
                <a:gd name="T43" fmla="*/ 0 h 863"/>
                <a:gd name="T44" fmla="*/ 0 w 1380"/>
                <a:gd name="T45" fmla="*/ 0 h 863"/>
                <a:gd name="T46" fmla="*/ 0 w 1380"/>
                <a:gd name="T47" fmla="*/ 0 h 863"/>
                <a:gd name="T48" fmla="*/ 0 w 1380"/>
                <a:gd name="T49" fmla="*/ 0 h 863"/>
                <a:gd name="T50" fmla="*/ 0 w 1380"/>
                <a:gd name="T51" fmla="*/ 0 h 863"/>
                <a:gd name="T52" fmla="*/ 0 w 1380"/>
                <a:gd name="T53" fmla="*/ 0 h 863"/>
                <a:gd name="T54" fmla="*/ 0 w 1380"/>
                <a:gd name="T55" fmla="*/ 0 h 863"/>
                <a:gd name="T56" fmla="*/ 0 w 1380"/>
                <a:gd name="T57" fmla="*/ 0 h 863"/>
                <a:gd name="T58" fmla="*/ 0 w 1380"/>
                <a:gd name="T59" fmla="*/ 0 h 863"/>
                <a:gd name="T60" fmla="*/ 0 w 1380"/>
                <a:gd name="T61" fmla="*/ 0 h 863"/>
                <a:gd name="T62" fmla="*/ 0 w 1380"/>
                <a:gd name="T63" fmla="*/ 0 h 863"/>
                <a:gd name="T64" fmla="*/ 0 w 1380"/>
                <a:gd name="T65" fmla="*/ 0 h 86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3"/>
                <a:gd name="T101" fmla="*/ 1380 w 1380"/>
                <a:gd name="T102" fmla="*/ 863 h 86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3">
                  <a:moveTo>
                    <a:pt x="10" y="40"/>
                  </a:moveTo>
                  <a:lnTo>
                    <a:pt x="6" y="47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3"/>
                  </a:lnTo>
                  <a:lnTo>
                    <a:pt x="3" y="100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4"/>
                  </a:lnTo>
                  <a:lnTo>
                    <a:pt x="40" y="148"/>
                  </a:lnTo>
                  <a:lnTo>
                    <a:pt x="1263" y="853"/>
                  </a:lnTo>
                  <a:lnTo>
                    <a:pt x="1270" y="856"/>
                  </a:lnTo>
                  <a:lnTo>
                    <a:pt x="1278" y="859"/>
                  </a:lnTo>
                  <a:lnTo>
                    <a:pt x="1286" y="861"/>
                  </a:lnTo>
                  <a:lnTo>
                    <a:pt x="1294" y="862"/>
                  </a:lnTo>
                  <a:lnTo>
                    <a:pt x="1301" y="863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0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2"/>
                  </a:lnTo>
                  <a:lnTo>
                    <a:pt x="1374" y="815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69"/>
                  </a:lnTo>
                  <a:lnTo>
                    <a:pt x="1378" y="762"/>
                  </a:lnTo>
                  <a:lnTo>
                    <a:pt x="1375" y="755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8"/>
                  </a:lnTo>
                  <a:lnTo>
                    <a:pt x="1341" y="714"/>
                  </a:lnTo>
                  <a:lnTo>
                    <a:pt x="116" y="10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7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2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0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2" name="Freeform 104"/>
            <p:cNvSpPr>
              <a:spLocks/>
            </p:cNvSpPr>
            <p:nvPr/>
          </p:nvSpPr>
          <p:spPr bwMode="auto">
            <a:xfrm>
              <a:off x="8983291" y="5321282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7"/>
                  </a:lnTo>
                  <a:lnTo>
                    <a:pt x="1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10"/>
                  </a:lnTo>
                  <a:lnTo>
                    <a:pt x="8" y="117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3"/>
                  </a:lnTo>
                  <a:lnTo>
                    <a:pt x="2754" y="1596"/>
                  </a:lnTo>
                  <a:lnTo>
                    <a:pt x="2758" y="1589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1"/>
                  </a:lnTo>
                  <a:lnTo>
                    <a:pt x="2763" y="1543"/>
                  </a:lnTo>
                  <a:lnTo>
                    <a:pt x="2761" y="1536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7"/>
                  </a:lnTo>
                  <a:lnTo>
                    <a:pt x="2731" y="1492"/>
                  </a:lnTo>
                  <a:lnTo>
                    <a:pt x="2724" y="1488"/>
                  </a:lnTo>
                  <a:lnTo>
                    <a:pt x="116" y="11"/>
                  </a:lnTo>
                  <a:lnTo>
                    <a:pt x="108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7"/>
                  </a:lnTo>
                  <a:lnTo>
                    <a:pt x="42" y="10"/>
                  </a:lnTo>
                  <a:lnTo>
                    <a:pt x="36" y="14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3" name="Freeform 105"/>
            <p:cNvSpPr>
              <a:spLocks/>
            </p:cNvSpPr>
            <p:nvPr/>
          </p:nvSpPr>
          <p:spPr bwMode="auto">
            <a:xfrm>
              <a:off x="8983291" y="5334590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4" name="Freeform 106"/>
            <p:cNvSpPr>
              <a:spLocks/>
            </p:cNvSpPr>
            <p:nvPr/>
          </p:nvSpPr>
          <p:spPr bwMode="auto">
            <a:xfrm>
              <a:off x="8983291" y="5346420"/>
              <a:ext cx="57475" cy="47321"/>
            </a:xfrm>
            <a:custGeom>
              <a:avLst/>
              <a:gdLst>
                <a:gd name="T0" fmla="*/ 0 w 2764"/>
                <a:gd name="T1" fmla="*/ 0 h 1637"/>
                <a:gd name="T2" fmla="*/ 0 w 2764"/>
                <a:gd name="T3" fmla="*/ 0 h 1637"/>
                <a:gd name="T4" fmla="*/ 0 w 2764"/>
                <a:gd name="T5" fmla="*/ 0 h 1637"/>
                <a:gd name="T6" fmla="*/ 0 w 2764"/>
                <a:gd name="T7" fmla="*/ 0 h 1637"/>
                <a:gd name="T8" fmla="*/ 0 w 2764"/>
                <a:gd name="T9" fmla="*/ 0 h 1637"/>
                <a:gd name="T10" fmla="*/ 0 w 2764"/>
                <a:gd name="T11" fmla="*/ 0 h 1637"/>
                <a:gd name="T12" fmla="*/ 0 w 2764"/>
                <a:gd name="T13" fmla="*/ 0 h 1637"/>
                <a:gd name="T14" fmla="*/ 0 w 2764"/>
                <a:gd name="T15" fmla="*/ 0 h 1637"/>
                <a:gd name="T16" fmla="*/ 0 w 2764"/>
                <a:gd name="T17" fmla="*/ 0 h 1637"/>
                <a:gd name="T18" fmla="*/ 0 w 2764"/>
                <a:gd name="T19" fmla="*/ 0 h 1637"/>
                <a:gd name="T20" fmla="*/ 0 w 2764"/>
                <a:gd name="T21" fmla="*/ 0 h 1637"/>
                <a:gd name="T22" fmla="*/ 0 w 2764"/>
                <a:gd name="T23" fmla="*/ 0 h 1637"/>
                <a:gd name="T24" fmla="*/ 0 w 2764"/>
                <a:gd name="T25" fmla="*/ 0 h 1637"/>
                <a:gd name="T26" fmla="*/ 0 w 2764"/>
                <a:gd name="T27" fmla="*/ 0 h 1637"/>
                <a:gd name="T28" fmla="*/ 0 w 2764"/>
                <a:gd name="T29" fmla="*/ 0 h 1637"/>
                <a:gd name="T30" fmla="*/ 0 w 2764"/>
                <a:gd name="T31" fmla="*/ 0 h 1637"/>
                <a:gd name="T32" fmla="*/ 0 w 2764"/>
                <a:gd name="T33" fmla="*/ 0 h 1637"/>
                <a:gd name="T34" fmla="*/ 0 w 2764"/>
                <a:gd name="T35" fmla="*/ 0 h 1637"/>
                <a:gd name="T36" fmla="*/ 0 w 2764"/>
                <a:gd name="T37" fmla="*/ 0 h 1637"/>
                <a:gd name="T38" fmla="*/ 0 w 2764"/>
                <a:gd name="T39" fmla="*/ 0 h 1637"/>
                <a:gd name="T40" fmla="*/ 0 w 2764"/>
                <a:gd name="T41" fmla="*/ 0 h 1637"/>
                <a:gd name="T42" fmla="*/ 0 w 2764"/>
                <a:gd name="T43" fmla="*/ 0 h 1637"/>
                <a:gd name="T44" fmla="*/ 0 w 2764"/>
                <a:gd name="T45" fmla="*/ 0 h 1637"/>
                <a:gd name="T46" fmla="*/ 0 w 2764"/>
                <a:gd name="T47" fmla="*/ 0 h 1637"/>
                <a:gd name="T48" fmla="*/ 0 w 2764"/>
                <a:gd name="T49" fmla="*/ 0 h 1637"/>
                <a:gd name="T50" fmla="*/ 0 w 2764"/>
                <a:gd name="T51" fmla="*/ 0 h 1637"/>
                <a:gd name="T52" fmla="*/ 0 w 2764"/>
                <a:gd name="T53" fmla="*/ 0 h 1637"/>
                <a:gd name="T54" fmla="*/ 0 w 2764"/>
                <a:gd name="T55" fmla="*/ 0 h 1637"/>
                <a:gd name="T56" fmla="*/ 0 w 2764"/>
                <a:gd name="T57" fmla="*/ 0 h 1637"/>
                <a:gd name="T58" fmla="*/ 0 w 2764"/>
                <a:gd name="T59" fmla="*/ 0 h 1637"/>
                <a:gd name="T60" fmla="*/ 0 w 2764"/>
                <a:gd name="T61" fmla="*/ 0 h 1637"/>
                <a:gd name="T62" fmla="*/ 0 w 2764"/>
                <a:gd name="T63" fmla="*/ 0 h 1637"/>
                <a:gd name="T64" fmla="*/ 0 w 2764"/>
                <a:gd name="T65" fmla="*/ 0 h 163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7"/>
                <a:gd name="T101" fmla="*/ 2764 w 2764"/>
                <a:gd name="T102" fmla="*/ 1637 h 163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7">
                  <a:moveTo>
                    <a:pt x="9" y="42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30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7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6"/>
                  </a:lnTo>
                  <a:lnTo>
                    <a:pt x="2731" y="1491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2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5" name="Freeform 107"/>
            <p:cNvSpPr>
              <a:spLocks/>
            </p:cNvSpPr>
            <p:nvPr/>
          </p:nvSpPr>
          <p:spPr bwMode="auto">
            <a:xfrm>
              <a:off x="8983291" y="5358250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4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2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6"/>
                  </a:lnTo>
                  <a:lnTo>
                    <a:pt x="2758" y="1588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6" name="Freeform 108"/>
            <p:cNvSpPr>
              <a:spLocks/>
            </p:cNvSpPr>
            <p:nvPr/>
          </p:nvSpPr>
          <p:spPr bwMode="auto">
            <a:xfrm>
              <a:off x="8983291" y="5371559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8"/>
                  </a:lnTo>
                  <a:lnTo>
                    <a:pt x="21" y="133"/>
                  </a:lnTo>
                  <a:lnTo>
                    <a:pt x="27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8"/>
                  </a:lnTo>
                  <a:lnTo>
                    <a:pt x="2740" y="1613"/>
                  </a:lnTo>
                  <a:lnTo>
                    <a:pt x="2745" y="1607"/>
                  </a:lnTo>
                  <a:lnTo>
                    <a:pt x="2750" y="1601"/>
                  </a:lnTo>
                  <a:lnTo>
                    <a:pt x="2754" y="1594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4"/>
                  </a:lnTo>
                  <a:lnTo>
                    <a:pt x="2764" y="1556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3"/>
                  </a:lnTo>
                  <a:lnTo>
                    <a:pt x="2747" y="1507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7"/>
                  </a:lnTo>
                  <a:lnTo>
                    <a:pt x="14" y="33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7" name="Freeform 109"/>
            <p:cNvSpPr>
              <a:spLocks/>
            </p:cNvSpPr>
            <p:nvPr/>
          </p:nvSpPr>
          <p:spPr bwMode="auto">
            <a:xfrm>
              <a:off x="8983291" y="5383389"/>
              <a:ext cx="57475" cy="47321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9"/>
                  </a:lnTo>
                  <a:lnTo>
                    <a:pt x="2750" y="1601"/>
                  </a:lnTo>
                  <a:lnTo>
                    <a:pt x="2754" y="1595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8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8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8" name="Freeform 110"/>
            <p:cNvSpPr>
              <a:spLocks/>
            </p:cNvSpPr>
            <p:nvPr/>
          </p:nvSpPr>
          <p:spPr bwMode="auto">
            <a:xfrm>
              <a:off x="8977021" y="5538660"/>
              <a:ext cx="71060" cy="59150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1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7"/>
                  </a:lnTo>
                  <a:lnTo>
                    <a:pt x="3412" y="2001"/>
                  </a:lnTo>
                  <a:lnTo>
                    <a:pt x="3416" y="1995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7"/>
                  </a:lnTo>
                  <a:lnTo>
                    <a:pt x="3426" y="1949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6"/>
                  </a:lnTo>
                  <a:lnTo>
                    <a:pt x="3405" y="1901"/>
                  </a:lnTo>
                  <a:lnTo>
                    <a:pt x="3399" y="1895"/>
                  </a:lnTo>
                  <a:lnTo>
                    <a:pt x="3393" y="1890"/>
                  </a:lnTo>
                  <a:lnTo>
                    <a:pt x="3386" y="1886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9" name="Freeform 111"/>
            <p:cNvSpPr>
              <a:spLocks/>
            </p:cNvSpPr>
            <p:nvPr/>
          </p:nvSpPr>
          <p:spPr bwMode="auto">
            <a:xfrm>
              <a:off x="8977021" y="5550489"/>
              <a:ext cx="71060" cy="59150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2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8"/>
                  </a:lnTo>
                  <a:lnTo>
                    <a:pt x="3412" y="2002"/>
                  </a:lnTo>
                  <a:lnTo>
                    <a:pt x="3416" y="1994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8"/>
                  </a:lnTo>
                  <a:lnTo>
                    <a:pt x="3426" y="1950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8"/>
                  </a:lnTo>
                  <a:lnTo>
                    <a:pt x="3405" y="1902"/>
                  </a:lnTo>
                  <a:lnTo>
                    <a:pt x="3399" y="1896"/>
                  </a:lnTo>
                  <a:lnTo>
                    <a:pt x="3393" y="1891"/>
                  </a:lnTo>
                  <a:lnTo>
                    <a:pt x="3386" y="1886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7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0" name="Freeform 112"/>
            <p:cNvSpPr>
              <a:spLocks/>
            </p:cNvSpPr>
            <p:nvPr/>
          </p:nvSpPr>
          <p:spPr bwMode="auto">
            <a:xfrm>
              <a:off x="8991650" y="5421838"/>
              <a:ext cx="10450" cy="16267"/>
            </a:xfrm>
            <a:custGeom>
              <a:avLst/>
              <a:gdLst>
                <a:gd name="T0" fmla="*/ 0 w 505"/>
                <a:gd name="T1" fmla="*/ 0 h 593"/>
                <a:gd name="T2" fmla="*/ 0 w 505"/>
                <a:gd name="T3" fmla="*/ 0 h 593"/>
                <a:gd name="T4" fmla="*/ 0 w 505"/>
                <a:gd name="T5" fmla="*/ 0 h 593"/>
                <a:gd name="T6" fmla="*/ 0 w 505"/>
                <a:gd name="T7" fmla="*/ 0 h 593"/>
                <a:gd name="T8" fmla="*/ 0 w 505"/>
                <a:gd name="T9" fmla="*/ 0 h 593"/>
                <a:gd name="T10" fmla="*/ 0 w 505"/>
                <a:gd name="T11" fmla="*/ 0 h 593"/>
                <a:gd name="T12" fmla="*/ 0 w 505"/>
                <a:gd name="T13" fmla="*/ 0 h 593"/>
                <a:gd name="T14" fmla="*/ 0 w 505"/>
                <a:gd name="T15" fmla="*/ 0 h 593"/>
                <a:gd name="T16" fmla="*/ 0 w 505"/>
                <a:gd name="T17" fmla="*/ 0 h 593"/>
                <a:gd name="T18" fmla="*/ 0 w 505"/>
                <a:gd name="T19" fmla="*/ 0 h 593"/>
                <a:gd name="T20" fmla="*/ 0 w 505"/>
                <a:gd name="T21" fmla="*/ 0 h 593"/>
                <a:gd name="T22" fmla="*/ 0 w 505"/>
                <a:gd name="T23" fmla="*/ 0 h 593"/>
                <a:gd name="T24" fmla="*/ 0 w 505"/>
                <a:gd name="T25" fmla="*/ 0 h 593"/>
                <a:gd name="T26" fmla="*/ 0 w 505"/>
                <a:gd name="T27" fmla="*/ 0 h 593"/>
                <a:gd name="T28" fmla="*/ 0 w 505"/>
                <a:gd name="T29" fmla="*/ 0 h 593"/>
                <a:gd name="T30" fmla="*/ 0 w 505"/>
                <a:gd name="T31" fmla="*/ 0 h 593"/>
                <a:gd name="T32" fmla="*/ 0 w 505"/>
                <a:gd name="T33" fmla="*/ 0 h 593"/>
                <a:gd name="T34" fmla="*/ 0 w 505"/>
                <a:gd name="T35" fmla="*/ 0 h 593"/>
                <a:gd name="T36" fmla="*/ 0 w 505"/>
                <a:gd name="T37" fmla="*/ 0 h 593"/>
                <a:gd name="T38" fmla="*/ 0 w 505"/>
                <a:gd name="T39" fmla="*/ 0 h 593"/>
                <a:gd name="T40" fmla="*/ 0 w 505"/>
                <a:gd name="T41" fmla="*/ 0 h 593"/>
                <a:gd name="T42" fmla="*/ 0 w 505"/>
                <a:gd name="T43" fmla="*/ 0 h 593"/>
                <a:gd name="T44" fmla="*/ 0 w 505"/>
                <a:gd name="T45" fmla="*/ 0 h 593"/>
                <a:gd name="T46" fmla="*/ 0 w 505"/>
                <a:gd name="T47" fmla="*/ 0 h 593"/>
                <a:gd name="T48" fmla="*/ 0 w 505"/>
                <a:gd name="T49" fmla="*/ 0 h 593"/>
                <a:gd name="T50" fmla="*/ 0 w 505"/>
                <a:gd name="T51" fmla="*/ 0 h 593"/>
                <a:gd name="T52" fmla="*/ 0 w 505"/>
                <a:gd name="T53" fmla="*/ 0 h 593"/>
                <a:gd name="T54" fmla="*/ 0 w 505"/>
                <a:gd name="T55" fmla="*/ 0 h 593"/>
                <a:gd name="T56" fmla="*/ 0 w 505"/>
                <a:gd name="T57" fmla="*/ 0 h 593"/>
                <a:gd name="T58" fmla="*/ 0 w 505"/>
                <a:gd name="T59" fmla="*/ 0 h 593"/>
                <a:gd name="T60" fmla="*/ 0 w 505"/>
                <a:gd name="T61" fmla="*/ 0 h 593"/>
                <a:gd name="T62" fmla="*/ 0 w 505"/>
                <a:gd name="T63" fmla="*/ 0 h 593"/>
                <a:gd name="T64" fmla="*/ 0 w 505"/>
                <a:gd name="T65" fmla="*/ 0 h 593"/>
                <a:gd name="T66" fmla="*/ 0 w 505"/>
                <a:gd name="T67" fmla="*/ 0 h 593"/>
                <a:gd name="T68" fmla="*/ 0 w 505"/>
                <a:gd name="T69" fmla="*/ 0 h 593"/>
                <a:gd name="T70" fmla="*/ 0 w 505"/>
                <a:gd name="T71" fmla="*/ 0 h 593"/>
                <a:gd name="T72" fmla="*/ 0 w 505"/>
                <a:gd name="T73" fmla="*/ 0 h 593"/>
                <a:gd name="T74" fmla="*/ 0 w 505"/>
                <a:gd name="T75" fmla="*/ 0 h 593"/>
                <a:gd name="T76" fmla="*/ 0 w 505"/>
                <a:gd name="T77" fmla="*/ 0 h 593"/>
                <a:gd name="T78" fmla="*/ 0 w 505"/>
                <a:gd name="T79" fmla="*/ 0 h 593"/>
                <a:gd name="T80" fmla="*/ 0 w 505"/>
                <a:gd name="T81" fmla="*/ 0 h 593"/>
                <a:gd name="T82" fmla="*/ 0 w 505"/>
                <a:gd name="T83" fmla="*/ 0 h 593"/>
                <a:gd name="T84" fmla="*/ 0 w 505"/>
                <a:gd name="T85" fmla="*/ 0 h 5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593"/>
                <a:gd name="T131" fmla="*/ 505 w 505"/>
                <a:gd name="T132" fmla="*/ 593 h 5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593">
                  <a:moveTo>
                    <a:pt x="505" y="320"/>
                  </a:moveTo>
                  <a:lnTo>
                    <a:pt x="505" y="335"/>
                  </a:lnTo>
                  <a:lnTo>
                    <a:pt x="505" y="350"/>
                  </a:lnTo>
                  <a:lnTo>
                    <a:pt x="504" y="365"/>
                  </a:lnTo>
                  <a:lnTo>
                    <a:pt x="503" y="379"/>
                  </a:lnTo>
                  <a:lnTo>
                    <a:pt x="501" y="394"/>
                  </a:lnTo>
                  <a:lnTo>
                    <a:pt x="498" y="407"/>
                  </a:lnTo>
                  <a:lnTo>
                    <a:pt x="495" y="420"/>
                  </a:lnTo>
                  <a:lnTo>
                    <a:pt x="491" y="433"/>
                  </a:lnTo>
                  <a:lnTo>
                    <a:pt x="487" y="446"/>
                  </a:lnTo>
                  <a:lnTo>
                    <a:pt x="482" y="458"/>
                  </a:lnTo>
                  <a:lnTo>
                    <a:pt x="476" y="470"/>
                  </a:lnTo>
                  <a:lnTo>
                    <a:pt x="470" y="481"/>
                  </a:lnTo>
                  <a:lnTo>
                    <a:pt x="464" y="492"/>
                  </a:lnTo>
                  <a:lnTo>
                    <a:pt x="457" y="503"/>
                  </a:lnTo>
                  <a:lnTo>
                    <a:pt x="450" y="513"/>
                  </a:lnTo>
                  <a:lnTo>
                    <a:pt x="442" y="522"/>
                  </a:lnTo>
                  <a:lnTo>
                    <a:pt x="434" y="531"/>
                  </a:lnTo>
                  <a:lnTo>
                    <a:pt x="425" y="539"/>
                  </a:lnTo>
                  <a:lnTo>
                    <a:pt x="416" y="548"/>
                  </a:lnTo>
                  <a:lnTo>
                    <a:pt x="406" y="555"/>
                  </a:lnTo>
                  <a:lnTo>
                    <a:pt x="397" y="562"/>
                  </a:lnTo>
                  <a:lnTo>
                    <a:pt x="386" y="568"/>
                  </a:lnTo>
                  <a:lnTo>
                    <a:pt x="376" y="573"/>
                  </a:lnTo>
                  <a:lnTo>
                    <a:pt x="365" y="578"/>
                  </a:lnTo>
                  <a:lnTo>
                    <a:pt x="354" y="582"/>
                  </a:lnTo>
                  <a:lnTo>
                    <a:pt x="342" y="586"/>
                  </a:lnTo>
                  <a:lnTo>
                    <a:pt x="331" y="588"/>
                  </a:lnTo>
                  <a:lnTo>
                    <a:pt x="319" y="590"/>
                  </a:lnTo>
                  <a:lnTo>
                    <a:pt x="306" y="592"/>
                  </a:lnTo>
                  <a:lnTo>
                    <a:pt x="294" y="593"/>
                  </a:lnTo>
                  <a:lnTo>
                    <a:pt x="281" y="593"/>
                  </a:lnTo>
                  <a:lnTo>
                    <a:pt x="268" y="592"/>
                  </a:lnTo>
                  <a:lnTo>
                    <a:pt x="255" y="590"/>
                  </a:lnTo>
                  <a:lnTo>
                    <a:pt x="242" y="588"/>
                  </a:lnTo>
                  <a:lnTo>
                    <a:pt x="229" y="585"/>
                  </a:lnTo>
                  <a:lnTo>
                    <a:pt x="217" y="581"/>
                  </a:lnTo>
                  <a:lnTo>
                    <a:pt x="204" y="577"/>
                  </a:lnTo>
                  <a:lnTo>
                    <a:pt x="192" y="572"/>
                  </a:lnTo>
                  <a:lnTo>
                    <a:pt x="180" y="566"/>
                  </a:lnTo>
                  <a:lnTo>
                    <a:pt x="169" y="560"/>
                  </a:lnTo>
                  <a:lnTo>
                    <a:pt x="157" y="553"/>
                  </a:lnTo>
                  <a:lnTo>
                    <a:pt x="146" y="546"/>
                  </a:lnTo>
                  <a:lnTo>
                    <a:pt x="135" y="537"/>
                  </a:lnTo>
                  <a:lnTo>
                    <a:pt x="124" y="528"/>
                  </a:lnTo>
                  <a:lnTo>
                    <a:pt x="114" y="519"/>
                  </a:lnTo>
                  <a:lnTo>
                    <a:pt x="104" y="510"/>
                  </a:lnTo>
                  <a:lnTo>
                    <a:pt x="94" y="500"/>
                  </a:lnTo>
                  <a:lnTo>
                    <a:pt x="85" y="488"/>
                  </a:lnTo>
                  <a:lnTo>
                    <a:pt x="76" y="478"/>
                  </a:lnTo>
                  <a:lnTo>
                    <a:pt x="68" y="466"/>
                  </a:lnTo>
                  <a:lnTo>
                    <a:pt x="60" y="455"/>
                  </a:lnTo>
                  <a:lnTo>
                    <a:pt x="52" y="443"/>
                  </a:lnTo>
                  <a:lnTo>
                    <a:pt x="45" y="429"/>
                  </a:lnTo>
                  <a:lnTo>
                    <a:pt x="38" y="417"/>
                  </a:lnTo>
                  <a:lnTo>
                    <a:pt x="32" y="404"/>
                  </a:lnTo>
                  <a:lnTo>
                    <a:pt x="26" y="389"/>
                  </a:lnTo>
                  <a:lnTo>
                    <a:pt x="21" y="376"/>
                  </a:lnTo>
                  <a:lnTo>
                    <a:pt x="16" y="362"/>
                  </a:lnTo>
                  <a:lnTo>
                    <a:pt x="12" y="348"/>
                  </a:lnTo>
                  <a:lnTo>
                    <a:pt x="8" y="333"/>
                  </a:lnTo>
                  <a:lnTo>
                    <a:pt x="5" y="318"/>
                  </a:lnTo>
                  <a:lnTo>
                    <a:pt x="3" y="304"/>
                  </a:lnTo>
                  <a:lnTo>
                    <a:pt x="1" y="288"/>
                  </a:lnTo>
                  <a:lnTo>
                    <a:pt x="0" y="273"/>
                  </a:lnTo>
                  <a:lnTo>
                    <a:pt x="0" y="258"/>
                  </a:lnTo>
                  <a:lnTo>
                    <a:pt x="0" y="243"/>
                  </a:lnTo>
                  <a:lnTo>
                    <a:pt x="1" y="228"/>
                  </a:lnTo>
                  <a:lnTo>
                    <a:pt x="2" y="214"/>
                  </a:lnTo>
                  <a:lnTo>
                    <a:pt x="4" y="200"/>
                  </a:lnTo>
                  <a:lnTo>
                    <a:pt x="7" y="186"/>
                  </a:lnTo>
                  <a:lnTo>
                    <a:pt x="10" y="173"/>
                  </a:lnTo>
                  <a:lnTo>
                    <a:pt x="14" y="160"/>
                  </a:lnTo>
                  <a:lnTo>
                    <a:pt x="18" y="147"/>
                  </a:lnTo>
                  <a:lnTo>
                    <a:pt x="23" y="134"/>
                  </a:lnTo>
                  <a:lnTo>
                    <a:pt x="29" y="123"/>
                  </a:lnTo>
                  <a:lnTo>
                    <a:pt x="35" y="112"/>
                  </a:lnTo>
                  <a:lnTo>
                    <a:pt x="41" y="101"/>
                  </a:lnTo>
                  <a:lnTo>
                    <a:pt x="48" y="91"/>
                  </a:lnTo>
                  <a:lnTo>
                    <a:pt x="55" y="80"/>
                  </a:lnTo>
                  <a:lnTo>
                    <a:pt x="63" y="71"/>
                  </a:lnTo>
                  <a:lnTo>
                    <a:pt x="71" y="62"/>
                  </a:lnTo>
                  <a:lnTo>
                    <a:pt x="80" y="54"/>
                  </a:lnTo>
                  <a:lnTo>
                    <a:pt x="89" y="46"/>
                  </a:lnTo>
                  <a:lnTo>
                    <a:pt x="99" y="39"/>
                  </a:lnTo>
                  <a:lnTo>
                    <a:pt x="108" y="31"/>
                  </a:lnTo>
                  <a:lnTo>
                    <a:pt x="119" y="25"/>
                  </a:lnTo>
                  <a:lnTo>
                    <a:pt x="129" y="20"/>
                  </a:lnTo>
                  <a:lnTo>
                    <a:pt x="140" y="15"/>
                  </a:lnTo>
                  <a:lnTo>
                    <a:pt x="151" y="11"/>
                  </a:lnTo>
                  <a:lnTo>
                    <a:pt x="163" y="7"/>
                  </a:lnTo>
                  <a:lnTo>
                    <a:pt x="174" y="4"/>
                  </a:lnTo>
                  <a:lnTo>
                    <a:pt x="187" y="2"/>
                  </a:lnTo>
                  <a:lnTo>
                    <a:pt x="199" y="1"/>
                  </a:lnTo>
                  <a:lnTo>
                    <a:pt x="211" y="0"/>
                  </a:lnTo>
                  <a:lnTo>
                    <a:pt x="224" y="0"/>
                  </a:lnTo>
                  <a:lnTo>
                    <a:pt x="237" y="1"/>
                  </a:lnTo>
                  <a:lnTo>
                    <a:pt x="250" y="2"/>
                  </a:lnTo>
                  <a:lnTo>
                    <a:pt x="263" y="5"/>
                  </a:lnTo>
                  <a:lnTo>
                    <a:pt x="276" y="8"/>
                  </a:lnTo>
                  <a:lnTo>
                    <a:pt x="288" y="11"/>
                  </a:lnTo>
                  <a:lnTo>
                    <a:pt x="301" y="16"/>
                  </a:lnTo>
                  <a:lnTo>
                    <a:pt x="313" y="21"/>
                  </a:lnTo>
                  <a:lnTo>
                    <a:pt x="325" y="27"/>
                  </a:lnTo>
                  <a:lnTo>
                    <a:pt x="337" y="33"/>
                  </a:lnTo>
                  <a:lnTo>
                    <a:pt x="348" y="41"/>
                  </a:lnTo>
                  <a:lnTo>
                    <a:pt x="359" y="48"/>
                  </a:lnTo>
                  <a:lnTo>
                    <a:pt x="370" y="56"/>
                  </a:lnTo>
                  <a:lnTo>
                    <a:pt x="381" y="64"/>
                  </a:lnTo>
                  <a:lnTo>
                    <a:pt x="391" y="73"/>
                  </a:lnTo>
                  <a:lnTo>
                    <a:pt x="401" y="83"/>
                  </a:lnTo>
                  <a:lnTo>
                    <a:pt x="411" y="94"/>
                  </a:lnTo>
                  <a:lnTo>
                    <a:pt x="420" y="104"/>
                  </a:lnTo>
                  <a:lnTo>
                    <a:pt x="429" y="115"/>
                  </a:lnTo>
                  <a:lnTo>
                    <a:pt x="437" y="126"/>
                  </a:lnTo>
                  <a:lnTo>
                    <a:pt x="445" y="139"/>
                  </a:lnTo>
                  <a:lnTo>
                    <a:pt x="453" y="151"/>
                  </a:lnTo>
                  <a:lnTo>
                    <a:pt x="460" y="163"/>
                  </a:lnTo>
                  <a:lnTo>
                    <a:pt x="467" y="176"/>
                  </a:lnTo>
                  <a:lnTo>
                    <a:pt x="473" y="190"/>
                  </a:lnTo>
                  <a:lnTo>
                    <a:pt x="479" y="203"/>
                  </a:lnTo>
                  <a:lnTo>
                    <a:pt x="484" y="217"/>
                  </a:lnTo>
                  <a:lnTo>
                    <a:pt x="489" y="231"/>
                  </a:lnTo>
                  <a:lnTo>
                    <a:pt x="493" y="246"/>
                  </a:lnTo>
                  <a:lnTo>
                    <a:pt x="497" y="260"/>
                  </a:lnTo>
                  <a:lnTo>
                    <a:pt x="499" y="275"/>
                  </a:lnTo>
                  <a:lnTo>
                    <a:pt x="502" y="290"/>
                  </a:lnTo>
                  <a:lnTo>
                    <a:pt x="504" y="305"/>
                  </a:lnTo>
                  <a:lnTo>
                    <a:pt x="505" y="3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1" name="Freeform 113"/>
            <p:cNvSpPr>
              <a:spLocks/>
            </p:cNvSpPr>
            <p:nvPr/>
          </p:nvSpPr>
          <p:spPr bwMode="auto">
            <a:xfrm>
              <a:off x="9010461" y="5436625"/>
              <a:ext cx="10450" cy="17745"/>
            </a:xfrm>
            <a:custGeom>
              <a:avLst/>
              <a:gdLst>
                <a:gd name="T0" fmla="*/ 0 w 523"/>
                <a:gd name="T1" fmla="*/ 0 h 611"/>
                <a:gd name="T2" fmla="*/ 0 w 523"/>
                <a:gd name="T3" fmla="*/ 0 h 611"/>
                <a:gd name="T4" fmla="*/ 0 w 523"/>
                <a:gd name="T5" fmla="*/ 0 h 611"/>
                <a:gd name="T6" fmla="*/ 0 w 523"/>
                <a:gd name="T7" fmla="*/ 0 h 611"/>
                <a:gd name="T8" fmla="*/ 0 w 523"/>
                <a:gd name="T9" fmla="*/ 0 h 611"/>
                <a:gd name="T10" fmla="*/ 0 w 523"/>
                <a:gd name="T11" fmla="*/ 0 h 611"/>
                <a:gd name="T12" fmla="*/ 0 w 523"/>
                <a:gd name="T13" fmla="*/ 0 h 611"/>
                <a:gd name="T14" fmla="*/ 0 w 523"/>
                <a:gd name="T15" fmla="*/ 0 h 611"/>
                <a:gd name="T16" fmla="*/ 0 w 523"/>
                <a:gd name="T17" fmla="*/ 0 h 611"/>
                <a:gd name="T18" fmla="*/ 0 w 523"/>
                <a:gd name="T19" fmla="*/ 0 h 611"/>
                <a:gd name="T20" fmla="*/ 0 w 523"/>
                <a:gd name="T21" fmla="*/ 0 h 611"/>
                <a:gd name="T22" fmla="*/ 0 w 523"/>
                <a:gd name="T23" fmla="*/ 0 h 611"/>
                <a:gd name="T24" fmla="*/ 0 w 523"/>
                <a:gd name="T25" fmla="*/ 0 h 611"/>
                <a:gd name="T26" fmla="*/ 0 w 523"/>
                <a:gd name="T27" fmla="*/ 0 h 611"/>
                <a:gd name="T28" fmla="*/ 0 w 523"/>
                <a:gd name="T29" fmla="*/ 0 h 611"/>
                <a:gd name="T30" fmla="*/ 0 w 523"/>
                <a:gd name="T31" fmla="*/ 0 h 611"/>
                <a:gd name="T32" fmla="*/ 0 w 523"/>
                <a:gd name="T33" fmla="*/ 0 h 611"/>
                <a:gd name="T34" fmla="*/ 0 w 523"/>
                <a:gd name="T35" fmla="*/ 0 h 611"/>
                <a:gd name="T36" fmla="*/ 0 w 523"/>
                <a:gd name="T37" fmla="*/ 0 h 611"/>
                <a:gd name="T38" fmla="*/ 0 w 523"/>
                <a:gd name="T39" fmla="*/ 0 h 611"/>
                <a:gd name="T40" fmla="*/ 0 w 523"/>
                <a:gd name="T41" fmla="*/ 0 h 611"/>
                <a:gd name="T42" fmla="*/ 0 w 523"/>
                <a:gd name="T43" fmla="*/ 0 h 611"/>
                <a:gd name="T44" fmla="*/ 0 w 523"/>
                <a:gd name="T45" fmla="*/ 0 h 611"/>
                <a:gd name="T46" fmla="*/ 0 w 523"/>
                <a:gd name="T47" fmla="*/ 0 h 611"/>
                <a:gd name="T48" fmla="*/ 0 w 523"/>
                <a:gd name="T49" fmla="*/ 0 h 611"/>
                <a:gd name="T50" fmla="*/ 0 w 523"/>
                <a:gd name="T51" fmla="*/ 0 h 611"/>
                <a:gd name="T52" fmla="*/ 0 w 523"/>
                <a:gd name="T53" fmla="*/ 0 h 611"/>
                <a:gd name="T54" fmla="*/ 0 w 523"/>
                <a:gd name="T55" fmla="*/ 0 h 611"/>
                <a:gd name="T56" fmla="*/ 0 w 523"/>
                <a:gd name="T57" fmla="*/ 0 h 611"/>
                <a:gd name="T58" fmla="*/ 0 w 523"/>
                <a:gd name="T59" fmla="*/ 0 h 611"/>
                <a:gd name="T60" fmla="*/ 0 w 523"/>
                <a:gd name="T61" fmla="*/ 0 h 611"/>
                <a:gd name="T62" fmla="*/ 0 w 523"/>
                <a:gd name="T63" fmla="*/ 0 h 611"/>
                <a:gd name="T64" fmla="*/ 0 w 523"/>
                <a:gd name="T65" fmla="*/ 0 h 611"/>
                <a:gd name="T66" fmla="*/ 0 w 523"/>
                <a:gd name="T67" fmla="*/ 0 h 611"/>
                <a:gd name="T68" fmla="*/ 0 w 523"/>
                <a:gd name="T69" fmla="*/ 0 h 611"/>
                <a:gd name="T70" fmla="*/ 0 w 523"/>
                <a:gd name="T71" fmla="*/ 0 h 611"/>
                <a:gd name="T72" fmla="*/ 0 w 523"/>
                <a:gd name="T73" fmla="*/ 0 h 611"/>
                <a:gd name="T74" fmla="*/ 0 w 523"/>
                <a:gd name="T75" fmla="*/ 0 h 611"/>
                <a:gd name="T76" fmla="*/ 0 w 523"/>
                <a:gd name="T77" fmla="*/ 0 h 611"/>
                <a:gd name="T78" fmla="*/ 0 w 523"/>
                <a:gd name="T79" fmla="*/ 0 h 611"/>
                <a:gd name="T80" fmla="*/ 0 w 523"/>
                <a:gd name="T81" fmla="*/ 0 h 611"/>
                <a:gd name="T82" fmla="*/ 0 w 523"/>
                <a:gd name="T83" fmla="*/ 0 h 611"/>
                <a:gd name="T84" fmla="*/ 0 w 523"/>
                <a:gd name="T85" fmla="*/ 0 h 6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3"/>
                <a:gd name="T130" fmla="*/ 0 h 611"/>
                <a:gd name="T131" fmla="*/ 523 w 523"/>
                <a:gd name="T132" fmla="*/ 611 h 6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3" h="611">
                  <a:moveTo>
                    <a:pt x="522" y="329"/>
                  </a:moveTo>
                  <a:lnTo>
                    <a:pt x="523" y="345"/>
                  </a:lnTo>
                  <a:lnTo>
                    <a:pt x="523" y="361"/>
                  </a:lnTo>
                  <a:lnTo>
                    <a:pt x="522" y="376"/>
                  </a:lnTo>
                  <a:lnTo>
                    <a:pt x="520" y="390"/>
                  </a:lnTo>
                  <a:lnTo>
                    <a:pt x="518" y="405"/>
                  </a:lnTo>
                  <a:lnTo>
                    <a:pt x="515" y="419"/>
                  </a:lnTo>
                  <a:lnTo>
                    <a:pt x="512" y="433"/>
                  </a:lnTo>
                  <a:lnTo>
                    <a:pt x="508" y="446"/>
                  </a:lnTo>
                  <a:lnTo>
                    <a:pt x="504" y="460"/>
                  </a:lnTo>
                  <a:lnTo>
                    <a:pt x="498" y="472"/>
                  </a:lnTo>
                  <a:lnTo>
                    <a:pt x="493" y="484"/>
                  </a:lnTo>
                  <a:lnTo>
                    <a:pt x="487" y="495"/>
                  </a:lnTo>
                  <a:lnTo>
                    <a:pt x="480" y="507"/>
                  </a:lnTo>
                  <a:lnTo>
                    <a:pt x="473" y="518"/>
                  </a:lnTo>
                  <a:lnTo>
                    <a:pt x="465" y="528"/>
                  </a:lnTo>
                  <a:lnTo>
                    <a:pt x="457" y="538"/>
                  </a:lnTo>
                  <a:lnTo>
                    <a:pt x="449" y="547"/>
                  </a:lnTo>
                  <a:lnTo>
                    <a:pt x="440" y="556"/>
                  </a:lnTo>
                  <a:lnTo>
                    <a:pt x="430" y="564"/>
                  </a:lnTo>
                  <a:lnTo>
                    <a:pt x="421" y="572"/>
                  </a:lnTo>
                  <a:lnTo>
                    <a:pt x="410" y="578"/>
                  </a:lnTo>
                  <a:lnTo>
                    <a:pt x="400" y="585"/>
                  </a:lnTo>
                  <a:lnTo>
                    <a:pt x="389" y="590"/>
                  </a:lnTo>
                  <a:lnTo>
                    <a:pt x="378" y="595"/>
                  </a:lnTo>
                  <a:lnTo>
                    <a:pt x="366" y="599"/>
                  </a:lnTo>
                  <a:lnTo>
                    <a:pt x="354" y="604"/>
                  </a:lnTo>
                  <a:lnTo>
                    <a:pt x="342" y="607"/>
                  </a:lnTo>
                  <a:lnTo>
                    <a:pt x="330" y="609"/>
                  </a:lnTo>
                  <a:lnTo>
                    <a:pt x="317" y="610"/>
                  </a:lnTo>
                  <a:lnTo>
                    <a:pt x="304" y="611"/>
                  </a:lnTo>
                  <a:lnTo>
                    <a:pt x="291" y="611"/>
                  </a:lnTo>
                  <a:lnTo>
                    <a:pt x="277" y="610"/>
                  </a:lnTo>
                  <a:lnTo>
                    <a:pt x="264" y="609"/>
                  </a:lnTo>
                  <a:lnTo>
                    <a:pt x="251" y="606"/>
                  </a:lnTo>
                  <a:lnTo>
                    <a:pt x="237" y="603"/>
                  </a:lnTo>
                  <a:lnTo>
                    <a:pt x="224" y="598"/>
                  </a:lnTo>
                  <a:lnTo>
                    <a:pt x="212" y="594"/>
                  </a:lnTo>
                  <a:lnTo>
                    <a:pt x="199" y="589"/>
                  </a:lnTo>
                  <a:lnTo>
                    <a:pt x="187" y="583"/>
                  </a:lnTo>
                  <a:lnTo>
                    <a:pt x="174" y="576"/>
                  </a:lnTo>
                  <a:lnTo>
                    <a:pt x="163" y="569"/>
                  </a:lnTo>
                  <a:lnTo>
                    <a:pt x="151" y="562"/>
                  </a:lnTo>
                  <a:lnTo>
                    <a:pt x="140" y="554"/>
                  </a:lnTo>
                  <a:lnTo>
                    <a:pt x="129" y="544"/>
                  </a:lnTo>
                  <a:lnTo>
                    <a:pt x="118" y="535"/>
                  </a:lnTo>
                  <a:lnTo>
                    <a:pt x="108" y="525"/>
                  </a:lnTo>
                  <a:lnTo>
                    <a:pt x="98" y="515"/>
                  </a:lnTo>
                  <a:lnTo>
                    <a:pt x="88" y="504"/>
                  </a:lnTo>
                  <a:lnTo>
                    <a:pt x="79" y="492"/>
                  </a:lnTo>
                  <a:lnTo>
                    <a:pt x="70" y="480"/>
                  </a:lnTo>
                  <a:lnTo>
                    <a:pt x="62" y="468"/>
                  </a:lnTo>
                  <a:lnTo>
                    <a:pt x="54" y="456"/>
                  </a:lnTo>
                  <a:lnTo>
                    <a:pt x="46" y="442"/>
                  </a:lnTo>
                  <a:lnTo>
                    <a:pt x="39" y="429"/>
                  </a:lnTo>
                  <a:lnTo>
                    <a:pt x="33" y="416"/>
                  </a:lnTo>
                  <a:lnTo>
                    <a:pt x="27" y="402"/>
                  </a:lnTo>
                  <a:lnTo>
                    <a:pt x="22" y="387"/>
                  </a:lnTo>
                  <a:lnTo>
                    <a:pt x="17" y="373"/>
                  </a:lnTo>
                  <a:lnTo>
                    <a:pt x="12" y="358"/>
                  </a:lnTo>
                  <a:lnTo>
                    <a:pt x="9" y="343"/>
                  </a:lnTo>
                  <a:lnTo>
                    <a:pt x="6" y="328"/>
                  </a:lnTo>
                  <a:lnTo>
                    <a:pt x="3" y="313"/>
                  </a:lnTo>
                  <a:lnTo>
                    <a:pt x="1" y="297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0" y="250"/>
                  </a:lnTo>
                  <a:lnTo>
                    <a:pt x="1" y="235"/>
                  </a:lnTo>
                  <a:lnTo>
                    <a:pt x="2" y="220"/>
                  </a:lnTo>
                  <a:lnTo>
                    <a:pt x="4" y="206"/>
                  </a:lnTo>
                  <a:lnTo>
                    <a:pt x="7" y="191"/>
                  </a:lnTo>
                  <a:lnTo>
                    <a:pt x="11" y="178"/>
                  </a:lnTo>
                  <a:lnTo>
                    <a:pt x="15" y="165"/>
                  </a:lnTo>
                  <a:lnTo>
                    <a:pt x="19" y="152"/>
                  </a:lnTo>
                  <a:lnTo>
                    <a:pt x="24" y="139"/>
                  </a:lnTo>
                  <a:lnTo>
                    <a:pt x="30" y="127"/>
                  </a:lnTo>
                  <a:lnTo>
                    <a:pt x="36" y="115"/>
                  </a:lnTo>
                  <a:lnTo>
                    <a:pt x="43" y="104"/>
                  </a:lnTo>
                  <a:lnTo>
                    <a:pt x="50" y="93"/>
                  </a:lnTo>
                  <a:lnTo>
                    <a:pt x="57" y="82"/>
                  </a:lnTo>
                  <a:lnTo>
                    <a:pt x="65" y="73"/>
                  </a:lnTo>
                  <a:lnTo>
                    <a:pt x="74" y="64"/>
                  </a:lnTo>
                  <a:lnTo>
                    <a:pt x="83" y="55"/>
                  </a:lnTo>
                  <a:lnTo>
                    <a:pt x="92" y="47"/>
                  </a:lnTo>
                  <a:lnTo>
                    <a:pt x="102" y="39"/>
                  </a:lnTo>
                  <a:lnTo>
                    <a:pt x="112" y="32"/>
                  </a:lnTo>
                  <a:lnTo>
                    <a:pt x="123" y="26"/>
                  </a:lnTo>
                  <a:lnTo>
                    <a:pt x="134" y="20"/>
                  </a:lnTo>
                  <a:lnTo>
                    <a:pt x="145" y="15"/>
                  </a:lnTo>
                  <a:lnTo>
                    <a:pt x="157" y="11"/>
                  </a:lnTo>
                  <a:lnTo>
                    <a:pt x="168" y="7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6" y="1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45" y="1"/>
                  </a:lnTo>
                  <a:lnTo>
                    <a:pt x="259" y="3"/>
                  </a:lnTo>
                  <a:lnTo>
                    <a:pt x="272" y="5"/>
                  </a:lnTo>
                  <a:lnTo>
                    <a:pt x="285" y="8"/>
                  </a:lnTo>
                  <a:lnTo>
                    <a:pt x="298" y="12"/>
                  </a:lnTo>
                  <a:lnTo>
                    <a:pt x="311" y="16"/>
                  </a:lnTo>
                  <a:lnTo>
                    <a:pt x="324" y="22"/>
                  </a:lnTo>
                  <a:lnTo>
                    <a:pt x="336" y="27"/>
                  </a:lnTo>
                  <a:lnTo>
                    <a:pt x="348" y="34"/>
                  </a:lnTo>
                  <a:lnTo>
                    <a:pt x="360" y="42"/>
                  </a:lnTo>
                  <a:lnTo>
                    <a:pt x="372" y="50"/>
                  </a:lnTo>
                  <a:lnTo>
                    <a:pt x="383" y="58"/>
                  </a:lnTo>
                  <a:lnTo>
                    <a:pt x="394" y="66"/>
                  </a:lnTo>
                  <a:lnTo>
                    <a:pt x="405" y="76"/>
                  </a:lnTo>
                  <a:lnTo>
                    <a:pt x="415" y="85"/>
                  </a:lnTo>
                  <a:lnTo>
                    <a:pt x="425" y="97"/>
                  </a:lnTo>
                  <a:lnTo>
                    <a:pt x="435" y="107"/>
                  </a:lnTo>
                  <a:lnTo>
                    <a:pt x="444" y="119"/>
                  </a:lnTo>
                  <a:lnTo>
                    <a:pt x="453" y="130"/>
                  </a:lnTo>
                  <a:lnTo>
                    <a:pt x="461" y="143"/>
                  </a:lnTo>
                  <a:lnTo>
                    <a:pt x="469" y="155"/>
                  </a:lnTo>
                  <a:lnTo>
                    <a:pt x="476" y="168"/>
                  </a:lnTo>
                  <a:lnTo>
                    <a:pt x="483" y="181"/>
                  </a:lnTo>
                  <a:lnTo>
                    <a:pt x="490" y="196"/>
                  </a:lnTo>
                  <a:lnTo>
                    <a:pt x="496" y="209"/>
                  </a:lnTo>
                  <a:lnTo>
                    <a:pt x="501" y="223"/>
                  </a:lnTo>
                  <a:lnTo>
                    <a:pt x="506" y="238"/>
                  </a:lnTo>
                  <a:lnTo>
                    <a:pt x="510" y="253"/>
                  </a:lnTo>
                  <a:lnTo>
                    <a:pt x="514" y="268"/>
                  </a:lnTo>
                  <a:lnTo>
                    <a:pt x="517" y="283"/>
                  </a:lnTo>
                  <a:lnTo>
                    <a:pt x="519" y="299"/>
                  </a:lnTo>
                  <a:lnTo>
                    <a:pt x="521" y="314"/>
                  </a:lnTo>
                  <a:lnTo>
                    <a:pt x="522" y="3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2" name="Freeform 114"/>
            <p:cNvSpPr>
              <a:spLocks/>
            </p:cNvSpPr>
            <p:nvPr/>
          </p:nvSpPr>
          <p:spPr bwMode="auto">
            <a:xfrm>
              <a:off x="8990605" y="5421838"/>
              <a:ext cx="10450" cy="14788"/>
            </a:xfrm>
            <a:custGeom>
              <a:avLst/>
              <a:gdLst>
                <a:gd name="T0" fmla="*/ 0 w 464"/>
                <a:gd name="T1" fmla="*/ 0 h 542"/>
                <a:gd name="T2" fmla="*/ 0 w 464"/>
                <a:gd name="T3" fmla="*/ 0 h 542"/>
                <a:gd name="T4" fmla="*/ 0 w 464"/>
                <a:gd name="T5" fmla="*/ 0 h 542"/>
                <a:gd name="T6" fmla="*/ 0 w 464"/>
                <a:gd name="T7" fmla="*/ 0 h 542"/>
                <a:gd name="T8" fmla="*/ 0 w 464"/>
                <a:gd name="T9" fmla="*/ 0 h 542"/>
                <a:gd name="T10" fmla="*/ 0 w 464"/>
                <a:gd name="T11" fmla="*/ 0 h 542"/>
                <a:gd name="T12" fmla="*/ 0 w 464"/>
                <a:gd name="T13" fmla="*/ 0 h 542"/>
                <a:gd name="T14" fmla="*/ 0 w 464"/>
                <a:gd name="T15" fmla="*/ 0 h 542"/>
                <a:gd name="T16" fmla="*/ 0 w 464"/>
                <a:gd name="T17" fmla="*/ 0 h 542"/>
                <a:gd name="T18" fmla="*/ 0 w 464"/>
                <a:gd name="T19" fmla="*/ 0 h 542"/>
                <a:gd name="T20" fmla="*/ 0 w 464"/>
                <a:gd name="T21" fmla="*/ 0 h 542"/>
                <a:gd name="T22" fmla="*/ 0 w 464"/>
                <a:gd name="T23" fmla="*/ 0 h 542"/>
                <a:gd name="T24" fmla="*/ 0 w 464"/>
                <a:gd name="T25" fmla="*/ 0 h 542"/>
                <a:gd name="T26" fmla="*/ 0 w 464"/>
                <a:gd name="T27" fmla="*/ 0 h 542"/>
                <a:gd name="T28" fmla="*/ 0 w 464"/>
                <a:gd name="T29" fmla="*/ 0 h 542"/>
                <a:gd name="T30" fmla="*/ 0 w 464"/>
                <a:gd name="T31" fmla="*/ 0 h 542"/>
                <a:gd name="T32" fmla="*/ 0 w 464"/>
                <a:gd name="T33" fmla="*/ 0 h 542"/>
                <a:gd name="T34" fmla="*/ 0 w 464"/>
                <a:gd name="T35" fmla="*/ 0 h 542"/>
                <a:gd name="T36" fmla="*/ 0 w 464"/>
                <a:gd name="T37" fmla="*/ 0 h 542"/>
                <a:gd name="T38" fmla="*/ 0 w 464"/>
                <a:gd name="T39" fmla="*/ 0 h 542"/>
                <a:gd name="T40" fmla="*/ 0 w 464"/>
                <a:gd name="T41" fmla="*/ 0 h 542"/>
                <a:gd name="T42" fmla="*/ 0 w 464"/>
                <a:gd name="T43" fmla="*/ 0 h 542"/>
                <a:gd name="T44" fmla="*/ 0 w 464"/>
                <a:gd name="T45" fmla="*/ 0 h 542"/>
                <a:gd name="T46" fmla="*/ 0 w 464"/>
                <a:gd name="T47" fmla="*/ 0 h 542"/>
                <a:gd name="T48" fmla="*/ 0 w 464"/>
                <a:gd name="T49" fmla="*/ 0 h 542"/>
                <a:gd name="T50" fmla="*/ 0 w 464"/>
                <a:gd name="T51" fmla="*/ 0 h 542"/>
                <a:gd name="T52" fmla="*/ 0 w 464"/>
                <a:gd name="T53" fmla="*/ 0 h 542"/>
                <a:gd name="T54" fmla="*/ 0 w 464"/>
                <a:gd name="T55" fmla="*/ 0 h 542"/>
                <a:gd name="T56" fmla="*/ 0 w 464"/>
                <a:gd name="T57" fmla="*/ 0 h 542"/>
                <a:gd name="T58" fmla="*/ 0 w 464"/>
                <a:gd name="T59" fmla="*/ 0 h 542"/>
                <a:gd name="T60" fmla="*/ 0 w 464"/>
                <a:gd name="T61" fmla="*/ 0 h 542"/>
                <a:gd name="T62" fmla="*/ 0 w 464"/>
                <a:gd name="T63" fmla="*/ 0 h 542"/>
                <a:gd name="T64" fmla="*/ 0 w 464"/>
                <a:gd name="T65" fmla="*/ 0 h 542"/>
                <a:gd name="T66" fmla="*/ 0 w 464"/>
                <a:gd name="T67" fmla="*/ 0 h 542"/>
                <a:gd name="T68" fmla="*/ 0 w 464"/>
                <a:gd name="T69" fmla="*/ 0 h 542"/>
                <a:gd name="T70" fmla="*/ 0 w 464"/>
                <a:gd name="T71" fmla="*/ 0 h 542"/>
                <a:gd name="T72" fmla="*/ 0 w 464"/>
                <a:gd name="T73" fmla="*/ 0 h 542"/>
                <a:gd name="T74" fmla="*/ 0 w 464"/>
                <a:gd name="T75" fmla="*/ 0 h 542"/>
                <a:gd name="T76" fmla="*/ 0 w 464"/>
                <a:gd name="T77" fmla="*/ 0 h 542"/>
                <a:gd name="T78" fmla="*/ 0 w 464"/>
                <a:gd name="T79" fmla="*/ 0 h 542"/>
                <a:gd name="T80" fmla="*/ 0 w 464"/>
                <a:gd name="T81" fmla="*/ 0 h 542"/>
                <a:gd name="T82" fmla="*/ 0 w 464"/>
                <a:gd name="T83" fmla="*/ 0 h 542"/>
                <a:gd name="T84" fmla="*/ 0 w 464"/>
                <a:gd name="T85" fmla="*/ 0 h 542"/>
                <a:gd name="T86" fmla="*/ 0 w 464"/>
                <a:gd name="T87" fmla="*/ 0 h 542"/>
                <a:gd name="T88" fmla="*/ 0 w 464"/>
                <a:gd name="T89" fmla="*/ 0 h 542"/>
                <a:gd name="T90" fmla="*/ 0 w 464"/>
                <a:gd name="T91" fmla="*/ 0 h 542"/>
                <a:gd name="T92" fmla="*/ 0 w 464"/>
                <a:gd name="T93" fmla="*/ 0 h 542"/>
                <a:gd name="T94" fmla="*/ 0 w 464"/>
                <a:gd name="T95" fmla="*/ 0 h 542"/>
                <a:gd name="T96" fmla="*/ 0 w 464"/>
                <a:gd name="T97" fmla="*/ 0 h 542"/>
                <a:gd name="T98" fmla="*/ 0 w 464"/>
                <a:gd name="T99" fmla="*/ 0 h 542"/>
                <a:gd name="T100" fmla="*/ 0 w 464"/>
                <a:gd name="T101" fmla="*/ 0 h 542"/>
                <a:gd name="T102" fmla="*/ 0 w 464"/>
                <a:gd name="T103" fmla="*/ 0 h 542"/>
                <a:gd name="T104" fmla="*/ 0 w 464"/>
                <a:gd name="T105" fmla="*/ 0 h 542"/>
                <a:gd name="T106" fmla="*/ 0 w 464"/>
                <a:gd name="T107" fmla="*/ 0 h 542"/>
                <a:gd name="T108" fmla="*/ 0 w 464"/>
                <a:gd name="T109" fmla="*/ 0 h 542"/>
                <a:gd name="T110" fmla="*/ 0 w 464"/>
                <a:gd name="T111" fmla="*/ 0 h 542"/>
                <a:gd name="T112" fmla="*/ 0 w 464"/>
                <a:gd name="T113" fmla="*/ 0 h 542"/>
                <a:gd name="T114" fmla="*/ 0 w 464"/>
                <a:gd name="T115" fmla="*/ 0 h 542"/>
                <a:gd name="T116" fmla="*/ 0 w 464"/>
                <a:gd name="T117" fmla="*/ 0 h 542"/>
                <a:gd name="T118" fmla="*/ 0 w 464"/>
                <a:gd name="T119" fmla="*/ 0 h 542"/>
                <a:gd name="T120" fmla="*/ 0 w 464"/>
                <a:gd name="T121" fmla="*/ 0 h 542"/>
                <a:gd name="T122" fmla="*/ 0 w 464"/>
                <a:gd name="T123" fmla="*/ 0 h 542"/>
                <a:gd name="T124" fmla="*/ 0 w 464"/>
                <a:gd name="T125" fmla="*/ 0 h 54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2"/>
                <a:gd name="T191" fmla="*/ 464 w 464"/>
                <a:gd name="T192" fmla="*/ 542 h 54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2">
                  <a:moveTo>
                    <a:pt x="464" y="292"/>
                  </a:moveTo>
                  <a:lnTo>
                    <a:pt x="464" y="307"/>
                  </a:lnTo>
                  <a:lnTo>
                    <a:pt x="464" y="320"/>
                  </a:lnTo>
                  <a:lnTo>
                    <a:pt x="463" y="333"/>
                  </a:lnTo>
                  <a:lnTo>
                    <a:pt x="462" y="346"/>
                  </a:lnTo>
                  <a:lnTo>
                    <a:pt x="460" y="360"/>
                  </a:lnTo>
                  <a:lnTo>
                    <a:pt x="457" y="372"/>
                  </a:lnTo>
                  <a:lnTo>
                    <a:pt x="454" y="384"/>
                  </a:lnTo>
                  <a:lnTo>
                    <a:pt x="451" y="396"/>
                  </a:lnTo>
                  <a:lnTo>
                    <a:pt x="447" y="408"/>
                  </a:lnTo>
                  <a:lnTo>
                    <a:pt x="442" y="419"/>
                  </a:lnTo>
                  <a:lnTo>
                    <a:pt x="437" y="429"/>
                  </a:lnTo>
                  <a:lnTo>
                    <a:pt x="432" y="440"/>
                  </a:lnTo>
                  <a:lnTo>
                    <a:pt x="426" y="449"/>
                  </a:lnTo>
                  <a:lnTo>
                    <a:pt x="420" y="460"/>
                  </a:lnTo>
                  <a:lnTo>
                    <a:pt x="413" y="469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3"/>
                  </a:lnTo>
                  <a:lnTo>
                    <a:pt x="382" y="500"/>
                  </a:lnTo>
                  <a:lnTo>
                    <a:pt x="373" y="507"/>
                  </a:lnTo>
                  <a:lnTo>
                    <a:pt x="364" y="514"/>
                  </a:lnTo>
                  <a:lnTo>
                    <a:pt x="355" y="519"/>
                  </a:lnTo>
                  <a:lnTo>
                    <a:pt x="345" y="524"/>
                  </a:lnTo>
                  <a:lnTo>
                    <a:pt x="335" y="528"/>
                  </a:lnTo>
                  <a:lnTo>
                    <a:pt x="325" y="532"/>
                  </a:lnTo>
                  <a:lnTo>
                    <a:pt x="314" y="535"/>
                  </a:lnTo>
                  <a:lnTo>
                    <a:pt x="304" y="538"/>
                  </a:lnTo>
                  <a:lnTo>
                    <a:pt x="293" y="540"/>
                  </a:lnTo>
                  <a:lnTo>
                    <a:pt x="281" y="541"/>
                  </a:lnTo>
                  <a:lnTo>
                    <a:pt x="270" y="542"/>
                  </a:lnTo>
                  <a:lnTo>
                    <a:pt x="258" y="542"/>
                  </a:lnTo>
                  <a:lnTo>
                    <a:pt x="246" y="541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5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3"/>
                  </a:lnTo>
                  <a:lnTo>
                    <a:pt x="166" y="518"/>
                  </a:lnTo>
                  <a:lnTo>
                    <a:pt x="155" y="512"/>
                  </a:lnTo>
                  <a:lnTo>
                    <a:pt x="144" y="506"/>
                  </a:lnTo>
                  <a:lnTo>
                    <a:pt x="134" y="498"/>
                  </a:lnTo>
                  <a:lnTo>
                    <a:pt x="124" y="491"/>
                  </a:lnTo>
                  <a:lnTo>
                    <a:pt x="114" y="483"/>
                  </a:lnTo>
                  <a:lnTo>
                    <a:pt x="105" y="475"/>
                  </a:lnTo>
                  <a:lnTo>
                    <a:pt x="96" y="466"/>
                  </a:lnTo>
                  <a:lnTo>
                    <a:pt x="87" y="457"/>
                  </a:lnTo>
                  <a:lnTo>
                    <a:pt x="78" y="446"/>
                  </a:lnTo>
                  <a:lnTo>
                    <a:pt x="70" y="437"/>
                  </a:lnTo>
                  <a:lnTo>
                    <a:pt x="62" y="426"/>
                  </a:lnTo>
                  <a:lnTo>
                    <a:pt x="55" y="416"/>
                  </a:lnTo>
                  <a:lnTo>
                    <a:pt x="48" y="405"/>
                  </a:lnTo>
                  <a:lnTo>
                    <a:pt x="41" y="392"/>
                  </a:lnTo>
                  <a:lnTo>
                    <a:pt x="35" y="381"/>
                  </a:lnTo>
                  <a:lnTo>
                    <a:pt x="29" y="369"/>
                  </a:lnTo>
                  <a:lnTo>
                    <a:pt x="24" y="357"/>
                  </a:lnTo>
                  <a:lnTo>
                    <a:pt x="19" y="343"/>
                  </a:lnTo>
                  <a:lnTo>
                    <a:pt x="15" y="331"/>
                  </a:lnTo>
                  <a:lnTo>
                    <a:pt x="11" y="318"/>
                  </a:lnTo>
                  <a:lnTo>
                    <a:pt x="8" y="305"/>
                  </a:lnTo>
                  <a:lnTo>
                    <a:pt x="5" y="291"/>
                  </a:lnTo>
                  <a:lnTo>
                    <a:pt x="3" y="277"/>
                  </a:lnTo>
                  <a:lnTo>
                    <a:pt x="1" y="264"/>
                  </a:lnTo>
                  <a:lnTo>
                    <a:pt x="0" y="250"/>
                  </a:lnTo>
                  <a:lnTo>
                    <a:pt x="0" y="236"/>
                  </a:lnTo>
                  <a:lnTo>
                    <a:pt x="0" y="222"/>
                  </a:lnTo>
                  <a:lnTo>
                    <a:pt x="1" y="209"/>
                  </a:lnTo>
                  <a:lnTo>
                    <a:pt x="2" y="196"/>
                  </a:lnTo>
                  <a:lnTo>
                    <a:pt x="4" y="183"/>
                  </a:lnTo>
                  <a:lnTo>
                    <a:pt x="7" y="170"/>
                  </a:lnTo>
                  <a:lnTo>
                    <a:pt x="10" y="158"/>
                  </a:lnTo>
                  <a:lnTo>
                    <a:pt x="13" y="147"/>
                  </a:lnTo>
                  <a:lnTo>
                    <a:pt x="17" y="134"/>
                  </a:lnTo>
                  <a:lnTo>
                    <a:pt x="22" y="123"/>
                  </a:lnTo>
                  <a:lnTo>
                    <a:pt x="27" y="113"/>
                  </a:lnTo>
                  <a:lnTo>
                    <a:pt x="32" y="103"/>
                  </a:lnTo>
                  <a:lnTo>
                    <a:pt x="38" y="92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5"/>
                  </a:lnTo>
                  <a:lnTo>
                    <a:pt x="66" y="57"/>
                  </a:lnTo>
                  <a:lnTo>
                    <a:pt x="74" y="49"/>
                  </a:lnTo>
                  <a:lnTo>
                    <a:pt x="82" y="41"/>
                  </a:lnTo>
                  <a:lnTo>
                    <a:pt x="91" y="35"/>
                  </a:lnTo>
                  <a:lnTo>
                    <a:pt x="100" y="29"/>
                  </a:lnTo>
                  <a:lnTo>
                    <a:pt x="109" y="23"/>
                  </a:lnTo>
                  <a:lnTo>
                    <a:pt x="119" y="18"/>
                  </a:lnTo>
                  <a:lnTo>
                    <a:pt x="129" y="14"/>
                  </a:lnTo>
                  <a:lnTo>
                    <a:pt x="139" y="10"/>
                  </a:lnTo>
                  <a:lnTo>
                    <a:pt x="150" y="7"/>
                  </a:lnTo>
                  <a:lnTo>
                    <a:pt x="160" y="4"/>
                  </a:lnTo>
                  <a:lnTo>
                    <a:pt x="172" y="2"/>
                  </a:lnTo>
                  <a:lnTo>
                    <a:pt x="183" y="1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1"/>
                  </a:lnTo>
                  <a:lnTo>
                    <a:pt x="230" y="3"/>
                  </a:lnTo>
                  <a:lnTo>
                    <a:pt x="242" y="5"/>
                  </a:lnTo>
                  <a:lnTo>
                    <a:pt x="253" y="7"/>
                  </a:lnTo>
                  <a:lnTo>
                    <a:pt x="265" y="11"/>
                  </a:lnTo>
                  <a:lnTo>
                    <a:pt x="276" y="15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30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2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6"/>
                  </a:lnTo>
                  <a:lnTo>
                    <a:pt x="377" y="85"/>
                  </a:lnTo>
                  <a:lnTo>
                    <a:pt x="386" y="96"/>
                  </a:lnTo>
                  <a:lnTo>
                    <a:pt x="402" y="116"/>
                  </a:lnTo>
                  <a:lnTo>
                    <a:pt x="416" y="138"/>
                  </a:lnTo>
                  <a:lnTo>
                    <a:pt x="423" y="150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9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2"/>
                  </a:lnTo>
                  <a:lnTo>
                    <a:pt x="461" y="265"/>
                  </a:lnTo>
                  <a:lnTo>
                    <a:pt x="462" y="278"/>
                  </a:lnTo>
                  <a:lnTo>
                    <a:pt x="464" y="292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3" name="Freeform 115"/>
            <p:cNvSpPr>
              <a:spLocks/>
            </p:cNvSpPr>
            <p:nvPr/>
          </p:nvSpPr>
          <p:spPr bwMode="auto">
            <a:xfrm>
              <a:off x="9010461" y="5436625"/>
              <a:ext cx="9405" cy="14788"/>
            </a:xfrm>
            <a:custGeom>
              <a:avLst/>
              <a:gdLst>
                <a:gd name="T0" fmla="*/ 0 w 464"/>
                <a:gd name="T1" fmla="*/ 0 h 541"/>
                <a:gd name="T2" fmla="*/ 0 w 464"/>
                <a:gd name="T3" fmla="*/ 0 h 541"/>
                <a:gd name="T4" fmla="*/ 0 w 464"/>
                <a:gd name="T5" fmla="*/ 0 h 541"/>
                <a:gd name="T6" fmla="*/ 0 w 464"/>
                <a:gd name="T7" fmla="*/ 0 h 541"/>
                <a:gd name="T8" fmla="*/ 0 w 464"/>
                <a:gd name="T9" fmla="*/ 0 h 541"/>
                <a:gd name="T10" fmla="*/ 0 w 464"/>
                <a:gd name="T11" fmla="*/ 0 h 541"/>
                <a:gd name="T12" fmla="*/ 0 w 464"/>
                <a:gd name="T13" fmla="*/ 0 h 541"/>
                <a:gd name="T14" fmla="*/ 0 w 464"/>
                <a:gd name="T15" fmla="*/ 0 h 541"/>
                <a:gd name="T16" fmla="*/ 0 w 464"/>
                <a:gd name="T17" fmla="*/ 0 h 541"/>
                <a:gd name="T18" fmla="*/ 0 w 464"/>
                <a:gd name="T19" fmla="*/ 0 h 541"/>
                <a:gd name="T20" fmla="*/ 0 w 464"/>
                <a:gd name="T21" fmla="*/ 0 h 541"/>
                <a:gd name="T22" fmla="*/ 0 w 464"/>
                <a:gd name="T23" fmla="*/ 0 h 541"/>
                <a:gd name="T24" fmla="*/ 0 w 464"/>
                <a:gd name="T25" fmla="*/ 0 h 541"/>
                <a:gd name="T26" fmla="*/ 0 w 464"/>
                <a:gd name="T27" fmla="*/ 0 h 541"/>
                <a:gd name="T28" fmla="*/ 0 w 464"/>
                <a:gd name="T29" fmla="*/ 0 h 541"/>
                <a:gd name="T30" fmla="*/ 0 w 464"/>
                <a:gd name="T31" fmla="*/ 0 h 541"/>
                <a:gd name="T32" fmla="*/ 0 w 464"/>
                <a:gd name="T33" fmla="*/ 0 h 541"/>
                <a:gd name="T34" fmla="*/ 0 w 464"/>
                <a:gd name="T35" fmla="*/ 0 h 541"/>
                <a:gd name="T36" fmla="*/ 0 w 464"/>
                <a:gd name="T37" fmla="*/ 0 h 541"/>
                <a:gd name="T38" fmla="*/ 0 w 464"/>
                <a:gd name="T39" fmla="*/ 0 h 541"/>
                <a:gd name="T40" fmla="*/ 0 w 464"/>
                <a:gd name="T41" fmla="*/ 0 h 541"/>
                <a:gd name="T42" fmla="*/ 0 w 464"/>
                <a:gd name="T43" fmla="*/ 0 h 541"/>
                <a:gd name="T44" fmla="*/ 0 w 464"/>
                <a:gd name="T45" fmla="*/ 0 h 541"/>
                <a:gd name="T46" fmla="*/ 0 w 464"/>
                <a:gd name="T47" fmla="*/ 0 h 541"/>
                <a:gd name="T48" fmla="*/ 0 w 464"/>
                <a:gd name="T49" fmla="*/ 0 h 541"/>
                <a:gd name="T50" fmla="*/ 0 w 464"/>
                <a:gd name="T51" fmla="*/ 0 h 541"/>
                <a:gd name="T52" fmla="*/ 0 w 464"/>
                <a:gd name="T53" fmla="*/ 0 h 541"/>
                <a:gd name="T54" fmla="*/ 0 w 464"/>
                <a:gd name="T55" fmla="*/ 0 h 541"/>
                <a:gd name="T56" fmla="*/ 0 w 464"/>
                <a:gd name="T57" fmla="*/ 0 h 541"/>
                <a:gd name="T58" fmla="*/ 0 w 464"/>
                <a:gd name="T59" fmla="*/ 0 h 541"/>
                <a:gd name="T60" fmla="*/ 0 w 464"/>
                <a:gd name="T61" fmla="*/ 0 h 541"/>
                <a:gd name="T62" fmla="*/ 0 w 464"/>
                <a:gd name="T63" fmla="*/ 0 h 541"/>
                <a:gd name="T64" fmla="*/ 0 w 464"/>
                <a:gd name="T65" fmla="*/ 0 h 541"/>
                <a:gd name="T66" fmla="*/ 0 w 464"/>
                <a:gd name="T67" fmla="*/ 0 h 541"/>
                <a:gd name="T68" fmla="*/ 0 w 464"/>
                <a:gd name="T69" fmla="*/ 0 h 541"/>
                <a:gd name="T70" fmla="*/ 0 w 464"/>
                <a:gd name="T71" fmla="*/ 0 h 541"/>
                <a:gd name="T72" fmla="*/ 0 w 464"/>
                <a:gd name="T73" fmla="*/ 0 h 541"/>
                <a:gd name="T74" fmla="*/ 0 w 464"/>
                <a:gd name="T75" fmla="*/ 0 h 541"/>
                <a:gd name="T76" fmla="*/ 0 w 464"/>
                <a:gd name="T77" fmla="*/ 0 h 541"/>
                <a:gd name="T78" fmla="*/ 0 w 464"/>
                <a:gd name="T79" fmla="*/ 0 h 541"/>
                <a:gd name="T80" fmla="*/ 0 w 464"/>
                <a:gd name="T81" fmla="*/ 0 h 541"/>
                <a:gd name="T82" fmla="*/ 0 w 464"/>
                <a:gd name="T83" fmla="*/ 0 h 541"/>
                <a:gd name="T84" fmla="*/ 0 w 464"/>
                <a:gd name="T85" fmla="*/ 0 h 541"/>
                <a:gd name="T86" fmla="*/ 0 w 464"/>
                <a:gd name="T87" fmla="*/ 0 h 541"/>
                <a:gd name="T88" fmla="*/ 0 w 464"/>
                <a:gd name="T89" fmla="*/ 0 h 541"/>
                <a:gd name="T90" fmla="*/ 0 w 464"/>
                <a:gd name="T91" fmla="*/ 0 h 541"/>
                <a:gd name="T92" fmla="*/ 0 w 464"/>
                <a:gd name="T93" fmla="*/ 0 h 541"/>
                <a:gd name="T94" fmla="*/ 0 w 464"/>
                <a:gd name="T95" fmla="*/ 0 h 541"/>
                <a:gd name="T96" fmla="*/ 0 w 464"/>
                <a:gd name="T97" fmla="*/ 0 h 541"/>
                <a:gd name="T98" fmla="*/ 0 w 464"/>
                <a:gd name="T99" fmla="*/ 0 h 541"/>
                <a:gd name="T100" fmla="*/ 0 w 464"/>
                <a:gd name="T101" fmla="*/ 0 h 541"/>
                <a:gd name="T102" fmla="*/ 0 w 464"/>
                <a:gd name="T103" fmla="*/ 0 h 541"/>
                <a:gd name="T104" fmla="*/ 0 w 464"/>
                <a:gd name="T105" fmla="*/ 0 h 541"/>
                <a:gd name="T106" fmla="*/ 0 w 464"/>
                <a:gd name="T107" fmla="*/ 0 h 541"/>
                <a:gd name="T108" fmla="*/ 0 w 464"/>
                <a:gd name="T109" fmla="*/ 0 h 541"/>
                <a:gd name="T110" fmla="*/ 0 w 464"/>
                <a:gd name="T111" fmla="*/ 0 h 541"/>
                <a:gd name="T112" fmla="*/ 0 w 464"/>
                <a:gd name="T113" fmla="*/ 0 h 541"/>
                <a:gd name="T114" fmla="*/ 0 w 464"/>
                <a:gd name="T115" fmla="*/ 0 h 541"/>
                <a:gd name="T116" fmla="*/ 0 w 464"/>
                <a:gd name="T117" fmla="*/ 0 h 541"/>
                <a:gd name="T118" fmla="*/ 0 w 464"/>
                <a:gd name="T119" fmla="*/ 0 h 541"/>
                <a:gd name="T120" fmla="*/ 0 w 464"/>
                <a:gd name="T121" fmla="*/ 0 h 541"/>
                <a:gd name="T122" fmla="*/ 0 w 464"/>
                <a:gd name="T123" fmla="*/ 0 h 541"/>
                <a:gd name="T124" fmla="*/ 0 w 464"/>
                <a:gd name="T125" fmla="*/ 0 h 54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1"/>
                <a:gd name="T191" fmla="*/ 464 w 464"/>
                <a:gd name="T192" fmla="*/ 541 h 54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1">
                  <a:moveTo>
                    <a:pt x="464" y="291"/>
                  </a:moveTo>
                  <a:lnTo>
                    <a:pt x="464" y="306"/>
                  </a:lnTo>
                  <a:lnTo>
                    <a:pt x="464" y="319"/>
                  </a:lnTo>
                  <a:lnTo>
                    <a:pt x="463" y="333"/>
                  </a:lnTo>
                  <a:lnTo>
                    <a:pt x="462" y="345"/>
                  </a:lnTo>
                  <a:lnTo>
                    <a:pt x="460" y="359"/>
                  </a:lnTo>
                  <a:lnTo>
                    <a:pt x="457" y="371"/>
                  </a:lnTo>
                  <a:lnTo>
                    <a:pt x="454" y="383"/>
                  </a:lnTo>
                  <a:lnTo>
                    <a:pt x="451" y="395"/>
                  </a:lnTo>
                  <a:lnTo>
                    <a:pt x="447" y="407"/>
                  </a:lnTo>
                  <a:lnTo>
                    <a:pt x="442" y="418"/>
                  </a:lnTo>
                  <a:lnTo>
                    <a:pt x="437" y="429"/>
                  </a:lnTo>
                  <a:lnTo>
                    <a:pt x="432" y="439"/>
                  </a:lnTo>
                  <a:lnTo>
                    <a:pt x="426" y="450"/>
                  </a:lnTo>
                  <a:lnTo>
                    <a:pt x="420" y="459"/>
                  </a:lnTo>
                  <a:lnTo>
                    <a:pt x="413" y="468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2"/>
                  </a:lnTo>
                  <a:lnTo>
                    <a:pt x="382" y="499"/>
                  </a:lnTo>
                  <a:lnTo>
                    <a:pt x="373" y="507"/>
                  </a:lnTo>
                  <a:lnTo>
                    <a:pt x="364" y="513"/>
                  </a:lnTo>
                  <a:lnTo>
                    <a:pt x="355" y="518"/>
                  </a:lnTo>
                  <a:lnTo>
                    <a:pt x="345" y="523"/>
                  </a:lnTo>
                  <a:lnTo>
                    <a:pt x="335" y="528"/>
                  </a:lnTo>
                  <a:lnTo>
                    <a:pt x="325" y="531"/>
                  </a:lnTo>
                  <a:lnTo>
                    <a:pt x="314" y="535"/>
                  </a:lnTo>
                  <a:lnTo>
                    <a:pt x="304" y="537"/>
                  </a:lnTo>
                  <a:lnTo>
                    <a:pt x="293" y="539"/>
                  </a:lnTo>
                  <a:lnTo>
                    <a:pt x="281" y="540"/>
                  </a:lnTo>
                  <a:lnTo>
                    <a:pt x="270" y="541"/>
                  </a:lnTo>
                  <a:lnTo>
                    <a:pt x="258" y="541"/>
                  </a:lnTo>
                  <a:lnTo>
                    <a:pt x="246" y="540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4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2"/>
                  </a:lnTo>
                  <a:lnTo>
                    <a:pt x="166" y="517"/>
                  </a:lnTo>
                  <a:lnTo>
                    <a:pt x="155" y="511"/>
                  </a:lnTo>
                  <a:lnTo>
                    <a:pt x="144" y="505"/>
                  </a:lnTo>
                  <a:lnTo>
                    <a:pt x="134" y="497"/>
                  </a:lnTo>
                  <a:lnTo>
                    <a:pt x="124" y="490"/>
                  </a:lnTo>
                  <a:lnTo>
                    <a:pt x="114" y="482"/>
                  </a:lnTo>
                  <a:lnTo>
                    <a:pt x="105" y="474"/>
                  </a:lnTo>
                  <a:lnTo>
                    <a:pt x="96" y="465"/>
                  </a:lnTo>
                  <a:lnTo>
                    <a:pt x="87" y="456"/>
                  </a:lnTo>
                  <a:lnTo>
                    <a:pt x="78" y="446"/>
                  </a:lnTo>
                  <a:lnTo>
                    <a:pt x="70" y="436"/>
                  </a:lnTo>
                  <a:lnTo>
                    <a:pt x="62" y="426"/>
                  </a:lnTo>
                  <a:lnTo>
                    <a:pt x="55" y="415"/>
                  </a:lnTo>
                  <a:lnTo>
                    <a:pt x="48" y="404"/>
                  </a:lnTo>
                  <a:lnTo>
                    <a:pt x="41" y="392"/>
                  </a:lnTo>
                  <a:lnTo>
                    <a:pt x="35" y="380"/>
                  </a:lnTo>
                  <a:lnTo>
                    <a:pt x="30" y="368"/>
                  </a:lnTo>
                  <a:lnTo>
                    <a:pt x="24" y="356"/>
                  </a:lnTo>
                  <a:lnTo>
                    <a:pt x="19" y="343"/>
                  </a:lnTo>
                  <a:lnTo>
                    <a:pt x="15" y="330"/>
                  </a:lnTo>
                  <a:lnTo>
                    <a:pt x="11" y="317"/>
                  </a:lnTo>
                  <a:lnTo>
                    <a:pt x="8" y="304"/>
                  </a:lnTo>
                  <a:lnTo>
                    <a:pt x="5" y="290"/>
                  </a:lnTo>
                  <a:lnTo>
                    <a:pt x="3" y="276"/>
                  </a:lnTo>
                  <a:lnTo>
                    <a:pt x="1" y="263"/>
                  </a:lnTo>
                  <a:lnTo>
                    <a:pt x="1" y="249"/>
                  </a:lnTo>
                  <a:lnTo>
                    <a:pt x="0" y="235"/>
                  </a:lnTo>
                  <a:lnTo>
                    <a:pt x="0" y="221"/>
                  </a:lnTo>
                  <a:lnTo>
                    <a:pt x="1" y="208"/>
                  </a:lnTo>
                  <a:lnTo>
                    <a:pt x="2" y="195"/>
                  </a:lnTo>
                  <a:lnTo>
                    <a:pt x="4" y="182"/>
                  </a:lnTo>
                  <a:lnTo>
                    <a:pt x="7" y="169"/>
                  </a:lnTo>
                  <a:lnTo>
                    <a:pt x="10" y="157"/>
                  </a:lnTo>
                  <a:lnTo>
                    <a:pt x="13" y="146"/>
                  </a:lnTo>
                  <a:lnTo>
                    <a:pt x="17" y="133"/>
                  </a:lnTo>
                  <a:lnTo>
                    <a:pt x="22" y="123"/>
                  </a:lnTo>
                  <a:lnTo>
                    <a:pt x="27" y="112"/>
                  </a:lnTo>
                  <a:lnTo>
                    <a:pt x="32" y="102"/>
                  </a:lnTo>
                  <a:lnTo>
                    <a:pt x="38" y="91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4"/>
                  </a:lnTo>
                  <a:lnTo>
                    <a:pt x="66" y="56"/>
                  </a:lnTo>
                  <a:lnTo>
                    <a:pt x="74" y="49"/>
                  </a:lnTo>
                  <a:lnTo>
                    <a:pt x="82" y="40"/>
                  </a:lnTo>
                  <a:lnTo>
                    <a:pt x="91" y="34"/>
                  </a:lnTo>
                  <a:lnTo>
                    <a:pt x="100" y="28"/>
                  </a:lnTo>
                  <a:lnTo>
                    <a:pt x="109" y="22"/>
                  </a:lnTo>
                  <a:lnTo>
                    <a:pt x="119" y="17"/>
                  </a:lnTo>
                  <a:lnTo>
                    <a:pt x="129" y="13"/>
                  </a:lnTo>
                  <a:lnTo>
                    <a:pt x="139" y="9"/>
                  </a:lnTo>
                  <a:lnTo>
                    <a:pt x="150" y="6"/>
                  </a:lnTo>
                  <a:lnTo>
                    <a:pt x="160" y="4"/>
                  </a:lnTo>
                  <a:lnTo>
                    <a:pt x="171" y="1"/>
                  </a:lnTo>
                  <a:lnTo>
                    <a:pt x="183" y="0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30" y="2"/>
                  </a:lnTo>
                  <a:lnTo>
                    <a:pt x="242" y="4"/>
                  </a:lnTo>
                  <a:lnTo>
                    <a:pt x="253" y="7"/>
                  </a:lnTo>
                  <a:lnTo>
                    <a:pt x="265" y="10"/>
                  </a:lnTo>
                  <a:lnTo>
                    <a:pt x="276" y="14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29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1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5"/>
                  </a:lnTo>
                  <a:lnTo>
                    <a:pt x="377" y="85"/>
                  </a:lnTo>
                  <a:lnTo>
                    <a:pt x="386" y="95"/>
                  </a:lnTo>
                  <a:lnTo>
                    <a:pt x="402" y="115"/>
                  </a:lnTo>
                  <a:lnTo>
                    <a:pt x="416" y="137"/>
                  </a:lnTo>
                  <a:lnTo>
                    <a:pt x="423" y="149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8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1"/>
                  </a:lnTo>
                  <a:lnTo>
                    <a:pt x="461" y="264"/>
                  </a:lnTo>
                  <a:lnTo>
                    <a:pt x="463" y="278"/>
                  </a:lnTo>
                  <a:lnTo>
                    <a:pt x="464" y="291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4" name="Freeform 116"/>
            <p:cNvSpPr>
              <a:spLocks/>
            </p:cNvSpPr>
            <p:nvPr/>
          </p:nvSpPr>
          <p:spPr bwMode="auto">
            <a:xfrm>
              <a:off x="8920590" y="5180799"/>
              <a:ext cx="218405" cy="177451"/>
            </a:xfrm>
            <a:custGeom>
              <a:avLst/>
              <a:gdLst>
                <a:gd name="T0" fmla="*/ 0 w 10451"/>
                <a:gd name="T1" fmla="*/ 0 h 6136"/>
                <a:gd name="T2" fmla="*/ 0 w 10451"/>
                <a:gd name="T3" fmla="*/ 0 h 6136"/>
                <a:gd name="T4" fmla="*/ 0 w 10451"/>
                <a:gd name="T5" fmla="*/ 0 h 6136"/>
                <a:gd name="T6" fmla="*/ 0 w 10451"/>
                <a:gd name="T7" fmla="*/ 0 h 6136"/>
                <a:gd name="T8" fmla="*/ 0 w 10451"/>
                <a:gd name="T9" fmla="*/ 0 h 6136"/>
                <a:gd name="T10" fmla="*/ 0 w 10451"/>
                <a:gd name="T11" fmla="*/ 0 h 6136"/>
                <a:gd name="T12" fmla="*/ 0 w 10451"/>
                <a:gd name="T13" fmla="*/ 0 h 6136"/>
                <a:gd name="T14" fmla="*/ 0 w 10451"/>
                <a:gd name="T15" fmla="*/ 0 h 6136"/>
                <a:gd name="T16" fmla="*/ 0 w 10451"/>
                <a:gd name="T17" fmla="*/ 0 h 6136"/>
                <a:gd name="T18" fmla="*/ 0 w 10451"/>
                <a:gd name="T19" fmla="*/ 0 h 6136"/>
                <a:gd name="T20" fmla="*/ 0 w 10451"/>
                <a:gd name="T21" fmla="*/ 0 h 6136"/>
                <a:gd name="T22" fmla="*/ 0 w 10451"/>
                <a:gd name="T23" fmla="*/ 0 h 6136"/>
                <a:gd name="T24" fmla="*/ 0 w 10451"/>
                <a:gd name="T25" fmla="*/ 0 h 6136"/>
                <a:gd name="T26" fmla="*/ 0 w 10451"/>
                <a:gd name="T27" fmla="*/ 0 h 6136"/>
                <a:gd name="T28" fmla="*/ 0 w 10451"/>
                <a:gd name="T29" fmla="*/ 0 h 6136"/>
                <a:gd name="T30" fmla="*/ 0 w 10451"/>
                <a:gd name="T31" fmla="*/ 0 h 6136"/>
                <a:gd name="T32" fmla="*/ 0 w 10451"/>
                <a:gd name="T33" fmla="*/ 0 h 6136"/>
                <a:gd name="T34" fmla="*/ 0 w 10451"/>
                <a:gd name="T35" fmla="*/ 0 h 6136"/>
                <a:gd name="T36" fmla="*/ 0 w 10451"/>
                <a:gd name="T37" fmla="*/ 0 h 6136"/>
                <a:gd name="T38" fmla="*/ 0 w 10451"/>
                <a:gd name="T39" fmla="*/ 0 h 6136"/>
                <a:gd name="T40" fmla="*/ 0 w 10451"/>
                <a:gd name="T41" fmla="*/ 0 h 6136"/>
                <a:gd name="T42" fmla="*/ 0 w 10451"/>
                <a:gd name="T43" fmla="*/ 0 h 6136"/>
                <a:gd name="T44" fmla="*/ 0 w 10451"/>
                <a:gd name="T45" fmla="*/ 0 h 6136"/>
                <a:gd name="T46" fmla="*/ 0 w 10451"/>
                <a:gd name="T47" fmla="*/ 0 h 6136"/>
                <a:gd name="T48" fmla="*/ 0 w 10451"/>
                <a:gd name="T49" fmla="*/ 0 h 6136"/>
                <a:gd name="T50" fmla="*/ 0 w 10451"/>
                <a:gd name="T51" fmla="*/ 0 h 6136"/>
                <a:gd name="T52" fmla="*/ 0 w 10451"/>
                <a:gd name="T53" fmla="*/ 0 h 6136"/>
                <a:gd name="T54" fmla="*/ 0 w 10451"/>
                <a:gd name="T55" fmla="*/ 0 h 6136"/>
                <a:gd name="T56" fmla="*/ 0 w 10451"/>
                <a:gd name="T57" fmla="*/ 0 h 6136"/>
                <a:gd name="T58" fmla="*/ 0 w 10451"/>
                <a:gd name="T59" fmla="*/ 0 h 6136"/>
                <a:gd name="T60" fmla="*/ 0 w 10451"/>
                <a:gd name="T61" fmla="*/ 0 h 6136"/>
                <a:gd name="T62" fmla="*/ 0 w 10451"/>
                <a:gd name="T63" fmla="*/ 0 h 6136"/>
                <a:gd name="T64" fmla="*/ 0 w 10451"/>
                <a:gd name="T65" fmla="*/ 0 h 6136"/>
                <a:gd name="T66" fmla="*/ 0 w 10451"/>
                <a:gd name="T67" fmla="*/ 0 h 6136"/>
                <a:gd name="T68" fmla="*/ 0 w 10451"/>
                <a:gd name="T69" fmla="*/ 0 h 6136"/>
                <a:gd name="T70" fmla="*/ 0 w 10451"/>
                <a:gd name="T71" fmla="*/ 0 h 6136"/>
                <a:gd name="T72" fmla="*/ 0 w 10451"/>
                <a:gd name="T73" fmla="*/ 0 h 6136"/>
                <a:gd name="T74" fmla="*/ 0 w 10451"/>
                <a:gd name="T75" fmla="*/ 0 h 6136"/>
                <a:gd name="T76" fmla="*/ 0 w 10451"/>
                <a:gd name="T77" fmla="*/ 0 h 6136"/>
                <a:gd name="T78" fmla="*/ 0 w 10451"/>
                <a:gd name="T79" fmla="*/ 0 h 6136"/>
                <a:gd name="T80" fmla="*/ 0 w 10451"/>
                <a:gd name="T81" fmla="*/ 0 h 6136"/>
                <a:gd name="T82" fmla="*/ 0 w 10451"/>
                <a:gd name="T83" fmla="*/ 0 h 6136"/>
                <a:gd name="T84" fmla="*/ 0 w 10451"/>
                <a:gd name="T85" fmla="*/ 0 h 6136"/>
                <a:gd name="T86" fmla="*/ 0 w 10451"/>
                <a:gd name="T87" fmla="*/ 0 h 6136"/>
                <a:gd name="T88" fmla="*/ 0 w 10451"/>
                <a:gd name="T89" fmla="*/ 0 h 6136"/>
                <a:gd name="T90" fmla="*/ 0 w 10451"/>
                <a:gd name="T91" fmla="*/ 0 h 6136"/>
                <a:gd name="T92" fmla="*/ 0 w 10451"/>
                <a:gd name="T93" fmla="*/ 0 h 6136"/>
                <a:gd name="T94" fmla="*/ 0 w 10451"/>
                <a:gd name="T95" fmla="*/ 0 h 6136"/>
                <a:gd name="T96" fmla="*/ 0 w 10451"/>
                <a:gd name="T97" fmla="*/ 0 h 6136"/>
                <a:gd name="T98" fmla="*/ 0 w 10451"/>
                <a:gd name="T99" fmla="*/ 0 h 6136"/>
                <a:gd name="T100" fmla="*/ 0 w 10451"/>
                <a:gd name="T101" fmla="*/ 0 h 6136"/>
                <a:gd name="T102" fmla="*/ 0 w 10451"/>
                <a:gd name="T103" fmla="*/ 0 h 6136"/>
                <a:gd name="T104" fmla="*/ 0 w 10451"/>
                <a:gd name="T105" fmla="*/ 0 h 6136"/>
                <a:gd name="T106" fmla="*/ 0 w 10451"/>
                <a:gd name="T107" fmla="*/ 0 h 6136"/>
                <a:gd name="T108" fmla="*/ 0 w 10451"/>
                <a:gd name="T109" fmla="*/ 0 h 6136"/>
                <a:gd name="T110" fmla="*/ 0 w 10451"/>
                <a:gd name="T111" fmla="*/ 0 h 6136"/>
                <a:gd name="T112" fmla="*/ 0 w 10451"/>
                <a:gd name="T113" fmla="*/ 0 h 6136"/>
                <a:gd name="T114" fmla="*/ 0 w 10451"/>
                <a:gd name="T115" fmla="*/ 0 h 6136"/>
                <a:gd name="T116" fmla="*/ 0 w 10451"/>
                <a:gd name="T117" fmla="*/ 0 h 6136"/>
                <a:gd name="T118" fmla="*/ 0 w 10451"/>
                <a:gd name="T119" fmla="*/ 0 h 6136"/>
                <a:gd name="T120" fmla="*/ 0 w 10451"/>
                <a:gd name="T121" fmla="*/ 0 h 6136"/>
                <a:gd name="T122" fmla="*/ 0 w 10451"/>
                <a:gd name="T123" fmla="*/ 0 h 6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51"/>
                <a:gd name="T187" fmla="*/ 0 h 6136"/>
                <a:gd name="T188" fmla="*/ 10451 w 10451"/>
                <a:gd name="T189" fmla="*/ 6136 h 6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51" h="6136">
                  <a:moveTo>
                    <a:pt x="0" y="2565"/>
                  </a:moveTo>
                  <a:lnTo>
                    <a:pt x="4484" y="0"/>
                  </a:lnTo>
                  <a:lnTo>
                    <a:pt x="10451" y="3430"/>
                  </a:lnTo>
                  <a:lnTo>
                    <a:pt x="6099" y="6136"/>
                  </a:lnTo>
                  <a:lnTo>
                    <a:pt x="2735" y="4102"/>
                  </a:lnTo>
                  <a:lnTo>
                    <a:pt x="2742" y="4098"/>
                  </a:lnTo>
                  <a:lnTo>
                    <a:pt x="2763" y="4087"/>
                  </a:lnTo>
                  <a:lnTo>
                    <a:pt x="2793" y="4070"/>
                  </a:lnTo>
                  <a:lnTo>
                    <a:pt x="2830" y="4045"/>
                  </a:lnTo>
                  <a:lnTo>
                    <a:pt x="2851" y="4031"/>
                  </a:lnTo>
                  <a:lnTo>
                    <a:pt x="2872" y="4016"/>
                  </a:lnTo>
                  <a:lnTo>
                    <a:pt x="2894" y="3998"/>
                  </a:lnTo>
                  <a:lnTo>
                    <a:pt x="2917" y="3980"/>
                  </a:lnTo>
                  <a:lnTo>
                    <a:pt x="2939" y="3962"/>
                  </a:lnTo>
                  <a:lnTo>
                    <a:pt x="2960" y="3941"/>
                  </a:lnTo>
                  <a:lnTo>
                    <a:pt x="2981" y="3920"/>
                  </a:lnTo>
                  <a:lnTo>
                    <a:pt x="3001" y="3897"/>
                  </a:lnTo>
                  <a:lnTo>
                    <a:pt x="3019" y="3874"/>
                  </a:lnTo>
                  <a:lnTo>
                    <a:pt x="3035" y="3851"/>
                  </a:lnTo>
                  <a:lnTo>
                    <a:pt x="3049" y="3825"/>
                  </a:lnTo>
                  <a:lnTo>
                    <a:pt x="3061" y="3801"/>
                  </a:lnTo>
                  <a:lnTo>
                    <a:pt x="3069" y="3774"/>
                  </a:lnTo>
                  <a:lnTo>
                    <a:pt x="3075" y="3747"/>
                  </a:lnTo>
                  <a:lnTo>
                    <a:pt x="3077" y="3721"/>
                  </a:lnTo>
                  <a:lnTo>
                    <a:pt x="3075" y="3693"/>
                  </a:lnTo>
                  <a:lnTo>
                    <a:pt x="3069" y="3666"/>
                  </a:lnTo>
                  <a:lnTo>
                    <a:pt x="3059" y="3638"/>
                  </a:lnTo>
                  <a:lnTo>
                    <a:pt x="3043" y="3610"/>
                  </a:lnTo>
                  <a:lnTo>
                    <a:pt x="3023" y="3581"/>
                  </a:lnTo>
                  <a:lnTo>
                    <a:pt x="2997" y="3554"/>
                  </a:lnTo>
                  <a:lnTo>
                    <a:pt x="2965" y="3525"/>
                  </a:lnTo>
                  <a:lnTo>
                    <a:pt x="2927" y="3497"/>
                  </a:lnTo>
                  <a:lnTo>
                    <a:pt x="2882" y="3469"/>
                  </a:lnTo>
                  <a:lnTo>
                    <a:pt x="2877" y="3465"/>
                  </a:lnTo>
                  <a:lnTo>
                    <a:pt x="2861" y="3456"/>
                  </a:lnTo>
                  <a:lnTo>
                    <a:pt x="2836" y="3440"/>
                  </a:lnTo>
                  <a:lnTo>
                    <a:pt x="2801" y="3424"/>
                  </a:lnTo>
                  <a:lnTo>
                    <a:pt x="2780" y="3415"/>
                  </a:lnTo>
                  <a:lnTo>
                    <a:pt x="2757" y="3406"/>
                  </a:lnTo>
                  <a:lnTo>
                    <a:pt x="2732" y="3397"/>
                  </a:lnTo>
                  <a:lnTo>
                    <a:pt x="2705" y="3388"/>
                  </a:lnTo>
                  <a:lnTo>
                    <a:pt x="2676" y="3381"/>
                  </a:lnTo>
                  <a:lnTo>
                    <a:pt x="2645" y="3374"/>
                  </a:lnTo>
                  <a:lnTo>
                    <a:pt x="2612" y="3368"/>
                  </a:lnTo>
                  <a:lnTo>
                    <a:pt x="2577" y="3363"/>
                  </a:lnTo>
                  <a:lnTo>
                    <a:pt x="2540" y="3361"/>
                  </a:lnTo>
                  <a:lnTo>
                    <a:pt x="2502" y="3359"/>
                  </a:lnTo>
                  <a:lnTo>
                    <a:pt x="2462" y="3360"/>
                  </a:lnTo>
                  <a:lnTo>
                    <a:pt x="2420" y="3362"/>
                  </a:lnTo>
                  <a:lnTo>
                    <a:pt x="2377" y="3367"/>
                  </a:lnTo>
                  <a:lnTo>
                    <a:pt x="2332" y="3375"/>
                  </a:lnTo>
                  <a:lnTo>
                    <a:pt x="2286" y="3385"/>
                  </a:lnTo>
                  <a:lnTo>
                    <a:pt x="2239" y="3400"/>
                  </a:lnTo>
                  <a:lnTo>
                    <a:pt x="2190" y="3416"/>
                  </a:lnTo>
                  <a:lnTo>
                    <a:pt x="2140" y="3436"/>
                  </a:lnTo>
                  <a:lnTo>
                    <a:pt x="2089" y="3460"/>
                  </a:lnTo>
                  <a:lnTo>
                    <a:pt x="2037" y="3488"/>
                  </a:lnTo>
                  <a:lnTo>
                    <a:pt x="1983" y="3520"/>
                  </a:lnTo>
                  <a:lnTo>
                    <a:pt x="1929" y="3556"/>
                  </a:lnTo>
                  <a:lnTo>
                    <a:pt x="1873" y="3598"/>
                  </a:lnTo>
                  <a:lnTo>
                    <a:pt x="1817" y="3642"/>
                  </a:lnTo>
                  <a:lnTo>
                    <a:pt x="0" y="2565"/>
                  </a:lnTo>
                  <a:close/>
                </a:path>
              </a:pathLst>
            </a:custGeom>
            <a:solidFill>
              <a:srgbClr val="EBEB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05" name="Freeform 117"/>
            <p:cNvSpPr>
              <a:spLocks/>
            </p:cNvSpPr>
            <p:nvPr/>
          </p:nvSpPr>
          <p:spPr bwMode="auto">
            <a:xfrm>
              <a:off x="8978065" y="5276918"/>
              <a:ext cx="160930" cy="81332"/>
            </a:xfrm>
            <a:custGeom>
              <a:avLst/>
              <a:gdLst>
                <a:gd name="T0" fmla="*/ 0 w 7716"/>
                <a:gd name="T1" fmla="*/ 0 h 2814"/>
                <a:gd name="T2" fmla="*/ 0 w 7716"/>
                <a:gd name="T3" fmla="*/ 0 h 2814"/>
                <a:gd name="T4" fmla="*/ 0 w 7716"/>
                <a:gd name="T5" fmla="*/ 0 h 2814"/>
                <a:gd name="T6" fmla="*/ 0 w 7716"/>
                <a:gd name="T7" fmla="*/ 0 h 2814"/>
                <a:gd name="T8" fmla="*/ 0 w 7716"/>
                <a:gd name="T9" fmla="*/ 0 h 2814"/>
                <a:gd name="T10" fmla="*/ 0 w 7716"/>
                <a:gd name="T11" fmla="*/ 0 h 2814"/>
                <a:gd name="T12" fmla="*/ 0 w 7716"/>
                <a:gd name="T13" fmla="*/ 0 h 28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16"/>
                <a:gd name="T22" fmla="*/ 0 h 2814"/>
                <a:gd name="T23" fmla="*/ 7716 w 7716"/>
                <a:gd name="T24" fmla="*/ 2814 h 28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16" h="2814">
                  <a:moveTo>
                    <a:pt x="0" y="780"/>
                  </a:moveTo>
                  <a:lnTo>
                    <a:pt x="3364" y="2814"/>
                  </a:lnTo>
                  <a:lnTo>
                    <a:pt x="7716" y="108"/>
                  </a:lnTo>
                  <a:lnTo>
                    <a:pt x="7527" y="0"/>
                  </a:lnTo>
                  <a:lnTo>
                    <a:pt x="3362" y="2429"/>
                  </a:lnTo>
                  <a:lnTo>
                    <a:pt x="183" y="692"/>
                  </a:lnTo>
                  <a:lnTo>
                    <a:pt x="0" y="7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06" name="Freeform 118"/>
            <p:cNvSpPr>
              <a:spLocks/>
            </p:cNvSpPr>
            <p:nvPr/>
          </p:nvSpPr>
          <p:spPr bwMode="auto">
            <a:xfrm>
              <a:off x="9048081" y="5281355"/>
              <a:ext cx="89871" cy="193718"/>
            </a:xfrm>
            <a:custGeom>
              <a:avLst/>
              <a:gdLst>
                <a:gd name="T0" fmla="*/ 0 w 4309"/>
                <a:gd name="T1" fmla="*/ 0 h 6670"/>
                <a:gd name="T2" fmla="*/ 0 w 4309"/>
                <a:gd name="T3" fmla="*/ 0 h 6670"/>
                <a:gd name="T4" fmla="*/ 0 w 4309"/>
                <a:gd name="T5" fmla="*/ 0 h 6670"/>
                <a:gd name="T6" fmla="*/ 0 w 4309"/>
                <a:gd name="T7" fmla="*/ 0 h 6670"/>
                <a:gd name="T8" fmla="*/ 0 w 4309"/>
                <a:gd name="T9" fmla="*/ 0 h 6670"/>
                <a:gd name="T10" fmla="*/ 0 w 4309"/>
                <a:gd name="T11" fmla="*/ 0 h 6670"/>
                <a:gd name="T12" fmla="*/ 0 w 4309"/>
                <a:gd name="T13" fmla="*/ 0 h 6670"/>
                <a:gd name="T14" fmla="*/ 0 w 4309"/>
                <a:gd name="T15" fmla="*/ 0 h 6670"/>
                <a:gd name="T16" fmla="*/ 0 w 4309"/>
                <a:gd name="T17" fmla="*/ 0 h 6670"/>
                <a:gd name="T18" fmla="*/ 0 w 4309"/>
                <a:gd name="T19" fmla="*/ 0 h 6670"/>
                <a:gd name="T20" fmla="*/ 0 w 4309"/>
                <a:gd name="T21" fmla="*/ 0 h 6670"/>
                <a:gd name="T22" fmla="*/ 0 w 4309"/>
                <a:gd name="T23" fmla="*/ 0 h 6670"/>
                <a:gd name="T24" fmla="*/ 0 w 4309"/>
                <a:gd name="T25" fmla="*/ 0 h 6670"/>
                <a:gd name="T26" fmla="*/ 0 w 4309"/>
                <a:gd name="T27" fmla="*/ 0 h 6670"/>
                <a:gd name="T28" fmla="*/ 0 w 4309"/>
                <a:gd name="T29" fmla="*/ 0 h 6670"/>
                <a:gd name="T30" fmla="*/ 0 w 4309"/>
                <a:gd name="T31" fmla="*/ 0 h 6670"/>
                <a:gd name="T32" fmla="*/ 0 w 4309"/>
                <a:gd name="T33" fmla="*/ 0 h 6670"/>
                <a:gd name="T34" fmla="*/ 0 w 4309"/>
                <a:gd name="T35" fmla="*/ 0 h 6670"/>
                <a:gd name="T36" fmla="*/ 0 w 4309"/>
                <a:gd name="T37" fmla="*/ 0 h 6670"/>
                <a:gd name="T38" fmla="*/ 0 w 4309"/>
                <a:gd name="T39" fmla="*/ 0 h 6670"/>
                <a:gd name="T40" fmla="*/ 0 w 4309"/>
                <a:gd name="T41" fmla="*/ 0 h 6670"/>
                <a:gd name="T42" fmla="*/ 0 w 4309"/>
                <a:gd name="T43" fmla="*/ 0 h 6670"/>
                <a:gd name="T44" fmla="*/ 0 w 4309"/>
                <a:gd name="T45" fmla="*/ 0 h 6670"/>
                <a:gd name="T46" fmla="*/ 0 w 4309"/>
                <a:gd name="T47" fmla="*/ 0 h 6670"/>
                <a:gd name="T48" fmla="*/ 0 w 4309"/>
                <a:gd name="T49" fmla="*/ 0 h 6670"/>
                <a:gd name="T50" fmla="*/ 0 w 4309"/>
                <a:gd name="T51" fmla="*/ 0 h 6670"/>
                <a:gd name="T52" fmla="*/ 0 w 4309"/>
                <a:gd name="T53" fmla="*/ 0 h 6670"/>
                <a:gd name="T54" fmla="*/ 0 w 4309"/>
                <a:gd name="T55" fmla="*/ 0 h 6670"/>
                <a:gd name="T56" fmla="*/ 0 w 4309"/>
                <a:gd name="T57" fmla="*/ 0 h 6670"/>
                <a:gd name="T58" fmla="*/ 0 w 4309"/>
                <a:gd name="T59" fmla="*/ 0 h 6670"/>
                <a:gd name="T60" fmla="*/ 0 w 4309"/>
                <a:gd name="T61" fmla="*/ 0 h 6670"/>
                <a:gd name="T62" fmla="*/ 0 w 4309"/>
                <a:gd name="T63" fmla="*/ 0 h 6670"/>
                <a:gd name="T64" fmla="*/ 0 w 4309"/>
                <a:gd name="T65" fmla="*/ 0 h 6670"/>
                <a:gd name="T66" fmla="*/ 0 w 4309"/>
                <a:gd name="T67" fmla="*/ 0 h 6670"/>
                <a:gd name="T68" fmla="*/ 0 w 4309"/>
                <a:gd name="T69" fmla="*/ 0 h 6670"/>
                <a:gd name="T70" fmla="*/ 0 w 4309"/>
                <a:gd name="T71" fmla="*/ 0 h 6670"/>
                <a:gd name="T72" fmla="*/ 0 w 4309"/>
                <a:gd name="T73" fmla="*/ 0 h 6670"/>
                <a:gd name="T74" fmla="*/ 0 w 4309"/>
                <a:gd name="T75" fmla="*/ 0 h 6670"/>
                <a:gd name="T76" fmla="*/ 0 w 4309"/>
                <a:gd name="T77" fmla="*/ 0 h 6670"/>
                <a:gd name="T78" fmla="*/ 0 w 4309"/>
                <a:gd name="T79" fmla="*/ 0 h 6670"/>
                <a:gd name="T80" fmla="*/ 0 w 4309"/>
                <a:gd name="T81" fmla="*/ 0 h 6670"/>
                <a:gd name="T82" fmla="*/ 0 w 4309"/>
                <a:gd name="T83" fmla="*/ 0 h 6670"/>
                <a:gd name="T84" fmla="*/ 0 w 4309"/>
                <a:gd name="T85" fmla="*/ 0 h 6670"/>
                <a:gd name="T86" fmla="*/ 0 w 4309"/>
                <a:gd name="T87" fmla="*/ 0 h 6670"/>
                <a:gd name="T88" fmla="*/ 0 w 4309"/>
                <a:gd name="T89" fmla="*/ 0 h 6670"/>
                <a:gd name="T90" fmla="*/ 0 w 4309"/>
                <a:gd name="T91" fmla="*/ 0 h 6670"/>
                <a:gd name="T92" fmla="*/ 0 w 4309"/>
                <a:gd name="T93" fmla="*/ 0 h 6670"/>
                <a:gd name="T94" fmla="*/ 0 w 4309"/>
                <a:gd name="T95" fmla="*/ 0 h 6670"/>
                <a:gd name="T96" fmla="*/ 0 w 4309"/>
                <a:gd name="T97" fmla="*/ 0 h 6670"/>
                <a:gd name="T98" fmla="*/ 0 w 4309"/>
                <a:gd name="T99" fmla="*/ 0 h 6670"/>
                <a:gd name="T100" fmla="*/ 0 w 4309"/>
                <a:gd name="T101" fmla="*/ 0 h 6670"/>
                <a:gd name="T102" fmla="*/ 0 w 4309"/>
                <a:gd name="T103" fmla="*/ 0 h 6670"/>
                <a:gd name="T104" fmla="*/ 0 w 4309"/>
                <a:gd name="T105" fmla="*/ 0 h 6670"/>
                <a:gd name="T106" fmla="*/ 0 w 4309"/>
                <a:gd name="T107" fmla="*/ 0 h 6670"/>
                <a:gd name="T108" fmla="*/ 0 w 4309"/>
                <a:gd name="T109" fmla="*/ 0 h 6670"/>
                <a:gd name="T110" fmla="*/ 0 w 4309"/>
                <a:gd name="T111" fmla="*/ 0 h 6670"/>
                <a:gd name="T112" fmla="*/ 0 w 4309"/>
                <a:gd name="T113" fmla="*/ 0 h 6670"/>
                <a:gd name="T114" fmla="*/ 0 w 4309"/>
                <a:gd name="T115" fmla="*/ 0 h 6670"/>
                <a:gd name="T116" fmla="*/ 0 w 4309"/>
                <a:gd name="T117" fmla="*/ 0 h 6670"/>
                <a:gd name="T118" fmla="*/ 0 w 4309"/>
                <a:gd name="T119" fmla="*/ 0 h 6670"/>
                <a:gd name="T120" fmla="*/ 0 w 4309"/>
                <a:gd name="T121" fmla="*/ 0 h 66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9"/>
                <a:gd name="T184" fmla="*/ 0 h 6670"/>
                <a:gd name="T185" fmla="*/ 4309 w 4309"/>
                <a:gd name="T186" fmla="*/ 6670 h 667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9" h="6670">
                  <a:moveTo>
                    <a:pt x="4309" y="0"/>
                  </a:moveTo>
                  <a:lnTo>
                    <a:pt x="0" y="2672"/>
                  </a:lnTo>
                  <a:lnTo>
                    <a:pt x="24" y="6670"/>
                  </a:lnTo>
                  <a:lnTo>
                    <a:pt x="25" y="6644"/>
                  </a:lnTo>
                  <a:lnTo>
                    <a:pt x="30" y="6573"/>
                  </a:lnTo>
                  <a:lnTo>
                    <a:pt x="39" y="6460"/>
                  </a:lnTo>
                  <a:lnTo>
                    <a:pt x="53" y="6310"/>
                  </a:lnTo>
                  <a:lnTo>
                    <a:pt x="62" y="6222"/>
                  </a:lnTo>
                  <a:lnTo>
                    <a:pt x="72" y="6127"/>
                  </a:lnTo>
                  <a:lnTo>
                    <a:pt x="84" y="6026"/>
                  </a:lnTo>
                  <a:lnTo>
                    <a:pt x="98" y="5919"/>
                  </a:lnTo>
                  <a:lnTo>
                    <a:pt x="114" y="5806"/>
                  </a:lnTo>
                  <a:lnTo>
                    <a:pt x="131" y="5687"/>
                  </a:lnTo>
                  <a:lnTo>
                    <a:pt x="151" y="5565"/>
                  </a:lnTo>
                  <a:lnTo>
                    <a:pt x="172" y="5439"/>
                  </a:lnTo>
                  <a:lnTo>
                    <a:pt x="196" y="5310"/>
                  </a:lnTo>
                  <a:lnTo>
                    <a:pt x="222" y="5178"/>
                  </a:lnTo>
                  <a:lnTo>
                    <a:pt x="250" y="5045"/>
                  </a:lnTo>
                  <a:lnTo>
                    <a:pt x="281" y="4910"/>
                  </a:lnTo>
                  <a:lnTo>
                    <a:pt x="314" y="4775"/>
                  </a:lnTo>
                  <a:lnTo>
                    <a:pt x="350" y="4640"/>
                  </a:lnTo>
                  <a:lnTo>
                    <a:pt x="389" y="4504"/>
                  </a:lnTo>
                  <a:lnTo>
                    <a:pt x="431" y="4371"/>
                  </a:lnTo>
                  <a:lnTo>
                    <a:pt x="475" y="4239"/>
                  </a:lnTo>
                  <a:lnTo>
                    <a:pt x="523" y="4110"/>
                  </a:lnTo>
                  <a:lnTo>
                    <a:pt x="573" y="3984"/>
                  </a:lnTo>
                  <a:lnTo>
                    <a:pt x="627" y="3861"/>
                  </a:lnTo>
                  <a:lnTo>
                    <a:pt x="684" y="3742"/>
                  </a:lnTo>
                  <a:lnTo>
                    <a:pt x="745" y="3629"/>
                  </a:lnTo>
                  <a:lnTo>
                    <a:pt x="809" y="3521"/>
                  </a:lnTo>
                  <a:lnTo>
                    <a:pt x="876" y="3419"/>
                  </a:lnTo>
                  <a:lnTo>
                    <a:pt x="889" y="3398"/>
                  </a:lnTo>
                  <a:lnTo>
                    <a:pt x="925" y="3335"/>
                  </a:lnTo>
                  <a:lnTo>
                    <a:pt x="953" y="3289"/>
                  </a:lnTo>
                  <a:lnTo>
                    <a:pt x="987" y="3235"/>
                  </a:lnTo>
                  <a:lnTo>
                    <a:pt x="1028" y="3172"/>
                  </a:lnTo>
                  <a:lnTo>
                    <a:pt x="1075" y="3101"/>
                  </a:lnTo>
                  <a:lnTo>
                    <a:pt x="1128" y="3021"/>
                  </a:lnTo>
                  <a:lnTo>
                    <a:pt x="1189" y="2934"/>
                  </a:lnTo>
                  <a:lnTo>
                    <a:pt x="1255" y="2842"/>
                  </a:lnTo>
                  <a:lnTo>
                    <a:pt x="1329" y="2742"/>
                  </a:lnTo>
                  <a:lnTo>
                    <a:pt x="1409" y="2636"/>
                  </a:lnTo>
                  <a:lnTo>
                    <a:pt x="1497" y="2523"/>
                  </a:lnTo>
                  <a:lnTo>
                    <a:pt x="1591" y="2406"/>
                  </a:lnTo>
                  <a:lnTo>
                    <a:pt x="1692" y="2285"/>
                  </a:lnTo>
                  <a:lnTo>
                    <a:pt x="1800" y="2158"/>
                  </a:lnTo>
                  <a:lnTo>
                    <a:pt x="1915" y="2028"/>
                  </a:lnTo>
                  <a:lnTo>
                    <a:pt x="2037" y="1893"/>
                  </a:lnTo>
                  <a:lnTo>
                    <a:pt x="2167" y="1755"/>
                  </a:lnTo>
                  <a:lnTo>
                    <a:pt x="2304" y="1616"/>
                  </a:lnTo>
                  <a:lnTo>
                    <a:pt x="2448" y="1473"/>
                  </a:lnTo>
                  <a:lnTo>
                    <a:pt x="2600" y="1327"/>
                  </a:lnTo>
                  <a:lnTo>
                    <a:pt x="2759" y="1181"/>
                  </a:lnTo>
                  <a:lnTo>
                    <a:pt x="2926" y="1033"/>
                  </a:lnTo>
                  <a:lnTo>
                    <a:pt x="3101" y="884"/>
                  </a:lnTo>
                  <a:lnTo>
                    <a:pt x="3282" y="735"/>
                  </a:lnTo>
                  <a:lnTo>
                    <a:pt x="3472" y="586"/>
                  </a:lnTo>
                  <a:lnTo>
                    <a:pt x="3669" y="439"/>
                  </a:lnTo>
                  <a:lnTo>
                    <a:pt x="3875" y="291"/>
                  </a:lnTo>
                  <a:lnTo>
                    <a:pt x="4088" y="145"/>
                  </a:lnTo>
                  <a:lnTo>
                    <a:pt x="4309" y="0"/>
                  </a:lnTo>
                  <a:close/>
                </a:path>
              </a:pathLst>
            </a:custGeom>
            <a:solidFill>
              <a:srgbClr val="ABAAA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ko-KR" altLang="en-US" sz="7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47" name="Text Box 119"/>
            <p:cNvSpPr txBox="1">
              <a:spLocks noChangeArrowheads="1"/>
            </p:cNvSpPr>
            <p:nvPr/>
          </p:nvSpPr>
          <p:spPr bwMode="auto">
            <a:xfrm>
              <a:off x="8915347" y="5040626"/>
              <a:ext cx="197170" cy="10772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995363" latinLnBrk="0"/>
              <a:r>
                <a:rPr lang="ko-KR" altLang="en-US" sz="700" spc="-1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계</a:t>
              </a:r>
              <a:endParaRPr lang="ko-KR" altLang="ko-KR" sz="700" spc="-1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70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1429" y="5652725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1" name="Text Box 57"/>
            <p:cNvSpPr txBox="1">
              <a:spLocks noChangeArrowheads="1"/>
            </p:cNvSpPr>
            <p:nvPr/>
          </p:nvSpPr>
          <p:spPr bwMode="gray">
            <a:xfrm>
              <a:off x="8696825" y="5677732"/>
              <a:ext cx="23564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요구불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68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884" y="5652725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9" name="Text Box 57"/>
            <p:cNvSpPr txBox="1">
              <a:spLocks noChangeArrowheads="1"/>
            </p:cNvSpPr>
            <p:nvPr/>
          </p:nvSpPr>
          <p:spPr bwMode="gray">
            <a:xfrm>
              <a:off x="9139948" y="5677732"/>
              <a:ext cx="23564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적립식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66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1429" y="5825582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7" name="Text Box 57"/>
            <p:cNvSpPr txBox="1">
              <a:spLocks noChangeArrowheads="1"/>
            </p:cNvSpPr>
            <p:nvPr/>
          </p:nvSpPr>
          <p:spPr bwMode="gray">
            <a:xfrm>
              <a:off x="8620017" y="5851525"/>
              <a:ext cx="39044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치식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64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884" y="5825582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5" name="Text Box 57"/>
            <p:cNvSpPr txBox="1">
              <a:spLocks noChangeArrowheads="1"/>
            </p:cNvSpPr>
            <p:nvPr/>
          </p:nvSpPr>
          <p:spPr bwMode="gray">
            <a:xfrm>
              <a:off x="9092775" y="5850589"/>
              <a:ext cx="314189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신용대출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62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1429" y="5998439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3" name="Text Box 57"/>
            <p:cNvSpPr txBox="1">
              <a:spLocks noChangeArrowheads="1"/>
            </p:cNvSpPr>
            <p:nvPr/>
          </p:nvSpPr>
          <p:spPr bwMode="gray">
            <a:xfrm>
              <a:off x="8679820" y="6023446"/>
              <a:ext cx="26289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spc="-1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담보대출</a:t>
              </a:r>
              <a:endParaRPr lang="ko-KR" altLang="en-US" sz="700" spc="-1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60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884" y="5998439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1" name="Text Box 57"/>
            <p:cNvSpPr txBox="1">
              <a:spLocks noChangeArrowheads="1"/>
            </p:cNvSpPr>
            <p:nvPr/>
          </p:nvSpPr>
          <p:spPr bwMode="gray">
            <a:xfrm>
              <a:off x="9179629" y="6023446"/>
              <a:ext cx="131446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spc="-1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</a:t>
              </a:r>
              <a:endParaRPr lang="ko-KR" altLang="en-US" sz="700" spc="-1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58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1429" y="6171296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9" name="Text Box 57"/>
            <p:cNvSpPr txBox="1">
              <a:spLocks noChangeArrowheads="1"/>
            </p:cNvSpPr>
            <p:nvPr/>
          </p:nvSpPr>
          <p:spPr bwMode="gray">
            <a:xfrm>
              <a:off x="8744221" y="6188744"/>
              <a:ext cx="131446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spc="-1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계좌</a:t>
              </a:r>
              <a:endParaRPr lang="ko-KR" altLang="en-US" sz="700" spc="-1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pic>
          <p:nvPicPr>
            <p:cNvPr id="156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8884" y="6171296"/>
              <a:ext cx="402697" cy="157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7" name="Text Box 57"/>
            <p:cNvSpPr txBox="1">
              <a:spLocks noChangeArrowheads="1"/>
            </p:cNvSpPr>
            <p:nvPr/>
          </p:nvSpPr>
          <p:spPr bwMode="gray">
            <a:xfrm>
              <a:off x="9103420" y="6196303"/>
              <a:ext cx="33823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latinLnBrk="0" hangingPunct="1"/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</a:t>
              </a:r>
              <a:r>
                <a:rPr lang="en-US" altLang="ko-KR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LOG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pic>
        <p:nvPicPr>
          <p:cNvPr id="20" name="Picture 905" descr="j025511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75755" y="2109232"/>
            <a:ext cx="129887" cy="226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448"/>
          <p:cNvSpPr txBox="1">
            <a:spLocks noChangeArrowheads="1"/>
          </p:cNvSpPr>
          <p:nvPr/>
        </p:nvSpPr>
        <p:spPr bwMode="gray">
          <a:xfrm>
            <a:off x="8672469" y="2096852"/>
            <a:ext cx="88904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7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900" spc="-100" dirty="0"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rPr>
              <a:t>주요 기능 모듈</a:t>
            </a:r>
          </a:p>
        </p:txBody>
      </p:sp>
      <p:sp>
        <p:nvSpPr>
          <p:cNvPr id="28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8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4916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4.5.2 RBA </a:t>
            </a:r>
            <a:r>
              <a:rPr lang="ko-KR" altLang="en-US" dirty="0" smtClean="0"/>
              <a:t>프로세스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관리 프로세스는 계획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 및 모니터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결과 보고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단계로 구성되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에서 관리하는 전체 업무 프로세스는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위험평가 프로세스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5" name="표 14"/>
          <p:cNvGraphicFramePr>
            <a:graphicFrameLocks noGrp="1"/>
          </p:cNvGraphicFramePr>
          <p:nvPr>
            <p:extLst/>
          </p:nvPr>
        </p:nvGraphicFramePr>
        <p:xfrm>
          <a:off x="529317" y="2636913"/>
          <a:ext cx="8730691" cy="36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7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31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538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spc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사회</a:t>
                      </a:r>
                      <a:r>
                        <a:rPr lang="en-US" altLang="ko-KR" sz="1000" b="0" spc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000" b="0" spc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경영진</a:t>
                      </a:r>
                      <a:endParaRPr lang="en-US" altLang="ko-KR" sz="1000" b="0" spc="0" baseline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spc="-10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697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spc="0" baseline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ML/TF</a:t>
                      </a:r>
                    </a:p>
                    <a:p>
                      <a:pPr algn="ctr" latinLnBrk="1"/>
                      <a:r>
                        <a:rPr lang="ko-KR" altLang="en-US" sz="1000" b="0" spc="0" baseline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위험관리</a:t>
                      </a:r>
                      <a:endParaRPr lang="en-US" altLang="ko-KR" sz="1000" b="0" spc="0" baseline="0" dirty="0" smtClean="0"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algn="ctr" latinLnBrk="1"/>
                      <a:r>
                        <a:rPr lang="ko-KR" altLang="en-US" sz="1000" b="0" spc="0" baseline="0" dirty="0" smtClean="0"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담당자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spc="-1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04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spc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창구</a:t>
                      </a:r>
                      <a:endParaRPr lang="en-US" altLang="ko-KR" sz="1000" b="0" spc="0" baseline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algn="ctr" latinLnBrk="1"/>
                      <a:r>
                        <a:rPr lang="ko-KR" altLang="en-US" sz="1000" b="0" spc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담당자</a:t>
                      </a:r>
                      <a:endParaRPr lang="en-US" altLang="ko-KR" sz="1000" b="0" spc="0" baseline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spc="-1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직사각형 15"/>
          <p:cNvSpPr/>
          <p:nvPr/>
        </p:nvSpPr>
        <p:spPr bwMode="auto">
          <a:xfrm>
            <a:off x="1374724" y="5857639"/>
            <a:ext cx="912544" cy="28296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관리 목표 </a:t>
            </a:r>
            <a:endParaRPr lang="en-US" altLang="ko-KR" sz="8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검토 및 피드백 </a:t>
            </a:r>
          </a:p>
        </p:txBody>
      </p:sp>
      <p:sp>
        <p:nvSpPr>
          <p:cNvPr id="17" name="직사각형 16"/>
          <p:cNvSpPr/>
          <p:nvPr/>
        </p:nvSpPr>
        <p:spPr bwMode="auto">
          <a:xfrm>
            <a:off x="1953884" y="5356932"/>
            <a:ext cx="912544" cy="282961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관련부서 협의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피드백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1953778" y="4944901"/>
            <a:ext cx="912544" cy="28296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단계별 </a:t>
            </a:r>
            <a:endParaRPr lang="en-US" altLang="ko-KR" sz="8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일정계획 수립</a:t>
            </a:r>
          </a:p>
        </p:txBody>
      </p:sp>
      <p:sp>
        <p:nvSpPr>
          <p:cNvPr id="19" name="직사각형 18"/>
          <p:cNvSpPr/>
          <p:nvPr/>
        </p:nvSpPr>
        <p:spPr bwMode="auto">
          <a:xfrm>
            <a:off x="1940189" y="2775585"/>
            <a:ext cx="912544" cy="28296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관리 목표 </a:t>
            </a:r>
            <a:endParaRPr lang="en-US" altLang="ko-KR" sz="8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및 운영계획 보고</a:t>
            </a:r>
          </a:p>
        </p:txBody>
      </p:sp>
      <p:cxnSp>
        <p:nvCxnSpPr>
          <p:cNvPr id="20" name="꺾인 연결선 19"/>
          <p:cNvCxnSpPr>
            <a:stCxn id="19" idx="3"/>
          </p:cNvCxnSpPr>
          <p:nvPr/>
        </p:nvCxnSpPr>
        <p:spPr>
          <a:xfrm>
            <a:off x="2852732" y="2920090"/>
            <a:ext cx="104081" cy="381212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직사각형 20"/>
          <p:cNvSpPr/>
          <p:nvPr/>
        </p:nvSpPr>
        <p:spPr bwMode="ltGray">
          <a:xfrm>
            <a:off x="2904954" y="5859775"/>
            <a:ext cx="912544" cy="28296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2" name="직선 화살표 연결선 84"/>
          <p:cNvCxnSpPr/>
          <p:nvPr/>
        </p:nvCxnSpPr>
        <p:spPr>
          <a:xfrm>
            <a:off x="3633602" y="3888167"/>
            <a:ext cx="3" cy="197551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꺾인 연결선 22"/>
          <p:cNvCxnSpPr>
            <a:stCxn id="21" idx="3"/>
          </p:cNvCxnSpPr>
          <p:nvPr/>
        </p:nvCxnSpPr>
        <p:spPr>
          <a:xfrm flipV="1">
            <a:off x="3817497" y="4067635"/>
            <a:ext cx="234297" cy="1936645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/>
          <p:cNvSpPr/>
          <p:nvPr/>
        </p:nvSpPr>
        <p:spPr bwMode="ltGray">
          <a:xfrm>
            <a:off x="4024898" y="5857639"/>
            <a:ext cx="912544" cy="28296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lnSpc>
                <a:spcPct val="90000"/>
              </a:lnSpc>
            </a:pP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설계 </a:t>
            </a: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6" name="직선 화살표 연결선 25"/>
          <p:cNvCxnSpPr>
            <a:stCxn id="66" idx="2"/>
            <a:endCxn id="25" idx="0"/>
          </p:cNvCxnSpPr>
          <p:nvPr/>
        </p:nvCxnSpPr>
        <p:spPr>
          <a:xfrm>
            <a:off x="4484584" y="5619585"/>
            <a:ext cx="1979" cy="244101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25" idx="3"/>
            <a:endCxn id="32" idx="2"/>
          </p:cNvCxnSpPr>
          <p:nvPr/>
        </p:nvCxnSpPr>
        <p:spPr>
          <a:xfrm flipV="1">
            <a:off x="4937441" y="5363885"/>
            <a:ext cx="497854" cy="638258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/>
          <p:cNvCxnSpPr>
            <a:stCxn id="38" idx="2"/>
            <a:endCxn id="16" idx="0"/>
          </p:cNvCxnSpPr>
          <p:nvPr/>
        </p:nvCxnSpPr>
        <p:spPr>
          <a:xfrm>
            <a:off x="1836389" y="4694352"/>
            <a:ext cx="0" cy="116933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꺾인 연결선 28"/>
          <p:cNvCxnSpPr>
            <a:stCxn id="38" idx="2"/>
            <a:endCxn id="18" idx="1"/>
          </p:cNvCxnSpPr>
          <p:nvPr/>
        </p:nvCxnSpPr>
        <p:spPr>
          <a:xfrm rot="16200000" flipH="1">
            <a:off x="1702951" y="4827790"/>
            <a:ext cx="395053" cy="128175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/>
          <p:cNvCxnSpPr/>
          <p:nvPr/>
        </p:nvCxnSpPr>
        <p:spPr>
          <a:xfrm>
            <a:off x="2412075" y="3017222"/>
            <a:ext cx="164" cy="4132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화살표 연결선 142"/>
          <p:cNvCxnSpPr>
            <a:stCxn id="17" idx="0"/>
            <a:endCxn id="18" idx="2"/>
          </p:cNvCxnSpPr>
          <p:nvPr/>
        </p:nvCxnSpPr>
        <p:spPr>
          <a:xfrm flipH="1" flipV="1">
            <a:off x="2415443" y="5227862"/>
            <a:ext cx="106" cy="13511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/>
          <p:cNvSpPr/>
          <p:nvPr/>
        </p:nvSpPr>
        <p:spPr bwMode="auto">
          <a:xfrm>
            <a:off x="4973630" y="5080926"/>
            <a:ext cx="912543" cy="28296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RI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모니터링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4973585" y="4639425"/>
            <a:ext cx="912543" cy="28296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KRI </a:t>
            </a:r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모니터링 결과 조치 및 확인</a:t>
            </a:r>
          </a:p>
        </p:txBody>
      </p:sp>
      <p:cxnSp>
        <p:nvCxnSpPr>
          <p:cNvPr id="34" name="직선 화살표 연결선 33"/>
          <p:cNvCxnSpPr>
            <a:stCxn id="32" idx="0"/>
            <a:endCxn id="33" idx="2"/>
          </p:cNvCxnSpPr>
          <p:nvPr/>
        </p:nvCxnSpPr>
        <p:spPr>
          <a:xfrm flipH="1" flipV="1">
            <a:off x="5435250" y="4922385"/>
            <a:ext cx="45" cy="16458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화살표 연결선 34"/>
          <p:cNvCxnSpPr>
            <a:stCxn id="33" idx="0"/>
            <a:endCxn id="46" idx="2"/>
          </p:cNvCxnSpPr>
          <p:nvPr/>
        </p:nvCxnSpPr>
        <p:spPr>
          <a:xfrm flipH="1" flipV="1">
            <a:off x="5435038" y="4000658"/>
            <a:ext cx="217" cy="64481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직사각형 35"/>
          <p:cNvSpPr/>
          <p:nvPr/>
        </p:nvSpPr>
        <p:spPr bwMode="ltGray">
          <a:xfrm>
            <a:off x="7083308" y="3720198"/>
            <a:ext cx="912544" cy="28296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결과에 대한 </a:t>
            </a:r>
          </a:p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토 및 </a:t>
            </a: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정</a:t>
            </a:r>
            <a:endParaRPr lang="ko-KR" altLang="en-US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37" name="직선 화살표 연결선 188"/>
          <p:cNvCxnSpPr>
            <a:stCxn id="56" idx="0"/>
            <a:endCxn id="36" idx="2"/>
          </p:cNvCxnSpPr>
          <p:nvPr/>
        </p:nvCxnSpPr>
        <p:spPr>
          <a:xfrm flipH="1" flipV="1">
            <a:off x="7544973" y="4003159"/>
            <a:ext cx="3055" cy="61164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직사각형 37"/>
          <p:cNvSpPr/>
          <p:nvPr/>
        </p:nvSpPr>
        <p:spPr bwMode="auto">
          <a:xfrm>
            <a:off x="1374724" y="4411393"/>
            <a:ext cx="912544" cy="28296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단위별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관리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목표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수립</a:t>
            </a:r>
          </a:p>
        </p:txBody>
      </p:sp>
      <p:cxnSp>
        <p:nvCxnSpPr>
          <p:cNvPr id="44" name="직선 화살표 연결선 43"/>
          <p:cNvCxnSpPr>
            <a:stCxn id="45" idx="2"/>
            <a:endCxn id="38" idx="0"/>
          </p:cNvCxnSpPr>
          <p:nvPr/>
        </p:nvCxnSpPr>
        <p:spPr>
          <a:xfrm>
            <a:off x="1836389" y="4125841"/>
            <a:ext cx="0" cy="29159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직사각형 44"/>
          <p:cNvSpPr/>
          <p:nvPr/>
        </p:nvSpPr>
        <p:spPr bwMode="auto">
          <a:xfrm>
            <a:off x="1374724" y="3842882"/>
            <a:ext cx="912544" cy="28296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전사위험인식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목표설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973151" y="3717021"/>
            <a:ext cx="912982" cy="28363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ML/TF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 지표값 산정</a:t>
            </a:r>
            <a:r>
              <a:rPr lang="en-US" altLang="ko-KR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/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검토 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975131" y="3290200"/>
            <a:ext cx="912982" cy="28363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ML/TF </a:t>
            </a:r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위험평가 </a:t>
            </a:r>
            <a:endParaRPr lang="en-US" altLang="ko-KR" sz="8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결과 확정</a:t>
            </a:r>
          </a:p>
        </p:txBody>
      </p:sp>
      <p:sp>
        <p:nvSpPr>
          <p:cNvPr id="48" name="직사각형 47"/>
          <p:cNvSpPr/>
          <p:nvPr/>
        </p:nvSpPr>
        <p:spPr bwMode="auto">
          <a:xfrm>
            <a:off x="5991150" y="3715266"/>
            <a:ext cx="912982" cy="28363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고유위험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표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산출</a:t>
            </a:r>
          </a:p>
        </p:txBody>
      </p:sp>
      <p:cxnSp>
        <p:nvCxnSpPr>
          <p:cNvPr id="49" name="직선 화살표 연결선 73"/>
          <p:cNvCxnSpPr>
            <a:stCxn id="46" idx="0"/>
            <a:endCxn id="47" idx="2"/>
          </p:cNvCxnSpPr>
          <p:nvPr/>
        </p:nvCxnSpPr>
        <p:spPr>
          <a:xfrm flipV="1">
            <a:off x="5435038" y="3573837"/>
            <a:ext cx="1980" cy="149244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화살표 연결선 73"/>
          <p:cNvCxnSpPr>
            <a:stCxn id="46" idx="3"/>
            <a:endCxn id="48" idx="1"/>
          </p:cNvCxnSpPr>
          <p:nvPr/>
        </p:nvCxnSpPr>
        <p:spPr>
          <a:xfrm flipV="1">
            <a:off x="5886133" y="3860115"/>
            <a:ext cx="115810" cy="175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 bwMode="auto">
          <a:xfrm>
            <a:off x="6082144" y="4481436"/>
            <a:ext cx="912987" cy="28363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제</a:t>
            </a: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효과성</a:t>
            </a: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표값 산출 및 확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6082144" y="5322584"/>
            <a:ext cx="912987" cy="28364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제 효과성 </a:t>
            </a:r>
            <a:r>
              <a:rPr lang="en-US" altLang="ko-KR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CSA</a:t>
            </a: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수행 및 결과확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6082144" y="4905545"/>
            <a:ext cx="912986" cy="28363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통제</a:t>
            </a:r>
            <a:r>
              <a: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효과성 평가 결과</a:t>
            </a:r>
            <a:r>
              <a: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최종확정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7086016" y="5324866"/>
            <a:ext cx="912987" cy="28363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699" rIns="0" bIns="45699" anchor="ctr">
            <a:noAutofit/>
          </a:bodyPr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안 위험 운영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제 효과성 확정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7086138" y="4608740"/>
            <a:ext cx="912987" cy="28363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운영위험 </a:t>
            </a:r>
            <a:endParaRPr lang="en-US" altLang="ko-KR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표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산출</a:t>
            </a:r>
          </a:p>
        </p:txBody>
      </p:sp>
      <p:cxnSp>
        <p:nvCxnSpPr>
          <p:cNvPr id="57" name="직선 화살표 연결선 73"/>
          <p:cNvCxnSpPr>
            <a:stCxn id="51" idx="2"/>
            <a:endCxn id="53" idx="0"/>
          </p:cNvCxnSpPr>
          <p:nvPr/>
        </p:nvCxnSpPr>
        <p:spPr>
          <a:xfrm>
            <a:off x="6544034" y="4765073"/>
            <a:ext cx="0" cy="146533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화살표 연결선 73"/>
          <p:cNvCxnSpPr>
            <a:stCxn id="52" idx="0"/>
            <a:endCxn id="53" idx="2"/>
          </p:cNvCxnSpPr>
          <p:nvPr/>
        </p:nvCxnSpPr>
        <p:spPr>
          <a:xfrm flipV="1">
            <a:off x="6544034" y="5189184"/>
            <a:ext cx="0" cy="139460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화살표 연결선 73"/>
          <p:cNvCxnSpPr>
            <a:stCxn id="53" idx="3"/>
            <a:endCxn id="56" idx="2"/>
          </p:cNvCxnSpPr>
          <p:nvPr/>
        </p:nvCxnSpPr>
        <p:spPr>
          <a:xfrm flipV="1">
            <a:off x="6995130" y="4892378"/>
            <a:ext cx="552898" cy="158017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화살표 연결선 73"/>
          <p:cNvCxnSpPr>
            <a:stCxn id="55" idx="0"/>
            <a:endCxn id="56" idx="2"/>
          </p:cNvCxnSpPr>
          <p:nvPr/>
        </p:nvCxnSpPr>
        <p:spPr>
          <a:xfrm flipV="1">
            <a:off x="7547906" y="4892378"/>
            <a:ext cx="122" cy="438547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화살표 연결선 73"/>
          <p:cNvCxnSpPr>
            <a:stCxn id="33" idx="3"/>
            <a:endCxn id="51" idx="1"/>
          </p:cNvCxnSpPr>
          <p:nvPr/>
        </p:nvCxnSpPr>
        <p:spPr>
          <a:xfrm flipV="1">
            <a:off x="5886133" y="4626285"/>
            <a:ext cx="206803" cy="15764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188"/>
          <p:cNvCxnSpPr>
            <a:stCxn id="48" idx="3"/>
            <a:endCxn id="36" idx="1"/>
          </p:cNvCxnSpPr>
          <p:nvPr/>
        </p:nvCxnSpPr>
        <p:spPr>
          <a:xfrm>
            <a:off x="6904132" y="3860114"/>
            <a:ext cx="189962" cy="458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화살표 연결선 188"/>
          <p:cNvCxnSpPr>
            <a:stCxn id="47" idx="3"/>
            <a:endCxn id="36" idx="1"/>
          </p:cNvCxnSpPr>
          <p:nvPr/>
        </p:nvCxnSpPr>
        <p:spPr>
          <a:xfrm>
            <a:off x="5888112" y="3435046"/>
            <a:ext cx="1205982" cy="429656"/>
          </a:xfrm>
          <a:prstGeom prst="bentConnector3">
            <a:avLst>
              <a:gd name="adj1" fmla="val 89607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71"/>
          <p:cNvCxnSpPr>
            <a:stCxn id="33" idx="3"/>
            <a:endCxn id="52" idx="1"/>
          </p:cNvCxnSpPr>
          <p:nvPr/>
        </p:nvCxnSpPr>
        <p:spPr>
          <a:xfrm>
            <a:off x="5886133" y="4783927"/>
            <a:ext cx="206803" cy="683506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직사각형 64"/>
          <p:cNvSpPr/>
          <p:nvPr/>
        </p:nvSpPr>
        <p:spPr bwMode="ltGray">
          <a:xfrm>
            <a:off x="4022919" y="4895526"/>
            <a:ext cx="912544" cy="28296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altLang="ko-KR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lnSpc>
                <a:spcPct val="90000"/>
              </a:lnSpc>
            </a:pP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사항 반영</a:t>
            </a:r>
            <a:endParaRPr lang="en-US" altLang="ko-KR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6" name="직사각형 65"/>
          <p:cNvSpPr/>
          <p:nvPr/>
        </p:nvSpPr>
        <p:spPr bwMode="ltGray">
          <a:xfrm>
            <a:off x="4022919" y="5336626"/>
            <a:ext cx="912544" cy="28296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</a:t>
            </a:r>
            <a:endParaRPr lang="en-US" altLang="ko-KR" sz="800" spc="-1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lnSpc>
                <a:spcPct val="90000"/>
              </a:lnSpc>
            </a:pP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사항 반영</a:t>
            </a:r>
            <a:endParaRPr lang="en-US" altLang="ko-KR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4021953" y="4019498"/>
            <a:ext cx="912984" cy="28363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RI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임계 치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설정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4021953" y="4461028"/>
            <a:ext cx="912984" cy="283637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RI </a:t>
            </a:r>
            <a:r>
              <a:rPr lang="ko-KR" altLang="en-US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측정 결과에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  따른 후속조치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cxnSp>
        <p:nvCxnSpPr>
          <p:cNvPr id="69" name="직선 화살표 연결선 68"/>
          <p:cNvCxnSpPr>
            <a:stCxn id="65" idx="2"/>
            <a:endCxn id="66" idx="0"/>
          </p:cNvCxnSpPr>
          <p:nvPr/>
        </p:nvCxnSpPr>
        <p:spPr>
          <a:xfrm>
            <a:off x="4484584" y="5178484"/>
            <a:ext cx="0" cy="16418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화살표 연결선 69"/>
          <p:cNvCxnSpPr>
            <a:stCxn id="68" idx="2"/>
            <a:endCxn id="65" idx="0"/>
          </p:cNvCxnSpPr>
          <p:nvPr/>
        </p:nvCxnSpPr>
        <p:spPr>
          <a:xfrm>
            <a:off x="4483840" y="4744666"/>
            <a:ext cx="743" cy="15690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화살표 연결선 70"/>
          <p:cNvCxnSpPr>
            <a:stCxn id="67" idx="2"/>
            <a:endCxn id="68" idx="0"/>
          </p:cNvCxnSpPr>
          <p:nvPr/>
        </p:nvCxnSpPr>
        <p:spPr>
          <a:xfrm>
            <a:off x="4483840" y="4303135"/>
            <a:ext cx="0" cy="16395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/>
          <p:cNvSpPr/>
          <p:nvPr/>
        </p:nvSpPr>
        <p:spPr bwMode="auto">
          <a:xfrm>
            <a:off x="3545826" y="3289223"/>
            <a:ext cx="912981" cy="28363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ML/TF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별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평가방법 정의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3547470" y="3658958"/>
            <a:ext cx="912981" cy="283638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통제운영위험에</a:t>
            </a:r>
            <a:endParaRPr lang="en-US" altLang="ko-KR" sz="8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대한 </a:t>
            </a:r>
            <a:r>
              <a:rPr lang="en-US" altLang="ko-KR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</a:t>
            </a:r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차 평가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2471463" y="3842395"/>
            <a:ext cx="912981" cy="28363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고위험 요소 식별 </a:t>
            </a:r>
          </a:p>
        </p:txBody>
      </p:sp>
      <p:sp>
        <p:nvSpPr>
          <p:cNvPr id="75" name="직사각형 74"/>
          <p:cNvSpPr/>
          <p:nvPr/>
        </p:nvSpPr>
        <p:spPr bwMode="auto">
          <a:xfrm>
            <a:off x="2464273" y="4366640"/>
            <a:ext cx="912981" cy="28363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en-US" altLang="ko-KR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AML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 변경사항 확인</a:t>
            </a:r>
            <a:r>
              <a:rPr lang="en-US" altLang="ko-KR" sz="800" kern="0" spc="-100" dirty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및 반영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2470362" y="3295242"/>
            <a:ext cx="912981" cy="28363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 변경사항 </a:t>
            </a:r>
            <a:endParaRPr lang="en-US" altLang="ko-KR" sz="800" kern="0" spc="-100" dirty="0" smtClean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algn="ctr" defTabSz="1018354">
              <a:lnSpc>
                <a:spcPct val="90000"/>
              </a:lnSpc>
              <a:buSzPct val="90000"/>
              <a:defRPr/>
            </a:pPr>
            <a:r>
              <a:rPr lang="ko-KR" altLang="en-US" sz="800" kern="0" spc="-100" dirty="0" smtClean="0">
                <a:solidFill>
                  <a:srgbClr val="1B111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확인</a:t>
            </a:r>
            <a:endParaRPr lang="ko-KR" altLang="en-US" sz="800" kern="0" spc="-100" dirty="0">
              <a:solidFill>
                <a:srgbClr val="1B1112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cxnSp>
        <p:nvCxnSpPr>
          <p:cNvPr id="77" name="직선 화살표 연결선 76"/>
          <p:cNvCxnSpPr>
            <a:stCxn id="76" idx="2"/>
            <a:endCxn id="74" idx="0"/>
          </p:cNvCxnSpPr>
          <p:nvPr/>
        </p:nvCxnSpPr>
        <p:spPr>
          <a:xfrm>
            <a:off x="2932249" y="3578880"/>
            <a:ext cx="1102" cy="26957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직선 화살표 연결선 77"/>
          <p:cNvCxnSpPr>
            <a:stCxn id="74" idx="2"/>
            <a:endCxn id="75" idx="0"/>
          </p:cNvCxnSpPr>
          <p:nvPr/>
        </p:nvCxnSpPr>
        <p:spPr>
          <a:xfrm flipH="1">
            <a:off x="2926160" y="4126031"/>
            <a:ext cx="0" cy="24666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화살표 연결선 212"/>
          <p:cNvCxnSpPr>
            <a:stCxn id="75" idx="3"/>
            <a:endCxn id="72" idx="1"/>
          </p:cNvCxnSpPr>
          <p:nvPr/>
        </p:nvCxnSpPr>
        <p:spPr>
          <a:xfrm flipV="1">
            <a:off x="3377254" y="3434071"/>
            <a:ext cx="179364" cy="1077417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화살표 연결선 212"/>
          <p:cNvCxnSpPr>
            <a:stCxn id="75" idx="3"/>
            <a:endCxn id="73" idx="1"/>
          </p:cNvCxnSpPr>
          <p:nvPr/>
        </p:nvCxnSpPr>
        <p:spPr>
          <a:xfrm flipV="1">
            <a:off x="3377254" y="3803806"/>
            <a:ext cx="181008" cy="70768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직사각형 80"/>
          <p:cNvSpPr/>
          <p:nvPr/>
        </p:nvSpPr>
        <p:spPr bwMode="ltGray">
          <a:xfrm>
            <a:off x="8122562" y="4430333"/>
            <a:ext cx="912544" cy="28296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평가 결과에 따른 </a:t>
            </a: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개선계획 수립</a:t>
            </a:r>
          </a:p>
        </p:txBody>
      </p:sp>
      <p:sp>
        <p:nvSpPr>
          <p:cNvPr id="82" name="직사각형 81"/>
          <p:cNvSpPr/>
          <p:nvPr/>
        </p:nvSpPr>
        <p:spPr bwMode="ltGray">
          <a:xfrm>
            <a:off x="8122364" y="3924337"/>
            <a:ext cx="912544" cy="28296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개선 결과에 </a:t>
            </a: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대한 확인</a:t>
            </a:r>
          </a:p>
        </p:txBody>
      </p:sp>
      <p:sp>
        <p:nvSpPr>
          <p:cNvPr id="83" name="직사각형 82"/>
          <p:cNvSpPr/>
          <p:nvPr/>
        </p:nvSpPr>
        <p:spPr bwMode="ltGray">
          <a:xfrm>
            <a:off x="8122364" y="5875815"/>
            <a:ext cx="912544" cy="28296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 개선 주체 별 </a:t>
            </a:r>
            <a:endParaRPr lang="en-US" altLang="ko-KR" sz="8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개선 작업 수행</a:t>
            </a:r>
          </a:p>
        </p:txBody>
      </p:sp>
      <p:sp>
        <p:nvSpPr>
          <p:cNvPr id="84" name="직사각형 83"/>
          <p:cNvSpPr/>
          <p:nvPr/>
        </p:nvSpPr>
        <p:spPr bwMode="ltGray">
          <a:xfrm>
            <a:off x="8122364" y="3411606"/>
            <a:ext cx="912544" cy="28296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ko-KR" altLang="en-US" sz="8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보고서 </a:t>
            </a:r>
            <a:r>
              <a:rPr lang="ko-KR" altLang="en-US" sz="80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작성</a:t>
            </a:r>
            <a:endParaRPr lang="ko-KR" altLang="en-US" sz="800" spc="-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5" name="직사각형 84"/>
          <p:cNvSpPr/>
          <p:nvPr/>
        </p:nvSpPr>
        <p:spPr bwMode="ltGray">
          <a:xfrm>
            <a:off x="8122365" y="2775114"/>
            <a:ext cx="912544" cy="28296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연간 운영결과</a:t>
            </a:r>
          </a:p>
          <a:p>
            <a:pPr algn="ctr"/>
            <a:r>
              <a:rPr lang="ko-KR" altLang="en-US" sz="8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경영진 보고</a:t>
            </a:r>
          </a:p>
        </p:txBody>
      </p:sp>
      <p:cxnSp>
        <p:nvCxnSpPr>
          <p:cNvPr id="86" name="직선 화살표 연결선 89"/>
          <p:cNvCxnSpPr>
            <a:stCxn id="36" idx="3"/>
            <a:endCxn id="81" idx="1"/>
          </p:cNvCxnSpPr>
          <p:nvPr/>
        </p:nvCxnSpPr>
        <p:spPr>
          <a:xfrm>
            <a:off x="7995851" y="3864702"/>
            <a:ext cx="137497" cy="710135"/>
          </a:xfrm>
          <a:prstGeom prst="bentConnector3">
            <a:avLst>
              <a:gd name="adj1" fmla="val 27344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/>
          <p:cNvCxnSpPr>
            <a:stCxn id="81" idx="2"/>
            <a:endCxn id="83" idx="0"/>
          </p:cNvCxnSpPr>
          <p:nvPr/>
        </p:nvCxnSpPr>
        <p:spPr>
          <a:xfrm flipH="1">
            <a:off x="8584029" y="4713294"/>
            <a:ext cx="198" cy="116856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>
            <a:stCxn id="81" idx="0"/>
            <a:endCxn id="82" idx="2"/>
          </p:cNvCxnSpPr>
          <p:nvPr/>
        </p:nvCxnSpPr>
        <p:spPr>
          <a:xfrm flipH="1" flipV="1">
            <a:off x="8584029" y="4207298"/>
            <a:ext cx="198" cy="22908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161"/>
          <p:cNvCxnSpPr>
            <a:stCxn id="83" idx="3"/>
            <a:endCxn id="82" idx="3"/>
          </p:cNvCxnSpPr>
          <p:nvPr/>
        </p:nvCxnSpPr>
        <p:spPr>
          <a:xfrm flipV="1">
            <a:off x="9034907" y="4068841"/>
            <a:ext cx="12700" cy="1951478"/>
          </a:xfrm>
          <a:prstGeom prst="bentConnector3">
            <a:avLst>
              <a:gd name="adj1" fmla="val 1800000"/>
            </a:avLst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직선 화살표 연결선 89"/>
          <p:cNvCxnSpPr>
            <a:stCxn id="82" idx="0"/>
            <a:endCxn id="84" idx="2"/>
          </p:cNvCxnSpPr>
          <p:nvPr/>
        </p:nvCxnSpPr>
        <p:spPr>
          <a:xfrm flipV="1">
            <a:off x="8584029" y="3694566"/>
            <a:ext cx="0" cy="23581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직선 화살표 연결선 90"/>
          <p:cNvCxnSpPr>
            <a:stCxn id="84" idx="0"/>
            <a:endCxn id="85" idx="2"/>
          </p:cNvCxnSpPr>
          <p:nvPr/>
        </p:nvCxnSpPr>
        <p:spPr>
          <a:xfrm flipV="1">
            <a:off x="8584029" y="3058075"/>
            <a:ext cx="1" cy="35957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꺾인 연결선 91"/>
          <p:cNvCxnSpPr>
            <a:stCxn id="16" idx="3"/>
            <a:endCxn id="17" idx="2"/>
          </p:cNvCxnSpPr>
          <p:nvPr/>
        </p:nvCxnSpPr>
        <p:spPr>
          <a:xfrm flipV="1">
            <a:off x="2287267" y="5639893"/>
            <a:ext cx="128282" cy="362250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그룹 1"/>
          <p:cNvGrpSpPr/>
          <p:nvPr/>
        </p:nvGrpSpPr>
        <p:grpSpPr>
          <a:xfrm>
            <a:off x="1247072" y="2312904"/>
            <a:ext cx="8012935" cy="252000"/>
            <a:chOff x="1400282" y="2403249"/>
            <a:chExt cx="7818458" cy="252000"/>
          </a:xfrm>
        </p:grpSpPr>
        <p:sp>
          <p:nvSpPr>
            <p:cNvPr id="94" name="오각형 93"/>
            <p:cNvSpPr/>
            <p:nvPr/>
          </p:nvSpPr>
          <p:spPr bwMode="ltGray">
            <a:xfrm>
              <a:off x="1400282" y="2410237"/>
              <a:ext cx="3322684" cy="245012"/>
            </a:xfrm>
            <a:prstGeom prst="homePlate">
              <a:avLst>
                <a:gd name="adj" fmla="val 23753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Planning</a:t>
              </a:r>
            </a:p>
          </p:txBody>
        </p:sp>
        <p:sp>
          <p:nvSpPr>
            <p:cNvPr id="95" name="갈매기형 수장 94"/>
            <p:cNvSpPr/>
            <p:nvPr/>
          </p:nvSpPr>
          <p:spPr bwMode="ltGray">
            <a:xfrm>
              <a:off x="4703097" y="2410238"/>
              <a:ext cx="2700000" cy="245011"/>
            </a:xfrm>
            <a:prstGeom prst="chevron">
              <a:avLst>
                <a:gd name="adj" fmla="val 23752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수행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및 모니터링</a:t>
              </a:r>
            </a:p>
          </p:txBody>
        </p:sp>
        <p:sp>
          <p:nvSpPr>
            <p:cNvPr id="96" name="갈매기형 수장 95"/>
            <p:cNvSpPr/>
            <p:nvPr/>
          </p:nvSpPr>
          <p:spPr bwMode="ltGray">
            <a:xfrm>
              <a:off x="7382740" y="2403249"/>
              <a:ext cx="1836000" cy="245011"/>
            </a:xfrm>
            <a:prstGeom prst="chevron">
              <a:avLst>
                <a:gd name="adj" fmla="val 23752"/>
              </a:avLst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결과 보고</a:t>
              </a:r>
            </a:p>
          </p:txBody>
        </p:sp>
      </p:grpSp>
      <p:sp>
        <p:nvSpPr>
          <p:cNvPr id="9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9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00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3 RBA </a:t>
            </a:r>
            <a:r>
              <a:rPr lang="ko-KR" altLang="en-US" dirty="0"/>
              <a:t>메뉴 구성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8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모듈을 구성하는 상세 모듈은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메뉴 구성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" name="그룹 1"/>
          <p:cNvGrpSpPr/>
          <p:nvPr/>
        </p:nvGrpSpPr>
        <p:grpSpPr>
          <a:xfrm>
            <a:off x="562948" y="2240868"/>
            <a:ext cx="8782540" cy="4068452"/>
            <a:chOff x="668524" y="2348880"/>
            <a:chExt cx="8552835" cy="3845826"/>
          </a:xfrm>
        </p:grpSpPr>
        <p:sp>
          <p:nvSpPr>
            <p:cNvPr id="183" name="위쪽/아래쪽 화살표 182"/>
            <p:cNvSpPr/>
            <p:nvPr/>
          </p:nvSpPr>
          <p:spPr>
            <a:xfrm>
              <a:off x="4036157" y="5051386"/>
              <a:ext cx="407574" cy="379434"/>
            </a:xfrm>
            <a:prstGeom prst="upDownArrow">
              <a:avLst>
                <a:gd name="adj1" fmla="val 50000"/>
                <a:gd name="adj2" fmla="val 33934"/>
              </a:avLst>
            </a:prstGeom>
            <a:solidFill>
              <a:srgbClr val="7C8E9C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59" name="AutoShape 252"/>
            <p:cNvSpPr>
              <a:spLocks noChangeArrowheads="1"/>
            </p:cNvSpPr>
            <p:nvPr/>
          </p:nvSpPr>
          <p:spPr bwMode="gray">
            <a:xfrm>
              <a:off x="8059139" y="5533531"/>
              <a:ext cx="1160163" cy="661175"/>
            </a:xfrm>
            <a:prstGeom prst="roundRect">
              <a:avLst>
                <a:gd name="adj" fmla="val 0"/>
              </a:avLst>
            </a:prstGeom>
            <a:solidFill>
              <a:srgbClr val="E2E7EA"/>
            </a:solidFill>
            <a:ln w="6350">
              <a:solidFill>
                <a:srgbClr val="CFD6DB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60" name="AutoShape 64"/>
            <p:cNvSpPr>
              <a:spLocks noChangeArrowheads="1"/>
            </p:cNvSpPr>
            <p:nvPr/>
          </p:nvSpPr>
          <p:spPr bwMode="auto">
            <a:xfrm>
              <a:off x="8061213" y="5350557"/>
              <a:ext cx="1158089" cy="208744"/>
            </a:xfrm>
            <a:prstGeom prst="roundRect">
              <a:avLst>
                <a:gd name="adj" fmla="val 7144"/>
              </a:avLst>
            </a:prstGeom>
            <a:solidFill>
              <a:srgbClr val="038CDC"/>
            </a:solidFill>
            <a:ln w="6350">
              <a:solidFill>
                <a:srgbClr val="0074C3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oFIU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61" name="AutoShape 64"/>
            <p:cNvSpPr>
              <a:spLocks noChangeArrowheads="1"/>
            </p:cNvSpPr>
            <p:nvPr/>
          </p:nvSpPr>
          <p:spPr bwMode="auto">
            <a:xfrm>
              <a:off x="8135273" y="5600533"/>
              <a:ext cx="1029411" cy="250593"/>
            </a:xfrm>
            <a:prstGeom prst="roundRect">
              <a:avLst>
                <a:gd name="adj" fmla="val 7144"/>
              </a:avLst>
            </a:prstGeom>
            <a:solidFill>
              <a:srgbClr val="FFFFFF"/>
            </a:soli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800" b="0" i="0" u="none" strike="noStrike" kern="120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Calibri" pitchFamily="34" charset="0"/>
                </a:rPr>
                <a:t>국가위험</a:t>
              </a:r>
              <a:endParaRPr kumimoji="1" lang="en-US" altLang="ko-KR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endParaRP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0" i="0" u="none" strike="noStrike" kern="120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Calibri" pitchFamily="34" charset="0"/>
                </a:rPr>
                <a:t>/ </a:t>
              </a:r>
              <a:r>
                <a:rPr kumimoji="1" lang="ko-KR" altLang="en-US" sz="800" b="0" i="0" u="none" strike="noStrike" kern="120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Calibri" pitchFamily="34" charset="0"/>
                </a:rPr>
                <a:t>정보교류 </a:t>
              </a:r>
              <a:r>
                <a:rPr kumimoji="1" lang="en-US" altLang="ko-KR" sz="800" b="0" i="0" u="none" strike="noStrike" kern="120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Calibri" pitchFamily="34" charset="0"/>
                </a:rPr>
                <a:t>portal</a:t>
              </a:r>
              <a:endParaRPr kumimoji="1" lang="ko-KR" altLang="en-US" sz="800" b="0" i="0" u="none" strike="noStrike" kern="120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Calibri" pitchFamily="34" charset="0"/>
              </a:endParaRPr>
            </a:p>
          </p:txBody>
        </p:sp>
        <p:sp>
          <p:nvSpPr>
            <p:cNvPr id="262" name="AutoShape 64"/>
            <p:cNvSpPr>
              <a:spLocks noChangeArrowheads="1"/>
            </p:cNvSpPr>
            <p:nvPr/>
          </p:nvSpPr>
          <p:spPr bwMode="auto">
            <a:xfrm>
              <a:off x="8142092" y="5892358"/>
              <a:ext cx="1029411" cy="240309"/>
            </a:xfrm>
            <a:prstGeom prst="roundRect">
              <a:avLst>
                <a:gd name="adj" fmla="val 7144"/>
              </a:avLst>
            </a:prstGeom>
            <a:solidFill>
              <a:srgbClr val="FFFFFF"/>
            </a:soli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0" i="0" u="none" strike="noStrike" kern="120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Calibri" pitchFamily="34" charset="0"/>
                </a:rPr>
                <a:t>STR/CTR</a:t>
              </a: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800" b="0" i="0" u="none" strike="noStrike" kern="120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Calibri" pitchFamily="34" charset="0"/>
                </a:rPr>
                <a:t>접수 시스템</a:t>
              </a:r>
            </a:p>
          </p:txBody>
        </p:sp>
        <p:sp>
          <p:nvSpPr>
            <p:cNvPr id="248" name="직사각형 247"/>
            <p:cNvSpPr/>
            <p:nvPr/>
          </p:nvSpPr>
          <p:spPr>
            <a:xfrm>
              <a:off x="2638359" y="5714645"/>
              <a:ext cx="3041512" cy="41463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101591" marR="0" lvl="0" indent="-101591" algn="ctr" defTabSz="1042959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0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-10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9" name="직사각형 248"/>
            <p:cNvSpPr/>
            <p:nvPr/>
          </p:nvSpPr>
          <p:spPr>
            <a:xfrm>
              <a:off x="2638359" y="5439424"/>
              <a:ext cx="3041512" cy="241868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본점 담당자</a:t>
              </a:r>
            </a:p>
          </p:txBody>
        </p:sp>
        <p:sp>
          <p:nvSpPr>
            <p:cNvPr id="257" name="TextBox 256"/>
            <p:cNvSpPr txBox="1"/>
            <p:nvPr/>
          </p:nvSpPr>
          <p:spPr>
            <a:xfrm>
              <a:off x="3915220" y="5803909"/>
              <a:ext cx="528512" cy="2486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</a:p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담당자</a:t>
              </a:r>
            </a:p>
          </p:txBody>
        </p:sp>
        <p:pic>
          <p:nvPicPr>
            <p:cNvPr id="258" name="Picture 288" descr="일반인_돋보기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5342" y="5824840"/>
              <a:ext cx="173638" cy="196639"/>
            </a:xfrm>
            <a:prstGeom prst="rect">
              <a:avLst/>
            </a:prstGeom>
            <a:solidFill>
              <a:srgbClr val="E0EBF8"/>
            </a:solidFill>
            <a:ln w="3175" algn="ctr">
              <a:solidFill>
                <a:srgbClr val="E0EBF8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255" name="TextBox 254"/>
            <p:cNvSpPr txBox="1"/>
            <p:nvPr/>
          </p:nvSpPr>
          <p:spPr>
            <a:xfrm>
              <a:off x="4893162" y="5803909"/>
              <a:ext cx="586940" cy="2486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  <a:r>
                <a:rPr kumimoji="0" lang="ko-KR" altLang="en-US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시스템</a:t>
              </a:r>
              <a:r>
                <a:rPr kumimoji="0" lang="en-US" altLang="ko-KR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</a:p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자</a:t>
              </a:r>
            </a:p>
          </p:txBody>
        </p:sp>
        <p:pic>
          <p:nvPicPr>
            <p:cNvPr id="256" name="Picture 290" descr="개발본부-피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013" y="5824840"/>
              <a:ext cx="277190" cy="196639"/>
            </a:xfrm>
            <a:prstGeom prst="rect">
              <a:avLst/>
            </a:prstGeom>
            <a:solidFill>
              <a:srgbClr val="E0EBF8"/>
            </a:solidFill>
            <a:ln w="3175" algn="ctr">
              <a:solidFill>
                <a:srgbClr val="E0EBF8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253" name="TextBox 252"/>
            <p:cNvSpPr txBox="1"/>
            <p:nvPr/>
          </p:nvSpPr>
          <p:spPr>
            <a:xfrm>
              <a:off x="2947941" y="5803909"/>
              <a:ext cx="528512" cy="2486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</a:p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담당임원</a:t>
              </a:r>
            </a:p>
          </p:txBody>
        </p:sp>
        <p:pic>
          <p:nvPicPr>
            <p:cNvPr id="254" name="Picture 286" descr="일반인_컴퓨터하는모습_앞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7566" y="5824840"/>
              <a:ext cx="174883" cy="196639"/>
            </a:xfrm>
            <a:prstGeom prst="rect">
              <a:avLst/>
            </a:prstGeom>
            <a:solidFill>
              <a:srgbClr val="E0EBF8"/>
            </a:solidFill>
            <a:ln w="3175" algn="ctr">
              <a:solidFill>
                <a:srgbClr val="E0EBF8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240" name="직사각형 239"/>
            <p:cNvSpPr/>
            <p:nvPr/>
          </p:nvSpPr>
          <p:spPr>
            <a:xfrm>
              <a:off x="5836279" y="5714646"/>
              <a:ext cx="2066451" cy="414630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101591" marR="0" lvl="0" indent="-101591" algn="ctr" defTabSz="1042959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0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-10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1" name="직사각형 240"/>
            <p:cNvSpPr/>
            <p:nvPr/>
          </p:nvSpPr>
          <p:spPr>
            <a:xfrm>
              <a:off x="5836278" y="5439424"/>
              <a:ext cx="2066452" cy="241869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영업점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담당자</a:t>
              </a:r>
            </a:p>
          </p:txBody>
        </p:sp>
        <p:sp>
          <p:nvSpPr>
            <p:cNvPr id="246" name="TextBox 245"/>
            <p:cNvSpPr txBox="1"/>
            <p:nvPr/>
          </p:nvSpPr>
          <p:spPr>
            <a:xfrm>
              <a:off x="6252067" y="5803909"/>
              <a:ext cx="551691" cy="2486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</a:t>
              </a:r>
              <a:endParaRPr kumimoji="0" lang="en-US" altLang="ko-KR" sz="800" b="0" i="0" u="none" strike="noStrike" kern="0" cap="none" spc="-10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책임자</a:t>
              </a:r>
            </a:p>
          </p:txBody>
        </p:sp>
        <p:pic>
          <p:nvPicPr>
            <p:cNvPr id="247" name="Picture 286" descr="일반인_컴퓨터하는모습_앞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5976" y="5824840"/>
              <a:ext cx="182553" cy="196639"/>
            </a:xfrm>
            <a:prstGeom prst="rect">
              <a:avLst/>
            </a:prstGeom>
            <a:solidFill>
              <a:srgbClr val="E0EBF8"/>
            </a:solidFill>
            <a:ln w="3175" algn="ctr">
              <a:solidFill>
                <a:srgbClr val="E0EBF8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244" name="TextBox 243"/>
            <p:cNvSpPr txBox="1"/>
            <p:nvPr/>
          </p:nvSpPr>
          <p:spPr>
            <a:xfrm>
              <a:off x="7155988" y="5803909"/>
              <a:ext cx="551692" cy="2486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</a:p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-10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담당자</a:t>
              </a:r>
            </a:p>
          </p:txBody>
        </p:sp>
        <p:pic>
          <p:nvPicPr>
            <p:cNvPr id="245" name="Picture 288" descr="일반인_돋보기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41290" y="5824840"/>
              <a:ext cx="181254" cy="196639"/>
            </a:xfrm>
            <a:prstGeom prst="rect">
              <a:avLst/>
            </a:prstGeom>
            <a:solidFill>
              <a:srgbClr val="E0EBF8"/>
            </a:solidFill>
            <a:ln w="3175" algn="ctr">
              <a:solidFill>
                <a:srgbClr val="E0EBF8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187" name="직사각형 186"/>
            <p:cNvSpPr/>
            <p:nvPr/>
          </p:nvSpPr>
          <p:spPr>
            <a:xfrm>
              <a:off x="2638360" y="2632244"/>
              <a:ext cx="6582999" cy="2418679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101591" marR="0" lvl="0" indent="-101591" algn="ctr" defTabSz="1042959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0000"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-10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8" name="직사각형 187"/>
            <p:cNvSpPr/>
            <p:nvPr/>
          </p:nvSpPr>
          <p:spPr>
            <a:xfrm>
              <a:off x="2638359" y="2348880"/>
              <a:ext cx="6582999" cy="241869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부산은행 </a:t>
              </a:r>
              <a:r>
                <a:rPr lang="en-US" altLang="ko-KR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 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RBA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237" name="직사각형 236"/>
            <p:cNvSpPr/>
            <p:nvPr/>
          </p:nvSpPr>
          <p:spPr>
            <a:xfrm>
              <a:off x="2731909" y="4093464"/>
              <a:ext cx="1548783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 사례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TR/CTR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 사례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융사고 사례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취약점 평가  관리</a:t>
              </a:r>
            </a:p>
          </p:txBody>
        </p:sp>
        <p:sp>
          <p:nvSpPr>
            <p:cNvPr id="238" name="직사각형 237"/>
            <p:cNvSpPr/>
            <p:nvPr/>
          </p:nvSpPr>
          <p:spPr>
            <a:xfrm>
              <a:off x="2731909" y="3878541"/>
              <a:ext cx="1548783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자금세탁 위험 식별</a:t>
              </a:r>
            </a:p>
          </p:txBody>
        </p:sp>
        <p:sp>
          <p:nvSpPr>
            <p:cNvPr id="234" name="직사각형 233"/>
            <p:cNvSpPr/>
            <p:nvPr/>
          </p:nvSpPr>
          <p:spPr>
            <a:xfrm>
              <a:off x="4364795" y="2919451"/>
              <a:ext cx="1548784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지표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산출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산출 결과 상세 조회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산출 결과 지표값 조회</a:t>
              </a:r>
            </a:p>
          </p:txBody>
        </p:sp>
        <p:sp>
          <p:nvSpPr>
            <p:cNvPr id="235" name="직사각형 234"/>
            <p:cNvSpPr/>
            <p:nvPr/>
          </p:nvSpPr>
          <p:spPr>
            <a:xfrm>
              <a:off x="4364795" y="2704528"/>
              <a:ext cx="1548784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분석 및 평가</a:t>
              </a:r>
            </a:p>
          </p:txBody>
        </p:sp>
        <p:sp>
          <p:nvSpPr>
            <p:cNvPr id="231" name="직사각형 230"/>
            <p:cNvSpPr/>
            <p:nvPr/>
          </p:nvSpPr>
          <p:spPr>
            <a:xfrm>
              <a:off x="4359918" y="4093464"/>
              <a:ext cx="1549922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AML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영역별 통제활동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활동 평가를 위한 지표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서별 내부통제 평가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에 대한 개선 조치 관리</a:t>
              </a:r>
            </a:p>
          </p:txBody>
        </p:sp>
        <p:sp>
          <p:nvSpPr>
            <p:cNvPr id="232" name="직사각형 231"/>
            <p:cNvSpPr/>
            <p:nvPr/>
          </p:nvSpPr>
          <p:spPr>
            <a:xfrm>
              <a:off x="4359918" y="3878541"/>
              <a:ext cx="1548784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내부통제 효과성 평가</a:t>
              </a:r>
            </a:p>
          </p:txBody>
        </p:sp>
        <p:sp>
          <p:nvSpPr>
            <p:cNvPr id="228" name="직사각형 227"/>
            <p:cNvSpPr/>
            <p:nvPr/>
          </p:nvSpPr>
          <p:spPr>
            <a:xfrm>
              <a:off x="5982494" y="2919451"/>
              <a:ext cx="1548784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marR="0" lvl="0" indent="-88900" defTabSz="1042959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설계평가 취약점 관리</a:t>
              </a:r>
            </a:p>
            <a:p>
              <a:pPr marL="88900" marR="0" lvl="0" indent="-88900" defTabSz="1042959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설계평가 개선조치 관리</a:t>
              </a:r>
            </a:p>
            <a:p>
              <a:pPr marL="88900" marR="0" lvl="0" indent="-88900" defTabSz="1042959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운영평가 취약점 관리</a:t>
              </a:r>
            </a:p>
            <a:p>
              <a:pPr marL="88900" marR="0" lvl="0" indent="-88900" defTabSz="1042959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운영평가 개선조치 관리</a:t>
              </a:r>
            </a:p>
          </p:txBody>
        </p:sp>
        <p:sp>
          <p:nvSpPr>
            <p:cNvPr id="229" name="직사각형 228"/>
            <p:cNvSpPr/>
            <p:nvPr/>
          </p:nvSpPr>
          <p:spPr>
            <a:xfrm>
              <a:off x="5982494" y="2704528"/>
              <a:ext cx="1548784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개선조치 관리</a:t>
              </a:r>
            </a:p>
          </p:txBody>
        </p:sp>
        <p:sp>
          <p:nvSpPr>
            <p:cNvPr id="225" name="직사각형 224"/>
            <p:cNvSpPr/>
            <p:nvPr/>
          </p:nvSpPr>
          <p:spPr>
            <a:xfrm>
              <a:off x="5976789" y="4093464"/>
              <a:ext cx="1548783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Pool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리스트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및 산출로직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속 조치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 관리</a:t>
              </a:r>
            </a:p>
          </p:txBody>
        </p:sp>
        <p:sp>
          <p:nvSpPr>
            <p:cNvPr id="226" name="직사각형 225"/>
            <p:cNvSpPr/>
            <p:nvPr/>
          </p:nvSpPr>
          <p:spPr>
            <a:xfrm>
              <a:off x="5976789" y="3878541"/>
              <a:ext cx="1548783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RI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</a:t>
              </a:r>
            </a:p>
          </p:txBody>
        </p:sp>
        <p:sp>
          <p:nvSpPr>
            <p:cNvPr id="222" name="직사각형 221"/>
            <p:cNvSpPr/>
            <p:nvPr/>
          </p:nvSpPr>
          <p:spPr>
            <a:xfrm>
              <a:off x="7591365" y="2919451"/>
              <a:ext cx="1549922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indent="-88900" defTabSz="1042959" eaLnBrk="0" fontAlgn="auto" latinLnBrk="0" hangingPunct="0"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및 통제효과성 평가 관리</a:t>
              </a:r>
            </a:p>
            <a:p>
              <a:pPr marL="88900" indent="-88900" defTabSz="1042959" eaLnBrk="0" fontAlgn="auto" latinLnBrk="0" hangingPunct="0"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에 대한 조회 및 승인</a:t>
              </a:r>
            </a:p>
            <a:p>
              <a:pPr marL="88900" indent="-88900" defTabSz="1042959" eaLnBrk="0" fontAlgn="auto" latinLnBrk="0" hangingPunct="0"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위험평가 이력 및 추세 분석 관리</a:t>
              </a:r>
            </a:p>
            <a:p>
              <a:pPr marL="88900" indent="-88900" defTabSz="1042959" eaLnBrk="0" fontAlgn="auto" latinLnBrk="0" hangingPunct="0"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보고서 작성 및 관리</a:t>
              </a:r>
            </a:p>
          </p:txBody>
        </p:sp>
        <p:sp>
          <p:nvSpPr>
            <p:cNvPr id="223" name="직사각형 222"/>
            <p:cNvSpPr/>
            <p:nvPr/>
          </p:nvSpPr>
          <p:spPr>
            <a:xfrm>
              <a:off x="7591366" y="2704528"/>
              <a:ext cx="1548784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결과</a:t>
              </a:r>
            </a:p>
          </p:txBody>
        </p:sp>
        <p:sp>
          <p:nvSpPr>
            <p:cNvPr id="219" name="직사각형 218"/>
            <p:cNvSpPr/>
            <p:nvPr/>
          </p:nvSpPr>
          <p:spPr>
            <a:xfrm>
              <a:off x="7591365" y="4093464"/>
              <a:ext cx="1549922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IU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유</a:t>
              </a: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지표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IU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유</a:t>
              </a: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지표 기준정보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IU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지표에 대한 목표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IU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시뮬레이션 관리</a:t>
              </a:r>
            </a:p>
          </p:txBody>
        </p:sp>
        <p:sp>
          <p:nvSpPr>
            <p:cNvPr id="220" name="직사각형 219"/>
            <p:cNvSpPr/>
            <p:nvPr/>
          </p:nvSpPr>
          <p:spPr>
            <a:xfrm>
              <a:off x="7591366" y="3878541"/>
              <a:ext cx="1548784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FIU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표 관리</a:t>
              </a:r>
            </a:p>
          </p:txBody>
        </p:sp>
        <p:sp>
          <p:nvSpPr>
            <p:cNvPr id="216" name="직사각형 215"/>
            <p:cNvSpPr/>
            <p:nvPr/>
          </p:nvSpPr>
          <p:spPr>
            <a:xfrm>
              <a:off x="2731909" y="2919451"/>
              <a:ext cx="1548783" cy="86539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lIns="54000" tIns="36000" rIns="54000" rtlCol="0" anchor="t" anchorCtr="0"/>
            <a:lstStyle/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일정계획 및 범위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목표 설정 관리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정보 관리 </a:t>
              </a: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분류</a:t>
              </a: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kumimoji="0" lang="ko-KR" altLang="en-US" sz="900" kern="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리스크 </a:t>
              </a: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</a:t>
              </a:r>
              <a:r>
                <a:rPr kumimoji="0" lang="en-US" altLang="ko-KR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</a:p>
            <a:p>
              <a:pPr marL="88900" indent="-88900" defTabSz="1042959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r>
                <a:rPr kumimoji="0" lang="ko-KR" altLang="en-US" sz="900" kern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직 및 부서별 담당자 관리</a:t>
              </a:r>
            </a:p>
            <a:p>
              <a:pPr marL="88900" indent="-88900" defTabSz="1042959" eaLnBrk="0" fontAlgn="auto" latinLnBrk="0" hangingPunct="0">
                <a:spcBef>
                  <a:spcPts val="0"/>
                </a:spcBef>
                <a:spcAft>
                  <a:spcPts val="0"/>
                </a:spcAft>
                <a:buSzPct val="140000"/>
                <a:buFont typeface="Wingdings" panose="05000000000000000000" pitchFamily="2" charset="2"/>
                <a:buChar char="§"/>
              </a:pPr>
              <a:endParaRPr kumimoji="0" lang="ko-KR" altLang="en-US" sz="900" kern="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17" name="직사각형 216"/>
            <p:cNvSpPr/>
            <p:nvPr/>
          </p:nvSpPr>
          <p:spPr>
            <a:xfrm>
              <a:off x="2731909" y="2704528"/>
              <a:ext cx="1548783" cy="20731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기준정보 및 계획관리</a:t>
              </a:r>
            </a:p>
          </p:txBody>
        </p:sp>
        <p:sp>
          <p:nvSpPr>
            <p:cNvPr id="200" name="위쪽/아래쪽 화살표 199"/>
            <p:cNvSpPr/>
            <p:nvPr/>
          </p:nvSpPr>
          <p:spPr>
            <a:xfrm>
              <a:off x="8472224" y="5054516"/>
              <a:ext cx="333316" cy="288465"/>
            </a:xfrm>
            <a:prstGeom prst="upDownArrow">
              <a:avLst>
                <a:gd name="adj1" fmla="val 50000"/>
                <a:gd name="adj2" fmla="val 34631"/>
              </a:avLst>
            </a:prstGeom>
            <a:solidFill>
              <a:srgbClr val="7C8E9C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3" name="오른쪽 화살표 202"/>
            <p:cNvSpPr/>
            <p:nvPr/>
          </p:nvSpPr>
          <p:spPr bwMode="auto">
            <a:xfrm>
              <a:off x="1421521" y="2970283"/>
              <a:ext cx="307871" cy="500927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4" name="오른쪽 화살표 203"/>
            <p:cNvSpPr/>
            <p:nvPr/>
          </p:nvSpPr>
          <p:spPr bwMode="auto">
            <a:xfrm>
              <a:off x="1421520" y="4732694"/>
              <a:ext cx="307871" cy="500927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6" name="AutoShape 92"/>
            <p:cNvSpPr>
              <a:spLocks noChangeArrowheads="1"/>
            </p:cNvSpPr>
            <p:nvPr/>
          </p:nvSpPr>
          <p:spPr bwMode="auto">
            <a:xfrm>
              <a:off x="755797" y="4072427"/>
              <a:ext cx="688616" cy="35130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담보대출</a:t>
              </a:r>
            </a:p>
          </p:txBody>
        </p:sp>
        <p:sp>
          <p:nvSpPr>
            <p:cNvPr id="208" name="AutoShape 92"/>
            <p:cNvSpPr>
              <a:spLocks noChangeArrowheads="1"/>
            </p:cNvSpPr>
            <p:nvPr/>
          </p:nvSpPr>
          <p:spPr bwMode="auto">
            <a:xfrm>
              <a:off x="755797" y="2833124"/>
              <a:ext cx="688616" cy="35065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거치식</a:t>
              </a:r>
            </a:p>
          </p:txBody>
        </p:sp>
        <p:sp>
          <p:nvSpPr>
            <p:cNvPr id="209" name="AutoShape 92"/>
            <p:cNvSpPr>
              <a:spLocks noChangeArrowheads="1"/>
            </p:cNvSpPr>
            <p:nvPr/>
          </p:nvSpPr>
          <p:spPr bwMode="auto">
            <a:xfrm>
              <a:off x="755797" y="2420022"/>
              <a:ext cx="688616" cy="35065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요구불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10" name="AutoShape 92"/>
            <p:cNvSpPr>
              <a:spLocks noChangeArrowheads="1"/>
            </p:cNvSpPr>
            <p:nvPr/>
          </p:nvSpPr>
          <p:spPr bwMode="auto">
            <a:xfrm>
              <a:off x="755797" y="3246225"/>
              <a:ext cx="688616" cy="35065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적립식</a:t>
              </a:r>
            </a:p>
          </p:txBody>
        </p:sp>
        <p:sp>
          <p:nvSpPr>
            <p:cNvPr id="211" name="AutoShape 92"/>
            <p:cNvSpPr>
              <a:spLocks noChangeArrowheads="1"/>
            </p:cNvSpPr>
            <p:nvPr/>
          </p:nvSpPr>
          <p:spPr bwMode="auto">
            <a:xfrm>
              <a:off x="755797" y="3659326"/>
              <a:ext cx="688616" cy="35065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신용대출</a:t>
              </a:r>
            </a:p>
          </p:txBody>
        </p:sp>
        <p:sp>
          <p:nvSpPr>
            <p:cNvPr id="212" name="AutoShape 92"/>
            <p:cNvSpPr>
              <a:spLocks noChangeArrowheads="1"/>
            </p:cNvSpPr>
            <p:nvPr/>
          </p:nvSpPr>
          <p:spPr bwMode="auto">
            <a:xfrm>
              <a:off x="755797" y="4486178"/>
              <a:ext cx="688616" cy="35130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13" name="AutoShape 92"/>
            <p:cNvSpPr>
              <a:spLocks noChangeArrowheads="1"/>
            </p:cNvSpPr>
            <p:nvPr/>
          </p:nvSpPr>
          <p:spPr bwMode="auto">
            <a:xfrm>
              <a:off x="755797" y="4899930"/>
              <a:ext cx="688616" cy="35130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계좌</a:t>
              </a:r>
            </a:p>
          </p:txBody>
        </p:sp>
        <p:sp>
          <p:nvSpPr>
            <p:cNvPr id="214" name="AutoShape 92"/>
            <p:cNvSpPr>
              <a:spLocks noChangeArrowheads="1"/>
            </p:cNvSpPr>
            <p:nvPr/>
          </p:nvSpPr>
          <p:spPr bwMode="auto">
            <a:xfrm>
              <a:off x="755797" y="5313681"/>
              <a:ext cx="688616" cy="35130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ML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15" name="AutoShape 92"/>
            <p:cNvSpPr>
              <a:spLocks noChangeArrowheads="1"/>
            </p:cNvSpPr>
            <p:nvPr/>
          </p:nvSpPr>
          <p:spPr bwMode="auto">
            <a:xfrm>
              <a:off x="757749" y="5727431"/>
              <a:ext cx="688616" cy="351307"/>
            </a:xfrm>
            <a:prstGeom prst="roundRect">
              <a:avLst>
                <a:gd name="adj" fmla="val 0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…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07" name="AutoShape 89"/>
            <p:cNvSpPr>
              <a:spLocks noChangeArrowheads="1"/>
            </p:cNvSpPr>
            <p:nvPr/>
          </p:nvSpPr>
          <p:spPr bwMode="auto">
            <a:xfrm>
              <a:off x="668524" y="2348880"/>
              <a:ext cx="879651" cy="3780395"/>
            </a:xfrm>
            <a:prstGeom prst="roundRect">
              <a:avLst>
                <a:gd name="adj" fmla="val 1056"/>
              </a:avLst>
            </a:prstGeom>
            <a:noFill/>
            <a:ln w="3175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>
              <a:defPPr>
                <a:defRPr lang="ko-KR"/>
              </a:defPPr>
              <a:lvl1pPr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1pPr>
              <a:lvl2pPr marL="4572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2pPr>
              <a:lvl3pPr marL="9144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3pPr>
              <a:lvl4pPr marL="13716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4pPr>
              <a:lvl5pPr marL="1828800" algn="ctr" rtl="0" fontAlgn="base" latinLnBrk="1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300" b="1" i="1" u="none" strike="noStrike" kern="0" cap="none" spc="-100" normalizeH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endParaRPr>
            </a:p>
          </p:txBody>
        </p:sp>
        <p:sp>
          <p:nvSpPr>
            <p:cNvPr id="205" name="오른쪽 화살표 204"/>
            <p:cNvSpPr/>
            <p:nvPr/>
          </p:nvSpPr>
          <p:spPr bwMode="auto">
            <a:xfrm>
              <a:off x="2348953" y="3982992"/>
              <a:ext cx="307871" cy="500927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2" name="AutoShape 92"/>
            <p:cNvSpPr>
              <a:spLocks noChangeArrowheads="1"/>
            </p:cNvSpPr>
            <p:nvPr/>
          </p:nvSpPr>
          <p:spPr bwMode="auto">
            <a:xfrm>
              <a:off x="1713634" y="2788711"/>
              <a:ext cx="679729" cy="2724388"/>
            </a:xfrm>
            <a:prstGeom prst="roundRect">
              <a:avLst>
                <a:gd name="adj" fmla="val 0"/>
              </a:avLst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BA</a:t>
              </a:r>
            </a:p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데이터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마트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63" name="위쪽/아래쪽 화살표 262"/>
            <p:cNvSpPr/>
            <p:nvPr/>
          </p:nvSpPr>
          <p:spPr>
            <a:xfrm>
              <a:off x="6666755" y="5055617"/>
              <a:ext cx="407574" cy="379434"/>
            </a:xfrm>
            <a:prstGeom prst="upDownArrow">
              <a:avLst>
                <a:gd name="adj1" fmla="val 50000"/>
                <a:gd name="adj2" fmla="val 33934"/>
              </a:avLst>
            </a:prstGeom>
            <a:solidFill>
              <a:srgbClr val="7C8E9C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</p:grpSp>
      <p:sp>
        <p:nvSpPr>
          <p:cNvPr id="6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6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2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4321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1 </a:t>
            </a:r>
            <a:r>
              <a:rPr lang="ko-KR" altLang="en-US" dirty="0" smtClean="0"/>
              <a:t>구축 개요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본 프로젝트의 범위는 아래와 같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 영역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6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세부영역으로 구성하여 제안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구축 개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8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8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29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9521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en-US" altLang="ko-KR" sz="1000" dirty="0" smtClean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301" name="그룹 300"/>
          <p:cNvGrpSpPr/>
          <p:nvPr/>
        </p:nvGrpSpPr>
        <p:grpSpPr>
          <a:xfrm>
            <a:off x="252196" y="2068996"/>
            <a:ext cx="9405692" cy="4384340"/>
            <a:chOff x="252196" y="2068996"/>
            <a:chExt cx="9405692" cy="4384340"/>
          </a:xfrm>
        </p:grpSpPr>
        <p:sp>
          <p:nvSpPr>
            <p:cNvPr id="303" name="직사각형 302"/>
            <p:cNvSpPr/>
            <p:nvPr/>
          </p:nvSpPr>
          <p:spPr>
            <a:xfrm>
              <a:off x="5070260" y="4041068"/>
              <a:ext cx="203196" cy="18739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국가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04" name="직사각형 303"/>
            <p:cNvSpPr/>
            <p:nvPr/>
          </p:nvSpPr>
          <p:spPr>
            <a:xfrm>
              <a:off x="5070260" y="4271424"/>
              <a:ext cx="203196" cy="18739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05" name="직사각형 304"/>
            <p:cNvSpPr/>
            <p:nvPr/>
          </p:nvSpPr>
          <p:spPr>
            <a:xfrm>
              <a:off x="5070260" y="4501780"/>
              <a:ext cx="203196" cy="18739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품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06" name="직사각형 305"/>
            <p:cNvSpPr/>
            <p:nvPr/>
          </p:nvSpPr>
          <p:spPr>
            <a:xfrm>
              <a:off x="5070260" y="4732138"/>
              <a:ext cx="203196" cy="18739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채널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07" name="직사각형 306"/>
            <p:cNvSpPr/>
            <p:nvPr/>
          </p:nvSpPr>
          <p:spPr>
            <a:xfrm>
              <a:off x="5341703" y="4152256"/>
              <a:ext cx="330193" cy="3123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외부사례 분석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08" name="직사각형 307"/>
            <p:cNvSpPr/>
            <p:nvPr/>
          </p:nvSpPr>
          <p:spPr>
            <a:xfrm>
              <a:off x="5341702" y="4515917"/>
              <a:ext cx="330193" cy="3123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TR/CTR</a:t>
              </a: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데이터분석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309" name="꺾인 연결선 308"/>
            <p:cNvCxnSpPr>
              <a:stCxn id="303" idx="3"/>
              <a:endCxn id="308" idx="1"/>
            </p:cNvCxnSpPr>
            <p:nvPr/>
          </p:nvCxnSpPr>
          <p:spPr>
            <a:xfrm>
              <a:off x="5273457" y="4134767"/>
              <a:ext cx="68245" cy="537315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꺾인 연결선 309"/>
            <p:cNvCxnSpPr>
              <a:stCxn id="306" idx="3"/>
              <a:endCxn id="307" idx="1"/>
            </p:cNvCxnSpPr>
            <p:nvPr/>
          </p:nvCxnSpPr>
          <p:spPr>
            <a:xfrm flipV="1">
              <a:off x="5273457" y="4308422"/>
              <a:ext cx="68245" cy="517416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직선 연결선 310"/>
            <p:cNvCxnSpPr/>
            <p:nvPr/>
          </p:nvCxnSpPr>
          <p:spPr>
            <a:xfrm flipV="1">
              <a:off x="5273450" y="4368519"/>
              <a:ext cx="35559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2" name="직사각형 311"/>
            <p:cNvSpPr/>
            <p:nvPr/>
          </p:nvSpPr>
          <p:spPr>
            <a:xfrm>
              <a:off x="252196" y="2175552"/>
              <a:ext cx="4655203" cy="427778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13" name="직사각형 312"/>
            <p:cNvSpPr/>
            <p:nvPr/>
          </p:nvSpPr>
          <p:spPr>
            <a:xfrm>
              <a:off x="1425328" y="2073135"/>
              <a:ext cx="2308940" cy="214012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[</a:t>
              </a:r>
              <a:r>
                <a:rPr lang="ko-KR" altLang="en-US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영역</a:t>
              </a:r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1] </a:t>
              </a:r>
              <a:r>
                <a:rPr lang="en-US" altLang="ko-KR" sz="1000" b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AML </a:t>
              </a:r>
              <a:r>
                <a:rPr lang="ko-KR" altLang="en-US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업무 </a:t>
              </a:r>
              <a:r>
                <a:rPr lang="ko-KR" altLang="en-US" sz="1000" b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구축</a:t>
              </a:r>
              <a:endParaRPr lang="ko-KR" altLang="en-US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314" name="TextBox 313"/>
            <p:cNvSpPr txBox="1"/>
            <p:nvPr/>
          </p:nvSpPr>
          <p:spPr>
            <a:xfrm>
              <a:off x="3368944" y="3146694"/>
              <a:ext cx="1080000" cy="9181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요주의리스트 필터링 구축</a:t>
              </a:r>
              <a:endParaRPr lang="en-US" altLang="ko-KR" sz="700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15" name="TextBox 314"/>
            <p:cNvSpPr txBox="1"/>
            <p:nvPr/>
          </p:nvSpPr>
          <p:spPr>
            <a:xfrm>
              <a:off x="1197922" y="3132061"/>
              <a:ext cx="684000" cy="121080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위험평가 구축</a:t>
              </a:r>
              <a:endParaRPr lang="en-US" altLang="ko-KR" sz="700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16" name="직사각형 315"/>
            <p:cNvSpPr/>
            <p:nvPr/>
          </p:nvSpPr>
          <p:spPr>
            <a:xfrm>
              <a:off x="299356" y="2379863"/>
              <a:ext cx="4562397" cy="1758089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17" name="직사각형 316"/>
            <p:cNvSpPr/>
            <p:nvPr/>
          </p:nvSpPr>
          <p:spPr>
            <a:xfrm>
              <a:off x="299356" y="5051649"/>
              <a:ext cx="4562397" cy="27395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18" name="직사각형 317"/>
            <p:cNvSpPr/>
            <p:nvPr/>
          </p:nvSpPr>
          <p:spPr>
            <a:xfrm>
              <a:off x="518954" y="5126586"/>
              <a:ext cx="2092338" cy="153260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CTR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거래 점검 프로세스 진단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19" name="직사각형 318"/>
            <p:cNvSpPr/>
            <p:nvPr/>
          </p:nvSpPr>
          <p:spPr>
            <a:xfrm>
              <a:off x="2829950" y="5126586"/>
              <a:ext cx="1813145" cy="153260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CTR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 프로세스개선</a:t>
              </a:r>
            </a:p>
          </p:txBody>
        </p:sp>
        <p:cxnSp>
          <p:nvCxnSpPr>
            <p:cNvPr id="320" name="꺾인 연결선 334"/>
            <p:cNvCxnSpPr>
              <a:stCxn id="318" idx="3"/>
              <a:endCxn id="319" idx="1"/>
            </p:cNvCxnSpPr>
            <p:nvPr/>
          </p:nvCxnSpPr>
          <p:spPr>
            <a:xfrm>
              <a:off x="2611292" y="5203216"/>
              <a:ext cx="218658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1" name="TextBox 320"/>
            <p:cNvSpPr txBox="1"/>
            <p:nvPr/>
          </p:nvSpPr>
          <p:spPr>
            <a:xfrm>
              <a:off x="2183533" y="4968010"/>
              <a:ext cx="1080000" cy="134980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고액현금거래 모니터링 구축</a:t>
              </a:r>
              <a:endParaRPr lang="en-US" altLang="ko-KR" sz="700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22" name="직사각형 321"/>
            <p:cNvSpPr/>
            <p:nvPr/>
          </p:nvSpPr>
          <p:spPr>
            <a:xfrm>
              <a:off x="299356" y="4637841"/>
              <a:ext cx="4562397" cy="274141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23" name="직사각형 322"/>
            <p:cNvSpPr/>
            <p:nvPr/>
          </p:nvSpPr>
          <p:spPr>
            <a:xfrm>
              <a:off x="518954" y="4710234"/>
              <a:ext cx="2092338" cy="164527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룰 유효성 검증 </a:t>
              </a:r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및 최적화방안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도출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24" name="직사각형 323"/>
            <p:cNvSpPr/>
            <p:nvPr/>
          </p:nvSpPr>
          <p:spPr>
            <a:xfrm>
              <a:off x="2829950" y="4710234"/>
              <a:ext cx="1813145" cy="164527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의심거래보고 업무 절차 개선 및 자동화</a:t>
              </a:r>
            </a:p>
          </p:txBody>
        </p:sp>
        <p:cxnSp>
          <p:nvCxnSpPr>
            <p:cNvPr id="325" name="꺾인 연결선 334"/>
            <p:cNvCxnSpPr>
              <a:stCxn id="323" idx="3"/>
              <a:endCxn id="324" idx="1"/>
            </p:cNvCxnSpPr>
            <p:nvPr/>
          </p:nvCxnSpPr>
          <p:spPr>
            <a:xfrm>
              <a:off x="2611292" y="4792498"/>
              <a:ext cx="218658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TextBox 325"/>
            <p:cNvSpPr txBox="1"/>
            <p:nvPr/>
          </p:nvSpPr>
          <p:spPr>
            <a:xfrm>
              <a:off x="2173592" y="4551500"/>
              <a:ext cx="950400" cy="14688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의심거래 모니터링 구축</a:t>
              </a:r>
              <a:endParaRPr lang="en-US" altLang="ko-KR" sz="700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27" name="TextBox 326"/>
            <p:cNvSpPr txBox="1"/>
            <p:nvPr/>
          </p:nvSpPr>
          <p:spPr>
            <a:xfrm>
              <a:off x="2216696" y="2331964"/>
              <a:ext cx="990000" cy="10009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고객확인 프로세스 구축</a:t>
              </a:r>
              <a:endParaRPr lang="en-US" altLang="ko-KR" sz="700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28" name="직사각형 327"/>
            <p:cNvSpPr/>
            <p:nvPr/>
          </p:nvSpPr>
          <p:spPr>
            <a:xfrm>
              <a:off x="527556" y="2873614"/>
              <a:ext cx="760859" cy="17203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신송금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29" name="직사각형 328"/>
            <p:cNvSpPr/>
            <p:nvPr/>
          </p:nvSpPr>
          <p:spPr>
            <a:xfrm>
              <a:off x="1368376" y="2873614"/>
              <a:ext cx="760859" cy="17203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비대면거래 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0" name="직사각형 329"/>
            <p:cNvSpPr/>
            <p:nvPr/>
          </p:nvSpPr>
          <p:spPr>
            <a:xfrm>
              <a:off x="2209196" y="2873614"/>
              <a:ext cx="760859" cy="17203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가상통화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급업소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1" name="직사각형 330"/>
            <p:cNvSpPr/>
            <p:nvPr/>
          </p:nvSpPr>
          <p:spPr>
            <a:xfrm>
              <a:off x="3050016" y="2873614"/>
              <a:ext cx="760859" cy="17203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액자산가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2" name="직사각형 331"/>
            <p:cNvSpPr/>
            <p:nvPr/>
          </p:nvSpPr>
          <p:spPr>
            <a:xfrm>
              <a:off x="3890838" y="2873614"/>
              <a:ext cx="760859" cy="17203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재이행주기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도래고객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3" name="직사각형 332"/>
            <p:cNvSpPr/>
            <p:nvPr/>
          </p:nvSpPr>
          <p:spPr>
            <a:xfrm>
              <a:off x="395929" y="2548725"/>
              <a:ext cx="4387396" cy="539090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4" name="직사각형 333"/>
            <p:cNvSpPr/>
            <p:nvPr/>
          </p:nvSpPr>
          <p:spPr>
            <a:xfrm>
              <a:off x="527556" y="2695524"/>
              <a:ext cx="2048939" cy="136477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품 및 서비스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5" name="직사각형 334"/>
            <p:cNvSpPr/>
            <p:nvPr/>
          </p:nvSpPr>
          <p:spPr>
            <a:xfrm>
              <a:off x="2602758" y="2695524"/>
              <a:ext cx="2048939" cy="136477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채널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6" name="직사각형 335"/>
            <p:cNvSpPr/>
            <p:nvPr/>
          </p:nvSpPr>
          <p:spPr>
            <a:xfrm>
              <a:off x="395927" y="2457856"/>
              <a:ext cx="4387400" cy="195347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확인의무 대상거래 검토 및 개선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cxnSp>
          <p:nvCxnSpPr>
            <p:cNvPr id="337" name="꺾인 연결선 334"/>
            <p:cNvCxnSpPr>
              <a:endCxn id="348" idx="3"/>
            </p:cNvCxnSpPr>
            <p:nvPr/>
          </p:nvCxnSpPr>
          <p:spPr>
            <a:xfrm rot="5400000">
              <a:off x="2411889" y="3156543"/>
              <a:ext cx="229318" cy="126161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꺾인 연결선 334"/>
            <p:cNvCxnSpPr>
              <a:endCxn id="342" idx="1"/>
            </p:cNvCxnSpPr>
            <p:nvPr/>
          </p:nvCxnSpPr>
          <p:spPr>
            <a:xfrm rot="16200000" flipH="1">
              <a:off x="2548370" y="3146219"/>
              <a:ext cx="229318" cy="146807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9" name="직사각형 338"/>
            <p:cNvSpPr/>
            <p:nvPr/>
          </p:nvSpPr>
          <p:spPr>
            <a:xfrm>
              <a:off x="2765901" y="3445930"/>
              <a:ext cx="968366" cy="10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제제대상자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0" name="직사각형 339"/>
            <p:cNvSpPr/>
            <p:nvPr/>
          </p:nvSpPr>
          <p:spPr>
            <a:xfrm>
              <a:off x="3782422" y="3445930"/>
              <a:ext cx="968366" cy="10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법인 실소유자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1" name="직사각형 340"/>
            <p:cNvSpPr/>
            <p:nvPr/>
          </p:nvSpPr>
          <p:spPr>
            <a:xfrm>
              <a:off x="2736433" y="3404788"/>
              <a:ext cx="2048939" cy="196093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2" name="직사각형 341"/>
            <p:cNvSpPr/>
            <p:nvPr/>
          </p:nvSpPr>
          <p:spPr>
            <a:xfrm>
              <a:off x="2736433" y="3273732"/>
              <a:ext cx="2048939" cy="121100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요주의리스트필터링 요건 정의</a:t>
              </a:r>
            </a:p>
          </p:txBody>
        </p:sp>
        <p:sp>
          <p:nvSpPr>
            <p:cNvPr id="343" name="직사각형 342"/>
            <p:cNvSpPr/>
            <p:nvPr/>
          </p:nvSpPr>
          <p:spPr>
            <a:xfrm>
              <a:off x="472659" y="3451192"/>
              <a:ext cx="449598" cy="10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국가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4" name="직사각형 343"/>
            <p:cNvSpPr/>
            <p:nvPr/>
          </p:nvSpPr>
          <p:spPr>
            <a:xfrm>
              <a:off x="965574" y="3451192"/>
              <a:ext cx="449598" cy="10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5" name="직사각형 344"/>
            <p:cNvSpPr/>
            <p:nvPr/>
          </p:nvSpPr>
          <p:spPr>
            <a:xfrm>
              <a:off x="1458490" y="3451192"/>
              <a:ext cx="449598" cy="10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품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6" name="직사각형 345"/>
            <p:cNvSpPr/>
            <p:nvPr/>
          </p:nvSpPr>
          <p:spPr>
            <a:xfrm>
              <a:off x="1951407" y="3451192"/>
              <a:ext cx="449598" cy="108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채널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7" name="직사각형 346"/>
            <p:cNvSpPr/>
            <p:nvPr/>
          </p:nvSpPr>
          <p:spPr>
            <a:xfrm>
              <a:off x="414528" y="3399346"/>
              <a:ext cx="2048939" cy="201535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8" name="직사각형 347"/>
            <p:cNvSpPr/>
            <p:nvPr/>
          </p:nvSpPr>
          <p:spPr>
            <a:xfrm>
              <a:off x="414528" y="3273732"/>
              <a:ext cx="2048939" cy="121100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위험평가 모델 정의</a:t>
              </a:r>
            </a:p>
          </p:txBody>
        </p:sp>
        <p:sp>
          <p:nvSpPr>
            <p:cNvPr id="349" name="직사각형 348"/>
            <p:cNvSpPr/>
            <p:nvPr/>
          </p:nvSpPr>
          <p:spPr>
            <a:xfrm>
              <a:off x="414528" y="3717032"/>
              <a:ext cx="449598" cy="38290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등급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정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50" name="TextBox 349"/>
            <p:cNvSpPr txBox="1"/>
            <p:nvPr/>
          </p:nvSpPr>
          <p:spPr>
            <a:xfrm>
              <a:off x="3368916" y="3757061"/>
              <a:ext cx="828000" cy="9679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 프로파일 구축</a:t>
              </a:r>
              <a:endParaRPr lang="en-US" altLang="ko-KR" sz="700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351" name="그룹 350"/>
            <p:cNvGrpSpPr/>
            <p:nvPr/>
          </p:nvGrpSpPr>
          <p:grpSpPr>
            <a:xfrm>
              <a:off x="2677408" y="3886866"/>
              <a:ext cx="2103317" cy="195347"/>
              <a:chOff x="1203956" y="4393512"/>
              <a:chExt cx="1094702" cy="195347"/>
            </a:xfrm>
          </p:grpSpPr>
          <p:sp>
            <p:nvSpPr>
              <p:cNvPr id="588" name="직사각형 587"/>
              <p:cNvSpPr/>
              <p:nvPr/>
            </p:nvSpPr>
            <p:spPr>
              <a:xfrm>
                <a:off x="1203956" y="4393512"/>
                <a:ext cx="504000" cy="195347"/>
              </a:xfrm>
              <a:prstGeom prst="rect">
                <a:avLst/>
              </a:prstGeom>
              <a:solidFill>
                <a:srgbClr val="ABDDFB"/>
              </a:solidFill>
              <a:ln w="6350">
                <a:solidFill>
                  <a:srgbClr val="79C9F9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700" spc="-5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고객프로파일 정의</a:t>
                </a:r>
                <a:endPara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589" name="직사각형 588"/>
              <p:cNvSpPr/>
              <p:nvPr/>
            </p:nvSpPr>
            <p:spPr>
              <a:xfrm>
                <a:off x="1722658" y="4393512"/>
                <a:ext cx="576000" cy="195347"/>
              </a:xfrm>
              <a:prstGeom prst="rect">
                <a:avLst/>
              </a:prstGeom>
              <a:solidFill>
                <a:srgbClr val="ABDDFB"/>
              </a:solidFill>
              <a:ln w="6350">
                <a:solidFill>
                  <a:srgbClr val="79C9F9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7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고객거래확인서 개정</a:t>
                </a:r>
              </a:p>
            </p:txBody>
          </p:sp>
        </p:grpSp>
        <p:cxnSp>
          <p:nvCxnSpPr>
            <p:cNvPr id="352" name="꺾인 연결선 334"/>
            <p:cNvCxnSpPr>
              <a:stCxn id="347" idx="2"/>
              <a:endCxn id="349" idx="0"/>
            </p:cNvCxnSpPr>
            <p:nvPr/>
          </p:nvCxnSpPr>
          <p:spPr>
            <a:xfrm rot="5400000">
              <a:off x="981088" y="3259121"/>
              <a:ext cx="116151" cy="799671"/>
            </a:xfrm>
            <a:prstGeom prst="bentConnector3">
              <a:avLst>
                <a:gd name="adj1" fmla="val 39066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3" name="그룹 352"/>
            <p:cNvGrpSpPr/>
            <p:nvPr/>
          </p:nvGrpSpPr>
          <p:grpSpPr>
            <a:xfrm>
              <a:off x="1061056" y="3717032"/>
              <a:ext cx="553352" cy="382908"/>
              <a:chOff x="1566738" y="3747895"/>
              <a:chExt cx="288000" cy="382908"/>
            </a:xfrm>
          </p:grpSpPr>
          <p:sp>
            <p:nvSpPr>
              <p:cNvPr id="585" name="직사각형 584"/>
              <p:cNvSpPr/>
              <p:nvPr/>
            </p:nvSpPr>
            <p:spPr>
              <a:xfrm>
                <a:off x="1566738" y="3747895"/>
                <a:ext cx="288000" cy="108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저위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86" name="직사각형 585"/>
              <p:cNvSpPr/>
              <p:nvPr/>
            </p:nvSpPr>
            <p:spPr>
              <a:xfrm>
                <a:off x="1566738" y="3885349"/>
                <a:ext cx="288000" cy="108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중위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87" name="직사각형 586"/>
              <p:cNvSpPr/>
              <p:nvPr/>
            </p:nvSpPr>
            <p:spPr>
              <a:xfrm>
                <a:off x="1566738" y="4022803"/>
                <a:ext cx="288000" cy="108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위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cxnSp>
          <p:nvCxnSpPr>
            <p:cNvPr id="354" name="꺾인 연결선 334"/>
            <p:cNvCxnSpPr>
              <a:stCxn id="349" idx="3"/>
              <a:endCxn id="585" idx="1"/>
            </p:cNvCxnSpPr>
            <p:nvPr/>
          </p:nvCxnSpPr>
          <p:spPr>
            <a:xfrm flipV="1">
              <a:off x="864126" y="3771032"/>
              <a:ext cx="196930" cy="137454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꺾인 연결선 334"/>
            <p:cNvCxnSpPr>
              <a:stCxn id="349" idx="3"/>
              <a:endCxn id="586" idx="1"/>
            </p:cNvCxnSpPr>
            <p:nvPr/>
          </p:nvCxnSpPr>
          <p:spPr>
            <a:xfrm>
              <a:off x="864126" y="3908486"/>
              <a:ext cx="196930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꺾인 연결선 334"/>
            <p:cNvCxnSpPr>
              <a:stCxn id="349" idx="3"/>
              <a:endCxn id="587" idx="1"/>
            </p:cNvCxnSpPr>
            <p:nvPr/>
          </p:nvCxnSpPr>
          <p:spPr>
            <a:xfrm>
              <a:off x="864126" y="3908486"/>
              <a:ext cx="196930" cy="137454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7" name="그룹 356"/>
            <p:cNvGrpSpPr/>
            <p:nvPr/>
          </p:nvGrpSpPr>
          <p:grpSpPr>
            <a:xfrm>
              <a:off x="1811336" y="3763442"/>
              <a:ext cx="652131" cy="290089"/>
              <a:chOff x="2044703" y="3800956"/>
              <a:chExt cx="339411" cy="290089"/>
            </a:xfrm>
          </p:grpSpPr>
          <p:grpSp>
            <p:nvGrpSpPr>
              <p:cNvPr id="581" name="그룹 580"/>
              <p:cNvGrpSpPr/>
              <p:nvPr/>
            </p:nvGrpSpPr>
            <p:grpSpPr>
              <a:xfrm>
                <a:off x="2071769" y="3825360"/>
                <a:ext cx="288000" cy="238074"/>
                <a:chOff x="2051352" y="4028577"/>
                <a:chExt cx="288000" cy="238074"/>
              </a:xfrm>
            </p:grpSpPr>
            <p:sp>
              <p:nvSpPr>
                <p:cNvPr id="583" name="직사각형 582"/>
                <p:cNvSpPr/>
                <p:nvPr/>
              </p:nvSpPr>
              <p:spPr>
                <a:xfrm>
                  <a:off x="2051352" y="4028577"/>
                  <a:ext cx="288000" cy="108000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0" rIns="36000" bIns="0" rtlCol="0" anchor="ctr"/>
                <a:lstStyle/>
                <a:p>
                  <a:pPr algn="ctr" defTabSz="1042959" eaLnBrk="0" latinLnBrk="0" hangingPunct="0">
                    <a:lnSpc>
                      <a:spcPct val="90000"/>
                    </a:lnSpc>
                    <a:buSzPct val="140000"/>
                  </a:pPr>
                  <a:r>
                    <a:rPr lang="en-US" altLang="ko-KR" sz="6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</a:rPr>
                    <a:t>CDD</a:t>
                  </a:r>
                  <a:endParaRPr lang="ko-KR" altLang="en-US" sz="6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584" name="직사각형 583"/>
                <p:cNvSpPr/>
                <p:nvPr/>
              </p:nvSpPr>
              <p:spPr>
                <a:xfrm>
                  <a:off x="2051352" y="4158651"/>
                  <a:ext cx="288000" cy="108000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0" rIns="36000" bIns="0" rtlCol="0" anchor="ctr"/>
                <a:lstStyle/>
                <a:p>
                  <a:pPr algn="ctr" defTabSz="1042959" eaLnBrk="0" latinLnBrk="0" hangingPunct="0">
                    <a:lnSpc>
                      <a:spcPct val="90000"/>
                    </a:lnSpc>
                    <a:buSzPct val="140000"/>
                  </a:pPr>
                  <a:r>
                    <a:rPr lang="en-US" altLang="ko-KR" sz="600" dirty="0" smtClean="0">
                      <a:solidFill>
                        <a:schemeClr val="tx1"/>
                      </a:solidFill>
                      <a:latin typeface="KoPub돋움체 Light" panose="02020603020101020101" pitchFamily="18" charset="-127"/>
                      <a:ea typeface="KoPub돋움체 Light" panose="02020603020101020101" pitchFamily="18" charset="-127"/>
                    </a:rPr>
                    <a:t>EDD</a:t>
                  </a:r>
                  <a:endParaRPr lang="ko-KR" altLang="en-US" sz="6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</p:grpSp>
          <p:sp>
            <p:nvSpPr>
              <p:cNvPr id="582" name="직사각형 581"/>
              <p:cNvSpPr/>
              <p:nvPr/>
            </p:nvSpPr>
            <p:spPr>
              <a:xfrm>
                <a:off x="2044703" y="3800956"/>
                <a:ext cx="339411" cy="290089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cxnSp>
          <p:nvCxnSpPr>
            <p:cNvPr id="358" name="꺾인 연결선 334"/>
            <p:cNvCxnSpPr>
              <a:stCxn id="582" idx="1"/>
              <a:endCxn id="585" idx="3"/>
            </p:cNvCxnSpPr>
            <p:nvPr/>
          </p:nvCxnSpPr>
          <p:spPr>
            <a:xfrm rot="10800000">
              <a:off x="1614408" y="3771033"/>
              <a:ext cx="196928" cy="137455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꺾인 연결선 334"/>
            <p:cNvCxnSpPr>
              <a:stCxn id="582" idx="1"/>
              <a:endCxn id="587" idx="3"/>
            </p:cNvCxnSpPr>
            <p:nvPr/>
          </p:nvCxnSpPr>
          <p:spPr>
            <a:xfrm rot="10800000" flipV="1">
              <a:off x="1614408" y="3908486"/>
              <a:ext cx="196928" cy="137453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꺾인 연결선 334"/>
            <p:cNvCxnSpPr>
              <a:stCxn id="582" idx="1"/>
              <a:endCxn id="586" idx="3"/>
            </p:cNvCxnSpPr>
            <p:nvPr/>
          </p:nvCxnSpPr>
          <p:spPr>
            <a:xfrm flipH="1" flipV="1">
              <a:off x="1614408" y="3908486"/>
              <a:ext cx="196928" cy="1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1" name="직사각형 360"/>
            <p:cNvSpPr/>
            <p:nvPr/>
          </p:nvSpPr>
          <p:spPr>
            <a:xfrm>
              <a:off x="289238" y="4248137"/>
              <a:ext cx="4562397" cy="257786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2" name="직사각형 361"/>
            <p:cNvSpPr/>
            <p:nvPr/>
          </p:nvSpPr>
          <p:spPr>
            <a:xfrm>
              <a:off x="508836" y="4310349"/>
              <a:ext cx="870401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환거래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63" name="직사각형 362"/>
            <p:cNvSpPr/>
            <p:nvPr/>
          </p:nvSpPr>
          <p:spPr>
            <a:xfrm>
              <a:off x="1434237" y="4310349"/>
              <a:ext cx="1321903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무역거래 스크리닝</a:t>
              </a:r>
            </a:p>
          </p:txBody>
        </p:sp>
        <p:sp>
          <p:nvSpPr>
            <p:cNvPr id="364" name="직사각형 363"/>
            <p:cNvSpPr/>
            <p:nvPr/>
          </p:nvSpPr>
          <p:spPr>
            <a:xfrm>
              <a:off x="3202434" y="4310349"/>
              <a:ext cx="1441702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은행 별 위험수준 계량화 방안 마련</a:t>
              </a:r>
            </a:p>
          </p:txBody>
        </p:sp>
        <p:sp>
          <p:nvSpPr>
            <p:cNvPr id="365" name="TextBox 364"/>
            <p:cNvSpPr txBox="1"/>
            <p:nvPr/>
          </p:nvSpPr>
          <p:spPr>
            <a:xfrm>
              <a:off x="2180816" y="4180300"/>
              <a:ext cx="1116000" cy="9975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환거래 </a:t>
              </a:r>
              <a:r>
                <a:rPr lang="ko-KR" altLang="en-US" sz="7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은행 및 무역거래 관리</a:t>
              </a:r>
            </a:p>
          </p:txBody>
        </p:sp>
        <p:cxnSp>
          <p:nvCxnSpPr>
            <p:cNvPr id="366" name="꺾인 연결선 334"/>
            <p:cNvCxnSpPr>
              <a:stCxn id="363" idx="3"/>
              <a:endCxn id="364" idx="1"/>
            </p:cNvCxnSpPr>
            <p:nvPr/>
          </p:nvCxnSpPr>
          <p:spPr>
            <a:xfrm>
              <a:off x="2756140" y="4386670"/>
              <a:ext cx="446294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7" name="그룹 366"/>
            <p:cNvGrpSpPr/>
            <p:nvPr/>
          </p:nvGrpSpPr>
          <p:grpSpPr>
            <a:xfrm>
              <a:off x="2081475" y="2313546"/>
              <a:ext cx="144000" cy="144000"/>
              <a:chOff x="3055233" y="1066696"/>
              <a:chExt cx="147601" cy="147600"/>
            </a:xfrm>
          </p:grpSpPr>
          <p:sp>
            <p:nvSpPr>
              <p:cNvPr id="579" name="타원 578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80" name="타원 579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68" name="그룹 367"/>
            <p:cNvGrpSpPr/>
            <p:nvPr/>
          </p:nvGrpSpPr>
          <p:grpSpPr>
            <a:xfrm>
              <a:off x="1028564" y="3114098"/>
              <a:ext cx="144000" cy="144000"/>
              <a:chOff x="3055233" y="1066696"/>
              <a:chExt cx="147601" cy="147600"/>
            </a:xfrm>
          </p:grpSpPr>
          <p:sp>
            <p:nvSpPr>
              <p:cNvPr id="577" name="타원 576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78" name="타원 577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2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69" name="그룹 368"/>
            <p:cNvGrpSpPr/>
            <p:nvPr/>
          </p:nvGrpSpPr>
          <p:grpSpPr>
            <a:xfrm>
              <a:off x="3187759" y="3123674"/>
              <a:ext cx="144000" cy="144000"/>
              <a:chOff x="3055233" y="1066696"/>
              <a:chExt cx="147601" cy="147600"/>
            </a:xfrm>
          </p:grpSpPr>
          <p:sp>
            <p:nvSpPr>
              <p:cNvPr id="575" name="타원 574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76" name="타원 575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3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70" name="그룹 369"/>
            <p:cNvGrpSpPr/>
            <p:nvPr/>
          </p:nvGrpSpPr>
          <p:grpSpPr>
            <a:xfrm>
              <a:off x="3178141" y="3719969"/>
              <a:ext cx="144000" cy="144000"/>
              <a:chOff x="3055233" y="1066696"/>
              <a:chExt cx="147601" cy="147600"/>
            </a:xfrm>
          </p:grpSpPr>
          <p:sp>
            <p:nvSpPr>
              <p:cNvPr id="573" name="타원 572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74" name="타원 573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4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71" name="그룹 370"/>
            <p:cNvGrpSpPr/>
            <p:nvPr/>
          </p:nvGrpSpPr>
          <p:grpSpPr>
            <a:xfrm>
              <a:off x="2036676" y="4166034"/>
              <a:ext cx="144000" cy="144000"/>
              <a:chOff x="3055233" y="1066696"/>
              <a:chExt cx="147601" cy="147600"/>
            </a:xfrm>
          </p:grpSpPr>
          <p:sp>
            <p:nvSpPr>
              <p:cNvPr id="571" name="타원 570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72" name="타원 571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5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72" name="그룹 371"/>
            <p:cNvGrpSpPr/>
            <p:nvPr/>
          </p:nvGrpSpPr>
          <p:grpSpPr>
            <a:xfrm>
              <a:off x="2027377" y="4551474"/>
              <a:ext cx="144000" cy="144000"/>
              <a:chOff x="3055233" y="1066696"/>
              <a:chExt cx="147601" cy="147600"/>
            </a:xfrm>
          </p:grpSpPr>
          <p:sp>
            <p:nvSpPr>
              <p:cNvPr id="569" name="타원 568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70" name="타원 569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6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73" name="그룹 372"/>
            <p:cNvGrpSpPr/>
            <p:nvPr/>
          </p:nvGrpSpPr>
          <p:grpSpPr>
            <a:xfrm>
              <a:off x="2036692" y="4965098"/>
              <a:ext cx="144000" cy="144000"/>
              <a:chOff x="3055233" y="1066696"/>
              <a:chExt cx="147601" cy="147600"/>
            </a:xfrm>
          </p:grpSpPr>
          <p:sp>
            <p:nvSpPr>
              <p:cNvPr id="567" name="타원 566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68" name="타원 567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7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sp>
          <p:nvSpPr>
            <p:cNvPr id="374" name="직사각형 373"/>
            <p:cNvSpPr/>
            <p:nvPr/>
          </p:nvSpPr>
          <p:spPr>
            <a:xfrm>
              <a:off x="4989004" y="2175552"/>
              <a:ext cx="4668884" cy="4277784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375" name="꺾인 연결선 374"/>
            <p:cNvCxnSpPr>
              <a:stCxn id="388" idx="3"/>
              <a:endCxn id="452" idx="1"/>
            </p:cNvCxnSpPr>
            <p:nvPr/>
          </p:nvCxnSpPr>
          <p:spPr>
            <a:xfrm>
              <a:off x="7969203" y="4533773"/>
              <a:ext cx="172517" cy="97320"/>
            </a:xfrm>
            <a:prstGeom prst="bentConnector3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꺾인 연결선 375"/>
            <p:cNvCxnSpPr>
              <a:stCxn id="389" idx="3"/>
              <a:endCxn id="452" idx="1"/>
            </p:cNvCxnSpPr>
            <p:nvPr/>
          </p:nvCxnSpPr>
          <p:spPr>
            <a:xfrm flipV="1">
              <a:off x="7969203" y="4631093"/>
              <a:ext cx="172517" cy="992477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꺾인 연결선 376"/>
            <p:cNvCxnSpPr>
              <a:stCxn id="389" idx="3"/>
              <a:endCxn id="457" idx="1"/>
            </p:cNvCxnSpPr>
            <p:nvPr/>
          </p:nvCxnSpPr>
          <p:spPr>
            <a:xfrm flipV="1">
              <a:off x="7969203" y="4919015"/>
              <a:ext cx="172517" cy="704555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꺾인 연결선 377"/>
            <p:cNvCxnSpPr>
              <a:stCxn id="394" idx="3"/>
              <a:endCxn id="449" idx="1"/>
            </p:cNvCxnSpPr>
            <p:nvPr/>
          </p:nvCxnSpPr>
          <p:spPr>
            <a:xfrm flipV="1">
              <a:off x="7714744" y="2997865"/>
              <a:ext cx="426975" cy="761330"/>
            </a:xfrm>
            <a:prstGeom prst="bentConnector3">
              <a:avLst>
                <a:gd name="adj1" fmla="val 76365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9" name="직사각형 378"/>
            <p:cNvSpPr/>
            <p:nvPr/>
          </p:nvSpPr>
          <p:spPr>
            <a:xfrm>
              <a:off x="5020136" y="2611889"/>
              <a:ext cx="3000367" cy="593581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80" name="TextBox 379"/>
            <p:cNvSpPr txBox="1"/>
            <p:nvPr/>
          </p:nvSpPr>
          <p:spPr>
            <a:xfrm>
              <a:off x="5674170" y="2442304"/>
              <a:ext cx="1692300" cy="315661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ko-KR" altLang="en-US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전사 </a:t>
              </a:r>
              <a:r>
                <a:rPr lang="en-US" altLang="ko-KR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관리체계 및 대응전략 수립</a:t>
              </a:r>
            </a:p>
          </p:txBody>
        </p:sp>
        <p:sp>
          <p:nvSpPr>
            <p:cNvPr id="381" name="직사각형 380"/>
            <p:cNvSpPr/>
            <p:nvPr/>
          </p:nvSpPr>
          <p:spPr>
            <a:xfrm>
              <a:off x="5071522" y="2862972"/>
              <a:ext cx="602731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조직체계정의</a:t>
              </a:r>
            </a:p>
          </p:txBody>
        </p:sp>
        <p:sp>
          <p:nvSpPr>
            <p:cNvPr id="382" name="직사각형 381"/>
            <p:cNvSpPr/>
            <p:nvPr/>
          </p:nvSpPr>
          <p:spPr>
            <a:xfrm>
              <a:off x="5836505" y="2862970"/>
              <a:ext cx="602731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&amp;R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정의</a:t>
              </a:r>
            </a:p>
          </p:txBody>
        </p:sp>
        <p:sp>
          <p:nvSpPr>
            <p:cNvPr id="383" name="직사각형 382"/>
            <p:cNvSpPr/>
            <p:nvPr/>
          </p:nvSpPr>
          <p:spPr>
            <a:xfrm>
              <a:off x="6601488" y="2862966"/>
              <a:ext cx="602731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관리절차</a:t>
              </a:r>
            </a:p>
          </p:txBody>
        </p:sp>
        <p:sp>
          <p:nvSpPr>
            <p:cNvPr id="384" name="직사각형 383"/>
            <p:cNvSpPr/>
            <p:nvPr/>
          </p:nvSpPr>
          <p:spPr>
            <a:xfrm>
              <a:off x="7366470" y="2862960"/>
              <a:ext cx="602731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상세일정계획</a:t>
              </a:r>
            </a:p>
          </p:txBody>
        </p:sp>
        <p:sp>
          <p:nvSpPr>
            <p:cNvPr id="385" name="직사각형 384"/>
            <p:cNvSpPr/>
            <p:nvPr/>
          </p:nvSpPr>
          <p:spPr>
            <a:xfrm>
              <a:off x="5020136" y="3379819"/>
              <a:ext cx="3006367" cy="2929501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86" name="직사각형 385"/>
            <p:cNvSpPr/>
            <p:nvPr/>
          </p:nvSpPr>
          <p:spPr>
            <a:xfrm>
              <a:off x="5071523" y="3618979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 식별</a:t>
              </a:r>
            </a:p>
          </p:txBody>
        </p:sp>
        <p:sp>
          <p:nvSpPr>
            <p:cNvPr id="387" name="직사각형 386"/>
            <p:cNvSpPr/>
            <p:nvPr/>
          </p:nvSpPr>
          <p:spPr>
            <a:xfrm>
              <a:off x="5071517" y="5000042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ML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프로세스 정의</a:t>
              </a:r>
            </a:p>
          </p:txBody>
        </p:sp>
        <p:sp>
          <p:nvSpPr>
            <p:cNvPr id="388" name="직사각형 387"/>
            <p:cNvSpPr/>
            <p:nvPr/>
          </p:nvSpPr>
          <p:spPr>
            <a:xfrm>
              <a:off x="7813223" y="4170432"/>
              <a:ext cx="155980" cy="72668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</a:t>
              </a:r>
            </a:p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TF</a:t>
              </a:r>
            </a:p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평가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89" name="직사각형 388"/>
            <p:cNvSpPr/>
            <p:nvPr/>
          </p:nvSpPr>
          <p:spPr>
            <a:xfrm>
              <a:off x="7813223" y="5033865"/>
              <a:ext cx="155980" cy="11794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내부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제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운영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평가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90" name="직사각형 389"/>
            <p:cNvSpPr/>
            <p:nvPr/>
          </p:nvSpPr>
          <p:spPr>
            <a:xfrm>
              <a:off x="5752052" y="3618979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 분석</a:t>
              </a:r>
            </a:p>
          </p:txBody>
        </p:sp>
        <p:sp>
          <p:nvSpPr>
            <p:cNvPr id="391" name="직사각형 390"/>
            <p:cNvSpPr/>
            <p:nvPr/>
          </p:nvSpPr>
          <p:spPr>
            <a:xfrm>
              <a:off x="5752046" y="5000034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취약점 분석</a:t>
              </a:r>
            </a:p>
          </p:txBody>
        </p:sp>
        <p:sp>
          <p:nvSpPr>
            <p:cNvPr id="392" name="직사각형 391"/>
            <p:cNvSpPr/>
            <p:nvPr/>
          </p:nvSpPr>
          <p:spPr>
            <a:xfrm>
              <a:off x="6432581" y="3618979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지표 정의</a:t>
              </a:r>
            </a:p>
          </p:txBody>
        </p:sp>
        <p:sp>
          <p:nvSpPr>
            <p:cNvPr id="393" name="직사각형 392"/>
            <p:cNvSpPr/>
            <p:nvPr/>
          </p:nvSpPr>
          <p:spPr>
            <a:xfrm>
              <a:off x="6432577" y="5000035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제활동 설계</a:t>
              </a:r>
            </a:p>
          </p:txBody>
        </p:sp>
        <p:sp>
          <p:nvSpPr>
            <p:cNvPr id="394" name="직사각형 393"/>
            <p:cNvSpPr/>
            <p:nvPr/>
          </p:nvSpPr>
          <p:spPr>
            <a:xfrm>
              <a:off x="7113110" y="3618979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모델정의</a:t>
              </a:r>
            </a:p>
          </p:txBody>
        </p:sp>
        <p:sp>
          <p:nvSpPr>
            <p:cNvPr id="395" name="직사각형 394"/>
            <p:cNvSpPr/>
            <p:nvPr/>
          </p:nvSpPr>
          <p:spPr>
            <a:xfrm>
              <a:off x="7113106" y="5000034"/>
              <a:ext cx="601634" cy="28043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제활동 평가방안</a:t>
              </a:r>
            </a:p>
          </p:txBody>
        </p:sp>
        <p:cxnSp>
          <p:nvCxnSpPr>
            <p:cNvPr id="396" name="직선 화살표 연결선 395"/>
            <p:cNvCxnSpPr>
              <a:stCxn id="386" idx="3"/>
              <a:endCxn id="390" idx="1"/>
            </p:cNvCxnSpPr>
            <p:nvPr/>
          </p:nvCxnSpPr>
          <p:spPr>
            <a:xfrm>
              <a:off x="5673157" y="3759193"/>
              <a:ext cx="78895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직선 화살표 연결선 396"/>
            <p:cNvCxnSpPr>
              <a:stCxn id="390" idx="3"/>
              <a:endCxn id="392" idx="1"/>
            </p:cNvCxnSpPr>
            <p:nvPr/>
          </p:nvCxnSpPr>
          <p:spPr>
            <a:xfrm>
              <a:off x="6353686" y="3759193"/>
              <a:ext cx="78895" cy="0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직선 화살표 연결선 397"/>
            <p:cNvCxnSpPr>
              <a:stCxn id="392" idx="3"/>
              <a:endCxn id="394" idx="1"/>
            </p:cNvCxnSpPr>
            <p:nvPr/>
          </p:nvCxnSpPr>
          <p:spPr>
            <a:xfrm>
              <a:off x="7034215" y="3759193"/>
              <a:ext cx="78895" cy="0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9" name="직선 화살표 연결선 398"/>
            <p:cNvCxnSpPr>
              <a:stCxn id="387" idx="3"/>
              <a:endCxn id="391" idx="1"/>
            </p:cNvCxnSpPr>
            <p:nvPr/>
          </p:nvCxnSpPr>
          <p:spPr>
            <a:xfrm flipV="1">
              <a:off x="5673152" y="5140250"/>
              <a:ext cx="78895" cy="8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직선 화살표 연결선 399"/>
            <p:cNvCxnSpPr>
              <a:stCxn id="391" idx="3"/>
              <a:endCxn id="393" idx="1"/>
            </p:cNvCxnSpPr>
            <p:nvPr/>
          </p:nvCxnSpPr>
          <p:spPr>
            <a:xfrm>
              <a:off x="6353681" y="5140250"/>
              <a:ext cx="78895" cy="1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직선 화살표 연결선 400"/>
            <p:cNvCxnSpPr>
              <a:stCxn id="393" idx="3"/>
              <a:endCxn id="395" idx="1"/>
            </p:cNvCxnSpPr>
            <p:nvPr/>
          </p:nvCxnSpPr>
          <p:spPr>
            <a:xfrm flipV="1">
              <a:off x="7034209" y="5140250"/>
              <a:ext cx="78895" cy="1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꺾인 연결선 401"/>
            <p:cNvCxnSpPr>
              <a:stCxn id="394" idx="3"/>
              <a:endCxn id="388" idx="1"/>
            </p:cNvCxnSpPr>
            <p:nvPr/>
          </p:nvCxnSpPr>
          <p:spPr>
            <a:xfrm>
              <a:off x="7714744" y="3759193"/>
              <a:ext cx="98479" cy="774579"/>
            </a:xfrm>
            <a:prstGeom prst="bentConnector3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3" name="꺾인 연결선 402"/>
            <p:cNvCxnSpPr>
              <a:stCxn id="395" idx="3"/>
              <a:endCxn id="389" idx="1"/>
            </p:cNvCxnSpPr>
            <p:nvPr/>
          </p:nvCxnSpPr>
          <p:spPr>
            <a:xfrm>
              <a:off x="7714740" y="5140250"/>
              <a:ext cx="98483" cy="483320"/>
            </a:xfrm>
            <a:prstGeom prst="bentConnector3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4" name="직사각형 403"/>
            <p:cNvSpPr/>
            <p:nvPr/>
          </p:nvSpPr>
          <p:spPr>
            <a:xfrm>
              <a:off x="5931199" y="4686229"/>
              <a:ext cx="423372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Factor </a:t>
              </a: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의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05" name="꺾인 연결선 404"/>
            <p:cNvCxnSpPr>
              <a:endCxn id="561" idx="1"/>
            </p:cNvCxnSpPr>
            <p:nvPr/>
          </p:nvCxnSpPr>
          <p:spPr>
            <a:xfrm>
              <a:off x="5671893" y="4260865"/>
              <a:ext cx="83135" cy="67688"/>
            </a:xfrm>
            <a:prstGeom prst="bentConnector3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꺾인 연결선 405"/>
            <p:cNvCxnSpPr>
              <a:endCxn id="561" idx="1"/>
            </p:cNvCxnSpPr>
            <p:nvPr/>
          </p:nvCxnSpPr>
          <p:spPr>
            <a:xfrm flipV="1">
              <a:off x="5671893" y="4328553"/>
              <a:ext cx="83135" cy="295974"/>
            </a:xfrm>
            <a:prstGeom prst="bentConnector3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7" name="그룹 406"/>
            <p:cNvGrpSpPr/>
            <p:nvPr/>
          </p:nvGrpSpPr>
          <p:grpSpPr>
            <a:xfrm>
              <a:off x="5755029" y="4012997"/>
              <a:ext cx="599029" cy="632078"/>
              <a:chOff x="3993162" y="3716702"/>
              <a:chExt cx="967786" cy="364160"/>
            </a:xfrm>
          </p:grpSpPr>
          <p:sp>
            <p:nvSpPr>
              <p:cNvPr id="561" name="직사각형 560"/>
              <p:cNvSpPr/>
              <p:nvPr/>
            </p:nvSpPr>
            <p:spPr>
              <a:xfrm>
                <a:off x="3993162" y="3808531"/>
                <a:ext cx="501622" cy="179944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Risk</a:t>
                </a:r>
              </a:p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Event </a:t>
                </a: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정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62" name="직사각형 561"/>
              <p:cNvSpPr/>
              <p:nvPr/>
            </p:nvSpPr>
            <p:spPr>
              <a:xfrm>
                <a:off x="4636949" y="3716702"/>
                <a:ext cx="323999" cy="10796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위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63" name="직사각형 562"/>
              <p:cNvSpPr/>
              <p:nvPr/>
            </p:nvSpPr>
            <p:spPr>
              <a:xfrm>
                <a:off x="4636949" y="3844801"/>
                <a:ext cx="323999" cy="10796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중위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64" name="직사각형 563"/>
              <p:cNvSpPr/>
              <p:nvPr/>
            </p:nvSpPr>
            <p:spPr>
              <a:xfrm>
                <a:off x="4636949" y="3972896"/>
                <a:ext cx="323999" cy="10796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저위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cxnSp>
            <p:nvCxnSpPr>
              <p:cNvPr id="565" name="꺾인 연결선 564"/>
              <p:cNvCxnSpPr>
                <a:stCxn id="564" idx="1"/>
                <a:endCxn id="562" idx="1"/>
              </p:cNvCxnSpPr>
              <p:nvPr/>
            </p:nvCxnSpPr>
            <p:spPr>
              <a:xfrm rot="10800000">
                <a:off x="4636964" y="3770686"/>
                <a:ext cx="12700" cy="256198"/>
              </a:xfrm>
              <a:prstGeom prst="bentConnector3">
                <a:avLst>
                  <a:gd name="adj1" fmla="val 709094"/>
                </a:avLst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  <a:headEnd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6" name="직선 연결선 565"/>
              <p:cNvCxnSpPr>
                <a:stCxn id="561" idx="3"/>
                <a:endCxn id="563" idx="1"/>
              </p:cNvCxnSpPr>
              <p:nvPr/>
            </p:nvCxnSpPr>
            <p:spPr>
              <a:xfrm>
                <a:off x="4494808" y="3899723"/>
                <a:ext cx="142166" cy="28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  <a:headEnd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8" name="꺾인 연결선 407"/>
            <p:cNvCxnSpPr>
              <a:stCxn id="404" idx="1"/>
              <a:endCxn id="561" idx="2"/>
            </p:cNvCxnSpPr>
            <p:nvPr/>
          </p:nvCxnSpPr>
          <p:spPr>
            <a:xfrm rot="10800000">
              <a:off x="5864352" y="4484721"/>
              <a:ext cx="66848" cy="295209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9" name="직사각형 408"/>
            <p:cNvSpPr/>
            <p:nvPr/>
          </p:nvSpPr>
          <p:spPr>
            <a:xfrm>
              <a:off x="6436927" y="4012995"/>
              <a:ext cx="467937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데이터 가용성 분석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410" name="그룹 409"/>
            <p:cNvGrpSpPr/>
            <p:nvPr/>
          </p:nvGrpSpPr>
          <p:grpSpPr>
            <a:xfrm>
              <a:off x="6598124" y="4238340"/>
              <a:ext cx="443072" cy="632078"/>
              <a:chOff x="4281120" y="3716702"/>
              <a:chExt cx="715822" cy="364160"/>
            </a:xfrm>
          </p:grpSpPr>
          <p:sp>
            <p:nvSpPr>
              <p:cNvPr id="555" name="직사각형 554"/>
              <p:cNvSpPr/>
              <p:nvPr/>
            </p:nvSpPr>
            <p:spPr>
              <a:xfrm>
                <a:off x="4281120" y="3808531"/>
                <a:ext cx="245401" cy="179944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0" rIns="3600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지표</a:t>
                </a:r>
                <a:endPara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정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56" name="직사각형 555"/>
              <p:cNvSpPr/>
              <p:nvPr/>
            </p:nvSpPr>
            <p:spPr>
              <a:xfrm>
                <a:off x="4636939" y="3716702"/>
                <a:ext cx="359997" cy="10796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거래금액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57" name="직사각형 556"/>
              <p:cNvSpPr/>
              <p:nvPr/>
            </p:nvSpPr>
            <p:spPr>
              <a:xfrm>
                <a:off x="4636939" y="3844801"/>
                <a:ext cx="359997" cy="10796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객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58" name="직사각형 557"/>
              <p:cNvSpPr/>
              <p:nvPr/>
            </p:nvSpPr>
            <p:spPr>
              <a:xfrm>
                <a:off x="4636945" y="3972896"/>
                <a:ext cx="359997" cy="10796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비율 등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cxnSp>
            <p:nvCxnSpPr>
              <p:cNvPr id="559" name="꺾인 연결선 558"/>
              <p:cNvCxnSpPr>
                <a:stCxn id="558" idx="1"/>
                <a:endCxn id="556" idx="1"/>
              </p:cNvCxnSpPr>
              <p:nvPr/>
            </p:nvCxnSpPr>
            <p:spPr>
              <a:xfrm rot="10800000">
                <a:off x="4636965" y="3770686"/>
                <a:ext cx="12700" cy="256198"/>
              </a:xfrm>
              <a:prstGeom prst="bentConnector3">
                <a:avLst>
                  <a:gd name="adj1" fmla="val 525000"/>
                </a:avLst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  <a:headEnd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0" name="직선 연결선 559"/>
              <p:cNvCxnSpPr>
                <a:stCxn id="555" idx="3"/>
                <a:endCxn id="557" idx="1"/>
              </p:cNvCxnSpPr>
              <p:nvPr/>
            </p:nvCxnSpPr>
            <p:spPr>
              <a:xfrm>
                <a:off x="4526557" y="3899723"/>
                <a:ext cx="110418" cy="28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  <a:headEnd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1" name="꺾인 연결선 410"/>
            <p:cNvCxnSpPr>
              <a:stCxn id="555" idx="1"/>
            </p:cNvCxnSpPr>
            <p:nvPr/>
          </p:nvCxnSpPr>
          <p:spPr>
            <a:xfrm rot="10800000">
              <a:off x="6531429" y="4200395"/>
              <a:ext cx="66695" cy="353500"/>
            </a:xfrm>
            <a:prstGeom prst="bentConnector2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꺾인 연결선 411"/>
            <p:cNvCxnSpPr>
              <a:stCxn id="409" idx="1"/>
              <a:endCxn id="404" idx="3"/>
            </p:cNvCxnSpPr>
            <p:nvPr/>
          </p:nvCxnSpPr>
          <p:spPr>
            <a:xfrm rot="10800000" flipV="1">
              <a:off x="6354571" y="4106696"/>
              <a:ext cx="82356" cy="673232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3" name="그룹 412"/>
            <p:cNvGrpSpPr/>
            <p:nvPr/>
          </p:nvGrpSpPr>
          <p:grpSpPr>
            <a:xfrm>
              <a:off x="7113101" y="4062261"/>
              <a:ext cx="607509" cy="748664"/>
              <a:chOff x="6187278" y="3746250"/>
              <a:chExt cx="981490" cy="431463"/>
            </a:xfrm>
          </p:grpSpPr>
          <p:sp>
            <p:nvSpPr>
              <p:cNvPr id="550" name="직사각형 549"/>
              <p:cNvSpPr/>
              <p:nvPr/>
            </p:nvSpPr>
            <p:spPr>
              <a:xfrm>
                <a:off x="6187281" y="3752007"/>
                <a:ext cx="575999" cy="180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지표 별 </a:t>
                </a:r>
                <a:endPara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산출 로직 정의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51" name="직사각형 550"/>
              <p:cNvSpPr/>
              <p:nvPr/>
            </p:nvSpPr>
            <p:spPr>
              <a:xfrm>
                <a:off x="6187278" y="3997713"/>
                <a:ext cx="575999" cy="180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위험평가 모델</a:t>
                </a:r>
                <a:endPara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가중치 정의</a:t>
                </a:r>
                <a:endPara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52" name="직사각형 551"/>
              <p:cNvSpPr/>
              <p:nvPr/>
            </p:nvSpPr>
            <p:spPr>
              <a:xfrm>
                <a:off x="6916769" y="3746250"/>
                <a:ext cx="251999" cy="418794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위험</a:t>
                </a:r>
                <a:endPara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평가</a:t>
                </a:r>
                <a:endParaRPr lang="en-US" altLang="ko-KR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산정</a:t>
                </a:r>
                <a:endPara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모델</a:t>
                </a:r>
                <a:endPara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cxnSp>
            <p:nvCxnSpPr>
              <p:cNvPr id="553" name="꺾인 연결선 552"/>
              <p:cNvCxnSpPr>
                <a:stCxn id="552" idx="1"/>
                <a:endCxn id="550" idx="3"/>
              </p:cNvCxnSpPr>
              <p:nvPr/>
            </p:nvCxnSpPr>
            <p:spPr>
              <a:xfrm rot="10800000">
                <a:off x="6763271" y="3842007"/>
                <a:ext cx="153488" cy="113640"/>
              </a:xfrm>
              <a:prstGeom prst="bentConnector3">
                <a:avLst>
                  <a:gd name="adj1" fmla="val 50000"/>
                </a:avLst>
              </a:prstGeom>
              <a:ln w="3175">
                <a:solidFill>
                  <a:schemeClr val="bg1">
                    <a:lumMod val="50000"/>
                  </a:schemeClr>
                </a:solidFill>
                <a:headEnd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4" name="꺾인 연결선 553"/>
              <p:cNvCxnSpPr>
                <a:stCxn id="552" idx="1"/>
                <a:endCxn id="551" idx="3"/>
              </p:cNvCxnSpPr>
              <p:nvPr/>
            </p:nvCxnSpPr>
            <p:spPr>
              <a:xfrm rot="10800000" flipV="1">
                <a:off x="6763289" y="3955652"/>
                <a:ext cx="153488" cy="132065"/>
              </a:xfrm>
              <a:prstGeom prst="bentConnector3">
                <a:avLst>
                  <a:gd name="adj1" fmla="val 50000"/>
                </a:avLst>
              </a:prstGeom>
              <a:ln w="3175">
                <a:solidFill>
                  <a:schemeClr val="bg1">
                    <a:lumMod val="50000"/>
                  </a:schemeClr>
                </a:solidFill>
                <a:headEnd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4" name="꺾인 연결선 413"/>
            <p:cNvCxnSpPr>
              <a:stCxn id="558" idx="3"/>
              <a:endCxn id="556" idx="3"/>
            </p:cNvCxnSpPr>
            <p:nvPr/>
          </p:nvCxnSpPr>
          <p:spPr>
            <a:xfrm flipV="1">
              <a:off x="7041193" y="4332036"/>
              <a:ext cx="7861" cy="444687"/>
            </a:xfrm>
            <a:prstGeom prst="bentConnector3">
              <a:avLst>
                <a:gd name="adj1" fmla="val 366661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꺾인 연결선 414"/>
            <p:cNvCxnSpPr>
              <a:stCxn id="557" idx="3"/>
              <a:endCxn id="550" idx="1"/>
            </p:cNvCxnSpPr>
            <p:nvPr/>
          </p:nvCxnSpPr>
          <p:spPr>
            <a:xfrm flipV="1">
              <a:off x="7041193" y="4228417"/>
              <a:ext cx="71911" cy="325964"/>
            </a:xfrm>
            <a:prstGeom prst="bentConnector3">
              <a:avLst>
                <a:gd name="adj1" fmla="val 71863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6" name="직사각형 415"/>
            <p:cNvSpPr/>
            <p:nvPr/>
          </p:nvSpPr>
          <p:spPr>
            <a:xfrm>
              <a:off x="5067540" y="5345804"/>
              <a:ext cx="338455" cy="2498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위험관리</a:t>
              </a:r>
            </a:p>
          </p:txBody>
        </p:sp>
        <p:sp>
          <p:nvSpPr>
            <p:cNvPr id="417" name="직사각형 416"/>
            <p:cNvSpPr/>
            <p:nvPr/>
          </p:nvSpPr>
          <p:spPr>
            <a:xfrm>
              <a:off x="5434236" y="5345804"/>
              <a:ext cx="240804" cy="2498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DD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18" name="직사각형 417"/>
            <p:cNvSpPr/>
            <p:nvPr/>
          </p:nvSpPr>
          <p:spPr>
            <a:xfrm>
              <a:off x="5070164" y="5658512"/>
              <a:ext cx="338455" cy="2498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위험평가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19" name="직사각형 418"/>
            <p:cNvSpPr/>
            <p:nvPr/>
          </p:nvSpPr>
          <p:spPr>
            <a:xfrm>
              <a:off x="5436860" y="5658512"/>
              <a:ext cx="240804" cy="2498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0" name="직사각형 419"/>
            <p:cNvSpPr/>
            <p:nvPr/>
          </p:nvSpPr>
          <p:spPr>
            <a:xfrm>
              <a:off x="5070161" y="5978577"/>
              <a:ext cx="338455" cy="2498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래모니터링</a:t>
              </a:r>
            </a:p>
          </p:txBody>
        </p:sp>
        <p:sp>
          <p:nvSpPr>
            <p:cNvPr id="421" name="직사각형 420"/>
            <p:cNvSpPr/>
            <p:nvPr/>
          </p:nvSpPr>
          <p:spPr>
            <a:xfrm>
              <a:off x="5436857" y="5978577"/>
              <a:ext cx="240804" cy="2498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안관리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2" name="직사각형 421"/>
            <p:cNvSpPr/>
            <p:nvPr/>
          </p:nvSpPr>
          <p:spPr>
            <a:xfrm>
              <a:off x="6198459" y="5428135"/>
              <a:ext cx="155980" cy="72668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도출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및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23" name="꺾인 연결선 422"/>
            <p:cNvCxnSpPr>
              <a:stCxn id="422" idx="1"/>
              <a:endCxn id="543" idx="3"/>
            </p:cNvCxnSpPr>
            <p:nvPr/>
          </p:nvCxnSpPr>
          <p:spPr>
            <a:xfrm rot="10800000">
              <a:off x="6135809" y="5470736"/>
              <a:ext cx="62651" cy="320740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꺾인 연결선 423"/>
            <p:cNvCxnSpPr>
              <a:stCxn id="422" idx="1"/>
              <a:endCxn id="545" idx="3"/>
            </p:cNvCxnSpPr>
            <p:nvPr/>
          </p:nvCxnSpPr>
          <p:spPr>
            <a:xfrm rot="10800000" flipV="1">
              <a:off x="6135809" y="5791474"/>
              <a:ext cx="62651" cy="312034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5" name="그룹 424"/>
            <p:cNvGrpSpPr/>
            <p:nvPr/>
          </p:nvGrpSpPr>
          <p:grpSpPr>
            <a:xfrm>
              <a:off x="6791939" y="5348953"/>
              <a:ext cx="245110" cy="878494"/>
              <a:chOff x="2958471" y="3706622"/>
              <a:chExt cx="288000" cy="506285"/>
            </a:xfrm>
          </p:grpSpPr>
          <p:sp>
            <p:nvSpPr>
              <p:cNvPr id="546" name="직사각형 545"/>
              <p:cNvSpPr/>
              <p:nvPr/>
            </p:nvSpPr>
            <p:spPr>
              <a:xfrm>
                <a:off x="2958471" y="3706622"/>
                <a:ext cx="288000" cy="108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자동통제</a:t>
                </a:r>
              </a:p>
            </p:txBody>
          </p:sp>
          <p:sp>
            <p:nvSpPr>
              <p:cNvPr id="547" name="직사각형 546"/>
              <p:cNvSpPr/>
              <p:nvPr/>
            </p:nvSpPr>
            <p:spPr>
              <a:xfrm>
                <a:off x="2958471" y="3839381"/>
                <a:ext cx="288000" cy="108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수기통제</a:t>
                </a:r>
              </a:p>
            </p:txBody>
          </p:sp>
          <p:sp>
            <p:nvSpPr>
              <p:cNvPr id="548" name="직사각형 547"/>
              <p:cNvSpPr/>
              <p:nvPr/>
            </p:nvSpPr>
            <p:spPr>
              <a:xfrm>
                <a:off x="2958471" y="3972139"/>
                <a:ext cx="288000" cy="108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공통통제</a:t>
                </a:r>
              </a:p>
            </p:txBody>
          </p:sp>
          <p:sp>
            <p:nvSpPr>
              <p:cNvPr id="549" name="직사각형 548"/>
              <p:cNvSpPr/>
              <p:nvPr/>
            </p:nvSpPr>
            <p:spPr>
              <a:xfrm>
                <a:off x="2958471" y="4104907"/>
                <a:ext cx="288000" cy="108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개별통제</a:t>
                </a:r>
              </a:p>
            </p:txBody>
          </p:sp>
        </p:grpSp>
        <p:sp>
          <p:nvSpPr>
            <p:cNvPr id="426" name="직사각형 425"/>
            <p:cNvSpPr/>
            <p:nvPr/>
          </p:nvSpPr>
          <p:spPr>
            <a:xfrm>
              <a:off x="6441036" y="5426954"/>
              <a:ext cx="267393" cy="31233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활동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식별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7" name="직사각형 426"/>
            <p:cNvSpPr/>
            <p:nvPr/>
          </p:nvSpPr>
          <p:spPr>
            <a:xfrm>
              <a:off x="6441036" y="5853294"/>
              <a:ext cx="267393" cy="31233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28" name="꺾인 연결선 427"/>
            <p:cNvCxnSpPr>
              <a:stCxn id="426" idx="1"/>
              <a:endCxn id="422" idx="3"/>
            </p:cNvCxnSpPr>
            <p:nvPr/>
          </p:nvCxnSpPr>
          <p:spPr>
            <a:xfrm rot="10800000" flipV="1">
              <a:off x="6354439" y="5583119"/>
              <a:ext cx="86598" cy="208356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직선 연결선 428"/>
            <p:cNvCxnSpPr>
              <a:stCxn id="426" idx="2"/>
              <a:endCxn id="427" idx="0"/>
            </p:cNvCxnSpPr>
            <p:nvPr/>
          </p:nvCxnSpPr>
          <p:spPr>
            <a:xfrm>
              <a:off x="6574734" y="5739285"/>
              <a:ext cx="0" cy="11401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꺾인 연결선 429"/>
            <p:cNvCxnSpPr>
              <a:stCxn id="427" idx="3"/>
              <a:endCxn id="546" idx="1"/>
            </p:cNvCxnSpPr>
            <p:nvPr/>
          </p:nvCxnSpPr>
          <p:spPr>
            <a:xfrm flipV="1">
              <a:off x="6708429" y="5442656"/>
              <a:ext cx="83509" cy="566805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꺾인 연결선 430"/>
            <p:cNvCxnSpPr>
              <a:stCxn id="426" idx="3"/>
              <a:endCxn id="549" idx="1"/>
            </p:cNvCxnSpPr>
            <p:nvPr/>
          </p:nvCxnSpPr>
          <p:spPr>
            <a:xfrm>
              <a:off x="6708429" y="5583119"/>
              <a:ext cx="83509" cy="550607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직선 연결선 431"/>
            <p:cNvCxnSpPr/>
            <p:nvPr/>
          </p:nvCxnSpPr>
          <p:spPr>
            <a:xfrm flipH="1" flipV="1">
              <a:off x="6749382" y="5663953"/>
              <a:ext cx="42337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직선 연결선 432"/>
            <p:cNvCxnSpPr>
              <a:stCxn id="548" idx="1"/>
            </p:cNvCxnSpPr>
            <p:nvPr/>
          </p:nvCxnSpPr>
          <p:spPr>
            <a:xfrm flipH="1">
              <a:off x="6749382" y="5903367"/>
              <a:ext cx="42557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4" name="직사각형 433"/>
            <p:cNvSpPr/>
            <p:nvPr/>
          </p:nvSpPr>
          <p:spPr>
            <a:xfrm>
              <a:off x="7114785" y="5353576"/>
              <a:ext cx="601634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평가 </a:t>
              </a:r>
              <a:r>
                <a: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emplate </a:t>
              </a: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작성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35" name="직사각형 434"/>
            <p:cNvSpPr/>
            <p:nvPr/>
          </p:nvSpPr>
          <p:spPr>
            <a:xfrm>
              <a:off x="7114785" y="6043019"/>
              <a:ext cx="601634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운영 효과성 산정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36" name="직사각형 435"/>
            <p:cNvSpPr/>
            <p:nvPr/>
          </p:nvSpPr>
          <p:spPr>
            <a:xfrm>
              <a:off x="7114785" y="5712461"/>
              <a:ext cx="601634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필요 데이터</a:t>
              </a:r>
              <a:r>
                <a: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sample</a:t>
              </a: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정의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37" name="직선 연결선 436"/>
            <p:cNvCxnSpPr>
              <a:stCxn id="436" idx="0"/>
              <a:endCxn id="434" idx="2"/>
            </p:cNvCxnSpPr>
            <p:nvPr/>
          </p:nvCxnSpPr>
          <p:spPr>
            <a:xfrm flipV="1">
              <a:off x="7415602" y="5540974"/>
              <a:ext cx="0" cy="171486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직선 연결선 437"/>
            <p:cNvCxnSpPr>
              <a:stCxn id="435" idx="0"/>
              <a:endCxn id="436" idx="2"/>
            </p:cNvCxnSpPr>
            <p:nvPr/>
          </p:nvCxnSpPr>
          <p:spPr>
            <a:xfrm flipV="1">
              <a:off x="7415602" y="5899860"/>
              <a:ext cx="0" cy="14316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꺾인 연결선 438"/>
            <p:cNvCxnSpPr>
              <a:stCxn id="546" idx="3"/>
              <a:endCxn id="549" idx="3"/>
            </p:cNvCxnSpPr>
            <p:nvPr/>
          </p:nvCxnSpPr>
          <p:spPr>
            <a:xfrm>
              <a:off x="7037050" y="5442656"/>
              <a:ext cx="7861" cy="691070"/>
            </a:xfrm>
            <a:prstGeom prst="bentConnector3">
              <a:avLst>
                <a:gd name="adj1" fmla="val 4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직선 연결선 439"/>
            <p:cNvCxnSpPr/>
            <p:nvPr/>
          </p:nvCxnSpPr>
          <p:spPr>
            <a:xfrm flipH="1" flipV="1">
              <a:off x="7033847" y="5663956"/>
              <a:ext cx="37881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직선 연결선 440"/>
            <p:cNvCxnSpPr/>
            <p:nvPr/>
          </p:nvCxnSpPr>
          <p:spPr>
            <a:xfrm flipH="1">
              <a:off x="7033847" y="5903371"/>
              <a:ext cx="37881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직선 연결선 441"/>
            <p:cNvCxnSpPr/>
            <p:nvPr/>
          </p:nvCxnSpPr>
          <p:spPr>
            <a:xfrm flipH="1" flipV="1">
              <a:off x="7073152" y="5445541"/>
              <a:ext cx="41633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3" name="그룹 442"/>
            <p:cNvGrpSpPr/>
            <p:nvPr/>
          </p:nvGrpSpPr>
          <p:grpSpPr>
            <a:xfrm>
              <a:off x="5757003" y="5345806"/>
              <a:ext cx="378807" cy="882643"/>
              <a:chOff x="3996372" y="4765375"/>
              <a:chExt cx="612000" cy="508677"/>
            </a:xfrm>
          </p:grpSpPr>
          <p:sp>
            <p:nvSpPr>
              <p:cNvPr id="543" name="직사각형 542"/>
              <p:cNvSpPr/>
              <p:nvPr/>
            </p:nvSpPr>
            <p:spPr>
              <a:xfrm>
                <a:off x="3996372" y="4765375"/>
                <a:ext cx="612000" cy="144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금융사고분석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44" name="직사각형 543"/>
              <p:cNvSpPr/>
              <p:nvPr/>
            </p:nvSpPr>
            <p:spPr>
              <a:xfrm>
                <a:off x="3996372" y="4945592"/>
                <a:ext cx="612000" cy="144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서비스특성분석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45" name="직사각형 544"/>
              <p:cNvSpPr/>
              <p:nvPr/>
            </p:nvSpPr>
            <p:spPr>
              <a:xfrm>
                <a:off x="3996372" y="5130052"/>
                <a:ext cx="612000" cy="1440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ko-KR" altLang="en-US" sz="600" dirty="0" smtClean="0">
                    <a:solidFill>
                      <a:schemeClr val="tx1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프로세스분석</a:t>
                </a:r>
                <a:endPara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cxnSp>
          <p:nvCxnSpPr>
            <p:cNvPr id="444" name="직선 연결선 443"/>
            <p:cNvCxnSpPr>
              <a:stCxn id="544" idx="3"/>
            </p:cNvCxnSpPr>
            <p:nvPr/>
          </p:nvCxnSpPr>
          <p:spPr>
            <a:xfrm flipV="1">
              <a:off x="6135808" y="5766711"/>
              <a:ext cx="31196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5" name="TextBox 444"/>
            <p:cNvSpPr txBox="1"/>
            <p:nvPr/>
          </p:nvSpPr>
          <p:spPr>
            <a:xfrm>
              <a:off x="5709084" y="3239889"/>
              <a:ext cx="1539882" cy="28341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ko-KR" altLang="en-US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전사 </a:t>
              </a:r>
              <a:r>
                <a:rPr lang="en-US" altLang="ko-KR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모델 및 전략 수립</a:t>
              </a:r>
            </a:p>
          </p:txBody>
        </p:sp>
        <p:sp>
          <p:nvSpPr>
            <p:cNvPr id="446" name="직사각형 445"/>
            <p:cNvSpPr/>
            <p:nvPr/>
          </p:nvSpPr>
          <p:spPr>
            <a:xfrm>
              <a:off x="9397978" y="3717973"/>
              <a:ext cx="193396" cy="72137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</a:t>
              </a:r>
            </a:p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TF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매뉴얼</a:t>
              </a:r>
            </a:p>
          </p:txBody>
        </p:sp>
        <p:sp>
          <p:nvSpPr>
            <p:cNvPr id="447" name="직사각형 446"/>
            <p:cNvSpPr/>
            <p:nvPr/>
          </p:nvSpPr>
          <p:spPr>
            <a:xfrm>
              <a:off x="9397978" y="2862960"/>
              <a:ext cx="193396" cy="72137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ML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규정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침</a:t>
              </a:r>
            </a:p>
          </p:txBody>
        </p:sp>
        <p:sp>
          <p:nvSpPr>
            <p:cNvPr id="448" name="직사각형 447"/>
            <p:cNvSpPr/>
            <p:nvPr/>
          </p:nvSpPr>
          <p:spPr>
            <a:xfrm>
              <a:off x="8086465" y="2608908"/>
              <a:ext cx="1541572" cy="2468302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49" name="직사각형 448"/>
            <p:cNvSpPr/>
            <p:nvPr/>
          </p:nvSpPr>
          <p:spPr>
            <a:xfrm>
              <a:off x="8141719" y="2862960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RI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정의</a:t>
              </a:r>
            </a:p>
          </p:txBody>
        </p:sp>
        <p:sp>
          <p:nvSpPr>
            <p:cNvPr id="450" name="직사각형 449"/>
            <p:cNvSpPr/>
            <p:nvPr/>
          </p:nvSpPr>
          <p:spPr>
            <a:xfrm>
              <a:off x="8627107" y="2862960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RI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니터링</a:t>
              </a:r>
            </a:p>
          </p:txBody>
        </p:sp>
        <p:sp>
          <p:nvSpPr>
            <p:cNvPr id="451" name="직사각형 450"/>
            <p:cNvSpPr/>
            <p:nvPr/>
          </p:nvSpPr>
          <p:spPr>
            <a:xfrm>
              <a:off x="8627107" y="3189606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RI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응체계</a:t>
              </a:r>
            </a:p>
          </p:txBody>
        </p:sp>
        <p:sp>
          <p:nvSpPr>
            <p:cNvPr id="452" name="직사각형 451"/>
            <p:cNvSpPr/>
            <p:nvPr/>
          </p:nvSpPr>
          <p:spPr>
            <a:xfrm>
              <a:off x="8141719" y="4496188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잔여위험</a:t>
              </a:r>
              <a:endParaRPr lang="en-US" altLang="ko-KR" sz="7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산출</a:t>
              </a:r>
              <a:endPara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53" name="직사각형 452"/>
            <p:cNvSpPr/>
            <p:nvPr/>
          </p:nvSpPr>
          <p:spPr>
            <a:xfrm>
              <a:off x="8627107" y="3516252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임점모니터링</a:t>
              </a:r>
            </a:p>
          </p:txBody>
        </p:sp>
        <p:sp>
          <p:nvSpPr>
            <p:cNvPr id="454" name="직사각형 453"/>
            <p:cNvSpPr/>
            <p:nvPr/>
          </p:nvSpPr>
          <p:spPr>
            <a:xfrm>
              <a:off x="8627107" y="3842897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교육</a:t>
              </a:r>
            </a:p>
          </p:txBody>
        </p:sp>
        <p:sp>
          <p:nvSpPr>
            <p:cNvPr id="455" name="직사각형 454"/>
            <p:cNvSpPr/>
            <p:nvPr/>
          </p:nvSpPr>
          <p:spPr>
            <a:xfrm>
              <a:off x="8627107" y="4169543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STR </a:t>
              </a:r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니터링</a:t>
              </a:r>
            </a:p>
          </p:txBody>
        </p:sp>
        <p:sp>
          <p:nvSpPr>
            <p:cNvPr id="456" name="직사각형 455"/>
            <p:cNvSpPr/>
            <p:nvPr/>
          </p:nvSpPr>
          <p:spPr>
            <a:xfrm>
              <a:off x="8141719" y="3842897"/>
              <a:ext cx="374772" cy="269809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평가결과대응</a:t>
              </a:r>
            </a:p>
          </p:txBody>
        </p:sp>
        <p:sp>
          <p:nvSpPr>
            <p:cNvPr id="457" name="직사각형 456"/>
            <p:cNvSpPr/>
            <p:nvPr/>
          </p:nvSpPr>
          <p:spPr>
            <a:xfrm>
              <a:off x="8141719" y="4822831"/>
              <a:ext cx="1210093" cy="19236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시스템 요건 도출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58" name="직선 화살표 연결선 457"/>
            <p:cNvCxnSpPr>
              <a:stCxn id="452" idx="0"/>
              <a:endCxn id="456" idx="2"/>
            </p:cNvCxnSpPr>
            <p:nvPr/>
          </p:nvCxnSpPr>
          <p:spPr>
            <a:xfrm flipV="1">
              <a:off x="8329105" y="4112706"/>
              <a:ext cx="0" cy="383482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9" name="꺾인 연결선 443"/>
            <p:cNvCxnSpPr>
              <a:stCxn id="449" idx="3"/>
              <a:endCxn id="450" idx="1"/>
            </p:cNvCxnSpPr>
            <p:nvPr/>
          </p:nvCxnSpPr>
          <p:spPr>
            <a:xfrm>
              <a:off x="8516491" y="2997865"/>
              <a:ext cx="110616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0" name="꺾인 연결선 459"/>
            <p:cNvCxnSpPr>
              <a:stCxn id="449" idx="3"/>
              <a:endCxn id="451" idx="1"/>
            </p:cNvCxnSpPr>
            <p:nvPr/>
          </p:nvCxnSpPr>
          <p:spPr>
            <a:xfrm>
              <a:off x="8516491" y="2997865"/>
              <a:ext cx="110616" cy="326646"/>
            </a:xfrm>
            <a:prstGeom prst="bentConnector3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1" name="꺾인 연결선 460"/>
            <p:cNvCxnSpPr>
              <a:stCxn id="456" idx="3"/>
              <a:endCxn id="453" idx="1"/>
            </p:cNvCxnSpPr>
            <p:nvPr/>
          </p:nvCxnSpPr>
          <p:spPr>
            <a:xfrm flipV="1">
              <a:off x="8516491" y="3651157"/>
              <a:ext cx="110616" cy="326645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2" name="꺾인 연결선 461"/>
            <p:cNvCxnSpPr>
              <a:stCxn id="456" idx="3"/>
              <a:endCxn id="455" idx="1"/>
            </p:cNvCxnSpPr>
            <p:nvPr/>
          </p:nvCxnSpPr>
          <p:spPr>
            <a:xfrm>
              <a:off x="8516491" y="3977802"/>
              <a:ext cx="110616" cy="326646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3" name="직선 화살표 연결선 462"/>
            <p:cNvCxnSpPr>
              <a:stCxn id="456" idx="3"/>
              <a:endCxn id="454" idx="1"/>
            </p:cNvCxnSpPr>
            <p:nvPr/>
          </p:nvCxnSpPr>
          <p:spPr>
            <a:xfrm>
              <a:off x="8516491" y="3977802"/>
              <a:ext cx="110616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4" name="직사각형 463"/>
            <p:cNvSpPr/>
            <p:nvPr/>
          </p:nvSpPr>
          <p:spPr>
            <a:xfrm>
              <a:off x="9103676" y="2862962"/>
              <a:ext cx="181185" cy="157639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</a:t>
              </a: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버넌스 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endParaRPr lang="en-US" altLang="ko-KR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요구사항 도출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65" name="꺾인 연결선 464"/>
            <p:cNvCxnSpPr>
              <a:stCxn id="450" idx="3"/>
              <a:endCxn id="464" idx="1"/>
            </p:cNvCxnSpPr>
            <p:nvPr/>
          </p:nvCxnSpPr>
          <p:spPr>
            <a:xfrm>
              <a:off x="9001880" y="2997865"/>
              <a:ext cx="101796" cy="653292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6" name="꺾인 연결선 465"/>
            <p:cNvCxnSpPr>
              <a:stCxn id="455" idx="3"/>
              <a:endCxn id="464" idx="1"/>
            </p:cNvCxnSpPr>
            <p:nvPr/>
          </p:nvCxnSpPr>
          <p:spPr>
            <a:xfrm flipV="1">
              <a:off x="9001880" y="3651157"/>
              <a:ext cx="101796" cy="653291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7" name="직선 연결선 793"/>
            <p:cNvCxnSpPr>
              <a:stCxn id="454" idx="3"/>
              <a:endCxn id="464" idx="1"/>
            </p:cNvCxnSpPr>
            <p:nvPr/>
          </p:nvCxnSpPr>
          <p:spPr>
            <a:xfrm flipV="1">
              <a:off x="9001880" y="3651157"/>
              <a:ext cx="101796" cy="326645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8" name="직사각형 467"/>
            <p:cNvSpPr/>
            <p:nvPr/>
          </p:nvSpPr>
          <p:spPr>
            <a:xfrm>
              <a:off x="8627107" y="4534909"/>
              <a:ext cx="435140" cy="19236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 도출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69" name="직선 화살표 연결선 468"/>
            <p:cNvCxnSpPr>
              <a:stCxn id="452" idx="3"/>
              <a:endCxn id="468" idx="1"/>
            </p:cNvCxnSpPr>
            <p:nvPr/>
          </p:nvCxnSpPr>
          <p:spPr>
            <a:xfrm>
              <a:off x="8516491" y="4631093"/>
              <a:ext cx="110616" cy="0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0" name="꺾인 연결선 469"/>
            <p:cNvCxnSpPr>
              <a:stCxn id="464" idx="3"/>
              <a:endCxn id="447" idx="1"/>
            </p:cNvCxnSpPr>
            <p:nvPr/>
          </p:nvCxnSpPr>
          <p:spPr>
            <a:xfrm flipV="1">
              <a:off x="9284861" y="3223650"/>
              <a:ext cx="113118" cy="427507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1" name="꺾인 연결선 470"/>
            <p:cNvCxnSpPr>
              <a:stCxn id="464" idx="3"/>
              <a:endCxn id="446" idx="1"/>
            </p:cNvCxnSpPr>
            <p:nvPr/>
          </p:nvCxnSpPr>
          <p:spPr>
            <a:xfrm>
              <a:off x="9284861" y="3651157"/>
              <a:ext cx="113118" cy="427506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2" name="꺾인 연결선 471"/>
            <p:cNvCxnSpPr>
              <a:stCxn id="468" idx="3"/>
              <a:endCxn id="464" idx="2"/>
            </p:cNvCxnSpPr>
            <p:nvPr/>
          </p:nvCxnSpPr>
          <p:spPr>
            <a:xfrm flipV="1">
              <a:off x="9062247" y="4439352"/>
              <a:ext cx="132021" cy="191741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3" name="직선 연결선 472"/>
            <p:cNvCxnSpPr>
              <a:stCxn id="453" idx="3"/>
              <a:endCxn id="464" idx="1"/>
            </p:cNvCxnSpPr>
            <p:nvPr/>
          </p:nvCxnSpPr>
          <p:spPr>
            <a:xfrm>
              <a:off x="9001880" y="3651157"/>
              <a:ext cx="101796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4" name="직선 연결선 801"/>
            <p:cNvCxnSpPr>
              <a:stCxn id="451" idx="3"/>
              <a:endCxn id="464" idx="1"/>
            </p:cNvCxnSpPr>
            <p:nvPr/>
          </p:nvCxnSpPr>
          <p:spPr>
            <a:xfrm>
              <a:off x="9001880" y="3324511"/>
              <a:ext cx="101796" cy="326646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5" name="직사각형 474"/>
            <p:cNvSpPr/>
            <p:nvPr/>
          </p:nvSpPr>
          <p:spPr>
            <a:xfrm>
              <a:off x="8086465" y="5296051"/>
              <a:ext cx="1527708" cy="101326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76" name="직사각형 475"/>
            <p:cNvSpPr/>
            <p:nvPr/>
          </p:nvSpPr>
          <p:spPr>
            <a:xfrm>
              <a:off x="8141719" y="5470411"/>
              <a:ext cx="435140" cy="26096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표별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이행수준 진단</a:t>
              </a:r>
            </a:p>
          </p:txBody>
        </p:sp>
        <p:sp>
          <p:nvSpPr>
            <p:cNvPr id="477" name="직사각형 476"/>
            <p:cNvSpPr/>
            <p:nvPr/>
          </p:nvSpPr>
          <p:spPr>
            <a:xfrm>
              <a:off x="8718388" y="5470411"/>
              <a:ext cx="435140" cy="260961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개선 요건 도출</a:t>
              </a:r>
            </a:p>
          </p:txBody>
        </p:sp>
        <p:cxnSp>
          <p:nvCxnSpPr>
            <p:cNvPr id="478" name="꺾인 연결선 334"/>
            <p:cNvCxnSpPr>
              <a:stCxn id="476" idx="3"/>
              <a:endCxn id="477" idx="1"/>
            </p:cNvCxnSpPr>
            <p:nvPr/>
          </p:nvCxnSpPr>
          <p:spPr>
            <a:xfrm>
              <a:off x="8576860" y="5600892"/>
              <a:ext cx="141529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9" name="직사각형 478"/>
            <p:cNvSpPr/>
            <p:nvPr/>
          </p:nvSpPr>
          <p:spPr>
            <a:xfrm>
              <a:off x="9295057" y="5465696"/>
              <a:ext cx="265274" cy="78273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 프로세스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립</a:t>
              </a:r>
              <a:endParaRPr lang="en-US" altLang="ko-KR" sz="6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80" name="직사각형 479"/>
            <p:cNvSpPr/>
            <p:nvPr/>
          </p:nvSpPr>
          <p:spPr>
            <a:xfrm>
              <a:off x="8141720" y="5813188"/>
              <a:ext cx="435140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유위험 지표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81" name="직사각형 480"/>
            <p:cNvSpPr/>
            <p:nvPr/>
          </p:nvSpPr>
          <p:spPr>
            <a:xfrm>
              <a:off x="8141720" y="6063466"/>
              <a:ext cx="435140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위험 지표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82" name="직사각형 481"/>
            <p:cNvSpPr/>
            <p:nvPr/>
          </p:nvSpPr>
          <p:spPr>
            <a:xfrm>
              <a:off x="8718388" y="5813188"/>
              <a:ext cx="435140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Process</a:t>
              </a: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요건 도출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83" name="직사각형 482"/>
            <p:cNvSpPr/>
            <p:nvPr/>
          </p:nvSpPr>
          <p:spPr>
            <a:xfrm>
              <a:off x="8718388" y="6063466"/>
              <a:ext cx="435140" cy="18739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ystem</a:t>
              </a: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6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요건 도출</a:t>
              </a:r>
              <a:endParaRPr lang="ko-KR" altLang="en-US" sz="6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484" name="꺾인 연결선 483"/>
            <p:cNvCxnSpPr>
              <a:stCxn id="483" idx="1"/>
              <a:endCxn id="480" idx="3"/>
            </p:cNvCxnSpPr>
            <p:nvPr/>
          </p:nvCxnSpPr>
          <p:spPr>
            <a:xfrm rot="10800000">
              <a:off x="8576860" y="5906887"/>
              <a:ext cx="141529" cy="250278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꺾인 연결선 484"/>
            <p:cNvCxnSpPr>
              <a:stCxn id="481" idx="3"/>
              <a:endCxn id="482" idx="1"/>
            </p:cNvCxnSpPr>
            <p:nvPr/>
          </p:nvCxnSpPr>
          <p:spPr>
            <a:xfrm flipV="1">
              <a:off x="8576860" y="5906887"/>
              <a:ext cx="141529" cy="250278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꺾인 연결선 485"/>
            <p:cNvCxnSpPr>
              <a:stCxn id="482" idx="3"/>
              <a:endCxn id="479" idx="1"/>
            </p:cNvCxnSpPr>
            <p:nvPr/>
          </p:nvCxnSpPr>
          <p:spPr>
            <a:xfrm flipV="1">
              <a:off x="9153528" y="5857063"/>
              <a:ext cx="141529" cy="49824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꺾인 연결선 486"/>
            <p:cNvCxnSpPr>
              <a:stCxn id="483" idx="3"/>
              <a:endCxn id="479" idx="1"/>
            </p:cNvCxnSpPr>
            <p:nvPr/>
          </p:nvCxnSpPr>
          <p:spPr>
            <a:xfrm flipV="1">
              <a:off x="9153528" y="5857063"/>
              <a:ext cx="141529" cy="300102"/>
            </a:xfrm>
            <a:prstGeom prst="bentConnector3">
              <a:avLst>
                <a:gd name="adj1" fmla="val 5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8" name="그룹 487"/>
            <p:cNvGrpSpPr/>
            <p:nvPr/>
          </p:nvGrpSpPr>
          <p:grpSpPr>
            <a:xfrm>
              <a:off x="5565068" y="2536457"/>
              <a:ext cx="144000" cy="144000"/>
              <a:chOff x="3055233" y="1066696"/>
              <a:chExt cx="147601" cy="147600"/>
            </a:xfrm>
          </p:grpSpPr>
          <p:sp>
            <p:nvSpPr>
              <p:cNvPr id="541" name="타원 540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42" name="타원 541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hangingPunct="0">
                  <a:lnSpc>
                    <a:spcPct val="90000"/>
                  </a:lnSpc>
                  <a:buSzPct val="140000"/>
                </a:pPr>
                <a:r>
                  <a:rPr lang="en-US" altLang="ko-KR" sz="550" b="1" dirty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3</a:t>
                </a:r>
                <a:endParaRPr lang="ko-KR" altLang="en-US" sz="55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sp>
          <p:nvSpPr>
            <p:cNvPr id="489" name="TextBox 488"/>
            <p:cNvSpPr txBox="1"/>
            <p:nvPr/>
          </p:nvSpPr>
          <p:spPr>
            <a:xfrm>
              <a:off x="8265368" y="2437878"/>
              <a:ext cx="1244521" cy="315661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ko-KR" altLang="en-US" sz="700" u="sng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위험기반 </a:t>
              </a:r>
              <a:r>
                <a:rPr lang="ko-KR" altLang="en-US" sz="700" u="sng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내부통제 강화방안 마련 </a:t>
              </a:r>
              <a:endParaRPr lang="ko-KR" altLang="en-US" sz="700" u="sng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90" name="TextBox 489"/>
            <p:cNvSpPr txBox="1"/>
            <p:nvPr/>
          </p:nvSpPr>
          <p:spPr>
            <a:xfrm>
              <a:off x="8348833" y="5113149"/>
              <a:ext cx="1002980" cy="315661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700" u="sng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oFIU </a:t>
              </a:r>
              <a:r>
                <a:rPr lang="ko-KR" altLang="en-US" sz="700" u="sng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표 대응 체계 수립</a:t>
              </a:r>
              <a:endParaRPr lang="ko-KR" altLang="en-US" sz="700" u="sng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491" name="그룹 490"/>
            <p:cNvGrpSpPr/>
            <p:nvPr/>
          </p:nvGrpSpPr>
          <p:grpSpPr>
            <a:xfrm>
              <a:off x="5597488" y="3324017"/>
              <a:ext cx="147600" cy="147600"/>
              <a:chOff x="3055222" y="1066696"/>
              <a:chExt cx="147600" cy="147600"/>
            </a:xfrm>
          </p:grpSpPr>
          <p:sp>
            <p:nvSpPr>
              <p:cNvPr id="539" name="타원 538"/>
              <p:cNvSpPr/>
              <p:nvPr/>
            </p:nvSpPr>
            <p:spPr>
              <a:xfrm>
                <a:off x="3055222" y="1066696"/>
                <a:ext cx="147600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40" name="타원 539"/>
              <p:cNvSpPr/>
              <p:nvPr/>
            </p:nvSpPr>
            <p:spPr>
              <a:xfrm>
                <a:off x="3072898" y="1083991"/>
                <a:ext cx="111600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55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4</a:t>
                </a:r>
                <a:endParaRPr lang="ko-KR" altLang="en-US" sz="55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92" name="그룹 491"/>
            <p:cNvGrpSpPr/>
            <p:nvPr/>
          </p:nvGrpSpPr>
          <p:grpSpPr>
            <a:xfrm>
              <a:off x="8154361" y="2537365"/>
              <a:ext cx="147600" cy="147600"/>
              <a:chOff x="3055222" y="1066696"/>
              <a:chExt cx="147600" cy="147600"/>
            </a:xfrm>
          </p:grpSpPr>
          <p:sp>
            <p:nvSpPr>
              <p:cNvPr id="537" name="타원 536"/>
              <p:cNvSpPr/>
              <p:nvPr/>
            </p:nvSpPr>
            <p:spPr>
              <a:xfrm>
                <a:off x="3055222" y="1066696"/>
                <a:ext cx="147600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38" name="타원 537"/>
              <p:cNvSpPr/>
              <p:nvPr/>
            </p:nvSpPr>
            <p:spPr>
              <a:xfrm>
                <a:off x="3072898" y="1083991"/>
                <a:ext cx="111600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55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5</a:t>
                </a:r>
                <a:endParaRPr lang="ko-KR" altLang="en-US" sz="55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93" name="그룹 492"/>
            <p:cNvGrpSpPr/>
            <p:nvPr/>
          </p:nvGrpSpPr>
          <p:grpSpPr>
            <a:xfrm>
              <a:off x="8157518" y="5213391"/>
              <a:ext cx="147600" cy="147600"/>
              <a:chOff x="3055222" y="1066696"/>
              <a:chExt cx="147600" cy="147600"/>
            </a:xfrm>
          </p:grpSpPr>
          <p:sp>
            <p:nvSpPr>
              <p:cNvPr id="535" name="타원 534"/>
              <p:cNvSpPr/>
              <p:nvPr/>
            </p:nvSpPr>
            <p:spPr>
              <a:xfrm>
                <a:off x="3055222" y="1066696"/>
                <a:ext cx="147600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36" name="타원 535"/>
              <p:cNvSpPr/>
              <p:nvPr/>
            </p:nvSpPr>
            <p:spPr>
              <a:xfrm>
                <a:off x="3072898" y="1083991"/>
                <a:ext cx="111600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55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6</a:t>
                </a:r>
                <a:endParaRPr lang="ko-KR" altLang="en-US" sz="55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cxnSp>
          <p:nvCxnSpPr>
            <p:cNvPr id="494" name="꺾인 연결선 334"/>
            <p:cNvCxnSpPr/>
            <p:nvPr/>
          </p:nvCxnSpPr>
          <p:spPr>
            <a:xfrm rot="5400000">
              <a:off x="2142040" y="2098168"/>
              <a:ext cx="116151" cy="3121576"/>
            </a:xfrm>
            <a:prstGeom prst="bentConnector3">
              <a:avLst>
                <a:gd name="adj1" fmla="val 39072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직사각형 494"/>
            <p:cNvSpPr/>
            <p:nvPr/>
          </p:nvSpPr>
          <p:spPr>
            <a:xfrm>
              <a:off x="289238" y="6148389"/>
              <a:ext cx="2200085" cy="27103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96" name="TextBox 495"/>
            <p:cNvSpPr txBox="1"/>
            <p:nvPr/>
          </p:nvSpPr>
          <p:spPr>
            <a:xfrm>
              <a:off x="1172580" y="6090327"/>
              <a:ext cx="504000" cy="9696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시스템관리</a:t>
              </a:r>
              <a:endParaRPr lang="ko-KR" altLang="en-US" sz="70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97" name="직사각형 496"/>
            <p:cNvSpPr/>
            <p:nvPr/>
          </p:nvSpPr>
          <p:spPr>
            <a:xfrm>
              <a:off x="2670274" y="6141600"/>
              <a:ext cx="2200085" cy="27103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98" name="TextBox 497"/>
            <p:cNvSpPr txBox="1"/>
            <p:nvPr/>
          </p:nvSpPr>
          <p:spPr>
            <a:xfrm>
              <a:off x="3548844" y="6098778"/>
              <a:ext cx="472523" cy="9696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기타 업무</a:t>
              </a:r>
              <a:endParaRPr lang="ko-KR" altLang="en-US" sz="70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99" name="직사각형 498"/>
            <p:cNvSpPr/>
            <p:nvPr/>
          </p:nvSpPr>
          <p:spPr>
            <a:xfrm>
              <a:off x="364687" y="6234688"/>
              <a:ext cx="651027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사용자 정보 관리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00" name="직사각형 499"/>
            <p:cNvSpPr/>
            <p:nvPr/>
          </p:nvSpPr>
          <p:spPr>
            <a:xfrm>
              <a:off x="1078604" y="6234688"/>
              <a:ext cx="593240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코드관리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01" name="직사각형 500"/>
            <p:cNvSpPr/>
            <p:nvPr/>
          </p:nvSpPr>
          <p:spPr>
            <a:xfrm>
              <a:off x="1727099" y="6229679"/>
              <a:ext cx="720409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서비스 관리 등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02" name="직사각형 501"/>
            <p:cNvSpPr/>
            <p:nvPr/>
          </p:nvSpPr>
          <p:spPr>
            <a:xfrm>
              <a:off x="2731687" y="6219420"/>
              <a:ext cx="651027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타 시스템 연게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03" name="직사각형 502"/>
            <p:cNvSpPr/>
            <p:nvPr/>
          </p:nvSpPr>
          <p:spPr>
            <a:xfrm>
              <a:off x="3445604" y="6219420"/>
              <a:ext cx="593240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니터링</a:t>
              </a:r>
              <a:r>
                <a:rPr lang="en-US" altLang="ko-KR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현황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04" name="직사각형 503"/>
            <p:cNvSpPr/>
            <p:nvPr/>
          </p:nvSpPr>
          <p:spPr>
            <a:xfrm>
              <a:off x="4094099" y="6214411"/>
              <a:ext cx="720409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결재 처리 등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05" name="직사각형 504"/>
            <p:cNvSpPr/>
            <p:nvPr/>
          </p:nvSpPr>
          <p:spPr>
            <a:xfrm>
              <a:off x="300541" y="5423663"/>
              <a:ext cx="1157949" cy="273957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06" name="직사각형 505"/>
            <p:cNvSpPr/>
            <p:nvPr/>
          </p:nvSpPr>
          <p:spPr>
            <a:xfrm>
              <a:off x="520139" y="5498600"/>
              <a:ext cx="792000" cy="153260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직원알기제도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07" name="TextBox 506"/>
            <p:cNvSpPr txBox="1"/>
            <p:nvPr/>
          </p:nvSpPr>
          <p:spPr>
            <a:xfrm>
              <a:off x="668524" y="5340024"/>
              <a:ext cx="554400" cy="134980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직원알기제도</a:t>
              </a:r>
              <a:endParaRPr lang="en-US" altLang="ko-KR" sz="700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508" name="그룹 507"/>
            <p:cNvGrpSpPr/>
            <p:nvPr/>
          </p:nvGrpSpPr>
          <p:grpSpPr>
            <a:xfrm>
              <a:off x="521723" y="5337112"/>
              <a:ext cx="144000" cy="144000"/>
              <a:chOff x="3055233" y="1066696"/>
              <a:chExt cx="147601" cy="147600"/>
            </a:xfrm>
          </p:grpSpPr>
          <p:sp>
            <p:nvSpPr>
              <p:cNvPr id="533" name="타원 532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34" name="타원 533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8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sp>
          <p:nvSpPr>
            <p:cNvPr id="509" name="직사각형 508"/>
            <p:cNvSpPr/>
            <p:nvPr/>
          </p:nvSpPr>
          <p:spPr>
            <a:xfrm>
              <a:off x="1515371" y="5421878"/>
              <a:ext cx="3348000" cy="277989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10" name="직사각형 509"/>
            <p:cNvSpPr/>
            <p:nvPr/>
          </p:nvSpPr>
          <p:spPr>
            <a:xfrm>
              <a:off x="1562319" y="5484091"/>
              <a:ext cx="756000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글로벌 기준 </a:t>
              </a:r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립</a:t>
              </a:r>
              <a:endPara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11" name="직사각형 510"/>
            <p:cNvSpPr/>
            <p:nvPr/>
          </p:nvSpPr>
          <p:spPr>
            <a:xfrm>
              <a:off x="2360800" y="5484091"/>
              <a:ext cx="792000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무 보고 절차 수립</a:t>
              </a:r>
            </a:p>
          </p:txBody>
        </p:sp>
        <p:sp>
          <p:nvSpPr>
            <p:cNvPr id="512" name="직사각형 511"/>
            <p:cNvSpPr/>
            <p:nvPr/>
          </p:nvSpPr>
          <p:spPr>
            <a:xfrm>
              <a:off x="3367282" y="5484091"/>
              <a:ext cx="1441702" cy="15264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해외지점 자금세탁 방지 업무 보고 </a:t>
              </a:r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절차</a:t>
              </a:r>
              <a:endPara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13" name="TextBox 512"/>
            <p:cNvSpPr txBox="1"/>
            <p:nvPr/>
          </p:nvSpPr>
          <p:spPr>
            <a:xfrm>
              <a:off x="2864768" y="5354042"/>
              <a:ext cx="756000" cy="9975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해외지점 </a:t>
              </a:r>
              <a:r>
                <a:rPr lang="ko-KR" altLang="en-US" sz="7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방안</a:t>
              </a:r>
            </a:p>
          </p:txBody>
        </p:sp>
        <p:cxnSp>
          <p:nvCxnSpPr>
            <p:cNvPr id="514" name="꺾인 연결선 334"/>
            <p:cNvCxnSpPr>
              <a:stCxn id="511" idx="3"/>
              <a:endCxn id="512" idx="1"/>
            </p:cNvCxnSpPr>
            <p:nvPr/>
          </p:nvCxnSpPr>
          <p:spPr>
            <a:xfrm>
              <a:off x="3152800" y="5560412"/>
              <a:ext cx="214482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5" name="그룹 514"/>
            <p:cNvGrpSpPr/>
            <p:nvPr/>
          </p:nvGrpSpPr>
          <p:grpSpPr>
            <a:xfrm>
              <a:off x="2720752" y="5339776"/>
              <a:ext cx="144000" cy="144000"/>
              <a:chOff x="3055233" y="1066696"/>
              <a:chExt cx="147601" cy="147600"/>
            </a:xfrm>
          </p:grpSpPr>
          <p:sp>
            <p:nvSpPr>
              <p:cNvPr id="531" name="타원 530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32" name="타원 531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r>
                  <a:rPr lang="en-US" altLang="ko-KR" sz="60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9</a:t>
                </a:r>
                <a:endParaRPr lang="ko-KR" altLang="en-US" sz="6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sp>
          <p:nvSpPr>
            <p:cNvPr id="516" name="직사각형 515"/>
            <p:cNvSpPr/>
            <p:nvPr/>
          </p:nvSpPr>
          <p:spPr>
            <a:xfrm>
              <a:off x="290750" y="5820504"/>
              <a:ext cx="4579609" cy="24501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05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17" name="TextBox 516"/>
            <p:cNvSpPr txBox="1"/>
            <p:nvPr/>
          </p:nvSpPr>
          <p:spPr>
            <a:xfrm>
              <a:off x="2180692" y="5738011"/>
              <a:ext cx="435600" cy="9696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indent="-274320">
                <a:spcAft>
                  <a:spcPts val="900"/>
                </a:spcAft>
                <a:defRPr sz="900"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r>
                <a:rPr lang="ko-KR" altLang="en-US" sz="70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 내부통제</a:t>
              </a:r>
              <a:endParaRPr lang="ko-KR" altLang="en-US" sz="70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18" name="직사각형 517"/>
            <p:cNvSpPr/>
            <p:nvPr/>
          </p:nvSpPr>
          <p:spPr>
            <a:xfrm>
              <a:off x="719456" y="5864560"/>
              <a:ext cx="1010200" cy="14007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이행 상황 평가</a:t>
              </a:r>
            </a:p>
          </p:txBody>
        </p:sp>
        <p:sp>
          <p:nvSpPr>
            <p:cNvPr id="519" name="직사각형 518"/>
            <p:cNvSpPr/>
            <p:nvPr/>
          </p:nvSpPr>
          <p:spPr>
            <a:xfrm>
              <a:off x="2029765" y="5864560"/>
              <a:ext cx="726274" cy="14007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영업점 성과관리</a:t>
              </a:r>
              <a:endPara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520" name="직사각형 519"/>
            <p:cNvSpPr/>
            <p:nvPr/>
          </p:nvSpPr>
          <p:spPr>
            <a:xfrm>
              <a:off x="3056148" y="5864560"/>
              <a:ext cx="726274" cy="140072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7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교육관리</a:t>
              </a:r>
              <a:endPara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521" name="그룹 520"/>
            <p:cNvGrpSpPr/>
            <p:nvPr/>
          </p:nvGrpSpPr>
          <p:grpSpPr>
            <a:xfrm>
              <a:off x="2044410" y="5712492"/>
              <a:ext cx="144000" cy="144000"/>
              <a:chOff x="3055233" y="1066696"/>
              <a:chExt cx="147601" cy="147600"/>
            </a:xfrm>
          </p:grpSpPr>
          <p:sp>
            <p:nvSpPr>
              <p:cNvPr id="529" name="타원 528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30" name="타원 529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hangingPunct="0">
                  <a:lnSpc>
                    <a:spcPct val="90000"/>
                  </a:lnSpc>
                  <a:buSzPct val="140000"/>
                </a:pPr>
                <a:r>
                  <a:rPr lang="en-US" altLang="ko-KR" sz="550" b="1" dirty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0</a:t>
                </a:r>
                <a:endParaRPr lang="ko-KR" altLang="en-US" sz="55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22" name="그룹 521"/>
            <p:cNvGrpSpPr/>
            <p:nvPr/>
          </p:nvGrpSpPr>
          <p:grpSpPr>
            <a:xfrm>
              <a:off x="1025098" y="6066537"/>
              <a:ext cx="144000" cy="144000"/>
              <a:chOff x="3055233" y="1066696"/>
              <a:chExt cx="147601" cy="147600"/>
            </a:xfrm>
          </p:grpSpPr>
          <p:sp>
            <p:nvSpPr>
              <p:cNvPr id="527" name="타원 526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28" name="타원 527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hangingPunct="0">
                  <a:lnSpc>
                    <a:spcPct val="90000"/>
                  </a:lnSpc>
                  <a:buSzPct val="140000"/>
                </a:pPr>
                <a:r>
                  <a:rPr lang="en-US" altLang="ko-KR" sz="55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1</a:t>
                </a:r>
                <a:endParaRPr lang="ko-KR" altLang="en-US" sz="55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23" name="그룹 522"/>
            <p:cNvGrpSpPr/>
            <p:nvPr/>
          </p:nvGrpSpPr>
          <p:grpSpPr>
            <a:xfrm>
              <a:off x="3415779" y="6069600"/>
              <a:ext cx="144000" cy="144000"/>
              <a:chOff x="3055233" y="1066696"/>
              <a:chExt cx="147601" cy="147600"/>
            </a:xfrm>
          </p:grpSpPr>
          <p:sp>
            <p:nvSpPr>
              <p:cNvPr id="525" name="타원 524"/>
              <p:cNvSpPr/>
              <p:nvPr/>
            </p:nvSpPr>
            <p:spPr>
              <a:xfrm>
                <a:off x="3055233" y="1066696"/>
                <a:ext cx="147601" cy="147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01591" indent="-101591" algn="ctr" defTabSz="1042959" eaLnBrk="0" latinLnBrk="0" hangingPunct="0">
                  <a:lnSpc>
                    <a:spcPct val="90000"/>
                  </a:lnSpc>
                  <a:buSzPct val="140000"/>
                </a:pPr>
                <a:endParaRPr lang="ko-KR" altLang="en-US" sz="80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26" name="타원 525"/>
              <p:cNvSpPr/>
              <p:nvPr/>
            </p:nvSpPr>
            <p:spPr>
              <a:xfrm>
                <a:off x="3072899" y="1083991"/>
                <a:ext cx="111601" cy="111600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9525" cmpd="thickThin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101591" indent="-101591" algn="ctr" defTabSz="1042959" eaLnBrk="0" hangingPunct="0">
                  <a:lnSpc>
                    <a:spcPct val="90000"/>
                  </a:lnSpc>
                  <a:buSzPct val="140000"/>
                </a:pPr>
                <a:r>
                  <a:rPr lang="en-US" altLang="ko-KR" sz="550" b="1" dirty="0" smtClean="0">
                    <a:solidFill>
                      <a:prstClr val="white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12</a:t>
                </a:r>
                <a:endParaRPr lang="ko-KR" altLang="en-US" sz="550" b="1" dirty="0">
                  <a:solidFill>
                    <a:prstClr val="white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sp>
          <p:nvSpPr>
            <p:cNvPr id="524" name="직사각형 523"/>
            <p:cNvSpPr/>
            <p:nvPr/>
          </p:nvSpPr>
          <p:spPr>
            <a:xfrm>
              <a:off x="6165500" y="2068996"/>
              <a:ext cx="2315892" cy="213978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[</a:t>
              </a:r>
              <a:r>
                <a:rPr lang="ko-KR" altLang="en-US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영역</a:t>
              </a:r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2] </a:t>
              </a:r>
              <a:r>
                <a:rPr lang="ko-KR" altLang="en-US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전사</a:t>
              </a:r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 RBA </a:t>
              </a:r>
              <a:r>
                <a:rPr lang="ko-KR" altLang="en-US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체계 구축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8426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4 RBA </a:t>
            </a:r>
            <a:r>
              <a:rPr lang="ko-KR" altLang="en-US" dirty="0"/>
              <a:t>프로그램 목록</a:t>
            </a:r>
            <a:r>
              <a:rPr lang="en-US" altLang="ko-KR" dirty="0" smtClean="0"/>
              <a:t> </a:t>
            </a:r>
            <a:r>
              <a:rPr lang="en-US" altLang="ko-KR" dirty="0"/>
              <a:t>(1/2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8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모듈을 구성하는 상세 프로그램 목록은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프로그램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목록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aphicFrame>
        <p:nvGraphicFramePr>
          <p:cNvPr id="180" name="표 1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467724"/>
              </p:ext>
            </p:extLst>
          </p:nvPr>
        </p:nvGraphicFramePr>
        <p:xfrm>
          <a:off x="346014" y="2096785"/>
          <a:ext cx="4354493" cy="42250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6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680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964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pc="0" baseline="0" dirty="0" smtClean="0"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Module</a:t>
                      </a:r>
                      <a:endParaRPr lang="en-US" sz="1000" b="0" i="0" u="none" strike="noStrike" spc="0" baseline="0" dirty="0"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 spc="0" baseline="0" dirty="0">
                          <a:solidFill>
                            <a:srgbClr val="FFFFFF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프로그램 명</a:t>
                      </a:r>
                      <a:endParaRPr lang="ko-KR" altLang="en-US" sz="1000" b="0" i="0" u="none" strike="noStrike" spc="0" baseline="0" dirty="0">
                        <a:solidFill>
                          <a:srgbClr val="FFFFFF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830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기준정보 및</a:t>
                      </a:r>
                      <a:endParaRPr lang="en-US" altLang="ko-KR" sz="90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계획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기준연도별 회차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연도 별 위험평가 일정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연도 별 통제 운영 효과성 목표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사 </a:t>
                      </a:r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평가 모델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평가 모델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 효과성 평가 모델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사 위험평가 모델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RBA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진행현황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830"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자금세탁 </a:t>
                      </a:r>
                      <a:endParaRPr lang="en-US" altLang="ko-KR" sz="90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위험 </a:t>
                      </a:r>
                      <a:r>
                        <a:rPr lang="ko-KR" altLang="en-US" sz="90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자금세탁 사례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자금세탁 사례 상세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 이벤트 </a:t>
                      </a:r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Pool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 이벤트 평가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 이벤트 평가 기준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내부통제 취약점 평가 기준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보안 취약점 평가 기준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지표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지표 상세 조회 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산출 결과 조회 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 위험 평가 결과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노출위험 산출 결과 지표값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8883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사업위험 산출 결과 지표값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</a:tbl>
          </a:graphicData>
        </a:graphic>
      </p:graphicFrame>
      <p:graphicFrame>
        <p:nvGraphicFramePr>
          <p:cNvPr id="184" name="표 1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958154"/>
              </p:ext>
            </p:extLst>
          </p:nvPr>
        </p:nvGraphicFramePr>
        <p:xfrm>
          <a:off x="4916997" y="2096784"/>
          <a:ext cx="4428491" cy="42250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82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202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1788"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Module</a:t>
                      </a:r>
                      <a:endParaRPr kumimoji="1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프로그램 명</a:t>
                      </a:r>
                      <a:endParaRPr lang="ko-KR" altLang="en-US" sz="1000" b="0" i="0" u="none" strike="noStrike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664"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내부통제 </a:t>
                      </a:r>
                      <a:endParaRPr lang="en-US" altLang="ko-KR" sz="90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활동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상세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OFIU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설계평가 진행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설계평가 결과 등록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설계평가 취약점 등록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설계평가 기준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설계평가 결과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운영평가 진행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운영평가 결과 등록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</a:t>
                      </a:r>
                      <a:r>
                        <a:rPr lang="en-US" altLang="ko-KR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ample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평가 결과 등록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운영평가 결과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활동 운영평가 결과 부점별 집계현황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 운영 효과성 평가 결과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7664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내부통제</a:t>
                      </a:r>
                      <a:endParaRPr lang="en-US" altLang="ko-KR" sz="900" u="none" strike="noStrike" spc="0" baseline="0" dirty="0" smtClean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평가관리</a:t>
                      </a:r>
                      <a:endParaRPr lang="en-US" altLang="ko-KR" sz="90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내부통제 평가 개선조치 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내부통제 설계평가 개선조치 등록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내부통제 운영평가 개선조치 등록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내부통제 평가 개선조치 승인관리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평가 취약점 개선조치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7664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baseline="0" dirty="0" smtClean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ko-KR" altLang="en-US" sz="900" u="none" strike="noStrike" spc="0" baseline="0" dirty="0"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개선 진행 현황 조회</a:t>
                      </a:r>
                      <a:endParaRPr lang="ko-KR" altLang="en-US" sz="900" b="0" i="0" u="none" strike="noStrike" spc="0" baseline="0" dirty="0"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769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4 RBA </a:t>
            </a:r>
            <a:r>
              <a:rPr lang="ko-KR" altLang="en-US" dirty="0"/>
              <a:t>프로그램 목록 </a:t>
            </a:r>
            <a:r>
              <a:rPr lang="en-US" altLang="ko-KR" dirty="0" smtClean="0"/>
              <a:t>(2/2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8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모듈을 구성하는 상세 프로그램 목록은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프로그램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목록</a:t>
              </a:r>
              <a:endParaRPr lang="en-US" altLang="ko-KR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915966"/>
              </p:ext>
            </p:extLst>
          </p:nvPr>
        </p:nvGraphicFramePr>
        <p:xfrm>
          <a:off x="346014" y="2096853"/>
          <a:ext cx="4354493" cy="42249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6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680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05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pc="0" dirty="0" smtClean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Module</a:t>
                      </a:r>
                      <a:endParaRPr lang="en-US" sz="1000" b="0" i="0" u="none" strike="noStrike" spc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 spc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프로그램 명</a:t>
                      </a:r>
                      <a:endParaRPr lang="ko-KR" altLang="en-US" sz="1000" b="0" i="0" u="none" strike="noStrike" spc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657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관리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Pool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리스트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65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상세 관리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65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별 모니터링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65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별 모니터링 이력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65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사 </a:t>
                      </a:r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모니터링 결과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65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후속조치 등록 현황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65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후속조치 상세 등록 관리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65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RI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후속조치 진행 관리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7632"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위험평가</a:t>
                      </a:r>
                      <a:endParaRPr lang="en-US" altLang="ko-KR" sz="900" u="none" strike="noStrike" spc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결과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평가 결과 조회 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보안위험 평가 결과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보안위험 평가 결과 상세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전사 위험평가 결과 조회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서비스별 전사 위험평가 결과 조회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평가 분포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자금세탁 위험평가 결과 보고서</a:t>
                      </a:r>
                      <a:r>
                        <a:rPr lang="ko-KR" altLang="en-US" sz="900" b="0" i="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Risk</a:t>
                      </a:r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Category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별 </a:t>
                      </a:r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 순위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Risk</a:t>
                      </a:r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Category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별 </a:t>
                      </a:r>
                      <a:r>
                        <a:rPr lang="ko-KR" altLang="en-US" sz="90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효과성 순위 조회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Risk</a:t>
                      </a:r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Category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별 </a:t>
                      </a:r>
                      <a:r>
                        <a:rPr lang="ko-KR" altLang="en-US" sz="90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잔여위험 순위 조회 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서비스</a:t>
                      </a:r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별 </a:t>
                      </a:r>
                      <a:r>
                        <a:rPr lang="en-US" altLang="ko-KR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L/TF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 순위 조회</a:t>
                      </a:r>
                      <a:endParaRPr lang="ko-KR" altLang="en-US" sz="900" b="0" i="0" u="none" strike="noStrike" spc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서비스</a:t>
                      </a:r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별 </a:t>
                      </a:r>
                      <a:r>
                        <a:rPr lang="ko-KR" altLang="en-US" sz="90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효과성 순위 조회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87632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D5D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점별 </a:t>
                      </a:r>
                      <a:r>
                        <a:rPr lang="ko-KR" altLang="en-US" sz="90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서비스</a:t>
                      </a:r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별 </a:t>
                      </a:r>
                      <a:r>
                        <a:rPr lang="ko-KR" altLang="en-US" sz="900" b="0" i="0" u="none" strike="noStrike" spc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잔여위험 순위 조회 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4715877"/>
              </p:ext>
            </p:extLst>
          </p:nvPr>
        </p:nvGraphicFramePr>
        <p:xfrm>
          <a:off x="4916997" y="2096844"/>
          <a:ext cx="4428492" cy="42250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82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202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9637"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en-US" sz="1000" b="0" u="none" strike="noStrike" kern="1200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Module</a:t>
                      </a:r>
                      <a:endParaRPr lang="en-US" sz="1000" b="0" u="none" strike="noStrike" kern="1200" spc="0" baseline="0" dirty="0">
                        <a:solidFill>
                          <a:schemeClr val="bg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fontAlgn="ctr" latinLnBrk="1" hangingPunct="1"/>
                      <a:r>
                        <a:rPr lang="ko-KR" altLang="en-US" sz="1000" b="0" u="none" strike="noStrike" kern="1200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프로그램 명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827"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지표 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코드 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코드 매핑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항목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데이터분류매핑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데이터분류 상세등록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운영위험 지표 조회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운영위험 지표 상세 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유위험 지표 조회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유위험 지표 상세 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운영위험 관리 목표 설정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운영위험 지표 입력값 등록 및 확정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유위험 지표 입력값 조회 및 확정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평가 결과 개선조치 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평가 결과 개선조치 등록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평가 결과 개선조치 조회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확정 및 연계표준 데이터 변환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등록 첨부파일 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FIU </a:t>
                      </a:r>
                      <a:r>
                        <a:rPr lang="ko-KR" altLang="en-US" sz="900" u="none" strike="noStrike" spc="0" baseline="0" dirty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표 평가 이력 조회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8882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내부통제</a:t>
                      </a:r>
                      <a:endParaRPr lang="en-US" altLang="ko-KR" sz="900" b="0" i="0" u="none" strike="noStrike" spc="0" baseline="0" dirty="0" smtClean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관리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부서단위 등급 조회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프로세스 별 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서브 프로세스 별 결과 조회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8882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위험 별</a:t>
                      </a:r>
                      <a:r>
                        <a:rPr lang="en-US" altLang="ko-KR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lang="ko-KR" altLang="en-US" sz="900" b="0" i="0" u="none" strike="noStrike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제 활동 별 결과 조회</a:t>
                      </a:r>
                      <a:endParaRPr lang="ko-KR" altLang="en-US" sz="900" b="0" i="0" u="none" strike="noStrike" spc="0" baseline="0" dirty="0">
                        <a:solidFill>
                          <a:schemeClr val="tx1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  <p:sp>
        <p:nvSpPr>
          <p:cNvPr id="1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94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43214" y="2060624"/>
            <a:ext cx="2717684" cy="4420090"/>
            <a:chOff x="6951840" y="1844822"/>
            <a:chExt cx="2717684" cy="4420090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95" name="그룹 94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96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데이터 연계 정의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97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98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36991" y="2899701"/>
            <a:ext cx="216526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전사 위험평가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 효과성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지표값 산출을 위하여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필요한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데이터 요건 수집</a:t>
            </a:r>
          </a:p>
        </p:txBody>
      </p:sp>
      <p:grpSp>
        <p:nvGrpSpPr>
          <p:cNvPr id="99" name="그룹 98"/>
          <p:cNvGrpSpPr/>
          <p:nvPr/>
        </p:nvGrpSpPr>
        <p:grpSpPr>
          <a:xfrm>
            <a:off x="7090230" y="2656077"/>
            <a:ext cx="1761599" cy="318769"/>
            <a:chOff x="7113487" y="2573308"/>
            <a:chExt cx="1761599" cy="318769"/>
          </a:xfrm>
        </p:grpSpPr>
        <p:sp>
          <p:nvSpPr>
            <p:cNvPr id="100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51483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RBA </a:t>
              </a:r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데이터 요구사항 도출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01" name="그림 100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102" name="그룹 101"/>
          <p:cNvGrpSpPr/>
          <p:nvPr/>
        </p:nvGrpSpPr>
        <p:grpSpPr>
          <a:xfrm>
            <a:off x="7090230" y="3777494"/>
            <a:ext cx="2376017" cy="731626"/>
            <a:chOff x="7113487" y="3439317"/>
            <a:chExt cx="2497698" cy="731626"/>
          </a:xfrm>
        </p:grpSpPr>
        <p:sp>
          <p:nvSpPr>
            <p:cNvPr id="10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487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존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Data Mart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에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가적으로 관리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필요한 데이터 정의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입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방안 수립</a:t>
              </a:r>
            </a:p>
          </p:txBody>
        </p:sp>
        <p:grpSp>
          <p:nvGrpSpPr>
            <p:cNvPr id="104" name="그룹 103"/>
            <p:cNvGrpSpPr/>
            <p:nvPr/>
          </p:nvGrpSpPr>
          <p:grpSpPr>
            <a:xfrm>
              <a:off x="7113487" y="3439317"/>
              <a:ext cx="2497698" cy="318769"/>
              <a:chOff x="7113487" y="4132302"/>
              <a:chExt cx="2497698" cy="318769"/>
            </a:xfrm>
          </p:grpSpPr>
          <p:sp>
            <p:nvSpPr>
              <p:cNvPr id="105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2250937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en-US" altLang="ko-KR" sz="1100" spc="-70" dirty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Data Mart </a:t>
                </a:r>
                <a:r>
                  <a:rPr lang="ko-KR" altLang="en-US" sz="1100" spc="-70" dirty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추가 수집</a:t>
                </a:r>
                <a:r>
                  <a:rPr lang="en-US" altLang="ko-KR" sz="1100" spc="-70" dirty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/</a:t>
                </a:r>
                <a:r>
                  <a:rPr lang="ko-KR" altLang="en-US" sz="1100" spc="-70" dirty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축적 필요 데이터 정의</a:t>
                </a:r>
              </a:p>
            </p:txBody>
          </p:sp>
          <p:pic>
            <p:nvPicPr>
              <p:cNvPr id="106" name="그림 105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sp>
        <p:nvSpPr>
          <p:cNvPr id="107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36991" y="5524103"/>
            <a:ext cx="2129256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BA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필요 데이터 중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ML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스템에서 입수가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필요한 데이터 정의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가 관리가 필요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요건 정의 및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개선사항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도출</a:t>
            </a:r>
          </a:p>
        </p:txBody>
      </p:sp>
      <p:sp>
        <p:nvSpPr>
          <p:cNvPr id="10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6991" y="5070030"/>
            <a:ext cx="216347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AML </a:t>
            </a:r>
            <a:r>
              <a: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시스템 데이터 현황 확인 및 개선사항 </a:t>
            </a:r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도출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pic>
        <p:nvPicPr>
          <p:cNvPr id="109" name="그림 108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8409" y="5062280"/>
            <a:ext cx="320400" cy="320400"/>
          </a:xfrm>
          <a:prstGeom prst="rect">
            <a:avLst/>
          </a:prstGeom>
        </p:spPr>
      </p:pic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 RBA </a:t>
            </a:r>
            <a:r>
              <a:rPr lang="ko-KR" altLang="en-US" dirty="0"/>
              <a:t>기능 구현 방안 </a:t>
            </a:r>
            <a:r>
              <a:rPr lang="en-US" altLang="ko-KR" dirty="0" smtClean="0"/>
              <a:t>(1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향성 수립을 위하여 우선적으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의 전체 기능 체계를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도출한 후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과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Data Mar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의 데이터 요구사항을 반영할 수 있도록 필요 데이터 요건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의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Dat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연계 방안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구축 방안 개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" name="그룹 1"/>
          <p:cNvGrpSpPr/>
          <p:nvPr/>
        </p:nvGrpSpPr>
        <p:grpSpPr>
          <a:xfrm>
            <a:off x="344488" y="2724889"/>
            <a:ext cx="5889216" cy="3584431"/>
            <a:chOff x="344488" y="2926068"/>
            <a:chExt cx="5889216" cy="3204000"/>
          </a:xfrm>
        </p:grpSpPr>
        <p:sp>
          <p:nvSpPr>
            <p:cNvPr id="387" name="모서리가 둥근 직사각형 386"/>
            <p:cNvSpPr/>
            <p:nvPr/>
          </p:nvSpPr>
          <p:spPr>
            <a:xfrm>
              <a:off x="3869844" y="2926068"/>
              <a:ext cx="2278789" cy="220792"/>
            </a:xfrm>
            <a:prstGeom prst="roundRect">
              <a:avLst>
                <a:gd name="adj" fmla="val 0"/>
              </a:avLst>
            </a:prstGeom>
            <a:solidFill>
              <a:srgbClr val="038CDC"/>
            </a:solidFill>
            <a:ln w="6350">
              <a:solidFill>
                <a:srgbClr val="038CDC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BA System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88" name="직사각형 387"/>
            <p:cNvSpPr/>
            <p:nvPr/>
          </p:nvSpPr>
          <p:spPr>
            <a:xfrm>
              <a:off x="3869844" y="3169967"/>
              <a:ext cx="2278789" cy="1941234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10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90" name="모서리가 둥근 직사각형 389"/>
            <p:cNvSpPr/>
            <p:nvPr/>
          </p:nvSpPr>
          <p:spPr>
            <a:xfrm>
              <a:off x="4028300" y="3293489"/>
              <a:ext cx="899522" cy="252334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정보 및 계획관리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91" name="모서리가 둥근 직사각형 390"/>
            <p:cNvSpPr/>
            <p:nvPr/>
          </p:nvSpPr>
          <p:spPr>
            <a:xfrm>
              <a:off x="4028299" y="4527143"/>
              <a:ext cx="899522" cy="252334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L/TF </a:t>
              </a:r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 분석 및 평가</a:t>
              </a:r>
            </a:p>
          </p:txBody>
        </p:sp>
        <p:sp>
          <p:nvSpPr>
            <p:cNvPr id="392" name="모서리가 둥근 직사각형 391"/>
            <p:cNvSpPr/>
            <p:nvPr/>
          </p:nvSpPr>
          <p:spPr>
            <a:xfrm>
              <a:off x="4028299" y="4120871"/>
              <a:ext cx="899522" cy="252334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oFIU </a:t>
              </a:r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지표 관리</a:t>
              </a:r>
              <a:endPara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93" name="모서리가 둥근 직사각형 392"/>
            <p:cNvSpPr/>
            <p:nvPr/>
          </p:nvSpPr>
          <p:spPr>
            <a:xfrm>
              <a:off x="4028299" y="3709294"/>
              <a:ext cx="899522" cy="252334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내부통제 효과성 평가</a:t>
              </a:r>
            </a:p>
          </p:txBody>
        </p:sp>
        <p:sp>
          <p:nvSpPr>
            <p:cNvPr id="395" name="모서리가 둥근 직사각형 394"/>
            <p:cNvSpPr/>
            <p:nvPr/>
          </p:nvSpPr>
          <p:spPr>
            <a:xfrm>
              <a:off x="5078379" y="3910919"/>
              <a:ext cx="899522" cy="252334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조치 관리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96" name="모서리가 둥근 직사각형 395"/>
            <p:cNvSpPr/>
            <p:nvPr/>
          </p:nvSpPr>
          <p:spPr>
            <a:xfrm>
              <a:off x="5093832" y="3495114"/>
              <a:ext cx="899522" cy="252334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식별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97" name="모서리가 둥근 직사각형 396"/>
            <p:cNvSpPr/>
            <p:nvPr/>
          </p:nvSpPr>
          <p:spPr>
            <a:xfrm>
              <a:off x="5093832" y="4728768"/>
              <a:ext cx="899522" cy="252334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8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평가 결과</a:t>
              </a:r>
            </a:p>
          </p:txBody>
        </p:sp>
        <p:sp>
          <p:nvSpPr>
            <p:cNvPr id="398" name="모서리가 둥근 직사각형 397"/>
            <p:cNvSpPr/>
            <p:nvPr/>
          </p:nvSpPr>
          <p:spPr>
            <a:xfrm>
              <a:off x="5078380" y="4322496"/>
              <a:ext cx="899522" cy="252334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399" name="꺾인 연결선 398"/>
            <p:cNvCxnSpPr>
              <a:stCxn id="390" idx="2"/>
              <a:endCxn id="396" idx="1"/>
            </p:cNvCxnSpPr>
            <p:nvPr/>
          </p:nvCxnSpPr>
          <p:spPr>
            <a:xfrm rot="16200000" flipH="1">
              <a:off x="4748217" y="3275665"/>
              <a:ext cx="75458" cy="615772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꺾인 연결선 399"/>
            <p:cNvCxnSpPr>
              <a:stCxn id="393" idx="2"/>
              <a:endCxn id="395" idx="1"/>
            </p:cNvCxnSpPr>
            <p:nvPr/>
          </p:nvCxnSpPr>
          <p:spPr>
            <a:xfrm rot="16200000" flipH="1">
              <a:off x="4740490" y="3699197"/>
              <a:ext cx="75458" cy="600319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꺾인 연결선 400"/>
            <p:cNvCxnSpPr>
              <a:stCxn id="393" idx="1"/>
              <a:endCxn id="391" idx="1"/>
            </p:cNvCxnSpPr>
            <p:nvPr/>
          </p:nvCxnSpPr>
          <p:spPr>
            <a:xfrm rot="10800000" flipV="1">
              <a:off x="4028299" y="3835460"/>
              <a:ext cx="10578" cy="817849"/>
            </a:xfrm>
            <a:prstGeom prst="bentConnector3">
              <a:avLst>
                <a:gd name="adj1" fmla="val 798669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꺾인 연결선 401"/>
            <p:cNvCxnSpPr>
              <a:stCxn id="391" idx="3"/>
              <a:endCxn id="398" idx="1"/>
            </p:cNvCxnSpPr>
            <p:nvPr/>
          </p:nvCxnSpPr>
          <p:spPr>
            <a:xfrm flipV="1">
              <a:off x="4927821" y="4448663"/>
              <a:ext cx="150559" cy="204647"/>
            </a:xfrm>
            <a:prstGeom prst="bentConnector3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3" name="꺾인 연결선 402"/>
            <p:cNvCxnSpPr>
              <a:stCxn id="392" idx="3"/>
              <a:endCxn id="395" idx="2"/>
            </p:cNvCxnSpPr>
            <p:nvPr/>
          </p:nvCxnSpPr>
          <p:spPr>
            <a:xfrm flipV="1">
              <a:off x="4927821" y="4163253"/>
              <a:ext cx="600319" cy="83785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4" name="직선 화살표 연결선 403"/>
            <p:cNvCxnSpPr>
              <a:endCxn id="392" idx="1"/>
            </p:cNvCxnSpPr>
            <p:nvPr/>
          </p:nvCxnSpPr>
          <p:spPr>
            <a:xfrm>
              <a:off x="3956590" y="4247038"/>
              <a:ext cx="71709" cy="0"/>
            </a:xfrm>
            <a:prstGeom prst="straightConnector1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직선 연결선 404"/>
            <p:cNvCxnSpPr/>
            <p:nvPr/>
          </p:nvCxnSpPr>
          <p:spPr>
            <a:xfrm flipH="1" flipV="1">
              <a:off x="5530393" y="4247038"/>
              <a:ext cx="1" cy="75458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꺾인 연결선 405"/>
            <p:cNvCxnSpPr>
              <a:stCxn id="395" idx="3"/>
              <a:endCxn id="397" idx="3"/>
            </p:cNvCxnSpPr>
            <p:nvPr/>
          </p:nvCxnSpPr>
          <p:spPr>
            <a:xfrm>
              <a:off x="5977901" y="4037086"/>
              <a:ext cx="15453" cy="817849"/>
            </a:xfrm>
            <a:prstGeom prst="bentConnector3">
              <a:avLst>
                <a:gd name="adj1" fmla="val 588487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꺾인 연결선 406"/>
            <p:cNvCxnSpPr>
              <a:stCxn id="393" idx="3"/>
              <a:endCxn id="397" idx="1"/>
            </p:cNvCxnSpPr>
            <p:nvPr/>
          </p:nvCxnSpPr>
          <p:spPr>
            <a:xfrm>
              <a:off x="4927821" y="3835461"/>
              <a:ext cx="166011" cy="1019474"/>
            </a:xfrm>
            <a:prstGeom prst="bentConnector3">
              <a:avLst>
                <a:gd name="adj1" fmla="val 28284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꺾인 연결선 407"/>
            <p:cNvCxnSpPr>
              <a:stCxn id="391" idx="2"/>
              <a:endCxn id="397" idx="1"/>
            </p:cNvCxnSpPr>
            <p:nvPr/>
          </p:nvCxnSpPr>
          <p:spPr>
            <a:xfrm rot="16200000" flipH="1">
              <a:off x="4689199" y="4568337"/>
              <a:ext cx="75458" cy="497735"/>
            </a:xfrm>
            <a:prstGeom prst="bentConnector2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9" name="모서리가 둥근 직사각형 408"/>
            <p:cNvSpPr/>
            <p:nvPr/>
          </p:nvSpPr>
          <p:spPr>
            <a:xfrm>
              <a:off x="344488" y="2926068"/>
              <a:ext cx="2278789" cy="220792"/>
            </a:xfrm>
            <a:prstGeom prst="roundRect">
              <a:avLst>
                <a:gd name="adj" fmla="val 0"/>
              </a:avLst>
            </a:prstGeom>
            <a:solidFill>
              <a:srgbClr val="038CDC"/>
            </a:solidFill>
            <a:ln w="6350">
              <a:solidFill>
                <a:srgbClr val="038CDC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ML System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10" name="직사각형 409"/>
            <p:cNvSpPr/>
            <p:nvPr/>
          </p:nvSpPr>
          <p:spPr>
            <a:xfrm>
              <a:off x="344488" y="3169967"/>
              <a:ext cx="2278789" cy="1941234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10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12" name="직사각형 411"/>
            <p:cNvSpPr/>
            <p:nvPr/>
          </p:nvSpPr>
          <p:spPr>
            <a:xfrm>
              <a:off x="410090" y="4453764"/>
              <a:ext cx="2158657" cy="60875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9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유관 업무</a:t>
              </a:r>
              <a:endParaRPr lang="ko-KR" altLang="en-US" sz="9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3" name="모서리가 둥근 직사각형 412"/>
            <p:cNvSpPr/>
            <p:nvPr/>
          </p:nvSpPr>
          <p:spPr>
            <a:xfrm>
              <a:off x="462214" y="4656388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품 및 서비스</a:t>
              </a:r>
            </a:p>
          </p:txBody>
        </p:sp>
        <p:sp>
          <p:nvSpPr>
            <p:cNvPr id="414" name="모서리가 둥근 직사각형 413"/>
            <p:cNvSpPr/>
            <p:nvPr/>
          </p:nvSpPr>
          <p:spPr>
            <a:xfrm>
              <a:off x="462214" y="4842849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</a:t>
              </a:r>
            </a:p>
          </p:txBody>
        </p:sp>
        <p:sp>
          <p:nvSpPr>
            <p:cNvPr id="415" name="모서리가 둥근 직사각형 414"/>
            <p:cNvSpPr/>
            <p:nvPr/>
          </p:nvSpPr>
          <p:spPr>
            <a:xfrm>
              <a:off x="1545949" y="4656388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YE</a:t>
              </a:r>
              <a:r>
                <a:rPr lang="ko-KR" altLang="en-US" sz="8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</a:p>
          </p:txBody>
        </p:sp>
        <p:sp>
          <p:nvSpPr>
            <p:cNvPr id="416" name="모서리가 둥근 직사각형 415"/>
            <p:cNvSpPr/>
            <p:nvPr/>
          </p:nvSpPr>
          <p:spPr>
            <a:xfrm>
              <a:off x="1545949" y="4840956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관리</a:t>
              </a:r>
            </a:p>
          </p:txBody>
        </p:sp>
        <p:sp>
          <p:nvSpPr>
            <p:cNvPr id="417" name="직사각형 416"/>
            <p:cNvSpPr/>
            <p:nvPr/>
          </p:nvSpPr>
          <p:spPr>
            <a:xfrm>
              <a:off x="410089" y="3200148"/>
              <a:ext cx="1060149" cy="59451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9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YC</a:t>
              </a:r>
              <a:endParaRPr lang="ko-KR" altLang="en-US" sz="9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8" name="모서리가 둥근 직사각형 417"/>
            <p:cNvSpPr/>
            <p:nvPr/>
          </p:nvSpPr>
          <p:spPr>
            <a:xfrm>
              <a:off x="462213" y="3401357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DD/EDD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보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19" name="모서리가 둥근 직사각형 418"/>
            <p:cNvSpPr/>
            <p:nvPr/>
          </p:nvSpPr>
          <p:spPr>
            <a:xfrm>
              <a:off x="462213" y="3597024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 </a:t>
              </a:r>
              <a:r>
                <a:rPr lang="en-US" altLang="ko-KR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Profile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0" name="직사각형 419"/>
            <p:cNvSpPr/>
            <p:nvPr/>
          </p:nvSpPr>
          <p:spPr>
            <a:xfrm>
              <a:off x="1500429" y="3204035"/>
              <a:ext cx="1060149" cy="59451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9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WLF</a:t>
              </a:r>
              <a:endParaRPr lang="ko-KR" altLang="en-US" sz="9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1" name="모서리가 둥근 직사각형 420"/>
            <p:cNvSpPr/>
            <p:nvPr/>
          </p:nvSpPr>
          <p:spPr>
            <a:xfrm>
              <a:off x="1545949" y="3405244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Watch List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2" name="모서리가 둥근 직사각형 421"/>
            <p:cNvSpPr/>
            <p:nvPr/>
          </p:nvSpPr>
          <p:spPr>
            <a:xfrm>
              <a:off x="1545949" y="3600911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WL </a:t>
              </a:r>
              <a:r>
                <a:rPr lang="en-US" altLang="ko-KR" sz="8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iltering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3" name="직사각형 422"/>
            <p:cNvSpPr/>
            <p:nvPr/>
          </p:nvSpPr>
          <p:spPr>
            <a:xfrm>
              <a:off x="410089" y="3819846"/>
              <a:ext cx="1060149" cy="60873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9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onitoring</a:t>
              </a:r>
              <a:endParaRPr lang="ko-KR" altLang="en-US" sz="9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4" name="모서리가 둥근 직사각형 423"/>
            <p:cNvSpPr/>
            <p:nvPr/>
          </p:nvSpPr>
          <p:spPr>
            <a:xfrm>
              <a:off x="462213" y="4021056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의심거래 추출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5" name="모서리가 둥근 직사각형 424"/>
            <p:cNvSpPr/>
            <p:nvPr/>
          </p:nvSpPr>
          <p:spPr>
            <a:xfrm>
              <a:off x="462213" y="4216722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6" name="직사각형 425"/>
            <p:cNvSpPr/>
            <p:nvPr/>
          </p:nvSpPr>
          <p:spPr>
            <a:xfrm>
              <a:off x="1504837" y="3827636"/>
              <a:ext cx="1060149" cy="60873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9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Reporting</a:t>
              </a:r>
              <a:endParaRPr lang="ko-KR" altLang="en-US" sz="9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7" name="모서리가 둥근 직사각형 426"/>
            <p:cNvSpPr/>
            <p:nvPr/>
          </p:nvSpPr>
          <p:spPr>
            <a:xfrm>
              <a:off x="1545948" y="4028846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TR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8" name="모서리가 둥근 직사각형 427"/>
            <p:cNvSpPr/>
            <p:nvPr/>
          </p:nvSpPr>
          <p:spPr>
            <a:xfrm>
              <a:off x="1545948" y="4231703"/>
              <a:ext cx="956901" cy="169861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TR </a:t>
              </a:r>
              <a:r>
                <a:rPr lang="ko-KR" altLang="en-US" sz="8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</a:t>
              </a:r>
              <a:endParaRPr lang="ko-KR" altLang="en-US" sz="8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29" name="모서리가 둥근 직사각형 428"/>
            <p:cNvSpPr/>
            <p:nvPr/>
          </p:nvSpPr>
          <p:spPr>
            <a:xfrm>
              <a:off x="344489" y="5477789"/>
              <a:ext cx="552970" cy="652279"/>
            </a:xfrm>
            <a:prstGeom prst="roundRect">
              <a:avLst>
                <a:gd name="adj" fmla="val 0"/>
              </a:avLst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ata</a:t>
              </a:r>
            </a:p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art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30" name="직사각형 429"/>
            <p:cNvSpPr/>
            <p:nvPr/>
          </p:nvSpPr>
          <p:spPr>
            <a:xfrm>
              <a:off x="919964" y="5477789"/>
              <a:ext cx="5228669" cy="652279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1591" indent="-101591" algn="ctr" defTabSz="1042959" eaLnBrk="0" latinLnBrk="0" hangingPunct="0">
                <a:lnSpc>
                  <a:spcPct val="90000"/>
                </a:lnSpc>
                <a:buSzPct val="140000"/>
              </a:pPr>
              <a:endParaRPr lang="ko-KR" altLang="en-US" sz="1100" dirty="0">
                <a:solidFill>
                  <a:prstClr val="white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31" name="순서도: 자기 디스크 430"/>
            <p:cNvSpPr/>
            <p:nvPr/>
          </p:nvSpPr>
          <p:spPr>
            <a:xfrm>
              <a:off x="4238715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RI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2" name="순서도: 자기 디스크 431"/>
            <p:cNvSpPr/>
            <p:nvPr/>
          </p:nvSpPr>
          <p:spPr>
            <a:xfrm>
              <a:off x="3777210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제</a:t>
              </a:r>
              <a: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/>
              </a:r>
              <a:b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효과성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3" name="순서도: 자기 디스크 432"/>
            <p:cNvSpPr/>
            <p:nvPr/>
          </p:nvSpPr>
          <p:spPr>
            <a:xfrm>
              <a:off x="3315705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노출</a:t>
              </a:r>
              <a: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/>
              </a:r>
              <a:b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4" name="순서도: 자기 디스크 433"/>
            <p:cNvSpPr/>
            <p:nvPr/>
          </p:nvSpPr>
          <p:spPr>
            <a:xfrm>
              <a:off x="4700220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평가</a:t>
              </a:r>
              <a: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/>
              </a:r>
              <a:b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결과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5" name="순서도: 자기 디스크 434"/>
            <p:cNvSpPr/>
            <p:nvPr/>
          </p:nvSpPr>
          <p:spPr>
            <a:xfrm>
              <a:off x="5623234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계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6" name="순서도: 자기 디스크 435"/>
            <p:cNvSpPr/>
            <p:nvPr/>
          </p:nvSpPr>
          <p:spPr>
            <a:xfrm>
              <a:off x="1931190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7" name="순서도: 자기 디스크 436"/>
            <p:cNvSpPr/>
            <p:nvPr/>
          </p:nvSpPr>
          <p:spPr>
            <a:xfrm>
              <a:off x="1008180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 </a:t>
              </a:r>
              <a: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Log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8" name="순서도: 자기 디스크 437"/>
            <p:cNvSpPr/>
            <p:nvPr/>
          </p:nvSpPr>
          <p:spPr>
            <a:xfrm>
              <a:off x="1469685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YC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39" name="순서도: 자기 디스크 438"/>
            <p:cNvSpPr/>
            <p:nvPr/>
          </p:nvSpPr>
          <p:spPr>
            <a:xfrm>
              <a:off x="2854200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업무</a:t>
              </a:r>
              <a:endParaRPr lang="en-US" altLang="ko-KR" sz="8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고서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40" name="순서도: 자기 디스크 439"/>
            <p:cNvSpPr/>
            <p:nvPr/>
          </p:nvSpPr>
          <p:spPr>
            <a:xfrm>
              <a:off x="2392695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기준</a:t>
              </a:r>
              <a:endParaRPr lang="en-US" altLang="ko-KR" sz="8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ko-KR" altLang="en-US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41" name="순서도: 자기 디스크 440"/>
            <p:cNvSpPr/>
            <p:nvPr/>
          </p:nvSpPr>
          <p:spPr>
            <a:xfrm>
              <a:off x="5161725" y="5565594"/>
              <a:ext cx="405155" cy="460709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 defTabSz="1042959" eaLnBrk="0" latinLnBrk="0" hangingPunct="0">
                <a:lnSpc>
                  <a:spcPct val="90000"/>
                </a:lnSpc>
                <a:buSzPct val="140000"/>
              </a:pPr>
              <a:r>
                <a:rPr lang="en-US" altLang="ko-KR" sz="800" dirty="0" smtClean="0"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Rule</a:t>
              </a:r>
              <a:endParaRPr lang="ko-KR" altLang="en-US" sz="8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42" name="오른쪽 화살표 441"/>
            <p:cNvSpPr/>
            <p:nvPr/>
          </p:nvSpPr>
          <p:spPr>
            <a:xfrm>
              <a:off x="2655354" y="3776614"/>
              <a:ext cx="1188000" cy="260911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443" name="오른쪽 화살표 442"/>
            <p:cNvSpPr/>
            <p:nvPr/>
          </p:nvSpPr>
          <p:spPr>
            <a:xfrm flipH="1">
              <a:off x="2655354" y="4206030"/>
              <a:ext cx="1188000" cy="260911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444" name="오른쪽 화살표 443"/>
            <p:cNvSpPr/>
            <p:nvPr/>
          </p:nvSpPr>
          <p:spPr>
            <a:xfrm rot="16200000">
              <a:off x="3827258" y="5090082"/>
              <a:ext cx="587051" cy="276217"/>
            </a:xfrm>
            <a:prstGeom prst="rightArrow">
              <a:avLst/>
            </a:prstGeom>
            <a:solidFill>
              <a:srgbClr val="99A7B1"/>
            </a:solidFill>
            <a:ln w="635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445" name="TextBox 444"/>
            <p:cNvSpPr txBox="1"/>
            <p:nvPr/>
          </p:nvSpPr>
          <p:spPr>
            <a:xfrm>
              <a:off x="2761411" y="3125103"/>
              <a:ext cx="1010667" cy="4361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DD 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력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교육이력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준법진단 결과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WL 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행 내역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TR 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실적 등</a:t>
              </a:r>
            </a:p>
          </p:txBody>
        </p:sp>
        <p:sp>
          <p:nvSpPr>
            <p:cNvPr id="446" name="TextBox 445"/>
            <p:cNvSpPr txBox="1"/>
            <p:nvPr/>
          </p:nvSpPr>
          <p:spPr>
            <a:xfrm>
              <a:off x="2757067" y="4511323"/>
              <a:ext cx="1010667" cy="4361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활동</a:t>
              </a: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취약점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별 통제 효과성 평가 결과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별 잔여위험 산출 결과 등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47" name="TextBox 446"/>
            <p:cNvSpPr txBox="1"/>
            <p:nvPr/>
          </p:nvSpPr>
          <p:spPr>
            <a:xfrm>
              <a:off x="4289704" y="5186027"/>
              <a:ext cx="1944000" cy="4361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47638" indent="-147638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및 </a:t>
              </a: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산출을 위한 고객</a:t>
              </a: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래</a:t>
              </a:r>
              <a:r>
                <a:rPr lang="en-US" altLang="ko-KR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</a:t>
              </a:r>
              <a:r>
                <a:rPr lang="ko-KR" altLang="en-US" sz="800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</a:t>
              </a:r>
              <a:r>
                <a:rPr lang="ko-KR" altLang="en-US" sz="8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서 데이터 등</a:t>
              </a:r>
              <a:endParaRPr lang="en-US" altLang="ko-KR" sz="8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1739805" y="2298035"/>
            <a:ext cx="3098583" cy="230865"/>
            <a:chOff x="2424073" y="2465490"/>
            <a:chExt cx="3098583" cy="230865"/>
          </a:xfrm>
        </p:grpSpPr>
        <p:cxnSp>
          <p:nvCxnSpPr>
            <p:cNvPr id="449" name="직선 연결선 448"/>
            <p:cNvCxnSpPr/>
            <p:nvPr/>
          </p:nvCxnSpPr>
          <p:spPr>
            <a:xfrm>
              <a:off x="2424073" y="2696355"/>
              <a:ext cx="3098583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0" name="TextBox 43"/>
            <p:cNvSpPr txBox="1">
              <a:spLocks noChangeArrowheads="1"/>
            </p:cNvSpPr>
            <p:nvPr/>
          </p:nvSpPr>
          <p:spPr bwMode="auto">
            <a:xfrm>
              <a:off x="2424200" y="2465490"/>
              <a:ext cx="308249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7800" indent="-1778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5pPr>
              <a:lvl6pPr marL="25146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6pPr>
              <a:lvl7pPr marL="29718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7pPr>
              <a:lvl8pPr marL="34290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8pPr>
              <a:lvl9pPr marL="3886200" indent="-228600" defTabSz="1017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spcBef>
                  <a:spcPts val="600"/>
                </a:spcBef>
              </a:pPr>
              <a:r>
                <a:rPr lang="en-US" altLang="ko-KR" sz="12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[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RBA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시스템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To-Be Image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및 구성안 도출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]</a:t>
              </a:r>
              <a:endParaRPr lang="ko-KR" altLang="en-US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453" name="AutoShape 2"/>
          <p:cNvSpPr>
            <a:spLocks noChangeArrowheads="1"/>
          </p:cNvSpPr>
          <p:nvPr/>
        </p:nvSpPr>
        <p:spPr bwMode="auto">
          <a:xfrm>
            <a:off x="6213140" y="3581104"/>
            <a:ext cx="653103" cy="1872000"/>
          </a:xfrm>
          <a:prstGeom prst="rightArrow">
            <a:avLst>
              <a:gd name="adj1" fmla="val 64263"/>
              <a:gd name="adj2" fmla="val 43042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1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1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1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9582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 RBA </a:t>
            </a:r>
            <a:r>
              <a:rPr lang="ko-KR" altLang="en-US" dirty="0"/>
              <a:t>기능 구현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2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ko-KR" altLang="en-US" sz="1100" dirty="0" err="1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듈별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세 기능 요건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의하고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을 위한 설계를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원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듈별 주요 기능은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모듈 별 주요 기능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308" name="직사각형 307"/>
          <p:cNvSpPr/>
          <p:nvPr/>
        </p:nvSpPr>
        <p:spPr>
          <a:xfrm>
            <a:off x="400910" y="263934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정계획 및 범위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목표 설정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준정보 관리 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분류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리스크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</a:t>
            </a: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조직 및 부서별 담당자 관리</a:t>
            </a:r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9" name="직사각형 308"/>
          <p:cNvSpPr/>
          <p:nvPr/>
        </p:nvSpPr>
        <p:spPr>
          <a:xfrm>
            <a:off x="400910" y="234888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준정보 및 계획관리</a:t>
            </a:r>
          </a:p>
        </p:txBody>
      </p:sp>
      <p:sp>
        <p:nvSpPr>
          <p:cNvPr id="310" name="직사각형 309"/>
          <p:cNvSpPr/>
          <p:nvPr/>
        </p:nvSpPr>
        <p:spPr>
          <a:xfrm>
            <a:off x="2045093" y="263934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 사례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R/CTR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사례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금융사고 사례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취약점 평가  관리</a:t>
            </a:r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1" name="직사각형 310"/>
          <p:cNvSpPr/>
          <p:nvPr/>
        </p:nvSpPr>
        <p:spPr>
          <a:xfrm>
            <a:off x="2045093" y="234888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 위험 식별</a:t>
            </a:r>
          </a:p>
        </p:txBody>
      </p:sp>
      <p:sp>
        <p:nvSpPr>
          <p:cNvPr id="312" name="직사각형 311"/>
          <p:cNvSpPr/>
          <p:nvPr/>
        </p:nvSpPr>
        <p:spPr>
          <a:xfrm>
            <a:off x="3689276" y="263934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지표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산출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산출 결과 상세 조회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산출 결과 지표값 조회</a:t>
            </a:r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3" name="직사각형 312"/>
          <p:cNvSpPr/>
          <p:nvPr/>
        </p:nvSpPr>
        <p:spPr>
          <a:xfrm>
            <a:off x="3689276" y="234888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분석 및 평가</a:t>
            </a:r>
          </a:p>
        </p:txBody>
      </p:sp>
      <p:sp>
        <p:nvSpPr>
          <p:cNvPr id="314" name="직사각형 313"/>
          <p:cNvSpPr/>
          <p:nvPr/>
        </p:nvSpPr>
        <p:spPr>
          <a:xfrm>
            <a:off x="5333458" y="263934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ML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영역별 통제활동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 평가를 위한 지표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서별 내부통제 평가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에 대한 개선 조치 관리</a:t>
            </a:r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5" name="직사각형 314"/>
          <p:cNvSpPr/>
          <p:nvPr/>
        </p:nvSpPr>
        <p:spPr>
          <a:xfrm>
            <a:off x="5333458" y="234888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효과성 평가</a:t>
            </a:r>
          </a:p>
        </p:txBody>
      </p:sp>
      <p:sp>
        <p:nvSpPr>
          <p:cNvPr id="316" name="직사각형 315"/>
          <p:cNvSpPr/>
          <p:nvPr/>
        </p:nvSpPr>
        <p:spPr>
          <a:xfrm>
            <a:off x="400910" y="473395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설계평가 취약점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설계평가 개선조치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운영평가 취약점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운영평가 개선조치 관리</a:t>
            </a:r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7" name="직사각형 316"/>
          <p:cNvSpPr/>
          <p:nvPr/>
        </p:nvSpPr>
        <p:spPr>
          <a:xfrm>
            <a:off x="400910" y="444349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선조치 관리</a:t>
            </a:r>
          </a:p>
        </p:txBody>
      </p:sp>
      <p:sp>
        <p:nvSpPr>
          <p:cNvPr id="318" name="직사각형 317"/>
          <p:cNvSpPr/>
          <p:nvPr/>
        </p:nvSpPr>
        <p:spPr>
          <a:xfrm>
            <a:off x="2045093" y="473395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RI Pool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리스트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RI </a:t>
            </a:r>
            <a:r>
              <a: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및 산출로직 관리</a:t>
            </a:r>
            <a:endParaRPr lang="en-US" altLang="ko-KR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RI </a:t>
            </a:r>
            <a:r>
              <a: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후속 조치 관리</a:t>
            </a:r>
            <a:endParaRPr lang="en-US" altLang="ko-KR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RI </a:t>
            </a:r>
            <a:r>
              <a: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니터링 관리</a:t>
            </a:r>
          </a:p>
        </p:txBody>
      </p:sp>
      <p:sp>
        <p:nvSpPr>
          <p:cNvPr id="319" name="직사각형 318"/>
          <p:cNvSpPr/>
          <p:nvPr/>
        </p:nvSpPr>
        <p:spPr>
          <a:xfrm>
            <a:off x="2045093" y="444349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RI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관리</a:t>
            </a:r>
          </a:p>
        </p:txBody>
      </p:sp>
      <p:sp>
        <p:nvSpPr>
          <p:cNvPr id="320" name="직사각형 319"/>
          <p:cNvSpPr/>
          <p:nvPr/>
        </p:nvSpPr>
        <p:spPr>
          <a:xfrm>
            <a:off x="3689276" y="473395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위험 및 통제효과성 평가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결과에 대한 조회 및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승인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 위험평가 이력 및 추세 분석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결과보고서 작성 및 관리</a:t>
            </a:r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21" name="직사각형 320"/>
          <p:cNvSpPr/>
          <p:nvPr/>
        </p:nvSpPr>
        <p:spPr>
          <a:xfrm>
            <a:off x="3689276" y="444349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결과</a:t>
            </a:r>
          </a:p>
        </p:txBody>
      </p:sp>
      <p:sp>
        <p:nvSpPr>
          <p:cNvPr id="322" name="직사각형 321"/>
          <p:cNvSpPr/>
          <p:nvPr/>
        </p:nvSpPr>
        <p:spPr>
          <a:xfrm>
            <a:off x="5333458" y="4733955"/>
            <a:ext cx="1455746" cy="143134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rtlCol="0" anchor="t" anchorCtr="0"/>
          <a:lstStyle/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IU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지표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IU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지표 기준정보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IU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지표에 대한 목표 관리</a:t>
            </a:r>
            <a:endParaRPr lang="en-US" altLang="ko-KR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82563" indent="-18256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IU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시뮬레이션 관리</a:t>
            </a:r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23" name="직사각형 322"/>
          <p:cNvSpPr/>
          <p:nvPr/>
        </p:nvSpPr>
        <p:spPr>
          <a:xfrm>
            <a:off x="5333458" y="4443490"/>
            <a:ext cx="1455746" cy="29469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U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표 관리</a:t>
            </a:r>
          </a:p>
        </p:txBody>
      </p:sp>
      <p:grpSp>
        <p:nvGrpSpPr>
          <p:cNvPr id="146" name="그룹 145">
            <a:extLst>
              <a:ext uri="{FF2B5EF4-FFF2-40B4-BE49-F238E27FC236}">
                <a16:creationId xmlns:a16="http://schemas.microsoft.com/office/drawing/2014/main" id="{374BE4ED-37DB-456D-9A58-E6F6031B5467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5778" y="2069250"/>
            <a:chExt cx="2717684" cy="442009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410E8524-AC0C-463B-8931-3569A2C14623}"/>
                </a:ext>
              </a:extLst>
            </p:cNvPr>
            <p:cNvGrpSpPr/>
            <p:nvPr/>
          </p:nvGrpSpPr>
          <p:grpSpPr>
            <a:xfrm>
              <a:off x="6955778" y="2069250"/>
              <a:ext cx="2717684" cy="4420090"/>
              <a:chOff x="6951840" y="1844822"/>
              <a:chExt cx="2717684" cy="4420090"/>
            </a:xfrm>
          </p:grpSpPr>
          <p:sp>
            <p:nvSpPr>
              <p:cNvPr id="214" name="직사각형 213">
                <a:extLst>
                  <a:ext uri="{FF2B5EF4-FFF2-40B4-BE49-F238E27FC236}">
                    <a16:creationId xmlns:a16="http://schemas.microsoft.com/office/drawing/2014/main" id="{4832A5FE-031B-485A-A309-BE2A0750944F}"/>
                  </a:ext>
                </a:extLst>
              </p:cNvPr>
              <p:cNvSpPr/>
              <p:nvPr/>
            </p:nvSpPr>
            <p:spPr>
              <a:xfrm>
                <a:off x="6951840" y="1844822"/>
                <a:ext cx="2717340" cy="4420090"/>
              </a:xfrm>
              <a:prstGeom prst="rect">
                <a:avLst/>
              </a:prstGeom>
              <a:solidFill>
                <a:srgbClr val="ECF7FE"/>
              </a:solidFill>
              <a:ln w="12700">
                <a:solidFill>
                  <a:srgbClr val="7C8E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grpSp>
            <p:nvGrpSpPr>
              <p:cNvPr id="215" name="그룹 214">
                <a:extLst>
                  <a:ext uri="{FF2B5EF4-FFF2-40B4-BE49-F238E27FC236}">
                    <a16:creationId xmlns:a16="http://schemas.microsoft.com/office/drawing/2014/main" id="{3F28A4B1-C03E-420A-AAB1-A57E91C95B98}"/>
                  </a:ext>
                </a:extLst>
              </p:cNvPr>
              <p:cNvGrpSpPr/>
              <p:nvPr/>
            </p:nvGrpSpPr>
            <p:grpSpPr>
              <a:xfrm>
                <a:off x="6951840" y="1844822"/>
                <a:ext cx="2717684" cy="299934"/>
                <a:chOff x="6951840" y="2030557"/>
                <a:chExt cx="2717684" cy="288032"/>
              </a:xfrm>
            </p:grpSpPr>
            <p:sp>
              <p:nvSpPr>
                <p:cNvPr id="216" name="양쪽 모서리가 둥근 사각형 517">
                  <a:extLst>
                    <a:ext uri="{FF2B5EF4-FFF2-40B4-BE49-F238E27FC236}">
                      <a16:creationId xmlns:a16="http://schemas.microsoft.com/office/drawing/2014/main" id="{3E3D28BE-959C-480B-8AD1-3B8A1BB208AE}"/>
                    </a:ext>
                  </a:extLst>
                </p:cNvPr>
                <p:cNvSpPr/>
                <p:nvPr/>
              </p:nvSpPr>
              <p:spPr>
                <a:xfrm>
                  <a:off x="6951840" y="2030557"/>
                  <a:ext cx="2717340" cy="288032"/>
                </a:xfrm>
                <a:prstGeom prst="rect">
                  <a:avLst/>
                </a:prstGeom>
                <a:solidFill>
                  <a:srgbClr val="005E9E"/>
                </a:solidFill>
                <a:ln>
                  <a:noFill/>
                </a:ln>
                <a:effectLst>
                  <a:outerShdw blurRad="25400" dist="12700" dir="5400000" algn="t" rotWithShape="0">
                    <a:prstClr val="black">
                      <a:alpha val="15000"/>
                    </a:prstClr>
                  </a:outerShdw>
                </a:effectLst>
              </p:spPr>
              <p:txBody>
                <a:bodyPr vert="horz" lIns="0" tIns="0" rIns="0" bIns="0" anchor="ctr" anchorCtr="0"/>
                <a:lstStyle/>
                <a:p>
                  <a:pPr algn="ctr"/>
                  <a:r>
                    <a:rPr lang="ko-KR" altLang="en-US" sz="1200" dirty="0" smtClean="0">
                      <a:ln>
                        <a:solidFill>
                          <a:schemeClr val="accent1">
                            <a:shade val="50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스퀘어 ExtraBold" panose="020B0600000101010101" pitchFamily="50" charset="-127"/>
                      <a:ea typeface="나눔스퀘어 ExtraBold" panose="020B0600000101010101" pitchFamily="50" charset="-127"/>
                    </a:rPr>
                    <a:t>구현 주안점</a:t>
                  </a:r>
                  <a:endPara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endParaRPr>
                </a:p>
              </p:txBody>
            </p:sp>
            <p:sp>
              <p:nvSpPr>
                <p:cNvPr id="217" name="양쪽 모서리가 둥근 사각형 517">
                  <a:extLst>
                    <a:ext uri="{FF2B5EF4-FFF2-40B4-BE49-F238E27FC236}">
                      <a16:creationId xmlns:a16="http://schemas.microsoft.com/office/drawing/2014/main" id="{44EC17C8-AF98-4F87-8AE2-101CBA21F03A}"/>
                    </a:ext>
                  </a:extLst>
                </p:cNvPr>
                <p:cNvSpPr/>
                <p:nvPr/>
              </p:nvSpPr>
              <p:spPr>
                <a:xfrm>
                  <a:off x="6951882" y="2030561"/>
                  <a:ext cx="2717642" cy="144016"/>
                </a:xfrm>
                <a:prstGeom prst="rect">
                  <a:avLst/>
                </a:prstGeom>
                <a:solidFill>
                  <a:schemeClr val="bg1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ko-KR" altLang="en-US" dirty="0">
                    <a:solidFill>
                      <a:schemeClr val="lt1"/>
                    </a:solidFill>
                  </a:endParaRPr>
                </a:p>
              </p:txBody>
            </p:sp>
          </p:grpSp>
        </p:grpSp>
        <p:sp>
          <p:nvSpPr>
            <p:cNvPr id="207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753328"/>
              <a:ext cx="1006686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업무 편의성 극대화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208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010210"/>
              <a:ext cx="2055371" cy="11028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자의 작업을 최소화 할 수 있도록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모듈 단위로 자동화가 가능한 항목을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도출하여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업무 편의성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극대화</a:t>
              </a:r>
              <a:endPara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지표 도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결과값 산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및  후속조치 통보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서 작성 지원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KoFIU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시뮬레이션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09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4754541"/>
              <a:ext cx="1006686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업무 확장성 극대화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210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5019062"/>
              <a:ext cx="2055371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후 조직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품 및 서비스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프로세스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등이 변경되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황에 대응하여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할 수 있도록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기준 정보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관리 기능을 제공하여 업무 확장성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극대화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pic>
          <p:nvPicPr>
            <p:cNvPr id="212" name="그림 21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753328"/>
              <a:ext cx="318769" cy="318769"/>
            </a:xfrm>
            <a:prstGeom prst="rect">
              <a:avLst/>
            </a:prstGeom>
          </p:spPr>
        </p:pic>
        <p:pic>
          <p:nvPicPr>
            <p:cNvPr id="213" name="그림 212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13487" y="4748962"/>
              <a:ext cx="318769" cy="318769"/>
            </a:xfrm>
            <a:prstGeom prst="rect">
              <a:avLst/>
            </a:prstGeom>
          </p:spPr>
        </p:pic>
      </p:grpSp>
      <p:sp>
        <p:nvSpPr>
          <p:cNvPr id="4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0124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 RBA </a:t>
            </a:r>
            <a:r>
              <a:rPr lang="ko-KR" altLang="en-US" dirty="0"/>
              <a:t>기능 구현 방안 </a:t>
            </a:r>
            <a:r>
              <a:rPr lang="en-US" altLang="ko-KR" dirty="0" smtClean="0"/>
              <a:t>(3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프로젝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PMO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경험과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eady-Mad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념 설계 산출물을 기반으로 주요 화면에 대한 개념 설계를 수행하고 이를 시스템 개발과 연계하여 활용할 수 있도록 적극 지원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모듈 별 주요 화면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6" name="직사각형 145"/>
          <p:cNvSpPr/>
          <p:nvPr/>
        </p:nvSpPr>
        <p:spPr>
          <a:xfrm>
            <a:off x="489190" y="2348880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기준정보 및 계획관리</a:t>
            </a:r>
          </a:p>
        </p:txBody>
      </p:sp>
      <p:sp>
        <p:nvSpPr>
          <p:cNvPr id="148" name="직사각형 147"/>
          <p:cNvSpPr/>
          <p:nvPr/>
        </p:nvSpPr>
        <p:spPr>
          <a:xfrm>
            <a:off x="2794176" y="2348880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자금세탁 위험 식별</a:t>
            </a:r>
          </a:p>
        </p:txBody>
      </p:sp>
      <p:sp>
        <p:nvSpPr>
          <p:cNvPr id="150" name="직사각형 149"/>
          <p:cNvSpPr/>
          <p:nvPr/>
        </p:nvSpPr>
        <p:spPr>
          <a:xfrm>
            <a:off x="5099162" y="2348880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ML/TF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위험분석 및 평가</a:t>
            </a:r>
          </a:p>
        </p:txBody>
      </p:sp>
      <p:sp>
        <p:nvSpPr>
          <p:cNvPr id="152" name="직사각형 151"/>
          <p:cNvSpPr/>
          <p:nvPr/>
        </p:nvSpPr>
        <p:spPr>
          <a:xfrm>
            <a:off x="7404149" y="2348880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내부통제 효과성 평가</a:t>
            </a:r>
          </a:p>
        </p:txBody>
      </p:sp>
      <p:sp>
        <p:nvSpPr>
          <p:cNvPr id="154" name="직사각형 153"/>
          <p:cNvSpPr/>
          <p:nvPr/>
        </p:nvSpPr>
        <p:spPr>
          <a:xfrm>
            <a:off x="489190" y="4473116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선조치 관리</a:t>
            </a:r>
          </a:p>
        </p:txBody>
      </p:sp>
      <p:sp>
        <p:nvSpPr>
          <p:cNvPr id="156" name="직사각형 155"/>
          <p:cNvSpPr/>
          <p:nvPr/>
        </p:nvSpPr>
        <p:spPr>
          <a:xfrm>
            <a:off x="2794176" y="4473116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KRI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관리</a:t>
            </a:r>
          </a:p>
        </p:txBody>
      </p:sp>
      <p:sp>
        <p:nvSpPr>
          <p:cNvPr id="158" name="직사각형 157"/>
          <p:cNvSpPr/>
          <p:nvPr/>
        </p:nvSpPr>
        <p:spPr>
          <a:xfrm>
            <a:off x="5099162" y="4473116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위험평가결과</a:t>
            </a:r>
          </a:p>
        </p:txBody>
      </p:sp>
      <p:sp>
        <p:nvSpPr>
          <p:cNvPr id="160" name="직사각형 159"/>
          <p:cNvSpPr/>
          <p:nvPr/>
        </p:nvSpPr>
        <p:spPr>
          <a:xfrm>
            <a:off x="7404149" y="4473116"/>
            <a:ext cx="2051542" cy="294129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FIU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지표 관리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489190" y="2644267"/>
            <a:ext cx="2051542" cy="1428628"/>
            <a:chOff x="489190" y="2738947"/>
            <a:chExt cx="2051542" cy="1428628"/>
          </a:xfrm>
        </p:grpSpPr>
        <p:sp>
          <p:nvSpPr>
            <p:cNvPr id="145" name="직사각형 144"/>
            <p:cNvSpPr/>
            <p:nvPr/>
          </p:nvSpPr>
          <p:spPr>
            <a:xfrm>
              <a:off x="489190" y="2738947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37" name="그림 13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9907" y="2870117"/>
              <a:ext cx="2000463" cy="1273425"/>
            </a:xfrm>
            <a:prstGeom prst="rect">
              <a:avLst/>
            </a:prstGeom>
            <a:ln w="3175">
              <a:noFill/>
            </a:ln>
          </p:spPr>
        </p:pic>
      </p:grpSp>
      <p:grpSp>
        <p:nvGrpSpPr>
          <p:cNvPr id="4" name="그룹 3"/>
          <p:cNvGrpSpPr/>
          <p:nvPr/>
        </p:nvGrpSpPr>
        <p:grpSpPr>
          <a:xfrm>
            <a:off x="2794176" y="2644267"/>
            <a:ext cx="2051542" cy="1428628"/>
            <a:chOff x="2910125" y="2738947"/>
            <a:chExt cx="2051542" cy="1428628"/>
          </a:xfrm>
        </p:grpSpPr>
        <p:sp>
          <p:nvSpPr>
            <p:cNvPr id="147" name="직사각형 146"/>
            <p:cNvSpPr/>
            <p:nvPr/>
          </p:nvSpPr>
          <p:spPr>
            <a:xfrm>
              <a:off x="2910125" y="2738947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38" name="그림 13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40437" y="2855072"/>
              <a:ext cx="2002511" cy="1279461"/>
            </a:xfrm>
            <a:prstGeom prst="rect">
              <a:avLst/>
            </a:prstGeom>
            <a:ln w="3175">
              <a:noFill/>
            </a:ln>
          </p:spPr>
        </p:pic>
      </p:grpSp>
      <p:grpSp>
        <p:nvGrpSpPr>
          <p:cNvPr id="5" name="그룹 4"/>
          <p:cNvGrpSpPr/>
          <p:nvPr/>
        </p:nvGrpSpPr>
        <p:grpSpPr>
          <a:xfrm>
            <a:off x="5099162" y="2644267"/>
            <a:ext cx="2051542" cy="1428628"/>
            <a:chOff x="5018381" y="2738947"/>
            <a:chExt cx="2051542" cy="1428628"/>
          </a:xfrm>
        </p:grpSpPr>
        <p:sp>
          <p:nvSpPr>
            <p:cNvPr id="149" name="직사각형 148"/>
            <p:cNvSpPr/>
            <p:nvPr/>
          </p:nvSpPr>
          <p:spPr>
            <a:xfrm>
              <a:off x="5018381" y="2738947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39" name="그림 13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43646" y="2873877"/>
              <a:ext cx="2004625" cy="1248997"/>
            </a:xfrm>
            <a:prstGeom prst="rect">
              <a:avLst/>
            </a:prstGeom>
            <a:ln w="3175">
              <a:noFill/>
            </a:ln>
          </p:spPr>
        </p:pic>
      </p:grpSp>
      <p:grpSp>
        <p:nvGrpSpPr>
          <p:cNvPr id="6" name="그룹 5"/>
          <p:cNvGrpSpPr/>
          <p:nvPr/>
        </p:nvGrpSpPr>
        <p:grpSpPr>
          <a:xfrm>
            <a:off x="7404149" y="2644267"/>
            <a:ext cx="2051542" cy="1428628"/>
            <a:chOff x="7404149" y="2738947"/>
            <a:chExt cx="2051542" cy="1428628"/>
          </a:xfrm>
        </p:grpSpPr>
        <p:sp>
          <p:nvSpPr>
            <p:cNvPr id="151" name="직사각형 150"/>
            <p:cNvSpPr/>
            <p:nvPr/>
          </p:nvSpPr>
          <p:spPr>
            <a:xfrm>
              <a:off x="7404149" y="2738947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40" name="그림 13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428797" y="2882186"/>
              <a:ext cx="2009880" cy="1265032"/>
            </a:xfrm>
            <a:prstGeom prst="rect">
              <a:avLst/>
            </a:prstGeom>
            <a:ln w="3175">
              <a:noFill/>
            </a:ln>
          </p:spPr>
        </p:pic>
      </p:grpSp>
      <p:grpSp>
        <p:nvGrpSpPr>
          <p:cNvPr id="11" name="그룹 10"/>
          <p:cNvGrpSpPr/>
          <p:nvPr/>
        </p:nvGrpSpPr>
        <p:grpSpPr>
          <a:xfrm>
            <a:off x="489190" y="4768502"/>
            <a:ext cx="2051542" cy="1428628"/>
            <a:chOff x="489190" y="4690339"/>
            <a:chExt cx="2051542" cy="1428628"/>
          </a:xfrm>
        </p:grpSpPr>
        <p:sp>
          <p:nvSpPr>
            <p:cNvPr id="153" name="직사각형 152"/>
            <p:cNvSpPr/>
            <p:nvPr/>
          </p:nvSpPr>
          <p:spPr>
            <a:xfrm>
              <a:off x="489190" y="4690339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41" name="그림 14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540" y="4816128"/>
              <a:ext cx="2005715" cy="1270440"/>
            </a:xfrm>
            <a:prstGeom prst="rect">
              <a:avLst/>
            </a:prstGeom>
            <a:ln w="3175">
              <a:noFill/>
            </a:ln>
          </p:spPr>
        </p:pic>
      </p:grpSp>
      <p:grpSp>
        <p:nvGrpSpPr>
          <p:cNvPr id="9" name="그룹 8"/>
          <p:cNvGrpSpPr/>
          <p:nvPr/>
        </p:nvGrpSpPr>
        <p:grpSpPr>
          <a:xfrm>
            <a:off x="2794176" y="4768502"/>
            <a:ext cx="2051542" cy="1428628"/>
            <a:chOff x="2910125" y="4690339"/>
            <a:chExt cx="2051542" cy="1428628"/>
          </a:xfrm>
        </p:grpSpPr>
        <p:sp>
          <p:nvSpPr>
            <p:cNvPr id="155" name="직사각형 154"/>
            <p:cNvSpPr/>
            <p:nvPr/>
          </p:nvSpPr>
          <p:spPr>
            <a:xfrm>
              <a:off x="2910125" y="4690339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42" name="그림 14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51440" y="4787388"/>
              <a:ext cx="1977495" cy="1281032"/>
            </a:xfrm>
            <a:prstGeom prst="rect">
              <a:avLst/>
            </a:prstGeom>
            <a:ln w="3175">
              <a:noFill/>
            </a:ln>
          </p:spPr>
        </p:pic>
      </p:grpSp>
      <p:grpSp>
        <p:nvGrpSpPr>
          <p:cNvPr id="8" name="그룹 7"/>
          <p:cNvGrpSpPr/>
          <p:nvPr/>
        </p:nvGrpSpPr>
        <p:grpSpPr>
          <a:xfrm>
            <a:off x="5099162" y="4768502"/>
            <a:ext cx="2051542" cy="1428628"/>
            <a:chOff x="5018381" y="4690339"/>
            <a:chExt cx="2051542" cy="1428628"/>
          </a:xfrm>
        </p:grpSpPr>
        <p:sp>
          <p:nvSpPr>
            <p:cNvPr id="157" name="직사각형 156"/>
            <p:cNvSpPr/>
            <p:nvPr/>
          </p:nvSpPr>
          <p:spPr>
            <a:xfrm>
              <a:off x="5018381" y="4690339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43" name="그림 14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46769" y="4789344"/>
              <a:ext cx="2004625" cy="1277117"/>
            </a:xfrm>
            <a:prstGeom prst="rect">
              <a:avLst/>
            </a:prstGeom>
            <a:ln w="3175">
              <a:noFill/>
            </a:ln>
          </p:spPr>
        </p:pic>
      </p:grpSp>
      <p:grpSp>
        <p:nvGrpSpPr>
          <p:cNvPr id="7" name="그룹 6"/>
          <p:cNvGrpSpPr/>
          <p:nvPr/>
        </p:nvGrpSpPr>
        <p:grpSpPr>
          <a:xfrm>
            <a:off x="7404149" y="4768502"/>
            <a:ext cx="2051542" cy="1428628"/>
            <a:chOff x="7404149" y="4690339"/>
            <a:chExt cx="2051542" cy="1428628"/>
          </a:xfrm>
        </p:grpSpPr>
        <p:sp>
          <p:nvSpPr>
            <p:cNvPr id="159" name="직사각형 158"/>
            <p:cNvSpPr/>
            <p:nvPr/>
          </p:nvSpPr>
          <p:spPr>
            <a:xfrm>
              <a:off x="7404149" y="4690339"/>
              <a:ext cx="2051542" cy="142862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rtlCol="0" anchor="t" anchorCtr="0"/>
            <a:lstStyle/>
            <a:p>
              <a:pPr marL="88900" indent="-88900" defTabSz="1042959" eaLnBrk="0" latinLnBrk="0" hangingPunct="0">
                <a:lnSpc>
                  <a:spcPct val="90000"/>
                </a:lnSpc>
                <a:buSzPct val="140000"/>
                <a:buFont typeface="Wingdings" panose="05000000000000000000" pitchFamily="2" charset="2"/>
                <a:buChar char="§"/>
              </a:pPr>
              <a:endParaRPr lang="ko-KR" altLang="en-US" sz="9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44" name="그림 14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441666" y="4830936"/>
              <a:ext cx="1984818" cy="1240821"/>
            </a:xfrm>
            <a:prstGeom prst="rect">
              <a:avLst/>
            </a:prstGeom>
            <a:ln w="3175">
              <a:noFill/>
            </a:ln>
          </p:spPr>
        </p:pic>
      </p:grpSp>
      <p:sp>
        <p:nvSpPr>
          <p:cNvPr id="4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110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방안</a:t>
            </a:r>
          </a:p>
        </p:txBody>
      </p:sp>
      <p:pic>
        <p:nvPicPr>
          <p:cNvPr id="54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161303" y="263956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837550" y="263956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526357" y="263956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215162" y="263956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181846" y="472188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837551" y="4727922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526357" y="4727922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215161" y="472792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89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1 </a:t>
            </a:r>
            <a:r>
              <a:rPr lang="ko-KR" altLang="en-US" dirty="0"/>
              <a:t>기준정보 및 계획 관리</a:t>
            </a:r>
            <a:r>
              <a:rPr lang="en-US" altLang="ko-KR" dirty="0" smtClean="0"/>
              <a:t> (1/4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준정보 및 계획관리 모듈은 통제활동의 운영에 필요한 기초정보와 통제 주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일정 수립 및 각종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app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보를 등록하고 관리하는 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기준정보 및 계획관리 주요 기능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" name="그룹 1"/>
          <p:cNvGrpSpPr/>
          <p:nvPr/>
        </p:nvGrpSpPr>
        <p:grpSpPr>
          <a:xfrm>
            <a:off x="6951840" y="2060848"/>
            <a:ext cx="2717684" cy="4420090"/>
            <a:chOff x="6951840" y="2060848"/>
            <a:chExt cx="2717684" cy="4420090"/>
          </a:xfrm>
        </p:grpSpPr>
        <p:sp>
          <p:nvSpPr>
            <p:cNvPr id="157" name="직사각형 15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59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60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61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99925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조직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 유형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 사건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요인 등의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기준 정보를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한 관리 필요 항목을 체계적으로 정리하여 업무 편의성 확대</a:t>
              </a:r>
            </a:p>
          </p:txBody>
        </p:sp>
        <p:sp>
          <p:nvSpPr>
            <p:cNvPr id="16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656301"/>
              <a:ext cx="1359346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기준 정보의 분류 체계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64" name="그림 163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656301"/>
              <a:ext cx="318769" cy="318769"/>
            </a:xfrm>
            <a:prstGeom prst="rect">
              <a:avLst/>
            </a:prstGeom>
          </p:spPr>
        </p:pic>
        <p:sp>
          <p:nvSpPr>
            <p:cNvPr id="16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4155467"/>
              <a:ext cx="2175496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후 조직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등이 변경되는 상황에 대응이 가능하도록 관리 기능 제공하여 업무 확장성 극대화 </a:t>
              </a:r>
            </a:p>
          </p:txBody>
        </p:sp>
        <p:sp>
          <p:nvSpPr>
            <p:cNvPr id="168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916733"/>
              <a:ext cx="98103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무 확장성 극대화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69" name="그림 168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911154"/>
              <a:ext cx="303240" cy="318769"/>
            </a:xfrm>
            <a:prstGeom prst="rect">
              <a:avLst/>
            </a:prstGeom>
          </p:spPr>
        </p:pic>
        <p:sp>
          <p:nvSpPr>
            <p:cNvPr id="170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5441739"/>
              <a:ext cx="2163474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대상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프로세스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직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apping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및 평가 주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등에 대한 목표 관리 기능의 제공을 통한 중앙 모니터링 등을 통한 관리 업무의 효율성 제고</a:t>
              </a:r>
            </a:p>
          </p:txBody>
        </p:sp>
        <p:sp>
          <p:nvSpPr>
            <p:cNvPr id="171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5210785"/>
              <a:ext cx="216347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업무 효율성 제고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72" name="그림 171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07035" y="5203035"/>
              <a:ext cx="320400" cy="320400"/>
            </a:xfrm>
            <a:prstGeom prst="rect">
              <a:avLst/>
            </a:prstGeom>
          </p:spPr>
        </p:pic>
      </p:grpSp>
      <p:sp>
        <p:nvSpPr>
          <p:cNvPr id="5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58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9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2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3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4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6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7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8" name="Rectangle 127"/>
          <p:cNvSpPr>
            <a:spLocks noChangeArrowheads="1"/>
          </p:cNvSpPr>
          <p:nvPr/>
        </p:nvSpPr>
        <p:spPr bwMode="gray">
          <a:xfrm>
            <a:off x="273050" y="2276840"/>
            <a:ext cx="3136833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9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0" name="Rectangle 11"/>
          <p:cNvSpPr>
            <a:spLocks noChangeAspect="1" noChangeArrowheads="1"/>
          </p:cNvSpPr>
          <p:nvPr/>
        </p:nvSpPr>
        <p:spPr bwMode="auto">
          <a:xfrm>
            <a:off x="1374201" y="2321652"/>
            <a:ext cx="934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일정관리</a:t>
            </a:r>
          </a:p>
        </p:txBody>
      </p:sp>
      <p:sp>
        <p:nvSpPr>
          <p:cNvPr id="71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2" name="Rectangle 11"/>
          <p:cNvSpPr>
            <a:spLocks noChangeAspect="1" noChangeArrowheads="1"/>
          </p:cNvSpPr>
          <p:nvPr/>
        </p:nvSpPr>
        <p:spPr bwMode="auto">
          <a:xfrm>
            <a:off x="4494010" y="2321652"/>
            <a:ext cx="123271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목표 설정 관리</a:t>
            </a:r>
          </a:p>
        </p:txBody>
      </p:sp>
      <p:sp>
        <p:nvSpPr>
          <p:cNvPr id="73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4" name="Rectangle 127"/>
          <p:cNvSpPr>
            <a:spLocks noChangeArrowheads="1"/>
          </p:cNvSpPr>
          <p:nvPr/>
        </p:nvSpPr>
        <p:spPr bwMode="gray">
          <a:xfrm>
            <a:off x="236476" y="4329100"/>
            <a:ext cx="3136833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5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6" name="Rectangle 11"/>
          <p:cNvSpPr>
            <a:spLocks noChangeAspect="1" noChangeArrowheads="1"/>
          </p:cNvSpPr>
          <p:nvPr/>
        </p:nvSpPr>
        <p:spPr bwMode="auto">
          <a:xfrm>
            <a:off x="1146572" y="4373913"/>
            <a:ext cx="138980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모델 관리</a:t>
            </a:r>
          </a:p>
        </p:txBody>
      </p:sp>
      <p:sp>
        <p:nvSpPr>
          <p:cNvPr id="77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8" name="Rectangle 11"/>
          <p:cNvSpPr>
            <a:spLocks noChangeAspect="1" noChangeArrowheads="1"/>
          </p:cNvSpPr>
          <p:nvPr/>
        </p:nvSpPr>
        <p:spPr bwMode="auto">
          <a:xfrm>
            <a:off x="4419469" y="4373913"/>
            <a:ext cx="138178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직 및 부서별 담당자 관리</a:t>
            </a:r>
          </a:p>
        </p:txBody>
      </p:sp>
      <p:sp>
        <p:nvSpPr>
          <p:cNvPr id="79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pic>
        <p:nvPicPr>
          <p:cNvPr id="127" name="그림 1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28" y="3322924"/>
            <a:ext cx="2556000" cy="670535"/>
          </a:xfrm>
          <a:prstGeom prst="rect">
            <a:avLst/>
          </a:prstGeom>
        </p:spPr>
      </p:pic>
      <p:sp>
        <p:nvSpPr>
          <p:cNvPr id="128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설정된 통제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 활동에 대한 통제 주기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일정 등록 등의 시점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(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연도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)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일정계획 수립 및 이에 따라 위험평가가 정상적으로 진행되는지 관리할 수 있는 기능 제공</a:t>
            </a:r>
          </a:p>
        </p:txBody>
      </p:sp>
      <p:pic>
        <p:nvPicPr>
          <p:cNvPr id="129" name="그림 128"/>
          <p:cNvPicPr>
            <a:picLocks noChangeAspect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515" y="3322924"/>
            <a:ext cx="2556000" cy="697818"/>
          </a:xfrm>
          <a:prstGeom prst="rect">
            <a:avLst/>
          </a:prstGeom>
        </p:spPr>
      </p:pic>
      <p:sp>
        <p:nvSpPr>
          <p:cNvPr id="130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활동 운영효과성에 대한 영역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</a:t>
            </a:r>
            <a:r>
              <a:rPr lang="en-US" altLang="ko-KR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내부통제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등급 별로 목표 설정 기능 및 설정된 통제활동 운영효과성 목표 대비 실제 실적을 관리하는 기능</a:t>
            </a:r>
          </a:p>
        </p:txBody>
      </p:sp>
      <p:pic>
        <p:nvPicPr>
          <p:cNvPr id="131" name="그림 130"/>
          <p:cNvPicPr>
            <a:picLocks noChangeAspect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719" y="5463468"/>
            <a:ext cx="2659419" cy="518400"/>
          </a:xfrm>
          <a:prstGeom prst="rect">
            <a:avLst/>
          </a:prstGeom>
        </p:spPr>
      </p:pic>
      <p:pic>
        <p:nvPicPr>
          <p:cNvPr id="132" name="그림 131"/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8467" y="5455793"/>
            <a:ext cx="2556000" cy="601499"/>
          </a:xfrm>
          <a:prstGeom prst="rect">
            <a:avLst/>
          </a:prstGeom>
        </p:spPr>
      </p:pic>
      <p:sp>
        <p:nvSpPr>
          <p:cNvPr id="133" name="Rs27"/>
          <p:cNvSpPr>
            <a:spLocks noChangeAspect="1" noChangeArrowheads="1"/>
          </p:cNvSpPr>
          <p:nvPr/>
        </p:nvSpPr>
        <p:spPr bwMode="auto">
          <a:xfrm>
            <a:off x="446760" y="4743419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 산출에 사용되는 가중치 및 위험등급 분류 방안 등을 관리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평가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효과성 평가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전사 위험평가 모델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KRI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산출 모델에 대한 관리 기능</a:t>
            </a:r>
          </a:p>
        </p:txBody>
      </p:sp>
      <p:sp>
        <p:nvSpPr>
          <p:cNvPr id="134" name="Rs27"/>
          <p:cNvSpPr>
            <a:spLocks noChangeAspect="1" noChangeArrowheads="1"/>
          </p:cNvSpPr>
          <p:nvPr/>
        </p:nvSpPr>
        <p:spPr bwMode="auto">
          <a:xfrm>
            <a:off x="3735436" y="4749368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회차 별 조직 및 부서별 담당자 관리로 조직 개편시에도 과거 평가 담당자의 이력 조회 가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인사시스템과 연동하며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엑셀로 업로드하여 관리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시스템 접속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조회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입력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수정 등 권한 관리</a:t>
            </a:r>
          </a:p>
        </p:txBody>
      </p:sp>
      <p:pic>
        <p:nvPicPr>
          <p:cNvPr id="80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38590" y="326476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20507" y="326235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38590" y="540339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20505" y="541827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02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준정보 및 계획관리 모듈의 주요 기능인 연도별 위험평가 일정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연도별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를 수행하는 상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ask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별 일정계획 및 진행 실적을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일정계획 및 범위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131" name="그림 130" descr="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9612" y="2214666"/>
            <a:ext cx="6208754" cy="40946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3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1 </a:t>
            </a:r>
            <a:r>
              <a:rPr lang="ko-KR" altLang="en-US" dirty="0"/>
              <a:t>기준정보 및 계획 관리</a:t>
            </a:r>
            <a:r>
              <a:rPr lang="en-US" altLang="ko-KR" dirty="0"/>
              <a:t>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3" name="그룹 142"/>
          <p:cNvGrpSpPr/>
          <p:nvPr/>
        </p:nvGrpSpPr>
        <p:grpSpPr>
          <a:xfrm>
            <a:off x="6951840" y="2064695"/>
            <a:ext cx="2717684" cy="4420090"/>
            <a:chOff x="6951840" y="2060848"/>
            <a:chExt cx="2717684" cy="4420090"/>
          </a:xfrm>
        </p:grpSpPr>
        <p:sp>
          <p:nvSpPr>
            <p:cNvPr id="144" name="직사각형 143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5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6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47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연도 별로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 평가를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수행하는 업무 단계 및 상세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Task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 일정계획 및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진행 실적을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리하는 화면</a:t>
              </a:r>
            </a:p>
          </p:txBody>
        </p:sp>
        <p:sp>
          <p:nvSpPr>
            <p:cNvPr id="148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49" name="그림 148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40193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일정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01459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98856" y="3495880"/>
              <a:ext cx="303240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411445"/>
              <a:ext cx="2175498" cy="17953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위험평가 업무의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단계 별 시작일과 </a:t>
              </a:r>
              <a:r>
                <a:rPr lang="ko-KR" altLang="en-US" sz="1000" b="1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착수일을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록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하고 확정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는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단계로 관리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세 업무에 대하여 일정관리 수행 여부는 요구사항 확정 필요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다음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년도의 일정 수립 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Default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값을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당해 년도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값으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정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017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년까지 평가가 완료되고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2018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년 일정을 수립하는 경우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017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년 일정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Default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값으로 설정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록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세 활동 별로 각 화면에서 확정 및 승인 처리가 되었는지의 확인이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가능해야 함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17995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21599" y="4196111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75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준정보 및 계획관리 모듈의 주요 기능인 위험평가 목표 설정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내부통제 영역별로 통제효과성의 목표와 통제 활동 운영평가에 대한 목표를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목표 설정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131" name="그림 130" descr="3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75365" y="2204747"/>
            <a:ext cx="6250570" cy="409858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66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1 </a:t>
            </a:r>
            <a:r>
              <a:rPr lang="ko-KR" altLang="en-US" dirty="0"/>
              <a:t>기준정보 및 계획 관리</a:t>
            </a:r>
            <a:r>
              <a:rPr lang="en-US" altLang="ko-KR" dirty="0"/>
              <a:t>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59" name="그룹 158"/>
          <p:cNvGrpSpPr/>
          <p:nvPr/>
        </p:nvGrpSpPr>
        <p:grpSpPr>
          <a:xfrm>
            <a:off x="6951840" y="2054777"/>
            <a:ext cx="2717684" cy="4420090"/>
            <a:chOff x="6951840" y="2060848"/>
            <a:chExt cx="2717684" cy="4420090"/>
          </a:xfrm>
        </p:grpSpPr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61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62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63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효과성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평가 결과에 대한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목표와 통제 활동 운영 평가에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대한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목표를 관리하는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화면 </a:t>
              </a:r>
            </a:p>
          </p:txBody>
        </p:sp>
        <p:sp>
          <p:nvSpPr>
            <p:cNvPr id="164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</a:p>
          </p:txBody>
        </p:sp>
        <p:pic>
          <p:nvPicPr>
            <p:cNvPr id="165" name="그림 164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68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40193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도별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목표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73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01459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74" name="그림 173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98856" y="3495880"/>
              <a:ext cx="303240" cy="318769"/>
            </a:xfrm>
            <a:prstGeom prst="rect">
              <a:avLst/>
            </a:prstGeom>
          </p:spPr>
        </p:pic>
        <p:sp>
          <p:nvSpPr>
            <p:cNvPr id="175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411445"/>
              <a:ext cx="2175498" cy="18979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년도의 목표 및 실제 평가 결과를 바탕으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당해 년도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목표를 선정하고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가 종료된 이후에는 실제 평가결과와 목표 대비 비율을 확인할 수 있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운영 평가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임계치를 설정하여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평가 결과 임계치가 목표 미만인 경우에는 </a:t>
              </a:r>
              <a:r>
                <a:rPr lang="ko-KR" altLang="en-US" sz="1000" b="1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평가의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대상으로 자동 설정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되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해당 화면의 데이터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년도 별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되기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 년도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든 회차에 대한 평가가 완료된 후 통합된 결과를 기준으로 데이터를 출력하도록 구성</a:t>
              </a:r>
            </a:p>
          </p:txBody>
        </p:sp>
        <p:sp>
          <p:nvSpPr>
            <p:cNvPr id="176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17995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77" name="그림 176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21599" y="4196111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8729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준정보 및 계획관리 모듈의 주요 기능인 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모델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모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통제효과성 평가 모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위험평가 모델에 필요한 기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가중치 등을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기준정보 관리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분류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리스크 등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)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131" name="그림 130" descr="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75021" y="2214666"/>
            <a:ext cx="6234038" cy="40946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1 </a:t>
            </a:r>
            <a:r>
              <a:rPr lang="ko-KR" altLang="en-US" dirty="0"/>
              <a:t>기준정보 및 계획 관리</a:t>
            </a:r>
            <a:r>
              <a:rPr lang="en-US" altLang="ko-KR" dirty="0"/>
              <a:t>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55" name="그룹 154"/>
          <p:cNvGrpSpPr/>
          <p:nvPr/>
        </p:nvGrpSpPr>
        <p:grpSpPr>
          <a:xfrm>
            <a:off x="6951840" y="2064695"/>
            <a:ext cx="2717684" cy="4420090"/>
            <a:chOff x="6951840" y="2060848"/>
            <a:chExt cx="2717684" cy="4420090"/>
          </a:xfrm>
        </p:grpSpPr>
        <p:sp>
          <p:nvSpPr>
            <p:cNvPr id="156" name="직사각형 155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57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58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9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출에 사용되는 가중치 및 위험등급 분류 방안 등을 관리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하는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화면</a:t>
              </a:r>
              <a:endParaRPr lang="en-US" altLang="ko-KR" sz="10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고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중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저 위험 가중치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등급 분류기준 등 </a:t>
              </a:r>
            </a:p>
          </p:txBody>
        </p:sp>
        <p:sp>
          <p:nvSpPr>
            <p:cNvPr id="160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</a:p>
          </p:txBody>
        </p:sp>
        <p:pic>
          <p:nvPicPr>
            <p:cNvPr id="161" name="그림 160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62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981472"/>
              <a:ext cx="217549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도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가중치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급분류 기준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목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급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</a:t>
              </a:r>
            </a:p>
          </p:txBody>
        </p:sp>
        <p:sp>
          <p:nvSpPr>
            <p:cNvPr id="163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742738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64" name="그림 163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98856" y="3737159"/>
              <a:ext cx="303240" cy="318769"/>
            </a:xfrm>
            <a:prstGeom prst="rect">
              <a:avLst/>
            </a:prstGeom>
          </p:spPr>
        </p:pic>
        <p:sp>
          <p:nvSpPr>
            <p:cNvPr id="165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5053655"/>
              <a:ext cx="2175498" cy="11798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점수를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하기 위한 가중치 관리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효과성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집계를 위한 가중치 관리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효과성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급 산출을 위한 등급 분류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등급 분류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을 위한 등급 분류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기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의 관리</a:t>
              </a:r>
            </a:p>
          </p:txBody>
        </p:sp>
        <p:sp>
          <p:nvSpPr>
            <p:cNvPr id="166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82216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67" name="그림 166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21599" y="4838321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339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 위험 식별 모듈은 자금세탁 사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STR/C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 사례 및 금융사고 사례를 통하여 자금세탁 위험을 식별하는 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금세탁 위험 식별 주요 기능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3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2 </a:t>
            </a:r>
            <a:r>
              <a:rPr lang="ko-KR" altLang="en-US" dirty="0"/>
              <a:t>자금세탁 위험 </a:t>
            </a:r>
            <a:r>
              <a:rPr lang="ko-KR" altLang="en-US" dirty="0" smtClean="0"/>
              <a:t>식별 </a:t>
            </a:r>
            <a:r>
              <a:rPr lang="en-US" altLang="ko-KR" dirty="0" smtClean="0"/>
              <a:t>(1/3)</a:t>
            </a:r>
            <a:endParaRPr lang="ko-KR" altLang="en-US" dirty="0"/>
          </a:p>
        </p:txBody>
      </p:sp>
      <p:sp>
        <p:nvSpPr>
          <p:cNvPr id="4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52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3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4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6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7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8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9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0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2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3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4" name="Rectangle 11"/>
          <p:cNvSpPr>
            <a:spLocks noChangeAspect="1" noChangeArrowheads="1"/>
          </p:cNvSpPr>
          <p:nvPr/>
        </p:nvSpPr>
        <p:spPr bwMode="auto">
          <a:xfrm>
            <a:off x="1355766" y="2321652"/>
            <a:ext cx="97142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 사례 관리</a:t>
            </a:r>
          </a:p>
        </p:txBody>
      </p:sp>
      <p:sp>
        <p:nvSpPr>
          <p:cNvPr id="65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6" name="Rectangle 11"/>
          <p:cNvSpPr>
            <a:spLocks noChangeAspect="1" noChangeArrowheads="1"/>
          </p:cNvSpPr>
          <p:nvPr/>
        </p:nvSpPr>
        <p:spPr bwMode="auto">
          <a:xfrm>
            <a:off x="4453134" y="2321652"/>
            <a:ext cx="13144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TR/CTR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 사례 관리</a:t>
            </a:r>
          </a:p>
        </p:txBody>
      </p:sp>
      <p:sp>
        <p:nvSpPr>
          <p:cNvPr id="67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8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9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0" name="Rectangle 11"/>
          <p:cNvSpPr>
            <a:spLocks noChangeAspect="1" noChangeArrowheads="1"/>
          </p:cNvSpPr>
          <p:nvPr/>
        </p:nvSpPr>
        <p:spPr bwMode="auto">
          <a:xfrm>
            <a:off x="1355764" y="4373913"/>
            <a:ext cx="97142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금융사고 사례 관리</a:t>
            </a:r>
          </a:p>
        </p:txBody>
      </p:sp>
      <p:sp>
        <p:nvSpPr>
          <p:cNvPr id="71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2" name="Rectangle 11"/>
          <p:cNvSpPr>
            <a:spLocks noChangeAspect="1" noChangeArrowheads="1"/>
          </p:cNvSpPr>
          <p:nvPr/>
        </p:nvSpPr>
        <p:spPr bwMode="auto">
          <a:xfrm>
            <a:off x="4419469" y="4373913"/>
            <a:ext cx="138178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취약점 평가 관리</a:t>
            </a:r>
          </a:p>
        </p:txBody>
      </p:sp>
      <p:sp>
        <p:nvSpPr>
          <p:cNvPr id="73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5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국내외의 자금세탁 사례를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DB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화하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사례 별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Event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를 등록하여 활용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사례의 특성을 국가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고객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채널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상품 및 서비스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기타 항목으로 분석하여 측정 대상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Event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식별하여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Pool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로 관리</a:t>
            </a:r>
          </a:p>
        </p:txBody>
      </p:sp>
      <p:sp>
        <p:nvSpPr>
          <p:cNvPr id="77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STR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및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CTR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의 보고 사례에 대한 분석 및 결과 관리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전사적 자금세탁의 노출 위험 대상 국가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고객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상품 및 서비스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채널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사업 위험 식별 및 평가 기준에 따라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Event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</a:t>
            </a:r>
          </a:p>
        </p:txBody>
      </p:sp>
      <p:sp>
        <p:nvSpPr>
          <p:cNvPr id="80" name="Rs27"/>
          <p:cNvSpPr>
            <a:spLocks noChangeAspect="1" noChangeArrowheads="1"/>
          </p:cNvSpPr>
          <p:nvPr/>
        </p:nvSpPr>
        <p:spPr bwMode="auto">
          <a:xfrm>
            <a:off x="446760" y="4743419"/>
            <a:ext cx="275533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회사의 금융사고를 유형화하여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DB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화 하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사례 별 취약점 유형을 도출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취약점 유형과 통제평가 대상을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apping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하여 관리</a:t>
            </a:r>
          </a:p>
        </p:txBody>
      </p:sp>
      <p:sp>
        <p:nvSpPr>
          <p:cNvPr id="81" name="Rs27"/>
          <p:cNvSpPr>
            <a:spLocks noChangeAspect="1" noChangeArrowheads="1"/>
          </p:cNvSpPr>
          <p:nvPr/>
        </p:nvSpPr>
        <p:spPr bwMode="auto">
          <a:xfrm>
            <a:off x="3735436" y="4749368"/>
            <a:ext cx="2755337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연도 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프로세스 별 내부통제 취약점의 리스트를 조회하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 기준에 따라 발생가능성과 영향을 </a:t>
            </a:r>
            <a:r>
              <a:rPr lang="en-US" altLang="ko-KR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/>
            </a:r>
            <a:br>
              <a:rPr lang="en-US" altLang="ko-KR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</a:b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하는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연도 별 보안 취약점의 조회 및 평가 기준에 따라 발생가능성과 영향을 평가하는 기능</a:t>
            </a:r>
          </a:p>
        </p:txBody>
      </p:sp>
      <p:pic>
        <p:nvPicPr>
          <p:cNvPr id="83" name="그림 8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39" y="3418544"/>
            <a:ext cx="2544389" cy="658528"/>
          </a:xfrm>
          <a:prstGeom prst="rect">
            <a:avLst/>
          </a:prstGeom>
        </p:spPr>
      </p:pic>
      <p:pic>
        <p:nvPicPr>
          <p:cNvPr id="84" name="그림 83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4750" y="3332284"/>
            <a:ext cx="1136708" cy="726595"/>
          </a:xfrm>
          <a:prstGeom prst="rect">
            <a:avLst/>
          </a:prstGeom>
        </p:spPr>
      </p:pic>
      <p:pic>
        <p:nvPicPr>
          <p:cNvPr id="86" name="그림 85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201" y="5476582"/>
            <a:ext cx="2657937" cy="629337"/>
          </a:xfrm>
          <a:prstGeom prst="rect">
            <a:avLst/>
          </a:prstGeom>
        </p:spPr>
      </p:pic>
      <p:pic>
        <p:nvPicPr>
          <p:cNvPr id="88" name="그림 87"/>
          <p:cNvPicPr>
            <a:picLocks noChangeAspect="1"/>
          </p:cNvPicPr>
          <p:nvPr/>
        </p:nvPicPr>
        <p:blipFill rotWithShape="1">
          <a:blip r:embed="rId6"/>
          <a:srcRect l="48141" t="12872"/>
          <a:stretch/>
        </p:blipFill>
        <p:spPr>
          <a:xfrm>
            <a:off x="3837573" y="5499847"/>
            <a:ext cx="2556894" cy="592153"/>
          </a:xfrm>
          <a:prstGeom prst="rect">
            <a:avLst/>
          </a:prstGeom>
        </p:spPr>
      </p:pic>
      <p:grpSp>
        <p:nvGrpSpPr>
          <p:cNvPr id="89" name="그룹 88"/>
          <p:cNvGrpSpPr/>
          <p:nvPr/>
        </p:nvGrpSpPr>
        <p:grpSpPr>
          <a:xfrm>
            <a:off x="6951840" y="2063403"/>
            <a:ext cx="2717684" cy="4420090"/>
            <a:chOff x="6951840" y="2060848"/>
            <a:chExt cx="2717684" cy="4420090"/>
          </a:xfrm>
        </p:grpSpPr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91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2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93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3275459"/>
              <a:ext cx="2165260" cy="123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FATF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Egmont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그룹 등 해외 자금세탁 방지 관련 국제 기구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해외 감독기관의 자금세탁 사례를 분석 및 적용하여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해외의 최신 사례를 </a:t>
              </a:r>
              <a:r>
                <a:rPr lang="ko-KR" altLang="en-US" sz="1000" b="1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리</a:t>
              </a:r>
              <a:endParaRPr lang="ko-KR" altLang="en-US" sz="1000" b="1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oFIU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국세청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한국금융연구원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심사분석사례집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보도 자료 등에 대한 자금세탁 사례를 분석 및 적용하여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국내의 최신 사례를 관리</a:t>
              </a:r>
            </a:p>
          </p:txBody>
        </p:sp>
        <p:sp>
          <p:nvSpPr>
            <p:cNvPr id="94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717960"/>
              <a:ext cx="2239260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en-US" altLang="ko-KR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Case Management </a:t>
              </a:r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시스템을 </a:t>
              </a:r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활용한 </a:t>
              </a:r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최신 자금세탁 사례의 위험 평가 모델 적용</a:t>
              </a:r>
            </a:p>
          </p:txBody>
        </p:sp>
        <p:pic>
          <p:nvPicPr>
            <p:cNvPr id="95" name="그림 94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98856" y="2717960"/>
              <a:ext cx="318769" cy="318769"/>
            </a:xfrm>
            <a:prstGeom prst="rect">
              <a:avLst/>
            </a:prstGeom>
          </p:spPr>
        </p:pic>
        <p:sp>
          <p:nvSpPr>
            <p:cNvPr id="96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5182590"/>
              <a:ext cx="2028119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회사의 특성을 고려한 </a:t>
              </a:r>
              <a:r>
                <a:rPr lang="en-US" altLang="ko-KR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ML/TF </a:t>
              </a:r>
              <a:r>
                <a: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 식별</a:t>
              </a:r>
            </a:p>
          </p:txBody>
        </p:sp>
        <p:pic>
          <p:nvPicPr>
            <p:cNvPr id="97" name="그림 96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98856" y="5167258"/>
              <a:ext cx="303240" cy="318769"/>
            </a:xfrm>
            <a:prstGeom prst="rect">
              <a:avLst/>
            </a:prstGeom>
          </p:spPr>
        </p:pic>
        <p:sp>
          <p:nvSpPr>
            <p:cNvPr id="98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5270003"/>
              <a:ext cx="2175498" cy="8207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회사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TR/CTR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 사례에 대한 분석을 통해 전사적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식별하여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회사의 특성에 맞는 자금세탁 위험 식별 가능</a:t>
              </a:r>
            </a:p>
          </p:txBody>
        </p:sp>
      </p:grpSp>
      <p:pic>
        <p:nvPicPr>
          <p:cNvPr id="74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17059" y="334170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23418" y="540188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26519" y="539738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396018" y="3335090"/>
            <a:ext cx="35738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3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576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2 </a:t>
            </a:r>
            <a:r>
              <a:rPr lang="ko-KR" altLang="en-US" dirty="0" smtClean="0"/>
              <a:t>구축 범위 </a:t>
            </a:r>
            <a:r>
              <a:rPr lang="en-US" altLang="ko-KR" dirty="0" smtClean="0"/>
              <a:t>(1/2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영역별 구성 및 주요 수행 내용은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컨설팅 업무 범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25" name="직사각형 224"/>
          <p:cNvSpPr>
            <a:spLocks noChangeArrowheads="1"/>
          </p:cNvSpPr>
          <p:nvPr/>
        </p:nvSpPr>
        <p:spPr bwMode="auto">
          <a:xfrm>
            <a:off x="5007971" y="3899455"/>
            <a:ext cx="648000" cy="2470026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전사 </a:t>
            </a:r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RBA</a:t>
            </a:r>
          </a:p>
          <a:p>
            <a:pPr algn="ctr"/>
            <a:r>
              <a:rPr lang="ko-KR" altLang="en-US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체계 </a:t>
            </a:r>
            <a:r>
              <a:rPr lang="ko-KR" altLang="en-US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구축</a:t>
            </a:r>
          </a:p>
        </p:txBody>
      </p:sp>
      <p:sp>
        <p:nvSpPr>
          <p:cNvPr id="226" name="직사각형 225"/>
          <p:cNvSpPr>
            <a:spLocks noChangeArrowheads="1"/>
          </p:cNvSpPr>
          <p:nvPr/>
        </p:nvSpPr>
        <p:spPr bwMode="auto">
          <a:xfrm>
            <a:off x="5007971" y="3898206"/>
            <a:ext cx="538376" cy="1897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indent="-93663" algn="ctr">
              <a:lnSpc>
                <a:spcPct val="90000"/>
              </a:lnSpc>
              <a:tabLst>
                <a:tab pos="447675" algn="l"/>
              </a:tabLst>
              <a:defRPr/>
            </a:pPr>
            <a:r>
              <a:rPr lang="ko-KR" altLang="en-US" sz="1000" b="1" spc="-100" dirty="0" smtClean="0">
                <a:solidFill>
                  <a:srgbClr val="E7E6E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역</a:t>
            </a:r>
            <a:r>
              <a:rPr lang="en-US" altLang="ko-KR" sz="1000" b="1" spc="-100" dirty="0" smtClean="0">
                <a:solidFill>
                  <a:srgbClr val="E7E6E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</a:t>
            </a:r>
            <a:endParaRPr lang="ko-KR" altLang="en-US" sz="1000" b="1" spc="-100" dirty="0" smtClean="0">
              <a:solidFill>
                <a:srgbClr val="E7E6E6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27" name="직사각형 226"/>
          <p:cNvSpPr>
            <a:spLocks noChangeArrowheads="1"/>
          </p:cNvSpPr>
          <p:nvPr/>
        </p:nvSpPr>
        <p:spPr bwMode="auto">
          <a:xfrm>
            <a:off x="5696575" y="3899269"/>
            <a:ext cx="1135084" cy="553083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 </a:t>
            </a:r>
            <a:r>
              <a:rPr lang="en-US" altLang="ko-KR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관리 전략 </a:t>
            </a: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수립</a:t>
            </a:r>
          </a:p>
        </p:txBody>
      </p:sp>
      <p:sp>
        <p:nvSpPr>
          <p:cNvPr id="228" name="직사각형 227"/>
          <p:cNvSpPr>
            <a:spLocks noChangeArrowheads="1"/>
          </p:cNvSpPr>
          <p:nvPr/>
        </p:nvSpPr>
        <p:spPr bwMode="auto">
          <a:xfrm>
            <a:off x="6883866" y="3899270"/>
            <a:ext cx="2636118" cy="55308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 algn="l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관리 체계를 운영하기 위한 위험대응 전략을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 algn="l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조직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세스</a:t>
            </a:r>
            <a:r>
              <a:rPr lang="en-US" altLang="ko-KR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연간 운영계획을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</a:t>
            </a:r>
          </a:p>
        </p:txBody>
      </p:sp>
      <p:sp>
        <p:nvSpPr>
          <p:cNvPr id="229" name="직사각형 228"/>
          <p:cNvSpPr>
            <a:spLocks noChangeArrowheads="1"/>
          </p:cNvSpPr>
          <p:nvPr/>
        </p:nvSpPr>
        <p:spPr bwMode="auto">
          <a:xfrm>
            <a:off x="5007971" y="2229480"/>
            <a:ext cx="648000" cy="1625446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AML </a:t>
            </a:r>
          </a:p>
          <a:p>
            <a:pPr algn="ctr"/>
            <a:r>
              <a:rPr lang="ko-KR" altLang="en-US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업무 구축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30" name="직사각형 229"/>
          <p:cNvSpPr>
            <a:spLocks noChangeArrowheads="1"/>
          </p:cNvSpPr>
          <p:nvPr/>
        </p:nvSpPr>
        <p:spPr bwMode="auto">
          <a:xfrm>
            <a:off x="5007971" y="2229478"/>
            <a:ext cx="538376" cy="1897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indent="-93663" algn="ctr">
              <a:lnSpc>
                <a:spcPct val="90000"/>
              </a:lnSpc>
              <a:tabLst>
                <a:tab pos="447675" algn="l"/>
              </a:tabLst>
              <a:defRPr/>
            </a:pPr>
            <a:r>
              <a:rPr lang="ko-KR" altLang="en-US" sz="1000" b="1" spc="-100" dirty="0" smtClean="0">
                <a:solidFill>
                  <a:srgbClr val="E7E6E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역</a:t>
            </a:r>
            <a:r>
              <a:rPr lang="en-US" altLang="ko-KR" sz="1000" b="1" spc="-100" dirty="0" smtClean="0">
                <a:solidFill>
                  <a:srgbClr val="E7E6E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</a:t>
            </a:r>
            <a:endParaRPr lang="ko-KR" altLang="en-US" sz="1000" b="1" spc="-100" dirty="0" smtClean="0">
              <a:solidFill>
                <a:srgbClr val="E7E6E6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33" name="직사각형 232"/>
          <p:cNvSpPr>
            <a:spLocks noChangeArrowheads="1"/>
          </p:cNvSpPr>
          <p:nvPr/>
        </p:nvSpPr>
        <p:spPr bwMode="auto">
          <a:xfrm>
            <a:off x="346015" y="2229480"/>
            <a:ext cx="646546" cy="4140000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AML </a:t>
            </a:r>
          </a:p>
          <a:p>
            <a:pPr algn="ctr"/>
            <a:r>
              <a:rPr lang="ko-KR" altLang="en-US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업무 구축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34" name="직사각형 233"/>
          <p:cNvSpPr>
            <a:spLocks noChangeArrowheads="1"/>
          </p:cNvSpPr>
          <p:nvPr/>
        </p:nvSpPr>
        <p:spPr bwMode="auto">
          <a:xfrm>
            <a:off x="344488" y="2229481"/>
            <a:ext cx="538376" cy="1897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 anchorCtr="0"/>
          <a:lstStyle/>
          <a:p>
            <a:pPr indent="-93663" algn="ctr">
              <a:lnSpc>
                <a:spcPct val="90000"/>
              </a:lnSpc>
              <a:tabLst>
                <a:tab pos="447675" algn="l"/>
              </a:tabLst>
              <a:defRPr/>
            </a:pPr>
            <a:r>
              <a:rPr lang="ko-KR" altLang="en-US" sz="1000" b="1" spc="-100" dirty="0" smtClean="0">
                <a:solidFill>
                  <a:srgbClr val="E7E6E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역</a:t>
            </a:r>
            <a:r>
              <a:rPr lang="en-US" altLang="ko-KR" sz="1000" b="1" spc="-100" dirty="0" smtClean="0">
                <a:solidFill>
                  <a:srgbClr val="E7E6E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</a:t>
            </a:r>
            <a:endParaRPr lang="ko-KR" altLang="en-US" sz="1000" b="1" spc="-100" dirty="0" smtClean="0">
              <a:solidFill>
                <a:srgbClr val="E7E6E6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35" name="직사각형 234"/>
          <p:cNvSpPr>
            <a:spLocks noChangeArrowheads="1"/>
          </p:cNvSpPr>
          <p:nvPr/>
        </p:nvSpPr>
        <p:spPr bwMode="auto">
          <a:xfrm>
            <a:off x="5696575" y="3899271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3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36" name="직사각형 235"/>
          <p:cNvSpPr>
            <a:spLocks noChangeArrowheads="1"/>
          </p:cNvSpPr>
          <p:nvPr/>
        </p:nvSpPr>
        <p:spPr bwMode="auto">
          <a:xfrm>
            <a:off x="5696575" y="4497233"/>
            <a:ext cx="1135084" cy="533309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endParaRPr lang="en-US" altLang="ko-KR" sz="1000" b="1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모델 정의</a:t>
            </a:r>
          </a:p>
        </p:txBody>
      </p:sp>
      <p:sp>
        <p:nvSpPr>
          <p:cNvPr id="237" name="직사각형 236"/>
          <p:cNvSpPr>
            <a:spLocks noChangeArrowheads="1"/>
          </p:cNvSpPr>
          <p:nvPr/>
        </p:nvSpPr>
        <p:spPr bwMode="auto">
          <a:xfrm>
            <a:off x="6892230" y="4496015"/>
            <a:ext cx="2635374" cy="53452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을 식별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분석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하고 내부통제 효과성을 평가</a:t>
            </a: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산정 평가 모델을 수립</a:t>
            </a:r>
          </a:p>
        </p:txBody>
      </p:sp>
      <p:sp>
        <p:nvSpPr>
          <p:cNvPr id="238" name="직사각형 237"/>
          <p:cNvSpPr>
            <a:spLocks noChangeArrowheads="1"/>
          </p:cNvSpPr>
          <p:nvPr/>
        </p:nvSpPr>
        <p:spPr bwMode="auto">
          <a:xfrm>
            <a:off x="5696545" y="4497235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4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39" name="직사각형 238"/>
          <p:cNvSpPr>
            <a:spLocks noChangeArrowheads="1"/>
          </p:cNvSpPr>
          <p:nvPr/>
        </p:nvSpPr>
        <p:spPr bwMode="auto">
          <a:xfrm>
            <a:off x="5696575" y="5081825"/>
            <a:ext cx="1135084" cy="650881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en-US" altLang="ko-KR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BA</a:t>
            </a: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강화방안 마련</a:t>
            </a:r>
          </a:p>
        </p:txBody>
      </p:sp>
      <p:sp>
        <p:nvSpPr>
          <p:cNvPr id="240" name="직사각형 239"/>
          <p:cNvSpPr>
            <a:spLocks noChangeArrowheads="1"/>
          </p:cNvSpPr>
          <p:nvPr/>
        </p:nvSpPr>
        <p:spPr bwMode="auto">
          <a:xfrm>
            <a:off x="6892230" y="5081826"/>
            <a:ext cx="2627754" cy="65088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위험 영역에 대한 대응방안 수립</a:t>
            </a: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련 규정 및 지침 개정과 매뉴얼을 통한 내부통제 강화 방안 마련</a:t>
            </a:r>
          </a:p>
        </p:txBody>
      </p:sp>
      <p:sp>
        <p:nvSpPr>
          <p:cNvPr id="241" name="직사각형 240"/>
          <p:cNvSpPr>
            <a:spLocks noChangeArrowheads="1"/>
          </p:cNvSpPr>
          <p:nvPr/>
        </p:nvSpPr>
        <p:spPr bwMode="auto">
          <a:xfrm>
            <a:off x="5696545" y="5081827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5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42" name="직사각형 241"/>
          <p:cNvSpPr>
            <a:spLocks noChangeArrowheads="1"/>
          </p:cNvSpPr>
          <p:nvPr/>
        </p:nvSpPr>
        <p:spPr bwMode="auto">
          <a:xfrm>
            <a:off x="5696575" y="5783989"/>
            <a:ext cx="1135084" cy="576601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en-US" altLang="ko-KR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 </a:t>
            </a:r>
            <a:endParaRPr lang="en-US" altLang="ko-KR" sz="1000" b="1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응 체계 수립</a:t>
            </a:r>
          </a:p>
        </p:txBody>
      </p:sp>
      <p:sp>
        <p:nvSpPr>
          <p:cNvPr id="243" name="직사각형 242"/>
          <p:cNvSpPr>
            <a:spLocks noChangeArrowheads="1"/>
          </p:cNvSpPr>
          <p:nvPr/>
        </p:nvSpPr>
        <p:spPr bwMode="auto">
          <a:xfrm>
            <a:off x="6884246" y="5783990"/>
            <a:ext cx="2635738" cy="58549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별 이행 수준을 진단</a:t>
            </a: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각 지표 별 대응을 위한 프로세스 및 시스템 개선 방안 및 관리 프로세스를 수립</a:t>
            </a:r>
          </a:p>
        </p:txBody>
      </p:sp>
      <p:sp>
        <p:nvSpPr>
          <p:cNvPr id="244" name="직사각형 243"/>
          <p:cNvSpPr>
            <a:spLocks noChangeArrowheads="1"/>
          </p:cNvSpPr>
          <p:nvPr/>
        </p:nvSpPr>
        <p:spPr bwMode="auto">
          <a:xfrm>
            <a:off x="5696575" y="5783991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6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45" name="직사각형 244"/>
          <p:cNvSpPr>
            <a:spLocks noChangeArrowheads="1"/>
          </p:cNvSpPr>
          <p:nvPr/>
        </p:nvSpPr>
        <p:spPr bwMode="auto">
          <a:xfrm>
            <a:off x="1043562" y="4555339"/>
            <a:ext cx="1088822" cy="591809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환거래 은행 및 무역거래 관리</a:t>
            </a:r>
          </a:p>
        </p:txBody>
      </p:sp>
      <p:sp>
        <p:nvSpPr>
          <p:cNvPr id="246" name="직사각형 245"/>
          <p:cNvSpPr>
            <a:spLocks noChangeArrowheads="1"/>
          </p:cNvSpPr>
          <p:nvPr/>
        </p:nvSpPr>
        <p:spPr bwMode="auto">
          <a:xfrm>
            <a:off x="2178343" y="4555340"/>
            <a:ext cx="2736000" cy="59180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환거래 은행 관리 절차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환거래 은행 무역거래 위험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무역거래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nctions </a:t>
            </a:r>
            <a:r>
              <a:rPr lang="en-US" altLang="ko-KR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creening</a:t>
            </a:r>
            <a:endParaRPr lang="ko-KR" altLang="en-US" sz="9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7" name="직사각형 246"/>
          <p:cNvSpPr>
            <a:spLocks noChangeArrowheads="1"/>
          </p:cNvSpPr>
          <p:nvPr/>
        </p:nvSpPr>
        <p:spPr bwMode="auto">
          <a:xfrm>
            <a:off x="1043532" y="4555341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5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48" name="직사각형 247"/>
          <p:cNvSpPr>
            <a:spLocks noChangeArrowheads="1"/>
          </p:cNvSpPr>
          <p:nvPr/>
        </p:nvSpPr>
        <p:spPr bwMode="auto">
          <a:xfrm>
            <a:off x="1043532" y="5188419"/>
            <a:ext cx="1088852" cy="539501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 모니터링 구축</a:t>
            </a:r>
            <a:endParaRPr lang="ko-KR" altLang="en-US" sz="1000" b="1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9" name="직사각형 248"/>
          <p:cNvSpPr>
            <a:spLocks noChangeArrowheads="1"/>
          </p:cNvSpPr>
          <p:nvPr/>
        </p:nvSpPr>
        <p:spPr bwMode="auto">
          <a:xfrm>
            <a:off x="2178343" y="5188420"/>
            <a:ext cx="2736000" cy="5395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신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rend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반영한 신규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ule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가 설계 등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MS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고도화 방안을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 </a:t>
            </a: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보고 업무절차 등 프로세스 개선</a:t>
            </a:r>
            <a:endParaRPr lang="ko-KR" altLang="en-US" sz="9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0" name="직사각형 249"/>
          <p:cNvSpPr>
            <a:spLocks noChangeArrowheads="1"/>
          </p:cNvSpPr>
          <p:nvPr/>
        </p:nvSpPr>
        <p:spPr bwMode="auto">
          <a:xfrm>
            <a:off x="1043502" y="5188421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6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51" name="직사각형 250"/>
          <p:cNvSpPr>
            <a:spLocks noChangeArrowheads="1"/>
          </p:cNvSpPr>
          <p:nvPr/>
        </p:nvSpPr>
        <p:spPr bwMode="auto">
          <a:xfrm>
            <a:off x="1043804" y="2222861"/>
            <a:ext cx="1088580" cy="467106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 프로세스 구축</a:t>
            </a:r>
          </a:p>
        </p:txBody>
      </p:sp>
      <p:sp>
        <p:nvSpPr>
          <p:cNvPr id="252" name="직사각형 251"/>
          <p:cNvSpPr>
            <a:spLocks noChangeArrowheads="1"/>
          </p:cNvSpPr>
          <p:nvPr/>
        </p:nvSpPr>
        <p:spPr bwMode="auto">
          <a:xfrm>
            <a:off x="2168389" y="2222860"/>
            <a:ext cx="2737505" cy="467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신법령 및 업무규정 개정안 및 고객확인 프로세스 현황을 검토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개선사항 도출 및 </a:t>
            </a:r>
            <a:r>
              <a:rPr lang="en-US" altLang="ko-KR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세스 구축</a:t>
            </a:r>
            <a:endParaRPr lang="ko-KR" altLang="en-US" sz="9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3" name="직사각형 252"/>
          <p:cNvSpPr>
            <a:spLocks noChangeArrowheads="1"/>
          </p:cNvSpPr>
          <p:nvPr/>
        </p:nvSpPr>
        <p:spPr bwMode="auto">
          <a:xfrm>
            <a:off x="1043804" y="2222862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54" name="직사각형 253"/>
          <p:cNvSpPr>
            <a:spLocks noChangeArrowheads="1"/>
          </p:cNvSpPr>
          <p:nvPr/>
        </p:nvSpPr>
        <p:spPr bwMode="auto">
          <a:xfrm>
            <a:off x="1043804" y="2726874"/>
            <a:ext cx="1088580" cy="504000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위험평가 구축</a:t>
            </a:r>
            <a:endParaRPr lang="ko-KR" altLang="en-US" sz="1000" b="1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5" name="직사각형 254"/>
          <p:cNvSpPr>
            <a:spLocks noChangeArrowheads="1"/>
          </p:cNvSpPr>
          <p:nvPr/>
        </p:nvSpPr>
        <p:spPr bwMode="auto">
          <a:xfrm>
            <a:off x="2168389" y="2726874"/>
            <a:ext cx="2736000" cy="5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존 모델의 유효성을 검증하여 </a:t>
            </a:r>
            <a:r>
              <a:rPr lang="en-US" altLang="ko-KR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모델 수립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R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데이터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KoFIU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제공 데이터를 연계분석하여 고객위험평가 모델 최적화</a:t>
            </a:r>
          </a:p>
        </p:txBody>
      </p:sp>
      <p:sp>
        <p:nvSpPr>
          <p:cNvPr id="256" name="직사각형 255"/>
          <p:cNvSpPr>
            <a:spLocks noChangeArrowheads="1"/>
          </p:cNvSpPr>
          <p:nvPr/>
        </p:nvSpPr>
        <p:spPr bwMode="auto">
          <a:xfrm>
            <a:off x="1043804" y="2726877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2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57" name="직사각형 256"/>
          <p:cNvSpPr>
            <a:spLocks noChangeArrowheads="1"/>
          </p:cNvSpPr>
          <p:nvPr/>
        </p:nvSpPr>
        <p:spPr bwMode="auto">
          <a:xfrm>
            <a:off x="1043562" y="3275402"/>
            <a:ext cx="1088822" cy="579524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리스트 필터링 구축</a:t>
            </a:r>
          </a:p>
        </p:txBody>
      </p:sp>
      <p:sp>
        <p:nvSpPr>
          <p:cNvPr id="258" name="직사각형 257"/>
          <p:cNvSpPr>
            <a:spLocks noChangeArrowheads="1"/>
          </p:cNvSpPr>
          <p:nvPr/>
        </p:nvSpPr>
        <p:spPr bwMode="auto">
          <a:xfrm>
            <a:off x="2178343" y="3265589"/>
            <a:ext cx="2736000" cy="58933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 리스트 필터링 체계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리스트 필터링 대상 및 이벤트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정의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리스트 필터링 데이터 수집 방안</a:t>
            </a:r>
          </a:p>
        </p:txBody>
      </p:sp>
      <p:sp>
        <p:nvSpPr>
          <p:cNvPr id="259" name="직사각형 258"/>
          <p:cNvSpPr>
            <a:spLocks noChangeArrowheads="1"/>
          </p:cNvSpPr>
          <p:nvPr/>
        </p:nvSpPr>
        <p:spPr bwMode="auto">
          <a:xfrm>
            <a:off x="1043562" y="3275403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3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60" name="직사각형 259"/>
          <p:cNvSpPr>
            <a:spLocks noChangeArrowheads="1"/>
          </p:cNvSpPr>
          <p:nvPr/>
        </p:nvSpPr>
        <p:spPr bwMode="auto">
          <a:xfrm>
            <a:off x="1043562" y="3899454"/>
            <a:ext cx="1088822" cy="612000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 프로파일 구축</a:t>
            </a:r>
            <a:endParaRPr lang="ko-KR" altLang="en-US" sz="1000" b="1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1" name="직사각형 260"/>
          <p:cNvSpPr>
            <a:spLocks noChangeArrowheads="1"/>
          </p:cNvSpPr>
          <p:nvPr/>
        </p:nvSpPr>
        <p:spPr bwMode="auto">
          <a:xfrm>
            <a:off x="2178343" y="3899455"/>
            <a:ext cx="2736000" cy="612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en-US" altLang="ko-KR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프로파일 기준 수립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집 정보 적정성 진단 및 개선안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도출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유형 및 수집정보를 통한 고객거래확인서 개선</a:t>
            </a:r>
            <a:endParaRPr lang="ko-KR" altLang="en-US" sz="9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2" name="직사각형 261"/>
          <p:cNvSpPr>
            <a:spLocks noChangeArrowheads="1"/>
          </p:cNvSpPr>
          <p:nvPr/>
        </p:nvSpPr>
        <p:spPr bwMode="auto">
          <a:xfrm>
            <a:off x="1043562" y="3899456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4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8" name="직사각형 57"/>
          <p:cNvSpPr>
            <a:spLocks noChangeArrowheads="1"/>
          </p:cNvSpPr>
          <p:nvPr/>
        </p:nvSpPr>
        <p:spPr bwMode="auto">
          <a:xfrm>
            <a:off x="2178343" y="5769192"/>
            <a:ext cx="2736000" cy="6002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신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rend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반영한 신규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ule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가 설계 등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MS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고도화 방안을 수립</a:t>
            </a: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액현금거래 거래 점검 프로세스 개선</a:t>
            </a:r>
            <a:endParaRPr lang="ko-KR" altLang="en-US" sz="9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9" name="직사각형 58"/>
          <p:cNvSpPr>
            <a:spLocks noChangeArrowheads="1"/>
          </p:cNvSpPr>
          <p:nvPr/>
        </p:nvSpPr>
        <p:spPr bwMode="auto">
          <a:xfrm>
            <a:off x="6883866" y="2222861"/>
            <a:ext cx="2636118" cy="41006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YE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제도 운영 체계 구성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서와 업무에 대한 </a:t>
            </a:r>
            <a:r>
              <a:rPr lang="en-US" altLang="ko-KR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ML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을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</a:t>
            </a:r>
            <a:r>
              <a:rPr lang="en-US" altLang="ko-KR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절차에 반영</a:t>
            </a:r>
          </a:p>
        </p:txBody>
      </p:sp>
      <p:sp>
        <p:nvSpPr>
          <p:cNvPr id="70" name="직사각형 69"/>
          <p:cNvSpPr>
            <a:spLocks noChangeArrowheads="1"/>
          </p:cNvSpPr>
          <p:nvPr/>
        </p:nvSpPr>
        <p:spPr bwMode="auto">
          <a:xfrm>
            <a:off x="1043502" y="5769190"/>
            <a:ext cx="1088882" cy="600290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액현금거래 모니터링 구축</a:t>
            </a:r>
          </a:p>
        </p:txBody>
      </p:sp>
      <p:sp>
        <p:nvSpPr>
          <p:cNvPr id="71" name="직사각형 70"/>
          <p:cNvSpPr>
            <a:spLocks noChangeArrowheads="1"/>
          </p:cNvSpPr>
          <p:nvPr/>
        </p:nvSpPr>
        <p:spPr bwMode="auto">
          <a:xfrm>
            <a:off x="1043502" y="5769193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7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72" name="직사각형 71"/>
          <p:cNvSpPr>
            <a:spLocks noChangeArrowheads="1"/>
          </p:cNvSpPr>
          <p:nvPr/>
        </p:nvSpPr>
        <p:spPr bwMode="auto">
          <a:xfrm>
            <a:off x="5696575" y="2222860"/>
            <a:ext cx="1135084" cy="410061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직원알기제도</a:t>
            </a:r>
          </a:p>
        </p:txBody>
      </p:sp>
      <p:sp>
        <p:nvSpPr>
          <p:cNvPr id="73" name="직사각형 72"/>
          <p:cNvSpPr>
            <a:spLocks noChangeArrowheads="1"/>
          </p:cNvSpPr>
          <p:nvPr/>
        </p:nvSpPr>
        <p:spPr bwMode="auto">
          <a:xfrm>
            <a:off x="5696575" y="2222862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8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5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9521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en-US" altLang="ko-KR" sz="1000" dirty="0" smtClean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6" name="직사각형 55"/>
          <p:cNvSpPr>
            <a:spLocks noChangeArrowheads="1"/>
          </p:cNvSpPr>
          <p:nvPr/>
        </p:nvSpPr>
        <p:spPr bwMode="auto">
          <a:xfrm>
            <a:off x="6883866" y="2680536"/>
            <a:ext cx="2636118" cy="55033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외지점 자금세탁 방지 글로벌 기준 수립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방안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외지점 자금세탁 방지 업무 보고 절차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외지점 자금세탁 방지 업무 보고 절차</a:t>
            </a:r>
          </a:p>
        </p:txBody>
      </p:sp>
      <p:sp>
        <p:nvSpPr>
          <p:cNvPr id="61" name="직사각형 60"/>
          <p:cNvSpPr>
            <a:spLocks noChangeArrowheads="1"/>
          </p:cNvSpPr>
          <p:nvPr/>
        </p:nvSpPr>
        <p:spPr bwMode="auto">
          <a:xfrm>
            <a:off x="5696575" y="2680536"/>
            <a:ext cx="1135084" cy="550338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외지점 관리 방안</a:t>
            </a:r>
          </a:p>
        </p:txBody>
      </p:sp>
      <p:sp>
        <p:nvSpPr>
          <p:cNvPr id="62" name="직사각형 61"/>
          <p:cNvSpPr>
            <a:spLocks noChangeArrowheads="1"/>
          </p:cNvSpPr>
          <p:nvPr/>
        </p:nvSpPr>
        <p:spPr bwMode="auto">
          <a:xfrm>
            <a:off x="5696575" y="2680538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9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3" name="직사각형 62"/>
          <p:cNvSpPr>
            <a:spLocks noChangeArrowheads="1"/>
          </p:cNvSpPr>
          <p:nvPr/>
        </p:nvSpPr>
        <p:spPr bwMode="auto">
          <a:xfrm>
            <a:off x="6890702" y="3275223"/>
            <a:ext cx="2636118" cy="57697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90000" bIns="46800" rtlCol="0" anchor="ctr" anchorCtr="0"/>
          <a:lstStyle/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 내부통제 이행 상황 평가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방안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 자금세탁방지 이행 평가 </a:t>
            </a:r>
            <a:r>
              <a:rPr lang="ko-KR" altLang="en-US" sz="9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절차</a:t>
            </a:r>
            <a:endParaRPr lang="en-US" altLang="ko-KR" sz="900" spc="-100" dirty="0" smtClean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7313">
              <a:lnSpc>
                <a:spcPct val="110000"/>
              </a:lnSpc>
              <a:spcBef>
                <a:spcPts val="250"/>
              </a:spcBef>
              <a:buFont typeface="Wingdings" panose="05000000000000000000" pitchFamily="2" charset="2"/>
              <a:buChar char="§"/>
              <a:tabLst>
                <a:tab pos="447675" algn="l"/>
              </a:tabLst>
              <a:defRPr/>
            </a:pPr>
            <a:r>
              <a:rPr lang="ko-KR" altLang="en-US" sz="9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 교육체계</a:t>
            </a:r>
          </a:p>
        </p:txBody>
      </p:sp>
      <p:sp>
        <p:nvSpPr>
          <p:cNvPr id="64" name="직사각형 63"/>
          <p:cNvSpPr>
            <a:spLocks noChangeArrowheads="1"/>
          </p:cNvSpPr>
          <p:nvPr/>
        </p:nvSpPr>
        <p:spPr bwMode="auto">
          <a:xfrm>
            <a:off x="5703411" y="3275223"/>
            <a:ext cx="1135084" cy="576972"/>
          </a:xfrm>
          <a:prstGeom prst="rect">
            <a:avLst/>
          </a:prstGeom>
          <a:solidFill>
            <a:srgbClr val="CFD6DB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46800" rIns="72000" bIns="46800" rtlCol="0" anchor="ctr" anchorCtr="0"/>
          <a:lstStyle/>
          <a:p>
            <a:pPr indent="-93663">
              <a:tabLst>
                <a:tab pos="447675" algn="l"/>
              </a:tabLst>
              <a:defRPr/>
            </a:pPr>
            <a:r>
              <a:rPr lang="ko-KR" altLang="en-US" sz="1000" b="1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</a:t>
            </a:r>
            <a:endParaRPr lang="ko-KR" altLang="en-US" sz="1000" b="1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5" name="직사각형 64"/>
          <p:cNvSpPr>
            <a:spLocks noChangeArrowheads="1"/>
          </p:cNvSpPr>
          <p:nvPr/>
        </p:nvSpPr>
        <p:spPr bwMode="auto">
          <a:xfrm>
            <a:off x="5703411" y="3275223"/>
            <a:ext cx="168243" cy="17954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0</a:t>
            </a:r>
            <a:endParaRPr lang="ko-KR" altLang="en-US" sz="10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60929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 위험 식별 모듈의 주요 기능인 자금세탁 사례 상세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국내외 자금세탁 사례를 등록 및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금세탁 사례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82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2 </a:t>
            </a:r>
            <a:r>
              <a:rPr lang="ko-KR" altLang="en-US" dirty="0"/>
              <a:t>자금세탁 위험 식별 </a:t>
            </a:r>
            <a:r>
              <a:rPr lang="en-US" altLang="ko-KR" dirty="0" smtClean="0"/>
              <a:t>(2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2" name="그룹 141"/>
          <p:cNvGrpSpPr/>
          <p:nvPr/>
        </p:nvGrpSpPr>
        <p:grpSpPr>
          <a:xfrm>
            <a:off x="6951840" y="2060848"/>
            <a:ext cx="2717684" cy="4420090"/>
            <a:chOff x="6951840" y="2060848"/>
            <a:chExt cx="2717684" cy="4420090"/>
          </a:xfrm>
        </p:grpSpPr>
        <p:sp>
          <p:nvSpPr>
            <p:cNvPr id="143" name="직사각형 142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4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5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46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해외 및 국내 자금세탁 관련 사례를 등록하고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각 사례 별 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Risk Event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를 정의하여 관리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하는 화면</a:t>
              </a:r>
            </a:p>
          </p:txBody>
        </p:sp>
        <p:sp>
          <p:nvSpPr>
            <p:cNvPr id="147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설명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49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40193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 사례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0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01459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1" name="그림 150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495880"/>
              <a:ext cx="303240" cy="318769"/>
            </a:xfrm>
            <a:prstGeom prst="rect">
              <a:avLst/>
            </a:prstGeom>
          </p:spPr>
        </p:pic>
        <p:sp>
          <p:nvSpPr>
            <p:cNvPr id="152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411445"/>
              <a:ext cx="2175498" cy="19492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 사례 조회 화면에서 특정 건을 선택하면 상세 내용이 조회됨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 사례 조회 화면에서 추가 버튼을 클릭하면 빈 창이 뜸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래규모는 알 수 없음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억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십만 불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선택하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억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십만 불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선택하는 경우 값을 입력할 수 있는 필드 노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알 수 없음을 선택하는 경우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콤보 박스만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노출되도록 구성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알 수 없음을 선택하는 경우 입력 항목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Disabl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처리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 사례의 내용은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000Byte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까지 저장될 수 있도록 구성</a:t>
              </a:r>
            </a:p>
          </p:txBody>
        </p:sp>
        <p:sp>
          <p:nvSpPr>
            <p:cNvPr id="153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17995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4" name="그림 153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196111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5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3036" y="2210819"/>
            <a:ext cx="6203189" cy="414987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8577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 위험 식별 모듈의 주요 기능인 내부통제 취약점 평가 결과 조치 및 등록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별 취약점에 대한 평가를 수행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취약점 등급을 평가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취약점 평가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7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2 </a:t>
            </a:r>
            <a:r>
              <a:rPr lang="ko-KR" altLang="en-US" dirty="0"/>
              <a:t>자금세탁 위험 식별 </a:t>
            </a:r>
            <a:r>
              <a:rPr lang="en-US" altLang="ko-KR" dirty="0" smtClean="0"/>
              <a:t>(3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51840" y="2060848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개별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취약점에 대하여 평가하고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그 결과를 조회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할 수 있는 화면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40193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역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Process, Sub Process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01459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495880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411445"/>
              <a:ext cx="2175498" cy="1923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그리드 내 영향과 발생가능성을 각각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5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 척도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향과 발생가능성이 모두 입력된 경우는 취약점 등급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0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 척도로 자동으로 산출되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취약점 평가기준과 보안 취약점 평가기준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Pop-up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화면으로 제공하여 기준을 보면서 평가를 수행할 수 있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조건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진행상태에서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임시 저장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확정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승인 등 취약점의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태 값에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따라 조회가 가능하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를 수행한 평가자와 평가 일자도 조회가 가능하도록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17995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196111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16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1021" y="2210820"/>
            <a:ext cx="6255401" cy="41242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0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7516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분석 및 평가 모듈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지표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산출 관리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산출 결과에 대한 상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값을 조회하는 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분석 및 평가 주요 기능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3 ML/TF </a:t>
            </a:r>
            <a:r>
              <a:rPr lang="ko-KR" altLang="en-US" dirty="0"/>
              <a:t>위험분석 및 </a:t>
            </a:r>
            <a:r>
              <a:rPr lang="ko-KR" altLang="en-US" dirty="0" smtClean="0"/>
              <a:t>평가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grpSp>
        <p:nvGrpSpPr>
          <p:cNvPr id="158" name="그룹 157"/>
          <p:cNvGrpSpPr/>
          <p:nvPr/>
        </p:nvGrpSpPr>
        <p:grpSpPr>
          <a:xfrm>
            <a:off x="6947334" y="2060848"/>
            <a:ext cx="2717684" cy="4420090"/>
            <a:chOff x="6951840" y="2060848"/>
            <a:chExt cx="2717684" cy="4420090"/>
          </a:xfrm>
        </p:grpSpPr>
        <p:sp>
          <p:nvSpPr>
            <p:cNvPr id="159" name="직사각형 158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60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61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62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3055603"/>
              <a:ext cx="2165260" cy="769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평가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데이터마트의 데이터 탐색 및 모델 시뮬레이션 등 지표에 대한 설명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필요 데이터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정 방법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정 기간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출 로직 등을 조회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검토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변경하는 기능을 제공하여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모델 확장성 제고 </a:t>
              </a:r>
            </a:p>
          </p:txBody>
        </p:sp>
        <p:sp>
          <p:nvSpPr>
            <p:cNvPr id="16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811979"/>
              <a:ext cx="94737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모델 확장성 제고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64" name="그림 163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811979"/>
              <a:ext cx="318769" cy="318769"/>
            </a:xfrm>
            <a:prstGeom prst="rect">
              <a:avLst/>
            </a:prstGeom>
          </p:spPr>
        </p:pic>
        <p:pic>
          <p:nvPicPr>
            <p:cNvPr id="167" name="그림 166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4865884"/>
              <a:ext cx="303240" cy="318769"/>
            </a:xfrm>
            <a:prstGeom prst="rect">
              <a:avLst/>
            </a:prstGeom>
          </p:spPr>
        </p:pic>
        <p:sp>
          <p:nvSpPr>
            <p:cNvPr id="168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5091571"/>
              <a:ext cx="2163474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측정 결과의 조회 및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서비스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별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집계 및 관리할 수 있는 기능을 제공하여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효율성 제고</a:t>
              </a:r>
            </a:p>
          </p:txBody>
        </p:sp>
        <p:sp>
          <p:nvSpPr>
            <p:cNvPr id="169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860617"/>
              <a:ext cx="216347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업무 효율성 제고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</p:grpSp>
      <p:sp>
        <p:nvSpPr>
          <p:cNvPr id="4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52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3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4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6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7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8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9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0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3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4" name="Rectangle 11"/>
          <p:cNvSpPr>
            <a:spLocks noChangeAspect="1" noChangeArrowheads="1"/>
          </p:cNvSpPr>
          <p:nvPr/>
        </p:nvSpPr>
        <p:spPr bwMode="auto">
          <a:xfrm>
            <a:off x="1258785" y="2321652"/>
            <a:ext cx="116538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지표 관리</a:t>
            </a:r>
          </a:p>
        </p:txBody>
      </p:sp>
      <p:sp>
        <p:nvSpPr>
          <p:cNvPr id="65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6" name="Rectangle 11"/>
          <p:cNvSpPr>
            <a:spLocks noChangeAspect="1" noChangeArrowheads="1"/>
          </p:cNvSpPr>
          <p:nvPr/>
        </p:nvSpPr>
        <p:spPr bwMode="auto">
          <a:xfrm>
            <a:off x="4527673" y="2321652"/>
            <a:ext cx="116538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산출 관리</a:t>
            </a:r>
          </a:p>
        </p:txBody>
      </p:sp>
      <p:sp>
        <p:nvSpPr>
          <p:cNvPr id="67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9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0" name="Rectangle 11"/>
          <p:cNvSpPr>
            <a:spLocks noChangeAspect="1" noChangeArrowheads="1"/>
          </p:cNvSpPr>
          <p:nvPr/>
        </p:nvSpPr>
        <p:spPr bwMode="auto">
          <a:xfrm>
            <a:off x="997493" y="4373913"/>
            <a:ext cx="168796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산출 결과 상세 조회</a:t>
            </a:r>
          </a:p>
        </p:txBody>
      </p:sp>
      <p:sp>
        <p:nvSpPr>
          <p:cNvPr id="71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2" name="Rectangle 11"/>
          <p:cNvSpPr>
            <a:spLocks noChangeAspect="1" noChangeArrowheads="1"/>
          </p:cNvSpPr>
          <p:nvPr/>
        </p:nvSpPr>
        <p:spPr bwMode="auto">
          <a:xfrm>
            <a:off x="4210277" y="4373913"/>
            <a:ext cx="180017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산출 결과 지표값 조회</a:t>
            </a:r>
          </a:p>
        </p:txBody>
      </p:sp>
      <p:sp>
        <p:nvSpPr>
          <p:cNvPr id="73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4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연도 별 각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Category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의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Event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로 실제 사용할 지표 리스트의 관리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지표에 대한 설명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필요 데이터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산정 방법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산정 기간 등의 정보의 관리</a:t>
            </a:r>
          </a:p>
        </p:txBody>
      </p:sp>
      <p:sp>
        <p:nvSpPr>
          <p:cNvPr id="75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회차 별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평가 수행을 위하여 지표 확정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가중치 확정 등의 사전작업 수행 여부 관리</a:t>
            </a:r>
          </a:p>
        </p:txBody>
      </p:sp>
      <p:sp>
        <p:nvSpPr>
          <p:cNvPr id="76" name="Rs27"/>
          <p:cNvSpPr>
            <a:spLocks noChangeAspect="1" noChangeArrowheads="1"/>
          </p:cNvSpPr>
          <p:nvPr/>
        </p:nvSpPr>
        <p:spPr bwMode="auto">
          <a:xfrm>
            <a:off x="446760" y="4743419"/>
            <a:ext cx="275533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부점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서비스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 Risk Category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로 산출된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을 조회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Level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로 상세 조회하는 기능</a:t>
            </a:r>
          </a:p>
        </p:txBody>
      </p:sp>
      <p:sp>
        <p:nvSpPr>
          <p:cNvPr id="77" name="Rs27"/>
          <p:cNvSpPr>
            <a:spLocks noChangeAspect="1" noChangeArrowheads="1"/>
          </p:cNvSpPr>
          <p:nvPr/>
        </p:nvSpPr>
        <p:spPr bwMode="auto">
          <a:xfrm>
            <a:off x="3735436" y="4749368"/>
            <a:ext cx="275533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부점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서비스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Risk Category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을 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Indicator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단위로 거래금액 및 점수를 조회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Level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로 상세 조회 하는 기능</a:t>
            </a:r>
          </a:p>
        </p:txBody>
      </p:sp>
      <p:pic>
        <p:nvPicPr>
          <p:cNvPr id="83" name="그림 82"/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539293" y="3412500"/>
            <a:ext cx="2563135" cy="664572"/>
          </a:xfrm>
          <a:prstGeom prst="rect">
            <a:avLst/>
          </a:prstGeom>
        </p:spPr>
      </p:pic>
      <p:pic>
        <p:nvPicPr>
          <p:cNvPr id="84" name="그림 83"/>
          <p:cNvPicPr>
            <a:picLocks noChangeAspect="1"/>
          </p:cNvPicPr>
          <p:nvPr/>
        </p:nvPicPr>
        <p:blipFill>
          <a:blip r:embed="rId5">
            <a:grayscl/>
          </a:blip>
          <a:stretch>
            <a:fillRect/>
          </a:stretch>
        </p:blipFill>
        <p:spPr>
          <a:xfrm>
            <a:off x="3781104" y="3408900"/>
            <a:ext cx="2664000" cy="606225"/>
          </a:xfrm>
          <a:prstGeom prst="rect">
            <a:avLst/>
          </a:prstGeom>
        </p:spPr>
      </p:pic>
      <p:pic>
        <p:nvPicPr>
          <p:cNvPr id="86" name="그림 85"/>
          <p:cNvPicPr>
            <a:picLocks noChangeAspect="1"/>
          </p:cNvPicPr>
          <p:nvPr/>
        </p:nvPicPr>
        <p:blipFill>
          <a:blip r:embed="rId6">
            <a:grayscl/>
          </a:blip>
          <a:stretch>
            <a:fillRect/>
          </a:stretch>
        </p:blipFill>
        <p:spPr>
          <a:xfrm>
            <a:off x="514577" y="5401882"/>
            <a:ext cx="2653777" cy="608182"/>
          </a:xfrm>
          <a:prstGeom prst="rect">
            <a:avLst/>
          </a:prstGeom>
        </p:spPr>
      </p:pic>
      <p:pic>
        <p:nvPicPr>
          <p:cNvPr id="87" name="그림 86"/>
          <p:cNvPicPr>
            <a:picLocks noChangeAspect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7848" y="5401882"/>
            <a:ext cx="2557238" cy="625357"/>
          </a:xfrm>
          <a:prstGeom prst="rect">
            <a:avLst/>
          </a:prstGeom>
        </p:spPr>
      </p:pic>
      <p:pic>
        <p:nvPicPr>
          <p:cNvPr id="78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788037" y="335433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10195" y="335335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16541" y="5269672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085964" y="531498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2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5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40080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분석 및 평가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지표 조회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산출에 사용되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Event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Indicator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조회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 지표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3 ML/TF </a:t>
            </a:r>
            <a:r>
              <a:rPr lang="ko-KR" altLang="en-US" dirty="0"/>
              <a:t>위험분석 및 평가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51840" y="2063818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연도 별로 각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Risk Category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의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Risk Event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로 실제 사용할 지표 리스트를 조회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956218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717484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711905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890288"/>
              <a:ext cx="2175498" cy="1308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 연도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등급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Risk Event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Indicator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의 리스트를 조회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Event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와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Level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을 조회 조건에서 선택할 수 있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당해 년도에 </a:t>
              </a:r>
              <a:r>
                <a:rPr lang="en-US" altLang="ko-KR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산출 대상을 정의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할 수 있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Indicator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를 클릭하는 경우 세부 내용을 조회할 수 있는 화면으로 이동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658799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674954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10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9142" y="2210820"/>
            <a:ext cx="6300323" cy="417050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8739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분석 및 평가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산출 결과 조회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영업점별 서비스 별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isk Category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별로 산출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을 조회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 산출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3 ML/TF </a:t>
            </a:r>
            <a:r>
              <a:rPr lang="ko-KR" altLang="en-US" dirty="0"/>
              <a:t>위험분석 및 평가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51840" y="2069474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각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영업점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서비스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Risk Category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로 산출된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을 조회하는 화면 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부점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서비스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Risk Category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로 산출된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을 조회하는 화면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설명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844707"/>
              <a:ext cx="217549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회차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업점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Risk Category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서비스별 거래금액 및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core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605973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600394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613343"/>
              <a:ext cx="2175498" cy="17953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도 별로 각 부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서비스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Risk Category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로 산출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을 조회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노출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수는 부점의 서비스 별 거래금액 및 합계를 이용하여 각 서비스 별 및 합계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0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 척도 산출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사업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수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사업 위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에 따라 출력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수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노출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점수에 사업위험등급의 가중치를 부여하여 출력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 년도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가 끝난 이후에는 통합하여 조회할 수 있도록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381854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398009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1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514" y="2210596"/>
            <a:ext cx="6261051" cy="41707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67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분석 및 평가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모델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산출에 사용되는 가중치 및 비율을 관리할 수 있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 산출 결과 지표값 조회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3 ML/TF </a:t>
            </a:r>
            <a:r>
              <a:rPr lang="ko-KR" altLang="en-US" dirty="0"/>
              <a:t>위험분석 및 평가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9102" y="2060624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조회 조건에 따라 세부적으로 각 </a:t>
              </a:r>
              <a:r>
                <a:rPr lang="ko-KR" altLang="en-US" sz="1000" b="1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사업위험 지표별 위험 산출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결과의 상세 내역을 </a:t>
              </a:r>
              <a:r>
                <a:rPr lang="ko-KR" altLang="en-US" sz="1000" b="1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조회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할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수 있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859028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사업 위험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Indicator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결과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620294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614715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699188"/>
              <a:ext cx="2175498" cy="16158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조건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중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는 고객구성으로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결과는 개인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법인을 구분하지 않고 하나의 데이터로 처리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 검색 및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조회는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준법감시부에서 조회할 때만 노출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산출대상 부점에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할 때는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해당 부점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Data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만 조회할 수 있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 년도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든 평가가 끝난 이후에는 통합하여 조회할 수 있도록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구성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467699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483854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14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5653" y="2210595"/>
            <a:ext cx="6240572" cy="41707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1504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효과성 평가 모듈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영역별 통제활동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통제활동 평가를 위한 지표 관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평가 및 개선조치를 관리하는 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효과성 평가 주요 기능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4 </a:t>
            </a:r>
            <a:r>
              <a:rPr lang="ko-KR" altLang="en-US" dirty="0"/>
              <a:t>내부통제 효과성 </a:t>
            </a:r>
            <a:r>
              <a:rPr lang="ko-KR" altLang="en-US" dirty="0" smtClean="0"/>
              <a:t>평가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grpSp>
        <p:nvGrpSpPr>
          <p:cNvPr id="158" name="그룹 157"/>
          <p:cNvGrpSpPr/>
          <p:nvPr/>
        </p:nvGrpSpPr>
        <p:grpSpPr>
          <a:xfrm>
            <a:off x="6950308" y="2064695"/>
            <a:ext cx="2717684" cy="4420090"/>
            <a:chOff x="6951840" y="2060848"/>
            <a:chExt cx="2717684" cy="4420090"/>
          </a:xfrm>
        </p:grpSpPr>
        <p:sp>
          <p:nvSpPr>
            <p:cNvPr id="159" name="직사각형 158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60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61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62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99925"/>
              <a:ext cx="2165260" cy="123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활동에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대한 업무규정 관련 항목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FIU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 관련 항목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유형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Type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등의 관리 기능을 제공하여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활동에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대한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리 부담을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경감</a:t>
              </a: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endPara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활동에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대한 정성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정량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평가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기능을 시스템에서 제공하여 업무 편의성 제고 및 추적관리 기능 제공</a:t>
              </a:r>
            </a:p>
          </p:txBody>
        </p:sp>
        <p:sp>
          <p:nvSpPr>
            <p:cNvPr id="16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656301"/>
              <a:ext cx="1524456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통제 활동 관리 편의성 제고</a:t>
              </a:r>
            </a:p>
          </p:txBody>
        </p:sp>
        <p:pic>
          <p:nvPicPr>
            <p:cNvPr id="164" name="그림 163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656301"/>
              <a:ext cx="318769" cy="318769"/>
            </a:xfrm>
            <a:prstGeom prst="rect">
              <a:avLst/>
            </a:prstGeom>
          </p:spPr>
        </p:pic>
        <p:pic>
          <p:nvPicPr>
            <p:cNvPr id="167" name="그림 166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4681655"/>
              <a:ext cx="303240" cy="318769"/>
            </a:xfrm>
            <a:prstGeom prst="rect">
              <a:avLst/>
            </a:prstGeom>
          </p:spPr>
        </p:pic>
        <p:sp>
          <p:nvSpPr>
            <p:cNvPr id="168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4924931"/>
              <a:ext cx="2163474" cy="11285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주기 별 업무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apping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보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평가 결과 등에 대한 이력 관리 기능을 제공하여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 범위 확장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및 개선조치 활동에 대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Work-Flow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능 제공으로 보다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효율적인 개선조치 활동에 대한 추적관리 가능</a:t>
              </a:r>
            </a:p>
          </p:txBody>
        </p:sp>
        <p:sp>
          <p:nvSpPr>
            <p:cNvPr id="169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676388"/>
              <a:ext cx="216347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평가 주기 별 </a:t>
              </a:r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통제 활동 </a:t>
              </a:r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관리 체계</a:t>
              </a:r>
            </a:p>
          </p:txBody>
        </p:sp>
      </p:grpSp>
      <p:sp>
        <p:nvSpPr>
          <p:cNvPr id="4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52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3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4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6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7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8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9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0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3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4" name="Rectangle 11"/>
          <p:cNvSpPr>
            <a:spLocks noChangeAspect="1" noChangeArrowheads="1"/>
          </p:cNvSpPr>
          <p:nvPr/>
        </p:nvSpPr>
        <p:spPr bwMode="auto">
          <a:xfrm>
            <a:off x="1016732" y="2321652"/>
            <a:ext cx="164949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 영역별 통제활동 관리</a:t>
            </a:r>
          </a:p>
        </p:txBody>
      </p:sp>
      <p:sp>
        <p:nvSpPr>
          <p:cNvPr id="65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6" name="Rectangle 11"/>
          <p:cNvSpPr>
            <a:spLocks noChangeAspect="1" noChangeArrowheads="1"/>
          </p:cNvSpPr>
          <p:nvPr/>
        </p:nvSpPr>
        <p:spPr bwMode="auto">
          <a:xfrm>
            <a:off x="4307261" y="2321652"/>
            <a:ext cx="160620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통제활동 평가를 위한 지표 관리</a:t>
            </a:r>
          </a:p>
        </p:txBody>
      </p:sp>
      <p:sp>
        <p:nvSpPr>
          <p:cNvPr id="67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9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0" name="Rectangle 11"/>
          <p:cNvSpPr>
            <a:spLocks noChangeAspect="1" noChangeArrowheads="1"/>
          </p:cNvSpPr>
          <p:nvPr/>
        </p:nvSpPr>
        <p:spPr bwMode="auto">
          <a:xfrm>
            <a:off x="1299659" y="4373913"/>
            <a:ext cx="10836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설계유효성 평가 관리</a:t>
            </a:r>
          </a:p>
        </p:txBody>
      </p:sp>
      <p:sp>
        <p:nvSpPr>
          <p:cNvPr id="71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2" name="Rectangle 11"/>
          <p:cNvSpPr>
            <a:spLocks noChangeAspect="1" noChangeArrowheads="1"/>
          </p:cNvSpPr>
          <p:nvPr/>
        </p:nvSpPr>
        <p:spPr bwMode="auto">
          <a:xfrm>
            <a:off x="4568548" y="4373913"/>
            <a:ext cx="10836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효과성 평가 관리</a:t>
            </a:r>
          </a:p>
        </p:txBody>
      </p:sp>
      <p:sp>
        <p:nvSpPr>
          <p:cNvPr id="73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4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연도 별로 운영될 통제활동에 대하여 유형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내용 등의 세부 사항을 등록 및 수정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관리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활동 별로 업무규정 관련항목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관련 증빙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 유형 등을 등록 및 수정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관리하는 기능</a:t>
            </a:r>
          </a:p>
        </p:txBody>
      </p:sp>
      <p:sp>
        <p:nvSpPr>
          <p:cNvPr id="75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연도 별로 통제활동 테스트 절차 중 정량 </a:t>
            </a: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정성평가 대상인 건의 테스트 절차 관리 기능</a:t>
            </a:r>
          </a:p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테스트 결과에 대한 목표 값 관리 기능</a:t>
            </a:r>
          </a:p>
        </p:txBody>
      </p:sp>
      <p:sp>
        <p:nvSpPr>
          <p:cNvPr id="76" name="Rs27"/>
          <p:cNvSpPr>
            <a:spLocks noChangeAspect="1" noChangeArrowheads="1"/>
          </p:cNvSpPr>
          <p:nvPr/>
        </p:nvSpPr>
        <p:spPr bwMode="auto">
          <a:xfrm>
            <a:off x="446760" y="4743419"/>
            <a:ext cx="275533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활동의 설계유효성을 평가 및 승인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기준정보의 설계평가 대상부점에 설정된 부점에서 진행상황 점검 및 결과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취약점을 등록 및 승인하는 기능</a:t>
            </a:r>
          </a:p>
        </p:txBody>
      </p:sp>
      <p:sp>
        <p:nvSpPr>
          <p:cNvPr id="77" name="Rs27"/>
          <p:cNvSpPr>
            <a:spLocks noChangeAspect="1" noChangeArrowheads="1"/>
          </p:cNvSpPr>
          <p:nvPr/>
        </p:nvSpPr>
        <p:spPr bwMode="auto">
          <a:xfrm>
            <a:off x="3735436" y="4749368"/>
            <a:ext cx="2837744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기 설정된 평가회차 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부점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활동 별로 각 부점의 통제활동 운영평가를 진행하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결과 등록 및 승인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운영효과성 평가를 위한 체크리스트 및 입력 양식 확정 기능</a:t>
            </a:r>
          </a:p>
        </p:txBody>
      </p:sp>
      <p:pic>
        <p:nvPicPr>
          <p:cNvPr id="83" name="그림 82"/>
          <p:cNvPicPr>
            <a:picLocks noChangeAspect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30" y="3437600"/>
            <a:ext cx="2555597" cy="639472"/>
          </a:xfrm>
          <a:prstGeom prst="rect">
            <a:avLst/>
          </a:prstGeom>
        </p:spPr>
      </p:pic>
      <p:pic>
        <p:nvPicPr>
          <p:cNvPr id="84" name="그림 8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0585" y="3354454"/>
            <a:ext cx="1939556" cy="720000"/>
          </a:xfrm>
          <a:prstGeom prst="rect">
            <a:avLst/>
          </a:prstGeom>
        </p:spPr>
      </p:pic>
      <p:pic>
        <p:nvPicPr>
          <p:cNvPr id="86" name="그림 85"/>
          <p:cNvPicPr>
            <a:picLocks noChangeAspect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76" y="5397491"/>
            <a:ext cx="2670100" cy="612000"/>
          </a:xfrm>
          <a:prstGeom prst="rect">
            <a:avLst/>
          </a:prstGeom>
        </p:spPr>
      </p:pic>
      <p:pic>
        <p:nvPicPr>
          <p:cNvPr id="88" name="그림 87"/>
          <p:cNvPicPr>
            <a:picLocks noChangeAspect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483" y="5397491"/>
            <a:ext cx="2568604" cy="623967"/>
          </a:xfrm>
          <a:prstGeom prst="rect">
            <a:avLst/>
          </a:prstGeom>
        </p:spPr>
      </p:pic>
      <p:pic>
        <p:nvPicPr>
          <p:cNvPr id="78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56359" y="334933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58151" y="5263382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15535" y="529109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819682" y="334933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2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5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022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효과성 평가 모듈의 주요 기능인 통제활동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설계된 통제활동을 각 업무 별로 조회 및 관리할 수 있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AML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업무 영역 별 통제활동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4 </a:t>
            </a:r>
            <a:r>
              <a:rPr lang="ko-KR" altLang="en-US" dirty="0"/>
              <a:t>내부통제 효과성 평가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214" y="2054587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연도 별로 운영될 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활동의 리스트를 각 업무 영역 별로 조회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하는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화면</a:t>
              </a:r>
              <a:endPara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892875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상 부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관련 정보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654141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648562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806716"/>
              <a:ext cx="2175498" cy="1436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해당 화면은 리스트를 조회하는 화면이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지표의 상세 내용은 해당 지표 더블 클릭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가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삭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정 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 화면으로 이동되도록 구현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엑셀 업로드를 통하여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ontrol Matrix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에 정의된 모든 항목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updat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할 수 있도록 구성 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연도에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특정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을 운영할지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여부를 그리드 내 사용여부에서 선택하도록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575227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591382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21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2" y="2204558"/>
            <a:ext cx="6222613" cy="417676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1720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효과성 평가 모듈의 주요 기능인 통제활동 상세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설계된 통제활동을 조회 및 관리할 수 있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통제활동 평가를 위한 지표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4 </a:t>
            </a:r>
            <a:r>
              <a:rPr lang="ko-KR" altLang="en-US" dirty="0"/>
              <a:t>내부통제 효과성 평가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214" y="2054355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743013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각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활동의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유형 및 </a:t>
              </a:r>
              <a:r>
                <a:rPr lang="ko-KR" altLang="en-US" sz="1000" b="1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활동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기술 내용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 등 상세 내용을 등록 및 수정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리하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499389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499389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619419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상 부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관련 정보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380685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375106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254667"/>
              <a:ext cx="2175498" cy="2103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화면에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리스트를 조회 후 특정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선택하면 이동하는 상세 관리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역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Process, Sub Process, 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은 변경 불가능하도록 설정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해당 화면으로 직접 이동은 불가능하도록 구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화면을 통해서만 이동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ampling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여부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영역 중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3.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확인의무에 해당하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중 실제 거래를 통하여 통제 운영효과성을 검토하는 항목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운영 여부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As-Is, As-Is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일부 보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To-Be, 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가로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023178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039333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17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5127" y="2204325"/>
            <a:ext cx="6208569" cy="417700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48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효과성 평가 모듈의 주요 기능인 통제활동 설계평가 진행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모든 통제활동이 적절하게 설계되었는지를 목적적합성과 운영가능성으로 평가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통제활동 설계평가 진행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4 </a:t>
            </a:r>
            <a:r>
              <a:rPr lang="ko-KR" altLang="en-US" dirty="0"/>
              <a:t>내부통제 효과성 평가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2876" y="2056069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다양한 본부부서에서 연도별로 모든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활동에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대하여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활동의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설계에 대하여 평가하는 화면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847000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보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608266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602687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626264"/>
              <a:ext cx="2175498" cy="16158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연도 별로 확정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에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하여 다양한 본부부서에서 평가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는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목적적합성과 운영가능성으로 구분하여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0% ~ 100%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로 평가됨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도중 </a:t>
              </a:r>
              <a:r>
                <a:rPr lang="ko-KR" altLang="en-US" sz="1000" b="1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의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가 미진한 영역이 확인되는 경우 중장기 개선과제로 등록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하여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변경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도별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에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결과를 이용하여 통제효과성이 산출되므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결과 입력에 유의하여야 함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394775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410930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19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2" y="2204325"/>
            <a:ext cx="6210085" cy="417700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4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548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2 </a:t>
            </a:r>
            <a:r>
              <a:rPr lang="ko-KR" altLang="en-US" dirty="0" smtClean="0"/>
              <a:t>구축 범위 </a:t>
            </a:r>
            <a:r>
              <a:rPr lang="en-US" altLang="ko-KR" dirty="0" smtClean="0"/>
              <a:t>(2/2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범위는 아래와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구축 범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8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</a:p>
        </p:txBody>
      </p:sp>
      <p:sp>
        <p:nvSpPr>
          <p:cNvPr id="29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30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9521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en-US" altLang="ko-KR" sz="1000" dirty="0" smtClean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10" name="직사각형 309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283770" y="2349417"/>
            <a:ext cx="1692000" cy="41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1" name="직사각형 310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8099068" y="4473292"/>
            <a:ext cx="1548000" cy="15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2" name="직사각형 311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8099068" y="3393068"/>
            <a:ext cx="1548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4" name="직사각형 313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8099068" y="2339865"/>
            <a:ext cx="1548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0" name="AutoShape 362" descr="TCP-52"/>
          <p:cNvSpPr>
            <a:spLocks noChangeArrowheads="1"/>
          </p:cNvSpPr>
          <p:nvPr/>
        </p:nvSpPr>
        <p:spPr bwMode="auto">
          <a:xfrm rot="5400000">
            <a:off x="99417" y="4097189"/>
            <a:ext cx="4192385" cy="216000"/>
          </a:xfrm>
          <a:prstGeom prst="roundRect">
            <a:avLst>
              <a:gd name="adj" fmla="val 50000"/>
            </a:avLst>
          </a:prstGeom>
          <a:solidFill>
            <a:srgbClr val="A1D8FF"/>
          </a:solidFill>
          <a:ln w="25400" cap="flat" cmpd="sng" algn="ctr">
            <a:noFill/>
            <a:prstDash val="solid"/>
          </a:ln>
          <a:effec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1" name="직사각형 340"/>
          <p:cNvSpPr/>
          <p:nvPr/>
        </p:nvSpPr>
        <p:spPr>
          <a:xfrm>
            <a:off x="641365" y="2136451"/>
            <a:ext cx="969955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egacy System</a:t>
            </a:r>
          </a:p>
        </p:txBody>
      </p:sp>
      <p:sp>
        <p:nvSpPr>
          <p:cNvPr id="342" name="직사각형 341"/>
          <p:cNvSpPr/>
          <p:nvPr/>
        </p:nvSpPr>
        <p:spPr>
          <a:xfrm>
            <a:off x="8534271" y="2136451"/>
            <a:ext cx="657841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본점 담당자</a:t>
            </a:r>
          </a:p>
        </p:txBody>
      </p:sp>
      <p:pic>
        <p:nvPicPr>
          <p:cNvPr id="343" name="그림 3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3829" y="2399453"/>
            <a:ext cx="424515" cy="300199"/>
          </a:xfrm>
          <a:prstGeom prst="rect">
            <a:avLst/>
          </a:prstGeom>
        </p:spPr>
      </p:pic>
      <p:pic>
        <p:nvPicPr>
          <p:cNvPr id="344" name="그림 3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0120" y="2398297"/>
            <a:ext cx="408350" cy="301354"/>
          </a:xfrm>
          <a:prstGeom prst="rect">
            <a:avLst/>
          </a:prstGeom>
        </p:spPr>
      </p:pic>
      <p:pic>
        <p:nvPicPr>
          <p:cNvPr id="345" name="그림 3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6096" y="2398297"/>
            <a:ext cx="530069" cy="301354"/>
          </a:xfrm>
          <a:prstGeom prst="rect">
            <a:avLst/>
          </a:prstGeom>
        </p:spPr>
      </p:pic>
      <p:sp>
        <p:nvSpPr>
          <p:cNvPr id="346" name="직사각형 345"/>
          <p:cNvSpPr/>
          <p:nvPr/>
        </p:nvSpPr>
        <p:spPr>
          <a:xfrm>
            <a:off x="8241433" y="2702187"/>
            <a:ext cx="269304" cy="24622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 w="0"/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본점</a:t>
            </a:r>
            <a:endParaRPr kumimoji="1" lang="en-US" altLang="ko-KR" sz="800" b="0" i="0" u="none" strike="noStrike" kern="0" cap="none" spc="0" normalizeH="0" baseline="0" noProof="0" dirty="0" smtClean="0">
              <a:ln w="0"/>
              <a:solidFill>
                <a:srgbClr val="333333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 w="0"/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책임자</a:t>
            </a:r>
          </a:p>
        </p:txBody>
      </p:sp>
      <p:sp>
        <p:nvSpPr>
          <p:cNvPr id="347" name="직사각형 346"/>
          <p:cNvSpPr/>
          <p:nvPr/>
        </p:nvSpPr>
        <p:spPr>
          <a:xfrm>
            <a:off x="8712842" y="2702187"/>
            <a:ext cx="269304" cy="24622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본점</a:t>
            </a:r>
            <a:endParaRPr kumimoji="1" lang="en-US" altLang="ko-KR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</a:t>
            </a:r>
          </a:p>
        </p:txBody>
      </p:sp>
      <p:sp>
        <p:nvSpPr>
          <p:cNvPr id="348" name="직사각형 347"/>
          <p:cNvSpPr/>
          <p:nvPr/>
        </p:nvSpPr>
        <p:spPr>
          <a:xfrm>
            <a:off x="9196478" y="2702187"/>
            <a:ext cx="269304" cy="24622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스템</a:t>
            </a:r>
            <a:endParaRPr kumimoji="1" lang="ko-KR" altLang="en-US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자</a:t>
            </a:r>
          </a:p>
        </p:txBody>
      </p:sp>
      <p:sp>
        <p:nvSpPr>
          <p:cNvPr id="349" name="직사각형 348"/>
          <p:cNvSpPr/>
          <p:nvPr/>
        </p:nvSpPr>
        <p:spPr>
          <a:xfrm>
            <a:off x="8472649" y="3188583"/>
            <a:ext cx="781084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영업점 담당자</a:t>
            </a:r>
          </a:p>
        </p:txBody>
      </p:sp>
      <p:pic>
        <p:nvPicPr>
          <p:cNvPr id="350" name="그림 34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4287" y="3451586"/>
            <a:ext cx="424515" cy="300199"/>
          </a:xfrm>
          <a:prstGeom prst="rect">
            <a:avLst/>
          </a:prstGeom>
        </p:spPr>
      </p:pic>
      <p:pic>
        <p:nvPicPr>
          <p:cNvPr id="351" name="그림 3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8425" y="3450430"/>
            <a:ext cx="408350" cy="301354"/>
          </a:xfrm>
          <a:prstGeom prst="rect">
            <a:avLst/>
          </a:prstGeom>
        </p:spPr>
      </p:pic>
      <p:sp>
        <p:nvSpPr>
          <p:cNvPr id="352" name="직사각형 351"/>
          <p:cNvSpPr/>
          <p:nvPr/>
        </p:nvSpPr>
        <p:spPr>
          <a:xfrm>
            <a:off x="8452094" y="3757151"/>
            <a:ext cx="268898" cy="24055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</a:t>
            </a:r>
            <a:endParaRPr kumimoji="1" lang="ko-KR" altLang="en-US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책임자</a:t>
            </a:r>
          </a:p>
        </p:txBody>
      </p:sp>
      <p:sp>
        <p:nvSpPr>
          <p:cNvPr id="353" name="직사각형 352"/>
          <p:cNvSpPr/>
          <p:nvPr/>
        </p:nvSpPr>
        <p:spPr>
          <a:xfrm>
            <a:off x="9001350" y="3757151"/>
            <a:ext cx="268898" cy="24055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</a:t>
            </a:r>
            <a:endParaRPr kumimoji="1" lang="en-US" altLang="ko-KR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</a:t>
            </a:r>
          </a:p>
        </p:txBody>
      </p:sp>
      <p:sp>
        <p:nvSpPr>
          <p:cNvPr id="367" name="직사각형 366"/>
          <p:cNvSpPr/>
          <p:nvPr/>
        </p:nvSpPr>
        <p:spPr>
          <a:xfrm>
            <a:off x="8498394" y="4270667"/>
            <a:ext cx="739469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외부기관연계</a:t>
            </a:r>
          </a:p>
        </p:txBody>
      </p:sp>
      <p:grpSp>
        <p:nvGrpSpPr>
          <p:cNvPr id="380" name="그룹 379"/>
          <p:cNvGrpSpPr/>
          <p:nvPr/>
        </p:nvGrpSpPr>
        <p:grpSpPr>
          <a:xfrm>
            <a:off x="8082587" y="6152831"/>
            <a:ext cx="1530083" cy="269687"/>
            <a:chOff x="8681070" y="6635466"/>
            <a:chExt cx="1626059" cy="328613"/>
          </a:xfrm>
        </p:grpSpPr>
        <p:sp>
          <p:nvSpPr>
            <p:cNvPr id="381" name="LcS19"/>
            <p:cNvSpPr>
              <a:spLocks noChangeArrowheads="1"/>
            </p:cNvSpPr>
            <p:nvPr/>
          </p:nvSpPr>
          <p:spPr bwMode="auto">
            <a:xfrm>
              <a:off x="8850932" y="6660866"/>
              <a:ext cx="1456197" cy="283368"/>
            </a:xfrm>
            <a:prstGeom prst="roundRect">
              <a:avLst>
                <a:gd name="adj" fmla="val 6389"/>
              </a:avLst>
            </a:prstGeom>
            <a:solidFill>
              <a:srgbClr val="FFFFFF"/>
            </a:solidFill>
            <a:ln w="6350" algn="ctr">
              <a:solidFill>
                <a:srgbClr val="C0C0C0"/>
              </a:solidFill>
              <a:round/>
              <a:headEnd/>
              <a:tailEnd/>
            </a:ln>
            <a:effectLst>
              <a:outerShdw dist="50800" dir="10800000" algn="ctr" rotWithShape="0">
                <a:srgbClr val="CCCCCC"/>
              </a:outerShdw>
            </a:effectLst>
          </p:spPr>
          <p:txBody>
            <a:bodyPr lIns="612000" tIns="36000" rIns="0" bIns="36000" anchor="ctr"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382" name="Group 408"/>
            <p:cNvGrpSpPr>
              <a:grpSpLocks/>
            </p:cNvGrpSpPr>
            <p:nvPr/>
          </p:nvGrpSpPr>
          <p:grpSpPr bwMode="auto">
            <a:xfrm>
              <a:off x="8681070" y="6635466"/>
              <a:ext cx="296862" cy="328613"/>
              <a:chOff x="2947" y="1398"/>
              <a:chExt cx="187" cy="207"/>
            </a:xfrm>
          </p:grpSpPr>
          <p:sp>
            <p:nvSpPr>
              <p:cNvPr id="389" name="Freeform 227"/>
              <p:cNvSpPr>
                <a:spLocks/>
              </p:cNvSpPr>
              <p:nvPr/>
            </p:nvSpPr>
            <p:spPr bwMode="auto">
              <a:xfrm rot="16200000" flipH="1">
                <a:off x="2990" y="1466"/>
                <a:ext cx="165" cy="114"/>
              </a:xfrm>
              <a:custGeom>
                <a:avLst/>
                <a:gdLst>
                  <a:gd name="T0" fmla="*/ 0 w 204"/>
                  <a:gd name="T1" fmla="*/ 2147483646 h 91"/>
                  <a:gd name="T2" fmla="*/ 393332724 w 204"/>
                  <a:gd name="T3" fmla="*/ 2147483646 h 91"/>
                  <a:gd name="T4" fmla="*/ 393332724 w 204"/>
                  <a:gd name="T5" fmla="*/ 0 h 91"/>
                  <a:gd name="T6" fmla="*/ 393332724 w 204"/>
                  <a:gd name="T7" fmla="*/ 0 h 91"/>
                  <a:gd name="T8" fmla="*/ 0 w 204"/>
                  <a:gd name="T9" fmla="*/ 2147483646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4"/>
                  <a:gd name="T16" fmla="*/ 0 h 91"/>
                  <a:gd name="T17" fmla="*/ 204 w 204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4" h="91">
                    <a:moveTo>
                      <a:pt x="0" y="91"/>
                    </a:moveTo>
                    <a:lnTo>
                      <a:pt x="136" y="91"/>
                    </a:lnTo>
                    <a:lnTo>
                      <a:pt x="204" y="0"/>
                    </a:lnTo>
                    <a:lnTo>
                      <a:pt x="68" y="0"/>
                    </a:lnTo>
                    <a:lnTo>
                      <a:pt x="0" y="9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4D4D4D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90" name="LcS20" descr="ob_조직도_흐름도_구성도(2)-02"/>
              <p:cNvSpPr>
                <a:spLocks noChangeArrowheads="1"/>
              </p:cNvSpPr>
              <p:nvPr/>
            </p:nvSpPr>
            <p:spPr bwMode="auto">
              <a:xfrm>
                <a:off x="2947" y="1398"/>
                <a:ext cx="187" cy="152"/>
              </a:xfrm>
              <a:prstGeom prst="roundRect">
                <a:avLst>
                  <a:gd name="adj" fmla="val 7500"/>
                </a:avLst>
              </a:prstGeom>
              <a:gradFill flip="none" rotWithShape="1">
                <a:gsLst>
                  <a:gs pos="20000">
                    <a:srgbClr val="23A2E1"/>
                  </a:gs>
                  <a:gs pos="57000">
                    <a:srgbClr val="1672D3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25400" cap="flat" cmpd="sng" algn="ctr">
                <a:noFill/>
                <a:prstDash val="solid"/>
              </a:ln>
              <a:effectLst>
                <a:outerShdw blurRad="76200" dir="18900000" sy="23000" kx="-1200000" algn="bl" rotWithShape="0">
                  <a:prstClr val="black">
                    <a:alpha val="25000"/>
                  </a:prstClr>
                </a:outerShdw>
              </a:effectLst>
            </p:spPr>
            <p:txBody>
              <a:bodyPr lIns="0" tIns="36000" rIns="0" bIns="36000" rtlCol="0" anchor="ctr"/>
              <a:lstStyle/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prstClr val="white"/>
                        </a:gs>
                        <a:gs pos="100000">
                          <a:prstClr val="white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범례</a:t>
                </a:r>
                <a:endParaRPr kumimoji="1" lang="ko-KR" altLang="en-US" sz="1000" b="0" i="0" u="none" strike="noStrike" kern="0" cap="none" spc="-100" normalizeH="0" baseline="0" noProof="0" dirty="0" smtClean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83" name="그룹 382"/>
            <p:cNvGrpSpPr/>
            <p:nvPr/>
          </p:nvGrpSpPr>
          <p:grpSpPr>
            <a:xfrm>
              <a:off x="9198334" y="6722736"/>
              <a:ext cx="861578" cy="164880"/>
              <a:chOff x="9068419" y="6722736"/>
              <a:chExt cx="861578" cy="164880"/>
            </a:xfrm>
          </p:grpSpPr>
          <p:sp>
            <p:nvSpPr>
              <p:cNvPr id="387" name="LcShp 28" descr="어두운 상향 대각선"/>
              <p:cNvSpPr>
                <a:spLocks noChangeArrowheads="1"/>
              </p:cNvSpPr>
              <p:nvPr/>
            </p:nvSpPr>
            <p:spPr bwMode="auto">
              <a:xfrm>
                <a:off x="9465629" y="6722736"/>
                <a:ext cx="464368" cy="164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DB391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FDB39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5400" dir="5400000" algn="ctr" rotWithShape="0">
                        <a:srgbClr val="E4E8E6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algn="just" defTabSz="936625">
                  <a:lnSpc>
                    <a:spcPct val="110000"/>
                  </a:lnSpc>
                  <a:spcBef>
                    <a:spcPct val="25000"/>
                  </a:spcBef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1pPr>
                <a:lvl2pPr marL="742950" indent="-285750" algn="just" defTabSz="936625">
                  <a:lnSpc>
                    <a:spcPct val="110000"/>
                  </a:lnSpc>
                  <a:spcBef>
                    <a:spcPct val="25000"/>
                  </a:spcBef>
                  <a:buChar char="–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2pPr>
                <a:lvl3pPr marL="1143000" indent="-228600" algn="just" defTabSz="936625">
                  <a:lnSpc>
                    <a:spcPct val="110000"/>
                  </a:lnSpc>
                  <a:spcBef>
                    <a:spcPct val="25000"/>
                  </a:spcBef>
                  <a:buChar char="•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3pPr>
                <a:lvl4pPr marL="1600200" indent="-228600" algn="just" defTabSz="936625">
                  <a:lnSpc>
                    <a:spcPct val="110000"/>
                  </a:lnSpc>
                  <a:spcBef>
                    <a:spcPct val="25000"/>
                  </a:spcBef>
                  <a:buChar char="–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4pPr>
                <a:lvl5pPr marL="2057400" indent="-228600" algn="just" defTabSz="936625">
                  <a:lnSpc>
                    <a:spcPct val="110000"/>
                  </a:lnSpc>
                  <a:spcBef>
                    <a:spcPct val="25000"/>
                  </a:spcBef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5pPr>
                <a:lvl6pPr marL="25146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6pPr>
                <a:lvl7pPr marL="29718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7pPr>
                <a:lvl8pPr marL="34290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8pPr>
                <a:lvl9pPr marL="38862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9pPr>
              </a:lstStyle>
              <a:p>
                <a:pPr marL="0" marR="0" lvl="0" indent="0" algn="l" defTabSz="936625" eaLnBrk="1" fontAlgn="base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20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cs typeface="Arial" charset="0"/>
                  </a:rPr>
                  <a:t>구축 범위</a:t>
                </a:r>
                <a:endParaRPr kumimoji="1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88" name="직사각형 387"/>
              <p:cNvSpPr/>
              <p:nvPr/>
            </p:nvSpPr>
            <p:spPr>
              <a:xfrm>
                <a:off x="9068419" y="6733301"/>
                <a:ext cx="304181" cy="143749"/>
              </a:xfrm>
              <a:prstGeom prst="rect">
                <a:avLst/>
              </a:prstGeom>
              <a:noFill/>
              <a:ln w="19050" cap="flat" cmpd="sng" algn="ctr">
                <a:solidFill>
                  <a:srgbClr val="CA106B"/>
                </a:solidFill>
                <a:prstDash val="solid"/>
                <a:tailEnd type="none"/>
              </a:ln>
              <a:effectLst/>
            </p:spPr>
            <p:txBody>
              <a:bodyPr/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sp>
        <p:nvSpPr>
          <p:cNvPr id="391" name="AutoShape 65"/>
          <p:cNvSpPr>
            <a:spLocks noChangeArrowheads="1"/>
          </p:cNvSpPr>
          <p:nvPr/>
        </p:nvSpPr>
        <p:spPr bwMode="auto">
          <a:xfrm>
            <a:off x="8171068" y="4770675"/>
            <a:ext cx="1404000" cy="1240871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92" name="AutoShape 137" descr="90%"/>
          <p:cNvSpPr>
            <a:spLocks noChangeArrowheads="1"/>
          </p:cNvSpPr>
          <p:nvPr/>
        </p:nvSpPr>
        <p:spPr bwMode="auto">
          <a:xfrm>
            <a:off x="8245592" y="4825293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97" name="직사각형 396"/>
          <p:cNvSpPr/>
          <p:nvPr/>
        </p:nvSpPr>
        <p:spPr>
          <a:xfrm>
            <a:off x="8544148" y="4853791"/>
            <a:ext cx="657841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평가 시스템</a:t>
            </a:r>
          </a:p>
        </p:txBody>
      </p:sp>
      <p:sp>
        <p:nvSpPr>
          <p:cNvPr id="398" name="AutoShape 137" descr="90%"/>
          <p:cNvSpPr>
            <a:spLocks noChangeArrowheads="1"/>
          </p:cNvSpPr>
          <p:nvPr/>
        </p:nvSpPr>
        <p:spPr bwMode="auto">
          <a:xfrm>
            <a:off x="8245592" y="5063711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99" name="직사각형 398"/>
          <p:cNvSpPr/>
          <p:nvPr/>
        </p:nvSpPr>
        <p:spPr>
          <a:xfrm>
            <a:off x="8454515" y="5092205"/>
            <a:ext cx="837106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정금융분석 시스템</a:t>
            </a:r>
          </a:p>
        </p:txBody>
      </p:sp>
      <p:sp>
        <p:nvSpPr>
          <p:cNvPr id="403" name="AutoShape 137" descr="90%"/>
          <p:cNvSpPr>
            <a:spLocks noChangeArrowheads="1"/>
          </p:cNvSpPr>
          <p:nvPr/>
        </p:nvSpPr>
        <p:spPr bwMode="auto">
          <a:xfrm>
            <a:off x="8245592" y="5302129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04" name="직사각형 403"/>
          <p:cNvSpPr/>
          <p:nvPr/>
        </p:nvSpPr>
        <p:spPr>
          <a:xfrm>
            <a:off x="8604170" y="5330623"/>
            <a:ext cx="537796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행지표관리</a:t>
            </a:r>
          </a:p>
        </p:txBody>
      </p:sp>
      <p:sp>
        <p:nvSpPr>
          <p:cNvPr id="407" name="AutoShape 137" descr="90%"/>
          <p:cNvSpPr>
            <a:spLocks noChangeArrowheads="1"/>
          </p:cNvSpPr>
          <p:nvPr/>
        </p:nvSpPr>
        <p:spPr bwMode="auto">
          <a:xfrm>
            <a:off x="8245592" y="5540547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08" name="직사각형 407"/>
          <p:cNvSpPr/>
          <p:nvPr/>
        </p:nvSpPr>
        <p:spPr>
          <a:xfrm>
            <a:off x="8402497" y="5569041"/>
            <a:ext cx="941143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en-US" altLang="ko-KR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/CTR </a:t>
            </a: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접수 시스템</a:t>
            </a:r>
          </a:p>
        </p:txBody>
      </p:sp>
      <p:sp>
        <p:nvSpPr>
          <p:cNvPr id="409" name="AutoShape 137" descr="90%"/>
          <p:cNvSpPr>
            <a:spLocks noChangeArrowheads="1"/>
          </p:cNvSpPr>
          <p:nvPr/>
        </p:nvSpPr>
        <p:spPr bwMode="auto">
          <a:xfrm>
            <a:off x="8245592" y="5778967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35" name="직사각형 434"/>
          <p:cNvSpPr/>
          <p:nvPr/>
        </p:nvSpPr>
        <p:spPr>
          <a:xfrm>
            <a:off x="8536146" y="5807461"/>
            <a:ext cx="673845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보공유</a:t>
            </a:r>
            <a:r>
              <a:rPr kumimoji="1" lang="en-US" altLang="ko-KR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드백</a:t>
            </a:r>
          </a:p>
        </p:txBody>
      </p:sp>
      <p:sp>
        <p:nvSpPr>
          <p:cNvPr id="436" name="F5273"/>
          <p:cNvSpPr txBox="1">
            <a:spLocks noChangeAspect="1" noChangeArrowheads="1"/>
          </p:cNvSpPr>
          <p:nvPr/>
        </p:nvSpPr>
        <p:spPr bwMode="auto">
          <a:xfrm rot="5400000">
            <a:off x="1686614" y="4120679"/>
            <a:ext cx="1017990" cy="169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harsh" dir="tl"/>
            </a:scene3d>
            <a:sp3d prstMaterial="flat">
              <a:bevelT w="0" h="0" prst="artDeco"/>
              <a:extrusionClr>
                <a:schemeClr val="bg1"/>
              </a:extrusionClr>
              <a:contourClr>
                <a:schemeClr val="bg1"/>
              </a:contourClr>
            </a:sp3d>
          </a:bodyPr>
          <a:lstStyle>
            <a:defPPr>
              <a:defRPr lang="ko-KR"/>
            </a:defPPr>
            <a:lvl1pPr algn="ctr" latinLnBrk="0"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80000"/>
              <a:tabLst>
                <a:tab pos="5648325" algn="l"/>
              </a:tabLst>
              <a:defRPr sz="1300" b="1">
                <a:solidFill>
                  <a:srgbClr val="000000"/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</a:lstStyle>
          <a:p>
            <a:pPr marL="0" marR="0" lvl="0" indent="0" algn="ctr" defTabSz="801337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80000"/>
              <a:buFontTx/>
              <a:buNone/>
              <a:tabLst>
                <a:tab pos="5648325" algn="l"/>
              </a:tabLst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DC / ETL </a:t>
            </a:r>
            <a:r>
              <a:rPr kumimoji="1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AI</a:t>
            </a:r>
            <a:endParaRPr kumimoji="1" lang="en-US" altLang="ko-KR" sz="11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437" name="그룹 436"/>
          <p:cNvGrpSpPr/>
          <p:nvPr/>
        </p:nvGrpSpPr>
        <p:grpSpPr>
          <a:xfrm>
            <a:off x="280718" y="2063892"/>
            <a:ext cx="1692000" cy="277200"/>
            <a:chOff x="281303" y="2183586"/>
            <a:chExt cx="2160240" cy="252000"/>
          </a:xfrm>
        </p:grpSpPr>
        <p:sp>
          <p:nvSpPr>
            <p:cNvPr id="438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100" kern="0" dirty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Legacy System</a:t>
              </a:r>
            </a:p>
          </p:txBody>
        </p:sp>
        <p:sp>
          <p:nvSpPr>
            <p:cNvPr id="439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40" name="그룹 439"/>
          <p:cNvGrpSpPr/>
          <p:nvPr/>
        </p:nvGrpSpPr>
        <p:grpSpPr>
          <a:xfrm>
            <a:off x="8099068" y="2063892"/>
            <a:ext cx="1548000" cy="277200"/>
            <a:chOff x="281303" y="2183586"/>
            <a:chExt cx="2160240" cy="252000"/>
          </a:xfrm>
        </p:grpSpPr>
        <p:sp>
          <p:nvSpPr>
            <p:cNvPr id="448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본점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49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50" name="그룹 449"/>
          <p:cNvGrpSpPr/>
          <p:nvPr/>
        </p:nvGrpSpPr>
        <p:grpSpPr>
          <a:xfrm>
            <a:off x="8099068" y="3112255"/>
            <a:ext cx="1548000" cy="277200"/>
            <a:chOff x="281303" y="2183586"/>
            <a:chExt cx="2160240" cy="252000"/>
          </a:xfrm>
        </p:grpSpPr>
        <p:sp>
          <p:nvSpPr>
            <p:cNvPr id="451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</a:t>
              </a:r>
              <a:r>
                <a:rPr kumimoji="1" lang="ko-KR" altLang="en-US" sz="1100" kern="0" dirty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업</a:t>
              </a: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점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52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53" name="그룹 452"/>
          <p:cNvGrpSpPr/>
          <p:nvPr/>
        </p:nvGrpSpPr>
        <p:grpSpPr>
          <a:xfrm>
            <a:off x="8099068" y="4189709"/>
            <a:ext cx="1548000" cy="277200"/>
            <a:chOff x="281303" y="2183586"/>
            <a:chExt cx="2160240" cy="252000"/>
          </a:xfrm>
        </p:grpSpPr>
        <p:sp>
          <p:nvSpPr>
            <p:cNvPr id="454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외부기관 연계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55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56" name="그룹 455"/>
          <p:cNvGrpSpPr/>
          <p:nvPr/>
        </p:nvGrpSpPr>
        <p:grpSpPr>
          <a:xfrm>
            <a:off x="352718" y="4313213"/>
            <a:ext cx="1548000" cy="619830"/>
            <a:chOff x="352718" y="4286240"/>
            <a:chExt cx="1548000" cy="619830"/>
          </a:xfrm>
        </p:grpSpPr>
        <p:sp>
          <p:nvSpPr>
            <p:cNvPr id="457" name="AutoShape 65"/>
            <p:cNvSpPr>
              <a:spLocks noChangeArrowheads="1"/>
            </p:cNvSpPr>
            <p:nvPr/>
          </p:nvSpPr>
          <p:spPr bwMode="auto">
            <a:xfrm>
              <a:off x="352718" y="4510070"/>
              <a:ext cx="1548000" cy="396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58" name="직사각형 457"/>
            <p:cNvSpPr/>
            <p:nvPr/>
          </p:nvSpPr>
          <p:spPr>
            <a:xfrm>
              <a:off x="876402" y="4309173"/>
              <a:ext cx="492980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종합감사</a:t>
              </a:r>
            </a:p>
          </p:txBody>
        </p:sp>
        <p:grpSp>
          <p:nvGrpSpPr>
            <p:cNvPr id="459" name="그룹 458"/>
            <p:cNvGrpSpPr/>
            <p:nvPr/>
          </p:nvGrpSpPr>
          <p:grpSpPr>
            <a:xfrm>
              <a:off x="589537" y="4555283"/>
              <a:ext cx="1062606" cy="288000"/>
              <a:chOff x="135991" y="2943278"/>
              <a:chExt cx="1187397" cy="468312"/>
            </a:xfrm>
          </p:grpSpPr>
          <p:pic>
            <p:nvPicPr>
              <p:cNvPr id="463" name="Picture 159" descr="Untitled-13-14"/>
              <p:cNvPicPr>
                <a:picLocks noChangeAspect="1" noChangeArrowheads="1"/>
              </p:cNvPicPr>
              <p:nvPr/>
            </p:nvPicPr>
            <p:blipFill>
              <a:blip r:embed="rId5" cstate="print">
                <a:lum bright="-30000" contrast="4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991" y="2943278"/>
                <a:ext cx="1187397" cy="4683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12700" dir="2700000" algn="tl" rotWithShape="0">
                  <a:srgbClr val="000000">
                    <a:alpha val="79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64" name="직사각형 463"/>
              <p:cNvSpPr/>
              <p:nvPr/>
            </p:nvSpPr>
            <p:spPr>
              <a:xfrm>
                <a:off x="370461" y="3088760"/>
                <a:ext cx="718457" cy="17735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업무로그</a:t>
                </a:r>
                <a:endParaRPr kumimoji="1" lang="en-US" altLang="ko-KR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60" name="그룹 459"/>
            <p:cNvGrpSpPr/>
            <p:nvPr/>
          </p:nvGrpSpPr>
          <p:grpSpPr>
            <a:xfrm>
              <a:off x="352718" y="4286240"/>
              <a:ext cx="1548000" cy="216000"/>
              <a:chOff x="-1799742" y="3848929"/>
              <a:chExt cx="1800200" cy="252000"/>
            </a:xfrm>
          </p:grpSpPr>
          <p:sp>
            <p:nvSpPr>
              <p:cNvPr id="461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종합감사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462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465" name="그룹 464"/>
          <p:cNvGrpSpPr/>
          <p:nvPr/>
        </p:nvGrpSpPr>
        <p:grpSpPr>
          <a:xfrm>
            <a:off x="352718" y="5060694"/>
            <a:ext cx="1548000" cy="614500"/>
            <a:chOff x="352718" y="4988780"/>
            <a:chExt cx="1548000" cy="614500"/>
          </a:xfrm>
        </p:grpSpPr>
        <p:sp>
          <p:nvSpPr>
            <p:cNvPr id="466" name="직사각형 465"/>
            <p:cNvSpPr/>
            <p:nvPr/>
          </p:nvSpPr>
          <p:spPr>
            <a:xfrm>
              <a:off x="938024" y="5006382"/>
              <a:ext cx="369734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정보계</a:t>
              </a:r>
            </a:p>
          </p:txBody>
        </p:sp>
        <p:sp>
          <p:nvSpPr>
            <p:cNvPr id="467" name="AutoShape 65"/>
            <p:cNvSpPr>
              <a:spLocks noChangeArrowheads="1"/>
            </p:cNvSpPr>
            <p:nvPr/>
          </p:nvSpPr>
          <p:spPr bwMode="auto">
            <a:xfrm>
              <a:off x="352718" y="5207280"/>
              <a:ext cx="1548000" cy="396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468" name="그룹 467"/>
            <p:cNvGrpSpPr/>
            <p:nvPr/>
          </p:nvGrpSpPr>
          <p:grpSpPr>
            <a:xfrm>
              <a:off x="390305" y="5262756"/>
              <a:ext cx="720000" cy="288000"/>
              <a:chOff x="135991" y="2943278"/>
              <a:chExt cx="1187397" cy="468312"/>
            </a:xfrm>
          </p:grpSpPr>
          <p:pic>
            <p:nvPicPr>
              <p:cNvPr id="475" name="Picture 159" descr="Untitled-13-14"/>
              <p:cNvPicPr>
                <a:picLocks noChangeAspect="1" noChangeArrowheads="1"/>
              </p:cNvPicPr>
              <p:nvPr/>
            </p:nvPicPr>
            <p:blipFill>
              <a:blip r:embed="rId5" cstate="print">
                <a:lum bright="-30000" contrast="4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991" y="2943278"/>
                <a:ext cx="1187397" cy="4683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12700" dir="2700000" algn="tl" rotWithShape="0">
                  <a:srgbClr val="000000">
                    <a:alpha val="79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76" name="직사각형 475"/>
              <p:cNvSpPr/>
              <p:nvPr/>
            </p:nvSpPr>
            <p:spPr>
              <a:xfrm>
                <a:off x="370461" y="3088760"/>
                <a:ext cx="718458" cy="17735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DW</a:t>
                </a:r>
              </a:p>
            </p:txBody>
          </p:sp>
        </p:grpSp>
        <p:grpSp>
          <p:nvGrpSpPr>
            <p:cNvPr id="469" name="그룹 468"/>
            <p:cNvGrpSpPr/>
            <p:nvPr/>
          </p:nvGrpSpPr>
          <p:grpSpPr>
            <a:xfrm>
              <a:off x="1135019" y="5271992"/>
              <a:ext cx="720000" cy="288000"/>
              <a:chOff x="135991" y="2943278"/>
              <a:chExt cx="1187397" cy="468312"/>
            </a:xfrm>
          </p:grpSpPr>
          <p:pic>
            <p:nvPicPr>
              <p:cNvPr id="473" name="Picture 159" descr="Untitled-13-14"/>
              <p:cNvPicPr>
                <a:picLocks noChangeAspect="1" noChangeArrowheads="1"/>
              </p:cNvPicPr>
              <p:nvPr/>
            </p:nvPicPr>
            <p:blipFill>
              <a:blip r:embed="rId5" cstate="print">
                <a:lum bright="-30000" contrast="4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991" y="2943278"/>
                <a:ext cx="1187397" cy="4683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12700" dir="2700000" algn="tl" rotWithShape="0">
                  <a:srgbClr val="000000">
                    <a:alpha val="79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74" name="직사각형 473"/>
              <p:cNvSpPr/>
              <p:nvPr/>
            </p:nvSpPr>
            <p:spPr>
              <a:xfrm>
                <a:off x="178129" y="3088757"/>
                <a:ext cx="1103121" cy="17735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운영</a:t>
                </a:r>
                <a:r>
                  <a:rPr kumimoji="1" lang="en-US" altLang="ko-KR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CRM</a:t>
                </a:r>
              </a:p>
            </p:txBody>
          </p:sp>
        </p:grpSp>
        <p:grpSp>
          <p:nvGrpSpPr>
            <p:cNvPr id="470" name="그룹 469"/>
            <p:cNvGrpSpPr/>
            <p:nvPr/>
          </p:nvGrpSpPr>
          <p:grpSpPr>
            <a:xfrm>
              <a:off x="352718" y="4988780"/>
              <a:ext cx="1548000" cy="216000"/>
              <a:chOff x="-1799742" y="3848929"/>
              <a:chExt cx="1800200" cy="252000"/>
            </a:xfrm>
          </p:grpSpPr>
          <p:sp>
            <p:nvSpPr>
              <p:cNvPr id="471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정보계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472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477" name="그룹 476"/>
          <p:cNvGrpSpPr/>
          <p:nvPr/>
        </p:nvGrpSpPr>
        <p:grpSpPr>
          <a:xfrm>
            <a:off x="352718" y="5802844"/>
            <a:ext cx="1548000" cy="614488"/>
            <a:chOff x="352718" y="5766840"/>
            <a:chExt cx="1548000" cy="614488"/>
          </a:xfrm>
        </p:grpSpPr>
        <p:sp>
          <p:nvSpPr>
            <p:cNvPr id="478" name="직사각형 477"/>
            <p:cNvSpPr/>
            <p:nvPr/>
          </p:nvSpPr>
          <p:spPr>
            <a:xfrm>
              <a:off x="711545" y="5787020"/>
              <a:ext cx="822700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단위 업무 영역</a:t>
              </a:r>
            </a:p>
          </p:txBody>
        </p:sp>
        <p:sp>
          <p:nvSpPr>
            <p:cNvPr id="479" name="AutoShape 65"/>
            <p:cNvSpPr>
              <a:spLocks noChangeArrowheads="1"/>
            </p:cNvSpPr>
            <p:nvPr/>
          </p:nvSpPr>
          <p:spPr bwMode="auto">
            <a:xfrm>
              <a:off x="352718" y="5987917"/>
              <a:ext cx="1548000" cy="39341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480" name="그룹 479"/>
            <p:cNvGrpSpPr/>
            <p:nvPr/>
          </p:nvGrpSpPr>
          <p:grpSpPr>
            <a:xfrm>
              <a:off x="414705" y="6059214"/>
              <a:ext cx="1414763" cy="236356"/>
              <a:chOff x="-201287" y="5328577"/>
              <a:chExt cx="1503506" cy="288000"/>
            </a:xfrm>
          </p:grpSpPr>
          <p:sp>
            <p:nvSpPr>
              <p:cNvPr id="484" name="AutoShape 137" descr="90%"/>
              <p:cNvSpPr>
                <a:spLocks noChangeArrowheads="1"/>
              </p:cNvSpPr>
              <p:nvPr/>
            </p:nvSpPr>
            <p:spPr bwMode="auto">
              <a:xfrm>
                <a:off x="-201287" y="5328577"/>
                <a:ext cx="1503506" cy="288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0" i="0" u="none" strike="noStrike" kern="0" cap="none" spc="-7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  <p:sp>
            <p:nvSpPr>
              <p:cNvPr id="485" name="직사각형 484"/>
              <p:cNvSpPr/>
              <p:nvPr/>
            </p:nvSpPr>
            <p:spPr>
              <a:xfrm>
                <a:off x="270232" y="5388199"/>
                <a:ext cx="560468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BPR</a:t>
                </a:r>
                <a:r>
                  <a:rPr kumimoji="1" lang="ko-KR" altLang="en-US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시스</a:t>
                </a:r>
                <a:r>
                  <a:rPr kumimoji="1" lang="ko-KR" altLang="en-US" sz="900" b="1" kern="0" dirty="0">
                    <a:ln w="0"/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템</a:t>
                </a:r>
                <a:endParaRPr kumimoji="1" lang="ko-KR" altLang="en-US" sz="1000" b="1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481" name="그룹 480"/>
            <p:cNvGrpSpPr/>
            <p:nvPr/>
          </p:nvGrpSpPr>
          <p:grpSpPr>
            <a:xfrm>
              <a:off x="352718" y="5766840"/>
              <a:ext cx="1548000" cy="216000"/>
              <a:chOff x="-1799742" y="3848929"/>
              <a:chExt cx="1800200" cy="252000"/>
            </a:xfrm>
          </p:grpSpPr>
          <p:sp>
            <p:nvSpPr>
              <p:cNvPr id="482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단위 업무 영업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483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486" name="그룹 485"/>
          <p:cNvGrpSpPr/>
          <p:nvPr/>
        </p:nvGrpSpPr>
        <p:grpSpPr>
          <a:xfrm>
            <a:off x="352718" y="3386417"/>
            <a:ext cx="1548000" cy="799145"/>
            <a:chOff x="352718" y="3396819"/>
            <a:chExt cx="1548000" cy="799145"/>
          </a:xfrm>
        </p:grpSpPr>
        <p:sp>
          <p:nvSpPr>
            <p:cNvPr id="487" name="AutoShape 65"/>
            <p:cNvSpPr>
              <a:spLocks noChangeArrowheads="1"/>
            </p:cNvSpPr>
            <p:nvPr/>
          </p:nvSpPr>
          <p:spPr bwMode="auto">
            <a:xfrm>
              <a:off x="352718" y="3619964"/>
              <a:ext cx="1548000" cy="576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88" name="직사각형 487"/>
            <p:cNvSpPr/>
            <p:nvPr/>
          </p:nvSpPr>
          <p:spPr>
            <a:xfrm>
              <a:off x="938025" y="3410677"/>
              <a:ext cx="369734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계정계</a:t>
              </a:r>
            </a:p>
          </p:txBody>
        </p:sp>
        <p:grpSp>
          <p:nvGrpSpPr>
            <p:cNvPr id="489" name="그룹 488"/>
            <p:cNvGrpSpPr/>
            <p:nvPr/>
          </p:nvGrpSpPr>
          <p:grpSpPr>
            <a:xfrm>
              <a:off x="381748" y="3664940"/>
              <a:ext cx="474252" cy="206812"/>
              <a:chOff x="-201293" y="1734580"/>
              <a:chExt cx="568391" cy="252000"/>
            </a:xfrm>
          </p:grpSpPr>
          <p:sp>
            <p:nvSpPr>
              <p:cNvPr id="508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09" name="직사각형 508"/>
              <p:cNvSpPr/>
              <p:nvPr/>
            </p:nvSpPr>
            <p:spPr>
              <a:xfrm>
                <a:off x="-38133" y="1776200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i="0" u="none" strike="noStrike" kern="0" cap="none" spc="0" normalizeH="0" baseline="0" noProof="0" dirty="0" smtClean="0">
                    <a:ln w="0"/>
                    <a:solidFill>
                      <a:srgbClr val="333333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수신</a:t>
                </a:r>
                <a:endParaRPr kumimoji="1" lang="en-US" altLang="ko-KR" sz="9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90" name="그룹 489"/>
            <p:cNvGrpSpPr/>
            <p:nvPr/>
          </p:nvGrpSpPr>
          <p:grpSpPr>
            <a:xfrm>
              <a:off x="381748" y="3925814"/>
              <a:ext cx="474252" cy="206812"/>
              <a:chOff x="-201293" y="2052455"/>
              <a:chExt cx="568391" cy="252000"/>
            </a:xfrm>
          </p:grpSpPr>
          <p:sp>
            <p:nvSpPr>
              <p:cNvPr id="506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2052455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07" name="직사각형 506"/>
              <p:cNvSpPr/>
              <p:nvPr/>
            </p:nvSpPr>
            <p:spPr>
              <a:xfrm>
                <a:off x="-38132" y="2094075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외환</a:t>
                </a:r>
              </a:p>
            </p:txBody>
          </p:sp>
        </p:grpSp>
        <p:grpSp>
          <p:nvGrpSpPr>
            <p:cNvPr id="491" name="그룹 490"/>
            <p:cNvGrpSpPr/>
            <p:nvPr/>
          </p:nvGrpSpPr>
          <p:grpSpPr>
            <a:xfrm>
              <a:off x="892786" y="3664940"/>
              <a:ext cx="474252" cy="206812"/>
              <a:chOff x="-201293" y="1734580"/>
              <a:chExt cx="568391" cy="252000"/>
            </a:xfrm>
          </p:grpSpPr>
          <p:sp>
            <p:nvSpPr>
              <p:cNvPr id="504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05" name="직사각형 504"/>
              <p:cNvSpPr/>
              <p:nvPr/>
            </p:nvSpPr>
            <p:spPr>
              <a:xfrm>
                <a:off x="-38133" y="1776200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여신</a:t>
                </a:r>
                <a:endParaRPr kumimoji="1" lang="en-US" altLang="ko-KR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92" name="그룹 491"/>
            <p:cNvGrpSpPr/>
            <p:nvPr/>
          </p:nvGrpSpPr>
          <p:grpSpPr>
            <a:xfrm>
              <a:off x="892786" y="3925814"/>
              <a:ext cx="474252" cy="206812"/>
              <a:chOff x="-201293" y="2052455"/>
              <a:chExt cx="568391" cy="252000"/>
            </a:xfrm>
          </p:grpSpPr>
          <p:sp>
            <p:nvSpPr>
              <p:cNvPr id="502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2052455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03" name="직사각형 502"/>
              <p:cNvSpPr/>
              <p:nvPr/>
            </p:nvSpPr>
            <p:spPr>
              <a:xfrm>
                <a:off x="-38132" y="2094075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방카</a:t>
                </a:r>
              </a:p>
            </p:txBody>
          </p:sp>
        </p:grpSp>
        <p:grpSp>
          <p:nvGrpSpPr>
            <p:cNvPr id="493" name="그룹 492"/>
            <p:cNvGrpSpPr/>
            <p:nvPr/>
          </p:nvGrpSpPr>
          <p:grpSpPr>
            <a:xfrm>
              <a:off x="352718" y="3396819"/>
              <a:ext cx="1548000" cy="216000"/>
              <a:chOff x="-1799742" y="3848929"/>
              <a:chExt cx="1800200" cy="252000"/>
            </a:xfrm>
          </p:grpSpPr>
          <p:sp>
            <p:nvSpPr>
              <p:cNvPr id="500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계정계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501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494" name="그룹 493"/>
            <p:cNvGrpSpPr/>
            <p:nvPr/>
          </p:nvGrpSpPr>
          <p:grpSpPr>
            <a:xfrm>
              <a:off x="1396842" y="3662406"/>
              <a:ext cx="474252" cy="206812"/>
              <a:chOff x="-201293" y="1734580"/>
              <a:chExt cx="568391" cy="252000"/>
            </a:xfrm>
          </p:grpSpPr>
          <p:sp>
            <p:nvSpPr>
              <p:cNvPr id="498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499" name="직사각형 498"/>
              <p:cNvSpPr/>
              <p:nvPr/>
            </p:nvSpPr>
            <p:spPr>
              <a:xfrm>
                <a:off x="-38133" y="1776200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카드</a:t>
                </a:r>
                <a:endParaRPr kumimoji="1" lang="en-US" altLang="ko-KR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95" name="그룹 494"/>
            <p:cNvGrpSpPr/>
            <p:nvPr/>
          </p:nvGrpSpPr>
          <p:grpSpPr>
            <a:xfrm>
              <a:off x="1396842" y="3923280"/>
              <a:ext cx="474252" cy="206812"/>
              <a:chOff x="-201293" y="2052455"/>
              <a:chExt cx="568391" cy="252000"/>
            </a:xfrm>
          </p:grpSpPr>
          <p:sp>
            <p:nvSpPr>
              <p:cNvPr id="496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2052455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497" name="직사각형 496"/>
              <p:cNvSpPr/>
              <p:nvPr/>
            </p:nvSpPr>
            <p:spPr>
              <a:xfrm>
                <a:off x="-38132" y="2094075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객</a:t>
                </a:r>
                <a:endParaRPr kumimoji="1" lang="ko-KR" altLang="en-US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grpSp>
        <p:nvGrpSpPr>
          <p:cNvPr id="510" name="그룹 509"/>
          <p:cNvGrpSpPr/>
          <p:nvPr/>
        </p:nvGrpSpPr>
        <p:grpSpPr>
          <a:xfrm>
            <a:off x="352718" y="2387622"/>
            <a:ext cx="1548000" cy="871144"/>
            <a:chOff x="352718" y="2453526"/>
            <a:chExt cx="1548000" cy="871144"/>
          </a:xfrm>
        </p:grpSpPr>
        <p:sp>
          <p:nvSpPr>
            <p:cNvPr id="511" name="AutoShape 65"/>
            <p:cNvSpPr>
              <a:spLocks noChangeArrowheads="1"/>
            </p:cNvSpPr>
            <p:nvPr/>
          </p:nvSpPr>
          <p:spPr bwMode="auto">
            <a:xfrm>
              <a:off x="352718" y="2676670"/>
              <a:ext cx="1548000" cy="648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512" name="그룹 511"/>
            <p:cNvGrpSpPr/>
            <p:nvPr/>
          </p:nvGrpSpPr>
          <p:grpSpPr>
            <a:xfrm>
              <a:off x="352718" y="2453526"/>
              <a:ext cx="1548000" cy="216000"/>
              <a:chOff x="-1799742" y="3848929"/>
              <a:chExt cx="1800200" cy="252000"/>
            </a:xfrm>
          </p:grpSpPr>
          <p:sp>
            <p:nvSpPr>
              <p:cNvPr id="525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계정계</a:t>
                </a:r>
                <a:r>
                  <a:rPr lang="en-US" altLang="ko-KR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(KYC)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526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513" name="그룹 512"/>
            <p:cNvGrpSpPr/>
            <p:nvPr/>
          </p:nvGrpSpPr>
          <p:grpSpPr>
            <a:xfrm>
              <a:off x="388730" y="2728938"/>
              <a:ext cx="720000" cy="252001"/>
              <a:chOff x="-201293" y="1734580"/>
              <a:chExt cx="568391" cy="252000"/>
            </a:xfrm>
          </p:grpSpPr>
          <p:sp>
            <p:nvSpPr>
              <p:cNvPr id="523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24" name="직사각형 523"/>
              <p:cNvSpPr/>
              <p:nvPr/>
            </p:nvSpPr>
            <p:spPr>
              <a:xfrm>
                <a:off x="-125901" y="1742172"/>
                <a:ext cx="417602" cy="236816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800" b="1" i="0" u="none" strike="noStrike" kern="0" cap="none" spc="0" normalizeH="0" baseline="0" noProof="0" dirty="0" smtClean="0">
                    <a:ln w="0"/>
                    <a:solidFill>
                      <a:srgbClr val="333333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객확인의무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(CDD/EDD)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14" name="그룹 513"/>
            <p:cNvGrpSpPr/>
            <p:nvPr/>
          </p:nvGrpSpPr>
          <p:grpSpPr>
            <a:xfrm>
              <a:off x="388730" y="3010431"/>
              <a:ext cx="720000" cy="252001"/>
              <a:chOff x="-201293" y="1734580"/>
              <a:chExt cx="568391" cy="252000"/>
            </a:xfrm>
          </p:grpSpPr>
          <p:sp>
            <p:nvSpPr>
              <p:cNvPr id="521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22" name="직사각형 521"/>
              <p:cNvSpPr/>
              <p:nvPr/>
            </p:nvSpPr>
            <p:spPr>
              <a:xfrm>
                <a:off x="-56301" y="1737470"/>
                <a:ext cx="278402" cy="24622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위험평가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(RA)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15" name="그룹 514"/>
            <p:cNvGrpSpPr/>
            <p:nvPr/>
          </p:nvGrpSpPr>
          <p:grpSpPr>
            <a:xfrm>
              <a:off x="1144894" y="2728901"/>
              <a:ext cx="720000" cy="252001"/>
              <a:chOff x="-201293" y="1734580"/>
              <a:chExt cx="568391" cy="252000"/>
            </a:xfrm>
          </p:grpSpPr>
          <p:sp>
            <p:nvSpPr>
              <p:cNvPr id="519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20" name="직사각형 519"/>
              <p:cNvSpPr/>
              <p:nvPr/>
            </p:nvSpPr>
            <p:spPr>
              <a:xfrm>
                <a:off x="-61365" y="1737469"/>
                <a:ext cx="288526" cy="24622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KYC</a:t>
                </a: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수행</a:t>
                </a:r>
                <a:endParaRPr kumimoji="1" lang="en-US" altLang="ko-KR" sz="800" b="1" kern="0" dirty="0" smtClean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공통모듈</a:t>
                </a:r>
                <a:endParaRPr kumimoji="1" lang="ko-KR" altLang="en-US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16" name="그룹 515"/>
            <p:cNvGrpSpPr/>
            <p:nvPr/>
          </p:nvGrpSpPr>
          <p:grpSpPr>
            <a:xfrm>
              <a:off x="1144894" y="3010394"/>
              <a:ext cx="720000" cy="252001"/>
              <a:chOff x="-201293" y="1734580"/>
              <a:chExt cx="568391" cy="252000"/>
            </a:xfrm>
          </p:grpSpPr>
          <p:sp>
            <p:nvSpPr>
              <p:cNvPr id="517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18" name="직사각형 517"/>
              <p:cNvSpPr/>
              <p:nvPr/>
            </p:nvSpPr>
            <p:spPr>
              <a:xfrm>
                <a:off x="-151210" y="1737470"/>
                <a:ext cx="468221" cy="24622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lvl="0" algn="ctr" defTabSz="101889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요주의리스트</a:t>
                </a:r>
                <a:endParaRPr kumimoji="1" lang="en-US" altLang="ko-KR" sz="8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lvl="0" algn="ctr" defTabSz="101889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필터링</a:t>
                </a:r>
                <a:r>
                  <a:rPr kumimoji="1" lang="en-US" altLang="ko-KR" sz="8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(</a:t>
                </a: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실시간</a:t>
                </a: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)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grpSp>
        <p:nvGrpSpPr>
          <p:cNvPr id="527" name="그룹 526"/>
          <p:cNvGrpSpPr/>
          <p:nvPr/>
        </p:nvGrpSpPr>
        <p:grpSpPr>
          <a:xfrm>
            <a:off x="8171068" y="4562512"/>
            <a:ext cx="1404000" cy="216000"/>
            <a:chOff x="-1799742" y="3848929"/>
            <a:chExt cx="1800200" cy="252000"/>
          </a:xfrm>
        </p:grpSpPr>
        <p:sp>
          <p:nvSpPr>
            <p:cNvPr id="528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금융정보분석원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29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530" name="직사각형 529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2424654" y="2349417"/>
            <a:ext cx="5458792" cy="41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1" name="직사각형 530"/>
          <p:cNvSpPr/>
          <p:nvPr/>
        </p:nvSpPr>
        <p:spPr>
          <a:xfrm>
            <a:off x="4820810" y="5764910"/>
            <a:ext cx="665003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데이터 마트</a:t>
            </a:r>
          </a:p>
        </p:txBody>
      </p:sp>
      <p:sp>
        <p:nvSpPr>
          <p:cNvPr id="532" name="AutoShape 65"/>
          <p:cNvSpPr>
            <a:spLocks noChangeArrowheads="1"/>
          </p:cNvSpPr>
          <p:nvPr/>
        </p:nvSpPr>
        <p:spPr bwMode="auto">
          <a:xfrm>
            <a:off x="2495179" y="5965808"/>
            <a:ext cx="5313224" cy="468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3" name="AutoShape 65"/>
          <p:cNvSpPr>
            <a:spLocks noChangeArrowheads="1"/>
          </p:cNvSpPr>
          <p:nvPr/>
        </p:nvSpPr>
        <p:spPr bwMode="auto">
          <a:xfrm>
            <a:off x="5585123" y="4603650"/>
            <a:ext cx="2183517" cy="1080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4" name="AutoShape 65"/>
          <p:cNvSpPr>
            <a:spLocks noChangeArrowheads="1"/>
          </p:cNvSpPr>
          <p:nvPr/>
        </p:nvSpPr>
        <p:spPr bwMode="auto">
          <a:xfrm>
            <a:off x="5183913" y="2600908"/>
            <a:ext cx="2620220" cy="1440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5" name="직사각형 534"/>
          <p:cNvSpPr/>
          <p:nvPr/>
        </p:nvSpPr>
        <p:spPr>
          <a:xfrm>
            <a:off x="3674133" y="2440887"/>
            <a:ext cx="297714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ML</a:t>
            </a:r>
          </a:p>
        </p:txBody>
      </p:sp>
      <p:sp>
        <p:nvSpPr>
          <p:cNvPr id="536" name="AutoShape 65"/>
          <p:cNvSpPr>
            <a:spLocks noChangeArrowheads="1"/>
          </p:cNvSpPr>
          <p:nvPr/>
        </p:nvSpPr>
        <p:spPr bwMode="auto">
          <a:xfrm>
            <a:off x="2512880" y="2600593"/>
            <a:ext cx="2620220" cy="313151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7" name="직사각형 536"/>
          <p:cNvSpPr/>
          <p:nvPr/>
        </p:nvSpPr>
        <p:spPr>
          <a:xfrm>
            <a:off x="4044153" y="2128934"/>
            <a:ext cx="2219909" cy="18041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기반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RBA)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방지시스템</a:t>
            </a:r>
          </a:p>
        </p:txBody>
      </p:sp>
      <p:sp>
        <p:nvSpPr>
          <p:cNvPr id="538" name="직사각형 537"/>
          <p:cNvSpPr/>
          <p:nvPr/>
        </p:nvSpPr>
        <p:spPr>
          <a:xfrm>
            <a:off x="6344420" y="2440887"/>
            <a:ext cx="281534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BA</a:t>
            </a:r>
          </a:p>
        </p:txBody>
      </p:sp>
      <p:grpSp>
        <p:nvGrpSpPr>
          <p:cNvPr id="539" name="그룹 538"/>
          <p:cNvGrpSpPr/>
          <p:nvPr/>
        </p:nvGrpSpPr>
        <p:grpSpPr>
          <a:xfrm>
            <a:off x="2522066" y="6019808"/>
            <a:ext cx="545879" cy="360000"/>
            <a:chOff x="2834585" y="6362879"/>
            <a:chExt cx="534131" cy="468312"/>
          </a:xfrm>
        </p:grpSpPr>
        <p:pic>
          <p:nvPicPr>
            <p:cNvPr id="540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4585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직사각형 540"/>
            <p:cNvSpPr/>
            <p:nvPr/>
          </p:nvSpPr>
          <p:spPr>
            <a:xfrm>
              <a:off x="2927237" y="6535438"/>
              <a:ext cx="348828" cy="12319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원시마트</a:t>
              </a:r>
              <a:endParaRPr kumimoji="1" lang="en-US" altLang="ko-KR" sz="800" b="1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42" name="그룹 541"/>
          <p:cNvGrpSpPr/>
          <p:nvPr/>
        </p:nvGrpSpPr>
        <p:grpSpPr>
          <a:xfrm>
            <a:off x="3082459" y="6019808"/>
            <a:ext cx="545879" cy="360000"/>
            <a:chOff x="3421575" y="6362879"/>
            <a:chExt cx="534131" cy="468312"/>
          </a:xfrm>
        </p:grpSpPr>
        <p:pic>
          <p:nvPicPr>
            <p:cNvPr id="543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1575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4" name="직사각형 543"/>
            <p:cNvSpPr/>
            <p:nvPr/>
          </p:nvSpPr>
          <p:spPr>
            <a:xfrm>
              <a:off x="3446047" y="6463577"/>
              <a:ext cx="485188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YC/WLF/</a:t>
              </a: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RA</a:t>
              </a:r>
              <a:endParaRPr kumimoji="1" lang="en-US" altLang="ko-KR" sz="800" b="1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45" name="그룹 544"/>
          <p:cNvGrpSpPr/>
          <p:nvPr/>
        </p:nvGrpSpPr>
        <p:grpSpPr>
          <a:xfrm>
            <a:off x="3642851" y="6019808"/>
            <a:ext cx="545879" cy="360000"/>
            <a:chOff x="4001493" y="6362879"/>
            <a:chExt cx="534131" cy="468312"/>
          </a:xfrm>
        </p:grpSpPr>
        <p:pic>
          <p:nvPicPr>
            <p:cNvPr id="546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1493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7" name="직사각형 546"/>
            <p:cNvSpPr/>
            <p:nvPr/>
          </p:nvSpPr>
          <p:spPr>
            <a:xfrm>
              <a:off x="4060850" y="6463576"/>
              <a:ext cx="415422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lert</a:t>
              </a:r>
              <a:endParaRPr kumimoji="1" lang="ko-KR" altLang="en-US" sz="800" b="1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48" name="그룹 547"/>
          <p:cNvGrpSpPr/>
          <p:nvPr/>
        </p:nvGrpSpPr>
        <p:grpSpPr>
          <a:xfrm>
            <a:off x="4203244" y="6019808"/>
            <a:ext cx="545879" cy="360000"/>
            <a:chOff x="4581411" y="6362879"/>
            <a:chExt cx="534131" cy="468312"/>
          </a:xfrm>
        </p:grpSpPr>
        <p:pic>
          <p:nvPicPr>
            <p:cNvPr id="549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1411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0" name="직사각형 549"/>
            <p:cNvSpPr/>
            <p:nvPr/>
          </p:nvSpPr>
          <p:spPr>
            <a:xfrm>
              <a:off x="4640766" y="6463576"/>
              <a:ext cx="415422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관련정</a:t>
              </a: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</a:t>
              </a:r>
              <a:endParaRPr kumimoji="1" lang="en-US" altLang="ko-KR" sz="800" b="1" kern="0" dirty="0" smtClean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51" name="그룹 550"/>
          <p:cNvGrpSpPr/>
          <p:nvPr/>
        </p:nvGrpSpPr>
        <p:grpSpPr>
          <a:xfrm>
            <a:off x="4763636" y="6019808"/>
            <a:ext cx="545879" cy="360000"/>
            <a:chOff x="5175473" y="6362879"/>
            <a:chExt cx="534131" cy="468312"/>
          </a:xfrm>
        </p:grpSpPr>
        <p:pic>
          <p:nvPicPr>
            <p:cNvPr id="552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5473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3" name="직사각형 552"/>
            <p:cNvSpPr/>
            <p:nvPr/>
          </p:nvSpPr>
          <p:spPr>
            <a:xfrm>
              <a:off x="5270002" y="6436885"/>
              <a:ext cx="345071" cy="32030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oFIU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고정</a:t>
              </a: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</a:t>
              </a:r>
            </a:p>
          </p:txBody>
        </p:sp>
      </p:grpSp>
      <p:grpSp>
        <p:nvGrpSpPr>
          <p:cNvPr id="554" name="그룹 553"/>
          <p:cNvGrpSpPr/>
          <p:nvPr/>
        </p:nvGrpSpPr>
        <p:grpSpPr>
          <a:xfrm>
            <a:off x="5324029" y="6019808"/>
            <a:ext cx="545879" cy="360000"/>
            <a:chOff x="5762463" y="6362879"/>
            <a:chExt cx="534131" cy="468312"/>
          </a:xfrm>
        </p:grpSpPr>
        <p:pic>
          <p:nvPicPr>
            <p:cNvPr id="555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2463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6" name="직사각형 555"/>
            <p:cNvSpPr/>
            <p:nvPr/>
          </p:nvSpPr>
          <p:spPr>
            <a:xfrm>
              <a:off x="5855115" y="6463576"/>
              <a:ext cx="348828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L/TF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노출위험</a:t>
              </a:r>
            </a:p>
          </p:txBody>
        </p:sp>
      </p:grpSp>
      <p:grpSp>
        <p:nvGrpSpPr>
          <p:cNvPr id="557" name="그룹 556"/>
          <p:cNvGrpSpPr/>
          <p:nvPr/>
        </p:nvGrpSpPr>
        <p:grpSpPr>
          <a:xfrm>
            <a:off x="5884421" y="6019808"/>
            <a:ext cx="545879" cy="360000"/>
            <a:chOff x="6342381" y="6362879"/>
            <a:chExt cx="534131" cy="468312"/>
          </a:xfrm>
        </p:grpSpPr>
        <p:pic>
          <p:nvPicPr>
            <p:cNvPr id="558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2381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9" name="직사각형 558"/>
            <p:cNvSpPr/>
            <p:nvPr/>
          </p:nvSpPr>
          <p:spPr>
            <a:xfrm>
              <a:off x="6430277" y="6463576"/>
              <a:ext cx="358342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L/TF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RI </a:t>
              </a: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관리</a:t>
              </a:r>
            </a:p>
          </p:txBody>
        </p:sp>
      </p:grpSp>
      <p:grpSp>
        <p:nvGrpSpPr>
          <p:cNvPr id="560" name="그룹 559"/>
          <p:cNvGrpSpPr/>
          <p:nvPr/>
        </p:nvGrpSpPr>
        <p:grpSpPr>
          <a:xfrm>
            <a:off x="6444813" y="6019808"/>
            <a:ext cx="545879" cy="360000"/>
            <a:chOff x="6922299" y="6362879"/>
            <a:chExt cx="534131" cy="468312"/>
          </a:xfrm>
        </p:grpSpPr>
        <p:pic>
          <p:nvPicPr>
            <p:cNvPr id="561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2299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2" name="직사각형 561"/>
            <p:cNvSpPr/>
            <p:nvPr/>
          </p:nvSpPr>
          <p:spPr>
            <a:xfrm>
              <a:off x="7014952" y="6463576"/>
              <a:ext cx="348828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L/TF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제활동</a:t>
              </a:r>
            </a:p>
          </p:txBody>
        </p:sp>
      </p:grpSp>
      <p:grpSp>
        <p:nvGrpSpPr>
          <p:cNvPr id="563" name="그룹 562"/>
          <p:cNvGrpSpPr/>
          <p:nvPr/>
        </p:nvGrpSpPr>
        <p:grpSpPr>
          <a:xfrm>
            <a:off x="7005203" y="6019808"/>
            <a:ext cx="545879" cy="360000"/>
            <a:chOff x="7509039" y="6362879"/>
            <a:chExt cx="534131" cy="468312"/>
          </a:xfrm>
        </p:grpSpPr>
        <p:pic>
          <p:nvPicPr>
            <p:cNvPr id="564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9039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5" name="직사각형 564"/>
            <p:cNvSpPr/>
            <p:nvPr/>
          </p:nvSpPr>
          <p:spPr>
            <a:xfrm>
              <a:off x="7601691" y="6530306"/>
              <a:ext cx="348828" cy="133459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계분석</a:t>
              </a:r>
            </a:p>
          </p:txBody>
        </p:sp>
      </p:grpSp>
      <p:cxnSp>
        <p:nvCxnSpPr>
          <p:cNvPr id="566" name="직선 연결선 565"/>
          <p:cNvCxnSpPr/>
          <p:nvPr/>
        </p:nvCxnSpPr>
        <p:spPr>
          <a:xfrm>
            <a:off x="7588229" y="6199808"/>
            <a:ext cx="182529" cy="0"/>
          </a:xfrm>
          <a:prstGeom prst="line">
            <a:avLst/>
          </a:prstGeom>
          <a:noFill/>
          <a:ln w="38100" cap="rnd" cmpd="sng" algn="ctr">
            <a:solidFill>
              <a:srgbClr val="FFFFFF">
                <a:lumMod val="50000"/>
              </a:srgbClr>
            </a:solidFill>
            <a:prstDash val="sysDot"/>
            <a:miter lim="800000"/>
          </a:ln>
          <a:effectLst/>
        </p:spPr>
      </p:cxnSp>
      <p:grpSp>
        <p:nvGrpSpPr>
          <p:cNvPr id="567" name="그룹 566"/>
          <p:cNvGrpSpPr/>
          <p:nvPr/>
        </p:nvGrpSpPr>
        <p:grpSpPr>
          <a:xfrm>
            <a:off x="2427565" y="2063892"/>
            <a:ext cx="5458792" cy="277200"/>
            <a:chOff x="281303" y="2183586"/>
            <a:chExt cx="2160240" cy="252000"/>
          </a:xfrm>
        </p:grpSpPr>
        <p:sp>
          <p:nvSpPr>
            <p:cNvPr id="568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자금세탁방지시스템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569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70" name="그룹 569"/>
          <p:cNvGrpSpPr/>
          <p:nvPr/>
        </p:nvGrpSpPr>
        <p:grpSpPr>
          <a:xfrm>
            <a:off x="2512880" y="2379384"/>
            <a:ext cx="2620220" cy="216000"/>
            <a:chOff x="-1799742" y="3848929"/>
            <a:chExt cx="1800200" cy="252000"/>
          </a:xfrm>
        </p:grpSpPr>
        <p:sp>
          <p:nvSpPr>
            <p:cNvPr id="571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AML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72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73" name="그룹 572"/>
          <p:cNvGrpSpPr/>
          <p:nvPr/>
        </p:nvGrpSpPr>
        <p:grpSpPr>
          <a:xfrm>
            <a:off x="5179453" y="2379384"/>
            <a:ext cx="2620220" cy="216000"/>
            <a:chOff x="-1799742" y="3848929"/>
            <a:chExt cx="1800200" cy="252000"/>
          </a:xfrm>
        </p:grpSpPr>
        <p:sp>
          <p:nvSpPr>
            <p:cNvPr id="574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75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76" name="그룹 575"/>
          <p:cNvGrpSpPr/>
          <p:nvPr/>
        </p:nvGrpSpPr>
        <p:grpSpPr>
          <a:xfrm>
            <a:off x="2496613" y="5742998"/>
            <a:ext cx="5313224" cy="216000"/>
            <a:chOff x="-1799742" y="3848929"/>
            <a:chExt cx="1800200" cy="252000"/>
          </a:xfrm>
        </p:grpSpPr>
        <p:sp>
          <p:nvSpPr>
            <p:cNvPr id="577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마트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78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cxnSp>
        <p:nvCxnSpPr>
          <p:cNvPr id="579" name="직선 연결선 578"/>
          <p:cNvCxnSpPr/>
          <p:nvPr/>
        </p:nvCxnSpPr>
        <p:spPr>
          <a:xfrm>
            <a:off x="5137505" y="4515061"/>
            <a:ext cx="436703" cy="0"/>
          </a:xfrm>
          <a:prstGeom prst="line">
            <a:avLst/>
          </a:pr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</p:cxnSp>
      <p:sp>
        <p:nvSpPr>
          <p:cNvPr id="580" name="자유형 579"/>
          <p:cNvSpPr/>
          <p:nvPr/>
        </p:nvSpPr>
        <p:spPr>
          <a:xfrm>
            <a:off x="5137507" y="4661494"/>
            <a:ext cx="175499" cy="1080000"/>
          </a:xfrm>
          <a:custGeom>
            <a:avLst/>
            <a:gdLst>
              <a:gd name="connsiteX0" fmla="*/ 0 w 325677"/>
              <a:gd name="connsiteY0" fmla="*/ 0 h 1089764"/>
              <a:gd name="connsiteX1" fmla="*/ 325677 w 325677"/>
              <a:gd name="connsiteY1" fmla="*/ 0 h 1089764"/>
              <a:gd name="connsiteX2" fmla="*/ 325677 w 325677"/>
              <a:gd name="connsiteY2" fmla="*/ 1089764 h 1089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677" h="1089764">
                <a:moveTo>
                  <a:pt x="0" y="0"/>
                </a:moveTo>
                <a:lnTo>
                  <a:pt x="325677" y="0"/>
                </a:lnTo>
                <a:lnTo>
                  <a:pt x="325677" y="1089764"/>
                </a:lnTo>
              </a:path>
            </a:pathLst>
          </a:cu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581" name="직선 연결선 580"/>
          <p:cNvCxnSpPr/>
          <p:nvPr/>
        </p:nvCxnSpPr>
        <p:spPr>
          <a:xfrm>
            <a:off x="5423924" y="4043516"/>
            <a:ext cx="0" cy="1692000"/>
          </a:xfrm>
          <a:prstGeom prst="line">
            <a:avLst/>
          </a:pr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</p:cxnSp>
      <p:grpSp>
        <p:nvGrpSpPr>
          <p:cNvPr id="582" name="그룹 581"/>
          <p:cNvGrpSpPr/>
          <p:nvPr/>
        </p:nvGrpSpPr>
        <p:grpSpPr>
          <a:xfrm>
            <a:off x="5579823" y="4384330"/>
            <a:ext cx="2183517" cy="216000"/>
            <a:chOff x="-1799742" y="3848929"/>
            <a:chExt cx="1800200" cy="252000"/>
          </a:xfrm>
        </p:grpSpPr>
        <p:sp>
          <p:nvSpPr>
            <p:cNvPr id="583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oFIU </a:t>
              </a:r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보고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84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85" name="그룹 584"/>
          <p:cNvGrpSpPr/>
          <p:nvPr/>
        </p:nvGrpSpPr>
        <p:grpSpPr>
          <a:xfrm>
            <a:off x="2562178" y="2640984"/>
            <a:ext cx="2521624" cy="690094"/>
            <a:chOff x="2558308" y="2748078"/>
            <a:chExt cx="2494466" cy="690094"/>
          </a:xfrm>
        </p:grpSpPr>
        <p:sp>
          <p:nvSpPr>
            <p:cNvPr id="586" name="직사각형 585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2558308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587" name="그룹 586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2558308" y="2748078"/>
              <a:ext cx="1224000" cy="180000"/>
              <a:chOff x="1079497" y="6523914"/>
              <a:chExt cx="1440200" cy="252000"/>
            </a:xfrm>
          </p:grpSpPr>
          <p:sp>
            <p:nvSpPr>
              <p:cNvPr id="596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latinLnBrk="0"/>
                <a:r>
                  <a:rPr lang="en-US" altLang="ko-KR" sz="10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KYC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  <p:sp>
            <p:nvSpPr>
              <p:cNvPr id="597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588" name="AutoShape 137" descr="90%"/>
            <p:cNvSpPr>
              <a:spLocks noChangeArrowheads="1"/>
            </p:cNvSpPr>
            <p:nvPr/>
          </p:nvSpPr>
          <p:spPr bwMode="auto">
            <a:xfrm>
              <a:off x="2594308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DD/EDD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보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89" name="AutoShape 137" descr="90%"/>
            <p:cNvSpPr>
              <a:spLocks noChangeArrowheads="1"/>
            </p:cNvSpPr>
            <p:nvPr/>
          </p:nvSpPr>
          <p:spPr bwMode="auto">
            <a:xfrm>
              <a:off x="2594308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 프로파일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90" name="직사각형 589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3828774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591" name="그룹 590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3828774" y="2748078"/>
              <a:ext cx="1224000" cy="180000"/>
              <a:chOff x="1079497" y="6523914"/>
              <a:chExt cx="1440200" cy="252000"/>
            </a:xfrm>
          </p:grpSpPr>
          <p:sp>
            <p:nvSpPr>
              <p:cNvPr id="594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latinLnBrk="0"/>
                <a:r>
                  <a:rPr lang="en-US" altLang="ko-KR" sz="10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WLF</a:t>
                </a:r>
                <a:endParaRPr lang="ko-KR" altLang="en-US" sz="10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  <p:sp>
            <p:nvSpPr>
              <p:cNvPr id="595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592" name="AutoShape 137" descr="90%"/>
            <p:cNvSpPr>
              <a:spLocks noChangeArrowheads="1"/>
            </p:cNvSpPr>
            <p:nvPr/>
          </p:nvSpPr>
          <p:spPr bwMode="auto">
            <a:xfrm>
              <a:off x="3864774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Watch List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93" name="AutoShape 137" descr="90%"/>
            <p:cNvSpPr>
              <a:spLocks noChangeArrowheads="1"/>
            </p:cNvSpPr>
            <p:nvPr/>
          </p:nvSpPr>
          <p:spPr bwMode="auto">
            <a:xfrm>
              <a:off x="3864774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요주의리스트 필터링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배치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598" name="그룹 597"/>
          <p:cNvGrpSpPr/>
          <p:nvPr/>
        </p:nvGrpSpPr>
        <p:grpSpPr>
          <a:xfrm>
            <a:off x="2562178" y="3369702"/>
            <a:ext cx="2521624" cy="690094"/>
            <a:chOff x="2558308" y="2748078"/>
            <a:chExt cx="2494466" cy="690094"/>
          </a:xfrm>
        </p:grpSpPr>
        <p:sp>
          <p:nvSpPr>
            <p:cNvPr id="599" name="직사각형 598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2558308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600" name="그룹 599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2558308" y="2748078"/>
              <a:ext cx="1224000" cy="180000"/>
              <a:chOff x="1079497" y="6523914"/>
              <a:chExt cx="1440200" cy="252000"/>
            </a:xfrm>
          </p:grpSpPr>
          <p:sp>
            <p:nvSpPr>
              <p:cNvPr id="609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latinLnBrk="0"/>
                <a:r>
                  <a:rPr lang="en-US" altLang="ko-KR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RA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  <p:sp>
            <p:nvSpPr>
              <p:cNvPr id="610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601" name="AutoShape 137" descr="90%"/>
            <p:cNvSpPr>
              <a:spLocks noChangeArrowheads="1"/>
            </p:cNvSpPr>
            <p:nvPr/>
          </p:nvSpPr>
          <p:spPr bwMode="auto">
            <a:xfrm>
              <a:off x="2594308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02" name="AutoShape 137" descr="90%"/>
            <p:cNvSpPr>
              <a:spLocks noChangeArrowheads="1"/>
            </p:cNvSpPr>
            <p:nvPr/>
          </p:nvSpPr>
          <p:spPr bwMode="auto">
            <a:xfrm>
              <a:off x="2594308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수행 결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03" name="직사각형 602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3828774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604" name="그룹 603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3828774" y="2748078"/>
              <a:ext cx="1224000" cy="180000"/>
              <a:chOff x="1079497" y="6523914"/>
              <a:chExt cx="1440200" cy="252000"/>
            </a:xfrm>
          </p:grpSpPr>
          <p:sp>
            <p:nvSpPr>
              <p:cNvPr id="607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ko-KR" altLang="en-US" sz="10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환거래 은행 관리</a:t>
                </a:r>
              </a:p>
            </p:txBody>
          </p:sp>
          <p:sp>
            <p:nvSpPr>
              <p:cNvPr id="608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605" name="AutoShape 137" descr="90%"/>
            <p:cNvSpPr>
              <a:spLocks noChangeArrowheads="1"/>
            </p:cNvSpPr>
            <p:nvPr/>
          </p:nvSpPr>
          <p:spPr bwMode="auto">
            <a:xfrm>
              <a:off x="3864774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 방안 마련</a:t>
              </a:r>
            </a:p>
          </p:txBody>
        </p:sp>
        <p:sp>
          <p:nvSpPr>
            <p:cNvPr id="606" name="AutoShape 137" descr="90%"/>
            <p:cNvSpPr>
              <a:spLocks noChangeArrowheads="1"/>
            </p:cNvSpPr>
            <p:nvPr/>
          </p:nvSpPr>
          <p:spPr bwMode="auto">
            <a:xfrm>
              <a:off x="3864774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외부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데이터 </a:t>
              </a:r>
              <a:r>
                <a:rPr kumimoji="1" lang="ko-KR" altLang="en-US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록 처리</a:t>
              </a:r>
            </a:p>
          </p:txBody>
        </p:sp>
      </p:grpSp>
      <p:sp>
        <p:nvSpPr>
          <p:cNvPr id="611" name="직사각형 610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2562178" y="4284514"/>
            <a:ext cx="1237326" cy="504000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grpSp>
        <p:nvGrpSpPr>
          <p:cNvPr id="612" name="그룹 611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2562178" y="4098420"/>
            <a:ext cx="1237326" cy="180000"/>
            <a:chOff x="1079497" y="6523914"/>
            <a:chExt cx="1440200" cy="252000"/>
          </a:xfrm>
        </p:grpSpPr>
        <p:sp>
          <p:nvSpPr>
            <p:cNvPr id="613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STR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14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15" name="AutoShape 137" descr="90%"/>
          <p:cNvSpPr>
            <a:spLocks noChangeArrowheads="1"/>
          </p:cNvSpPr>
          <p:nvPr/>
        </p:nvSpPr>
        <p:spPr bwMode="auto">
          <a:xfrm>
            <a:off x="2598570" y="4325215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 추출</a:t>
            </a:r>
            <a:r>
              <a: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kumimoji="1" lang="ko-KR" altLang="en-US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니터링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6" name="AutoShape 137" descr="90%"/>
          <p:cNvSpPr>
            <a:spLocks noChangeArrowheads="1"/>
          </p:cNvSpPr>
          <p:nvPr/>
        </p:nvSpPr>
        <p:spPr bwMode="auto">
          <a:xfrm>
            <a:off x="2598570" y="455319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en-US" altLang="ko-KR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ule </a:t>
            </a: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뮬레이션 관리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7" name="직사각형 616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3846476" y="4284514"/>
            <a:ext cx="1237326" cy="504000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grpSp>
        <p:nvGrpSpPr>
          <p:cNvPr id="618" name="그룹 617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3846476" y="4098420"/>
            <a:ext cx="1237326" cy="180000"/>
            <a:chOff x="1079497" y="6523914"/>
            <a:chExt cx="1440200" cy="252000"/>
          </a:xfrm>
        </p:grpSpPr>
        <p:sp>
          <p:nvSpPr>
            <p:cNvPr id="619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en-US" altLang="ko-KR" sz="10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CTR</a:t>
              </a:r>
              <a:endPara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20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21" name="AutoShape 137" descr="90%"/>
          <p:cNvSpPr>
            <a:spLocks noChangeArrowheads="1"/>
          </p:cNvSpPr>
          <p:nvPr/>
        </p:nvSpPr>
        <p:spPr bwMode="auto">
          <a:xfrm>
            <a:off x="3882868" y="4325215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액현금거래 추출</a:t>
            </a:r>
            <a:r>
              <a:rPr kumimoji="1" lang="en-US" altLang="ko-KR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니터</a:t>
            </a:r>
            <a:r>
              <a:rPr kumimoji="1" lang="ko-KR" altLang="en-US" sz="800" b="1" kern="0" dirty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링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22" name="AutoShape 137" descr="90%"/>
          <p:cNvSpPr>
            <a:spLocks noChangeArrowheads="1"/>
          </p:cNvSpPr>
          <p:nvPr/>
        </p:nvSpPr>
        <p:spPr bwMode="auto">
          <a:xfrm>
            <a:off x="3882868" y="455319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누락 및 에러 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23" name="AutoShape 137" descr="90%"/>
          <p:cNvSpPr>
            <a:spLocks noChangeArrowheads="1"/>
          </p:cNvSpPr>
          <p:nvPr/>
        </p:nvSpPr>
        <p:spPr bwMode="auto">
          <a:xfrm>
            <a:off x="2598570" y="549691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kern="0" noProof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외지점 관리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24" name="양쪽 모서리가 둥근 사각형 517">
            <a:extLst>
              <a:ext uri="{FF2B5EF4-FFF2-40B4-BE49-F238E27FC236}">
                <a16:creationId xmlns:a16="http://schemas.microsoft.com/office/drawing/2014/main" id="{E24B0519-96E8-4BD3-B8B3-65BB82E4A02F}"/>
              </a:ext>
            </a:extLst>
          </p:cNvPr>
          <p:cNvSpPr/>
          <p:nvPr/>
        </p:nvSpPr>
        <p:spPr>
          <a:xfrm>
            <a:off x="3846511" y="4827157"/>
            <a:ext cx="1237292" cy="10286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bg1">
                  <a:alpha val="80000"/>
                </a:schemeClr>
              </a:gs>
              <a:gs pos="45000">
                <a:schemeClr val="bg1">
                  <a:alpha val="35000"/>
                </a:schemeClr>
              </a:gs>
              <a:gs pos="83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25" name="AutoShape 137" descr="90%"/>
          <p:cNvSpPr>
            <a:spLocks noChangeArrowheads="1"/>
          </p:cNvSpPr>
          <p:nvPr/>
        </p:nvSpPr>
        <p:spPr bwMode="auto">
          <a:xfrm>
            <a:off x="3882868" y="5445244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 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626" name="그룹 625"/>
          <p:cNvGrpSpPr/>
          <p:nvPr/>
        </p:nvGrpSpPr>
        <p:grpSpPr>
          <a:xfrm>
            <a:off x="5253490" y="2661190"/>
            <a:ext cx="2466183" cy="252000"/>
            <a:chOff x="5223023" y="2661190"/>
            <a:chExt cx="2439622" cy="252000"/>
          </a:xfrm>
        </p:grpSpPr>
        <p:sp>
          <p:nvSpPr>
            <p:cNvPr id="627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정보 및 계획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28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노출위험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29" name="그룹 628"/>
          <p:cNvGrpSpPr/>
          <p:nvPr/>
        </p:nvGrpSpPr>
        <p:grpSpPr>
          <a:xfrm>
            <a:off x="5253490" y="3015934"/>
            <a:ext cx="2466183" cy="252000"/>
            <a:chOff x="5223023" y="2661190"/>
            <a:chExt cx="2439622" cy="252000"/>
          </a:xfrm>
        </p:grpSpPr>
        <p:sp>
          <p:nvSpPr>
            <p:cNvPr id="630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활동 관리</a:t>
              </a:r>
              <a:endParaRPr kumimoji="1" lang="en-US" altLang="ko-KR" sz="800" b="1" kern="0" dirty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31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32" name="그룹 631"/>
          <p:cNvGrpSpPr/>
          <p:nvPr/>
        </p:nvGrpSpPr>
        <p:grpSpPr>
          <a:xfrm>
            <a:off x="5253490" y="3370678"/>
            <a:ext cx="2466183" cy="252000"/>
            <a:chOff x="5223023" y="2661190"/>
            <a:chExt cx="2439622" cy="252000"/>
          </a:xfrm>
        </p:grpSpPr>
        <p:sp>
          <p:nvSpPr>
            <p:cNvPr id="633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AS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kumimoji="1" lang="en-US" altLang="ko-KR" sz="800" b="1" kern="0" dirty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34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35" name="그룹 634"/>
          <p:cNvGrpSpPr/>
          <p:nvPr/>
        </p:nvGrpSpPr>
        <p:grpSpPr>
          <a:xfrm>
            <a:off x="5253490" y="3725421"/>
            <a:ext cx="2466183" cy="252000"/>
            <a:chOff x="5223023" y="2661190"/>
            <a:chExt cx="2439622" cy="252000"/>
          </a:xfrm>
        </p:grpSpPr>
        <p:sp>
          <p:nvSpPr>
            <p:cNvPr id="636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37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계분석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cxnSp>
        <p:nvCxnSpPr>
          <p:cNvPr id="638" name="직선 연결선 637"/>
          <p:cNvCxnSpPr/>
          <p:nvPr/>
        </p:nvCxnSpPr>
        <p:spPr>
          <a:xfrm rot="5400000">
            <a:off x="6309723" y="4227049"/>
            <a:ext cx="360000" cy="0"/>
          </a:xfrm>
          <a:prstGeom prst="line">
            <a:avLst/>
          </a:pr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</p:cxnSp>
      <p:grpSp>
        <p:nvGrpSpPr>
          <p:cNvPr id="639" name="그룹 638"/>
          <p:cNvGrpSpPr/>
          <p:nvPr/>
        </p:nvGrpSpPr>
        <p:grpSpPr>
          <a:xfrm>
            <a:off x="5635768" y="4691616"/>
            <a:ext cx="2092396" cy="252000"/>
            <a:chOff x="5448784" y="2661190"/>
            <a:chExt cx="2069861" cy="252000"/>
          </a:xfrm>
        </p:grpSpPr>
        <p:sp>
          <p:nvSpPr>
            <p:cNvPr id="640" name="AutoShape 137" descr="90%"/>
            <p:cNvSpPr>
              <a:spLocks noChangeArrowheads="1"/>
            </p:cNvSpPr>
            <p:nvPr/>
          </p:nvSpPr>
          <p:spPr bwMode="auto">
            <a:xfrm>
              <a:off x="5448784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TR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endParaRPr kumimoji="1" lang="en-US" altLang="ko-KR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SND)</a:t>
              </a:r>
            </a:p>
          </p:txBody>
        </p:sp>
        <p:sp>
          <p:nvSpPr>
            <p:cNvPr id="641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TR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XML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42" name="그룹 641"/>
          <p:cNvGrpSpPr/>
          <p:nvPr/>
        </p:nvGrpSpPr>
        <p:grpSpPr>
          <a:xfrm>
            <a:off x="5627277" y="5019927"/>
            <a:ext cx="2092396" cy="252000"/>
            <a:chOff x="5448784" y="2661190"/>
            <a:chExt cx="2069861" cy="252000"/>
          </a:xfrm>
        </p:grpSpPr>
        <p:sp>
          <p:nvSpPr>
            <p:cNvPr id="643" name="AutoShape 137" descr="90%"/>
            <p:cNvSpPr>
              <a:spLocks noChangeArrowheads="1"/>
            </p:cNvSpPr>
            <p:nvPr/>
          </p:nvSpPr>
          <p:spPr bwMode="auto">
            <a:xfrm>
              <a:off x="5448784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</a:t>
              </a:r>
              <a:endParaRPr kumimoji="1" lang="en-US" altLang="ko-KR" sz="800" b="1" kern="0" noProof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r>
                <a:rPr kumimoji="1" lang="en-US" altLang="ko-KR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kumimoji="1" lang="ko-KR" altLang="en-US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성적</a:t>
              </a:r>
              <a:r>
                <a:rPr kumimoji="1" lang="en-US" altLang="ko-KR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44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행 지표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량적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45" name="그룹 644"/>
          <p:cNvGrpSpPr/>
          <p:nvPr/>
        </p:nvGrpSpPr>
        <p:grpSpPr>
          <a:xfrm>
            <a:off x="5627277" y="5352672"/>
            <a:ext cx="2092396" cy="252000"/>
            <a:chOff x="5448784" y="2661190"/>
            <a:chExt cx="2069861" cy="252000"/>
          </a:xfrm>
        </p:grpSpPr>
        <p:sp>
          <p:nvSpPr>
            <p:cNvPr id="646" name="AutoShape 137" descr="90%"/>
            <p:cNvSpPr>
              <a:spLocks noChangeArrowheads="1"/>
            </p:cNvSpPr>
            <p:nvPr/>
          </p:nvSpPr>
          <p:spPr bwMode="auto">
            <a:xfrm>
              <a:off x="5448784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결과</a:t>
              </a:r>
              <a:endParaRPr kumimoji="1" lang="en-US" altLang="ko-KR" sz="800" b="1" kern="0" noProof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</a:t>
              </a:r>
              <a:r>
                <a:rPr kumimoji="1" lang="ko-KR" altLang="en-US" sz="800" b="1" i="0" u="none" strike="noStrike" kern="0" cap="none" normalizeH="0" baseline="0" dirty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47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백업</a:t>
              </a:r>
              <a:r>
                <a:rPr kumimoji="1" lang="en-US" altLang="ko-KR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삭제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648" name="Rectangle 116"/>
          <p:cNvSpPr>
            <a:spLocks noChangeArrowheads="1"/>
          </p:cNvSpPr>
          <p:nvPr/>
        </p:nvSpPr>
        <p:spPr bwMode="auto">
          <a:xfrm>
            <a:off x="2360712" y="2060847"/>
            <a:ext cx="5577730" cy="4428000"/>
          </a:xfrm>
          <a:prstGeom prst="rect">
            <a:avLst/>
          </a:prstGeom>
          <a:noFill/>
          <a:ln w="25400" cap="flat" cmpd="sng" algn="ctr">
            <a:solidFill>
              <a:srgbClr val="CA106B"/>
            </a:solidFill>
            <a:prstDash val="solid"/>
            <a:tailEnd type="none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49" name="Rectangle 116"/>
          <p:cNvSpPr>
            <a:spLocks noChangeArrowheads="1"/>
          </p:cNvSpPr>
          <p:nvPr/>
        </p:nvSpPr>
        <p:spPr bwMode="auto">
          <a:xfrm>
            <a:off x="315165" y="2338990"/>
            <a:ext cx="1620000" cy="972000"/>
          </a:xfrm>
          <a:prstGeom prst="rect">
            <a:avLst/>
          </a:prstGeom>
          <a:noFill/>
          <a:ln w="25400" cap="flat" cmpd="sng" algn="ctr">
            <a:solidFill>
              <a:srgbClr val="CA106B"/>
            </a:solidFill>
            <a:prstDash val="solid"/>
            <a:tailEnd type="none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50" name="오른쪽 화살표 649"/>
          <p:cNvSpPr/>
          <p:nvPr/>
        </p:nvSpPr>
        <p:spPr bwMode="auto">
          <a:xfrm>
            <a:off x="7751355" y="4729700"/>
            <a:ext cx="396000" cy="360000"/>
          </a:xfrm>
          <a:prstGeom prst="rightArrow">
            <a:avLst>
              <a:gd name="adj1" fmla="val 65452"/>
              <a:gd name="adj2" fmla="val 40986"/>
            </a:avLst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  <a:ex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51" name="오른쪽 화살표 650"/>
          <p:cNvSpPr/>
          <p:nvPr/>
        </p:nvSpPr>
        <p:spPr bwMode="auto">
          <a:xfrm flipH="1">
            <a:off x="7751355" y="5086205"/>
            <a:ext cx="396000" cy="360000"/>
          </a:xfrm>
          <a:prstGeom prst="rightArrow">
            <a:avLst>
              <a:gd name="adj1" fmla="val 65452"/>
              <a:gd name="adj2" fmla="val 40986"/>
            </a:avLst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  <a:ex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52" name="직사각형 651"/>
          <p:cNvSpPr/>
          <p:nvPr/>
        </p:nvSpPr>
        <p:spPr>
          <a:xfrm>
            <a:off x="7763407" y="4802718"/>
            <a:ext cx="371897" cy="21544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70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행지표</a:t>
            </a:r>
          </a:p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en-US" altLang="ko-KR" sz="70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/STR</a:t>
            </a:r>
          </a:p>
        </p:txBody>
      </p:sp>
      <p:sp>
        <p:nvSpPr>
          <p:cNvPr id="653" name="직사각형 652"/>
          <p:cNvSpPr/>
          <p:nvPr/>
        </p:nvSpPr>
        <p:spPr>
          <a:xfrm>
            <a:off x="7782735" y="5212344"/>
            <a:ext cx="402026" cy="10772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70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결과</a:t>
            </a:r>
            <a:endParaRPr kumimoji="1" lang="en-US" altLang="ko-KR" sz="700" i="0" u="none" strike="noStrike" kern="0" cap="none" spc="0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654" name="그룹 653"/>
          <p:cNvGrpSpPr/>
          <p:nvPr/>
        </p:nvGrpSpPr>
        <p:grpSpPr>
          <a:xfrm>
            <a:off x="7733355" y="3521518"/>
            <a:ext cx="432000" cy="303526"/>
            <a:chOff x="8382501" y="3670318"/>
            <a:chExt cx="391903" cy="369846"/>
          </a:xfrm>
        </p:grpSpPr>
        <p:sp>
          <p:nvSpPr>
            <p:cNvPr id="655" name="오른쪽 화살표 654"/>
            <p:cNvSpPr/>
            <p:nvPr/>
          </p:nvSpPr>
          <p:spPr bwMode="auto">
            <a:xfrm rot="10800000" flipH="1" flipV="1">
              <a:off x="8547598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56" name="오른쪽 화살표 655"/>
            <p:cNvSpPr/>
            <p:nvPr/>
          </p:nvSpPr>
          <p:spPr bwMode="auto">
            <a:xfrm rot="10800000" flipV="1">
              <a:off x="8382501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57" name="그룹 656"/>
          <p:cNvGrpSpPr/>
          <p:nvPr/>
        </p:nvGrpSpPr>
        <p:grpSpPr>
          <a:xfrm>
            <a:off x="7733355" y="2597645"/>
            <a:ext cx="432000" cy="303526"/>
            <a:chOff x="8382501" y="3670318"/>
            <a:chExt cx="391903" cy="369846"/>
          </a:xfrm>
        </p:grpSpPr>
        <p:sp>
          <p:nvSpPr>
            <p:cNvPr id="658" name="오른쪽 화살표 657"/>
            <p:cNvSpPr/>
            <p:nvPr/>
          </p:nvSpPr>
          <p:spPr bwMode="auto">
            <a:xfrm rot="10800000" flipH="1" flipV="1">
              <a:off x="8547598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59" name="오른쪽 화살표 658"/>
            <p:cNvSpPr/>
            <p:nvPr/>
          </p:nvSpPr>
          <p:spPr bwMode="auto">
            <a:xfrm rot="10800000" flipV="1">
              <a:off x="8382501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60" name="그룹 659"/>
          <p:cNvGrpSpPr/>
          <p:nvPr/>
        </p:nvGrpSpPr>
        <p:grpSpPr>
          <a:xfrm>
            <a:off x="1926433" y="2829290"/>
            <a:ext cx="540000" cy="288000"/>
            <a:chOff x="8385363" y="3689236"/>
            <a:chExt cx="389041" cy="350928"/>
          </a:xfrm>
        </p:grpSpPr>
        <p:sp>
          <p:nvSpPr>
            <p:cNvPr id="661" name="오른쪽 화살표 660"/>
            <p:cNvSpPr/>
            <p:nvPr/>
          </p:nvSpPr>
          <p:spPr bwMode="auto">
            <a:xfrm rot="10800000" flipH="1" flipV="1">
              <a:off x="8550459" y="3689236"/>
              <a:ext cx="223945" cy="350928"/>
            </a:xfrm>
            <a:prstGeom prst="rightArrow">
              <a:avLst>
                <a:gd name="adj1" fmla="val 65452"/>
                <a:gd name="adj2" fmla="val 41815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62" name="오른쪽 화살표 661"/>
            <p:cNvSpPr/>
            <p:nvPr/>
          </p:nvSpPr>
          <p:spPr bwMode="auto">
            <a:xfrm rot="10800000" flipV="1">
              <a:off x="8385363" y="3689236"/>
              <a:ext cx="223945" cy="350928"/>
            </a:xfrm>
            <a:prstGeom prst="rightArrow">
              <a:avLst>
                <a:gd name="adj1" fmla="val 65452"/>
                <a:gd name="adj2" fmla="val 38991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63" name="그룹 662"/>
          <p:cNvGrpSpPr/>
          <p:nvPr/>
        </p:nvGrpSpPr>
        <p:grpSpPr>
          <a:xfrm>
            <a:off x="1926433" y="5090353"/>
            <a:ext cx="540000" cy="288000"/>
            <a:chOff x="8385363" y="3689236"/>
            <a:chExt cx="389041" cy="350928"/>
          </a:xfrm>
        </p:grpSpPr>
        <p:sp>
          <p:nvSpPr>
            <p:cNvPr id="664" name="오른쪽 화살표 663"/>
            <p:cNvSpPr/>
            <p:nvPr/>
          </p:nvSpPr>
          <p:spPr bwMode="auto">
            <a:xfrm rot="10800000" flipH="1" flipV="1">
              <a:off x="8550459" y="3689236"/>
              <a:ext cx="223945" cy="350928"/>
            </a:xfrm>
            <a:prstGeom prst="rightArrow">
              <a:avLst>
                <a:gd name="adj1" fmla="val 65452"/>
                <a:gd name="adj2" fmla="val 41815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65" name="오른쪽 화살표 664"/>
            <p:cNvSpPr/>
            <p:nvPr/>
          </p:nvSpPr>
          <p:spPr bwMode="auto">
            <a:xfrm rot="10800000" flipV="1">
              <a:off x="8385363" y="3689236"/>
              <a:ext cx="223945" cy="350928"/>
            </a:xfrm>
            <a:prstGeom prst="rightArrow">
              <a:avLst>
                <a:gd name="adj1" fmla="val 65452"/>
                <a:gd name="adj2" fmla="val 38991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666" name="직사각형 665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2570197" y="4840119"/>
            <a:ext cx="1237326" cy="420595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grpSp>
        <p:nvGrpSpPr>
          <p:cNvPr id="667" name="그룹 666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2570335" y="5271601"/>
            <a:ext cx="1237326" cy="180000"/>
            <a:chOff x="1079497" y="6523914"/>
            <a:chExt cx="1440200" cy="252000"/>
          </a:xfrm>
        </p:grpSpPr>
        <p:sp>
          <p:nvSpPr>
            <p:cNvPr id="668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해외지점 관리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69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70" name="AutoShape 137" descr="90%"/>
          <p:cNvSpPr>
            <a:spLocks noChangeArrowheads="1"/>
          </p:cNvSpPr>
          <p:nvPr/>
        </p:nvSpPr>
        <p:spPr bwMode="auto">
          <a:xfrm>
            <a:off x="2598570" y="5038075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직원알기제도</a:t>
            </a:r>
            <a:r>
              <a: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KYE)</a:t>
            </a:r>
          </a:p>
        </p:txBody>
      </p:sp>
      <p:grpSp>
        <p:nvGrpSpPr>
          <p:cNvPr id="671" name="그룹 670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2562092" y="4822072"/>
            <a:ext cx="1237326" cy="180000"/>
            <a:chOff x="1079497" y="6523914"/>
            <a:chExt cx="1440200" cy="252000"/>
          </a:xfrm>
        </p:grpSpPr>
        <p:sp>
          <p:nvSpPr>
            <p:cNvPr id="672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직원알기제도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73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74" name="직사각형 673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3845279" y="4832566"/>
            <a:ext cx="1237326" cy="864802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sp>
        <p:nvSpPr>
          <p:cNvPr id="675" name="AutoShape 137" descr="90%"/>
          <p:cNvSpPr>
            <a:spLocks noChangeArrowheads="1"/>
          </p:cNvSpPr>
          <p:nvPr/>
        </p:nvSpPr>
        <p:spPr bwMode="auto">
          <a:xfrm>
            <a:off x="3882868" y="5040196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이행점검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676" name="그룹 675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3842104" y="4817673"/>
            <a:ext cx="1237326" cy="180000"/>
            <a:chOff x="1079497" y="6523914"/>
            <a:chExt cx="1440200" cy="252000"/>
          </a:xfrm>
        </p:grpSpPr>
        <p:sp>
          <p:nvSpPr>
            <p:cNvPr id="677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내부통제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78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79" name="AutoShape 137" descr="90%"/>
          <p:cNvSpPr>
            <a:spLocks noChangeArrowheads="1"/>
          </p:cNvSpPr>
          <p:nvPr/>
        </p:nvSpPr>
        <p:spPr bwMode="auto">
          <a:xfrm>
            <a:off x="3882868" y="5269066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 성과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80" name="AutoShape 137" descr="90%"/>
          <p:cNvSpPr>
            <a:spLocks noChangeArrowheads="1"/>
          </p:cNvSpPr>
          <p:nvPr/>
        </p:nvSpPr>
        <p:spPr bwMode="auto">
          <a:xfrm>
            <a:off x="3882868" y="549074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44892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선조치 관리 모듈은 내부통제 설계평가 및 운영평가에 대한 취약점을 관리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취약점에 대한 개선조치 활동을 관리하는 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개선조치 관리 주요 기능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5 </a:t>
            </a:r>
            <a:r>
              <a:rPr lang="ko-KR" altLang="en-US" dirty="0"/>
              <a:t>개선조치 </a:t>
            </a:r>
            <a:r>
              <a:rPr lang="ko-KR" altLang="en-US" dirty="0" smtClean="0"/>
              <a:t>관리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grpSp>
        <p:nvGrpSpPr>
          <p:cNvPr id="155" name="그룹 154"/>
          <p:cNvGrpSpPr/>
          <p:nvPr/>
        </p:nvGrpSpPr>
        <p:grpSpPr>
          <a:xfrm>
            <a:off x="6940798" y="2056069"/>
            <a:ext cx="2717684" cy="4420090"/>
            <a:chOff x="6951840" y="2060848"/>
            <a:chExt cx="2717684" cy="4420090"/>
          </a:xfrm>
        </p:grpSpPr>
        <p:sp>
          <p:nvSpPr>
            <p:cNvPr id="156" name="직사각형 155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57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58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9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3112610"/>
              <a:ext cx="2165260" cy="923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내부통제 설계 평가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및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운영 평가를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수행한 후 도출된 취약점을 관리하여 전사 결과 집계 및 자가 평가에 대한 결과 확정 및 승인 처리 기능 제공으로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평가 결과에 대한 추적관리 가능으로 관리자의 편의성 확대</a:t>
              </a:r>
            </a:p>
          </p:txBody>
        </p:sp>
        <p:sp>
          <p:nvSpPr>
            <p:cNvPr id="160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868986"/>
              <a:ext cx="1647887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평가 결과 추적관리 기능 제공</a:t>
              </a:r>
            </a:p>
          </p:txBody>
        </p:sp>
        <p:pic>
          <p:nvPicPr>
            <p:cNvPr id="161" name="그림 160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868986"/>
              <a:ext cx="318769" cy="318769"/>
            </a:xfrm>
            <a:prstGeom prst="rect">
              <a:avLst/>
            </a:prstGeom>
          </p:spPr>
        </p:pic>
        <p:sp>
          <p:nvSpPr>
            <p:cNvPr id="162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5112575"/>
              <a:ext cx="2175496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및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평가에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한 발견 미비점에 대한 개선 계획 등록 및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계획에 대한 추적관리 기능 제공으로 관리자의 편의성 확대</a:t>
              </a:r>
            </a:p>
          </p:txBody>
        </p:sp>
        <p:sp>
          <p:nvSpPr>
            <p:cNvPr id="163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4873841"/>
              <a:ext cx="150425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개선 계획 추적관리 기능 제공</a:t>
              </a:r>
            </a:p>
          </p:txBody>
        </p:sp>
        <p:pic>
          <p:nvPicPr>
            <p:cNvPr id="164" name="그림 163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4868262"/>
              <a:ext cx="303240" cy="318769"/>
            </a:xfrm>
            <a:prstGeom prst="rect">
              <a:avLst/>
            </a:prstGeom>
          </p:spPr>
        </p:pic>
      </p:grpSp>
      <p:sp>
        <p:nvSpPr>
          <p:cNvPr id="4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49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0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1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2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5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7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8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0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Rectangle 11"/>
          <p:cNvSpPr>
            <a:spLocks noChangeAspect="1" noChangeArrowheads="1"/>
          </p:cNvSpPr>
          <p:nvPr/>
        </p:nvSpPr>
        <p:spPr bwMode="auto">
          <a:xfrm>
            <a:off x="1056807" y="2321652"/>
            <a:ext cx="156934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설계평가 취약점 관리</a:t>
            </a:r>
          </a:p>
        </p:txBody>
      </p:sp>
      <p:sp>
        <p:nvSpPr>
          <p:cNvPr id="62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3" name="Rectangle 11"/>
          <p:cNvSpPr>
            <a:spLocks noChangeAspect="1" noChangeArrowheads="1"/>
          </p:cNvSpPr>
          <p:nvPr/>
        </p:nvSpPr>
        <p:spPr bwMode="auto">
          <a:xfrm>
            <a:off x="4269590" y="2321652"/>
            <a:ext cx="1681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설계평가 개선조치 관리</a:t>
            </a:r>
          </a:p>
        </p:txBody>
      </p:sp>
      <p:sp>
        <p:nvSpPr>
          <p:cNvPr id="64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6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7" name="Rectangle 11"/>
          <p:cNvSpPr>
            <a:spLocks noChangeAspect="1" noChangeArrowheads="1"/>
          </p:cNvSpPr>
          <p:nvPr/>
        </p:nvSpPr>
        <p:spPr bwMode="auto">
          <a:xfrm>
            <a:off x="1056804" y="4373913"/>
            <a:ext cx="156934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운영평가 취약점 관리</a:t>
            </a:r>
          </a:p>
        </p:txBody>
      </p:sp>
      <p:sp>
        <p:nvSpPr>
          <p:cNvPr id="68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9" name="Rectangle 11"/>
          <p:cNvSpPr>
            <a:spLocks noChangeAspect="1" noChangeArrowheads="1"/>
          </p:cNvSpPr>
          <p:nvPr/>
        </p:nvSpPr>
        <p:spPr bwMode="auto">
          <a:xfrm>
            <a:off x="4269588" y="4373913"/>
            <a:ext cx="1681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운영평가 개선조치 관리</a:t>
            </a:r>
          </a:p>
        </p:txBody>
      </p:sp>
      <p:sp>
        <p:nvSpPr>
          <p:cNvPr id="70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1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내부통제 설계 유효성에 대한 평가 결과 고위험으로 평가된 취약점을 조회하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개선이 필요한 통제활동인지 확정하는 기능</a:t>
            </a:r>
          </a:p>
        </p:txBody>
      </p:sp>
      <p:sp>
        <p:nvSpPr>
          <p:cNvPr id="72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설계 유효성에 대한 평가 결과 고위험으로 식별된 통제활동에 대하여 발견된 통제 미비점에 대한 개선과제에 대하여 개선계획 수립 및 등록하는 기능</a:t>
            </a:r>
          </a:p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개선과제가 등록된 이후 통제활동에 대하여 실제 개선이 이행되었는지 현황을 조회할 수 있는 기능</a:t>
            </a:r>
          </a:p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조직 별 영역 별 개선 진행 현황 조회 기능</a:t>
            </a:r>
          </a:p>
        </p:txBody>
      </p:sp>
      <p:sp>
        <p:nvSpPr>
          <p:cNvPr id="73" name="Rs27"/>
          <p:cNvSpPr>
            <a:spLocks noChangeAspect="1" noChangeArrowheads="1"/>
          </p:cNvSpPr>
          <p:nvPr/>
        </p:nvSpPr>
        <p:spPr bwMode="auto">
          <a:xfrm>
            <a:off x="446760" y="4807197"/>
            <a:ext cx="275533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내부통제 운영 유효성에 대한 평가 결과 고위험으로 평가된 취약점을 조회하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개선이 필요한 통제활동인지 확정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내부통제 운영평가 취약점에 대하여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영업점별</a:t>
            </a:r>
            <a:r>
              <a:rPr lang="en-US" altLang="ko-KR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회차별</a:t>
            </a:r>
            <a:r>
              <a:rPr lang="en-US" altLang="ko-KR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연도별로 관리할 수 있으며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개선이 완료되기 이전까지 지속적으로 이력을 확인할 수 있는 기능</a:t>
            </a:r>
          </a:p>
        </p:txBody>
      </p:sp>
      <p:sp>
        <p:nvSpPr>
          <p:cNvPr id="74" name="Rs27"/>
          <p:cNvSpPr>
            <a:spLocks noChangeAspect="1" noChangeArrowheads="1"/>
          </p:cNvSpPr>
          <p:nvPr/>
        </p:nvSpPr>
        <p:spPr bwMode="auto">
          <a:xfrm>
            <a:off x="3735436" y="4813146"/>
            <a:ext cx="283774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운영 효과성에 대한 평가 결과 고위험으로 식별된 통제활동에 대하여 발견된 통제 미비점에 대한 개선과제에 대한 개선계획 수립 및 등록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개선과제가 등록된 이후 실제 개선이 이행되었는지 현황을 부점별로 조회할 수 있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조직 별 영역 별 개선 진행 현황 조회 기능</a:t>
            </a:r>
          </a:p>
        </p:txBody>
      </p:sp>
      <p:pic>
        <p:nvPicPr>
          <p:cNvPr id="80" name="그림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75" y="3354690"/>
            <a:ext cx="2560652" cy="650454"/>
          </a:xfrm>
          <a:prstGeom prst="rect">
            <a:avLst/>
          </a:prstGeom>
        </p:spPr>
      </p:pic>
      <p:pic>
        <p:nvPicPr>
          <p:cNvPr id="75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15697" y="328552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76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7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972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선조치 관리 모듈의 주요 기능인 내부통제 평가 개선조치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설계평가에 대한 개선 대상을 조회하고 진행상황을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설계평가 취약점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21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5 </a:t>
            </a:r>
            <a:r>
              <a:rPr lang="ko-KR" altLang="en-US" dirty="0"/>
              <a:t>개선조치 관리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109" y="2060848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내부통제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설계 평가 취약점의 리스트를 조회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하고 진행상황을 관리할 수 있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817329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대상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평가 개선 대상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78595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573016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632597"/>
              <a:ext cx="2175498" cy="14619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부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일정 등 개선이 필요한 정보의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가능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상태를 클릭하면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부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담당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장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단기 구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치 일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승인 일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반려 의견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Pop-up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으로 조회할 수 있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상태의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태 값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진행 중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완료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간 초과의 세 종류로 구분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조건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중 통제효과성은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평가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두 종류로 구분하여 관리하도록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401108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417263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26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2" y="2204326"/>
            <a:ext cx="6222613" cy="4177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4268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선조치 관리 모듈의 주요 기능인 내부통제 평가 개선조치 등록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설계 평가에 대한 개선과제를 등록하고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설계평가 개선조치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5 </a:t>
            </a:r>
            <a:r>
              <a:rPr lang="ko-KR" altLang="en-US" dirty="0"/>
              <a:t>개선조치 관리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214" y="2059934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설계 유효성 평가 결과 발견된 통제 미비점에 대한 개선조치를 등록하여 관리하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676851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정보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438117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432538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278252"/>
              <a:ext cx="2175498" cy="20774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각 내부통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결과 등록된 취약점에 대하여 계획된 바와 같이 수행한 개선조치 등록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 등록 화면에서 등록된 상세 내용이 조회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실제 </a:t>
              </a:r>
              <a:r>
                <a:rPr lang="ko-KR" altLang="en-US" sz="1000" b="1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조치의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행 내역 등록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 조치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행 담당자가 등록 후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확정 처리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확정 처리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에 대해서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설계 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취약점 개선조치 조회 및 승인 화면에서 조회하고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승인 처리할 수 있음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조치 입력 시 조치내용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첨부파일만 입력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완료 일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치자는 저장 시 자동으로 부여되도록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046763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062918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27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9045" y="2204326"/>
            <a:ext cx="6226701" cy="41505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7745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선조치 관리 모듈의 주요 기능인 내부통제 평가 개선조치 등록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운영평가에 대한 개선과제를 등록하고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내부통제 운영평가 개선조치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5 </a:t>
            </a:r>
            <a:r>
              <a:rPr lang="ko-KR" altLang="en-US" dirty="0"/>
              <a:t>개선조치 관리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214" y="2060848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통제 운영 효과성 평가 결과 발견된 통제 운영 미비점에 대한 보완 및 추가 검토 등 단기 개선과제를 등록하여 관리하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887180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선조치 등록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648446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642867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724352"/>
              <a:ext cx="2175498" cy="14106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각의 내부통제 활동 별로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평가 결과 등록된 취약점에 대하여 수행한 개선조치를 등록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각의 통제활동마다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평가 결과 등록 화면 상에서 등록된 평가 결과가 화면 상단에 조회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화면 하단에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활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효과성을 향상시키기 위하여 수행이 필요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치 활동과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담당자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치 기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치결과를 등록하도록 구현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492863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509018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31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3" y="2210819"/>
            <a:ext cx="6260760" cy="41440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5291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 모듈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Pool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리스트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 및 산출로직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후속조치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니터링을 관리하는 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RI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관리 주요 기능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3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6 KRI </a:t>
            </a:r>
            <a:r>
              <a:rPr lang="ko-KR" altLang="en-US" dirty="0"/>
              <a:t>관리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grpSp>
        <p:nvGrpSpPr>
          <p:cNvPr id="158" name="그룹 157"/>
          <p:cNvGrpSpPr/>
          <p:nvPr/>
        </p:nvGrpSpPr>
        <p:grpSpPr>
          <a:xfrm>
            <a:off x="6943214" y="2056069"/>
            <a:ext cx="2717684" cy="4420090"/>
            <a:chOff x="6951840" y="2060848"/>
            <a:chExt cx="2717684" cy="4420090"/>
          </a:xfrm>
        </p:grpSpPr>
        <p:sp>
          <p:nvSpPr>
            <p:cNvPr id="159" name="직사각형 158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60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61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62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3034215"/>
              <a:ext cx="2165260" cy="16927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출 로직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임계치 설정 등에 대한 편의 기능을 제공하여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사용자의 필요에 따라 지표를 수정 및 생성할 수 있도록 지원</a:t>
              </a: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신규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등록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변경 지표는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Work-Flow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를 통하여 내부의 승인절차 마련 및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이력 관리가 가능하도록 구현</a:t>
              </a: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모니터링 결과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출 결과에 대한 후속조치 결과 등 다양한 정형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비정형 보고서 생성 기능을 제공하여 업무 효율성 제고</a:t>
              </a:r>
            </a:p>
          </p:txBody>
        </p:sp>
        <p:sp>
          <p:nvSpPr>
            <p:cNvPr id="16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8" y="2656301"/>
              <a:ext cx="2225176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모니터링 지표 설정 </a:t>
              </a:r>
              <a:r>
                <a:rPr lang="en-US" altLang="ko-KR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/ </a:t>
              </a:r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조정을 위한 편의 기능 제공</a:t>
              </a:r>
            </a:p>
          </p:txBody>
        </p:sp>
        <p:pic>
          <p:nvPicPr>
            <p:cNvPr id="164" name="그림 163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656301"/>
              <a:ext cx="318769" cy="318769"/>
            </a:xfrm>
            <a:prstGeom prst="rect">
              <a:avLst/>
            </a:prstGeom>
          </p:spPr>
        </p:pic>
        <p:pic>
          <p:nvPicPr>
            <p:cNvPr id="167" name="그림 166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5282932"/>
              <a:ext cx="303240" cy="318769"/>
            </a:xfrm>
            <a:prstGeom prst="rect">
              <a:avLst/>
            </a:prstGeom>
          </p:spPr>
        </p:pic>
        <p:sp>
          <p:nvSpPr>
            <p:cNvPr id="168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5508619"/>
              <a:ext cx="2163474" cy="769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임계치 수준 별 후속조치를 사전 등록 가능하도록 구현하여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시스템에 의한 실시간 모니터링 중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Alert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발생 시 사전 정의된 시나리오에 따라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동화된 후속조치 요구</a:t>
              </a:r>
            </a:p>
          </p:txBody>
        </p:sp>
        <p:sp>
          <p:nvSpPr>
            <p:cNvPr id="169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5277665"/>
              <a:ext cx="216347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후속 조치 관리를 위한 </a:t>
              </a:r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편의 기능 </a:t>
              </a:r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제공</a:t>
              </a:r>
            </a:p>
          </p:txBody>
        </p:sp>
      </p:grpSp>
      <p:sp>
        <p:nvSpPr>
          <p:cNvPr id="4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52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3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4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6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7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8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9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0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3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4" name="Rectangle 11"/>
          <p:cNvSpPr>
            <a:spLocks noChangeAspect="1" noChangeArrowheads="1"/>
          </p:cNvSpPr>
          <p:nvPr/>
        </p:nvSpPr>
        <p:spPr bwMode="auto">
          <a:xfrm>
            <a:off x="1280426" y="2321652"/>
            <a:ext cx="11221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RI Pool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리스트 관리</a:t>
            </a:r>
          </a:p>
        </p:txBody>
      </p:sp>
      <p:sp>
        <p:nvSpPr>
          <p:cNvPr id="65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6" name="Rectangle 11"/>
          <p:cNvSpPr>
            <a:spLocks noChangeAspect="1" noChangeArrowheads="1"/>
          </p:cNvSpPr>
          <p:nvPr/>
        </p:nvSpPr>
        <p:spPr bwMode="auto">
          <a:xfrm>
            <a:off x="4413059" y="2321652"/>
            <a:ext cx="139461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RI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표 및 산출 로직 관리</a:t>
            </a:r>
          </a:p>
        </p:txBody>
      </p:sp>
      <p:sp>
        <p:nvSpPr>
          <p:cNvPr id="67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9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0" name="Rectangle 11"/>
          <p:cNvSpPr>
            <a:spLocks noChangeAspect="1" noChangeArrowheads="1"/>
          </p:cNvSpPr>
          <p:nvPr/>
        </p:nvSpPr>
        <p:spPr bwMode="auto">
          <a:xfrm>
            <a:off x="1367786" y="4373913"/>
            <a:ext cx="947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RI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후속조치 관리</a:t>
            </a:r>
          </a:p>
        </p:txBody>
      </p:sp>
      <p:sp>
        <p:nvSpPr>
          <p:cNvPr id="71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2" name="Rectangle 11"/>
          <p:cNvSpPr>
            <a:spLocks noChangeAspect="1" noChangeArrowheads="1"/>
          </p:cNvSpPr>
          <p:nvPr/>
        </p:nvSpPr>
        <p:spPr bwMode="auto">
          <a:xfrm>
            <a:off x="4636676" y="4373913"/>
            <a:ext cx="947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RI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니터링 관리</a:t>
            </a:r>
          </a:p>
        </p:txBody>
      </p:sp>
      <p:sp>
        <p:nvSpPr>
          <p:cNvPr id="73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4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회사가 관리하고 있는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KRI Pool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을 관리하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당해년도에 운영할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KRI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의 리스트를 확정하는 기능</a:t>
            </a:r>
          </a:p>
        </p:txBody>
      </p:sp>
      <p:sp>
        <p:nvSpPr>
          <p:cNvPr id="75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각의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KRI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로 속성 및 산출 로직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관련 데이터 등의 상세 정보와 후속조치 등 모니터링에 필요한 정보를 관리하는 기능</a:t>
            </a:r>
          </a:p>
        </p:txBody>
      </p:sp>
      <p:sp>
        <p:nvSpPr>
          <p:cNvPr id="76" name="Rs27"/>
          <p:cNvSpPr>
            <a:spLocks noChangeAspect="1" noChangeArrowheads="1"/>
          </p:cNvSpPr>
          <p:nvPr/>
        </p:nvSpPr>
        <p:spPr bwMode="auto">
          <a:xfrm>
            <a:off x="446760" y="4807197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부점별로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KRI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후속조치에 대한 요청 건에 대하여 후속조치 수행 내역의 등록 및 관리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영업점에서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등록한 후속조치 수행 내역에 대한 진행 현황의 조회 기능</a:t>
            </a:r>
          </a:p>
        </p:txBody>
      </p:sp>
      <p:sp>
        <p:nvSpPr>
          <p:cNvPr id="77" name="Rs27"/>
          <p:cNvSpPr>
            <a:spLocks noChangeAspect="1" noChangeArrowheads="1"/>
          </p:cNvSpPr>
          <p:nvPr/>
        </p:nvSpPr>
        <p:spPr bwMode="auto">
          <a:xfrm>
            <a:off x="3735436" y="4813146"/>
            <a:ext cx="2837744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영업점별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모니터링 대상 월 별로 후속조치가 필요한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영업점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전사의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KRI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리스트 결과값을 조회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영업점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KRI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로 등급을 관리하는 기능</a:t>
            </a:r>
          </a:p>
        </p:txBody>
      </p:sp>
      <p:pic>
        <p:nvPicPr>
          <p:cNvPr id="80" name="그림 79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99" y="3363864"/>
            <a:ext cx="2520000" cy="652800"/>
          </a:xfrm>
          <a:prstGeom prst="rect">
            <a:avLst/>
          </a:prstGeom>
        </p:spPr>
      </p:pic>
      <p:pic>
        <p:nvPicPr>
          <p:cNvPr id="81" name="그림 80"/>
          <p:cNvPicPr>
            <a:picLocks noChangeAspect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9963" y="3363864"/>
            <a:ext cx="2400423" cy="660434"/>
          </a:xfrm>
          <a:prstGeom prst="rect">
            <a:avLst/>
          </a:prstGeom>
        </p:spPr>
      </p:pic>
      <p:pic>
        <p:nvPicPr>
          <p:cNvPr id="82" name="그림 81"/>
          <p:cNvPicPr>
            <a:picLocks noChangeAspect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28" y="5601457"/>
            <a:ext cx="2520000" cy="485697"/>
          </a:xfrm>
          <a:prstGeom prst="rect">
            <a:avLst/>
          </a:prstGeom>
        </p:spPr>
      </p:pic>
      <p:pic>
        <p:nvPicPr>
          <p:cNvPr id="83" name="Picture 3"/>
          <p:cNvPicPr preferRelativeResize="0">
            <a:picLocks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4324467" y="5426430"/>
            <a:ext cx="1584000" cy="670249"/>
          </a:xfrm>
          <a:prstGeom prst="rect">
            <a:avLst/>
          </a:prstGeom>
        </p:spPr>
      </p:pic>
      <p:pic>
        <p:nvPicPr>
          <p:cNvPr id="78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774045" y="552175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774044" y="332282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08299" y="332282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591427" y="542043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6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7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2797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세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각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별로 모니터링에 필요한 요소를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RI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지표 및 산출 로직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7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6 KRI </a:t>
            </a:r>
            <a:r>
              <a:rPr lang="ko-KR" altLang="en-US" dirty="0"/>
              <a:t>관리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214" y="2060848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각각의 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RI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로 속성 및 산출 로직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관련 데이터 등 상세 정보와 후속조치 등 모니터링에 필요한 정보를 관리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하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09317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별 산출 기준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속조치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470583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465004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344565"/>
              <a:ext cx="2175498" cy="1974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세 설명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식 등의 정보가 조회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대응조치의 수정이 가능함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본 화면에서 관리되는 대응조치는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속조치 등록 현황에서 필요한 후속조치로 자동 조회됨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체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가 확정된 상태에서는 속성을 수정할 수 없음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식은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측정 주기의 설정 값에 따라 다른 값을 노출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의 산출 기준을 선택할 수 있음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기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상인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만 산출하도록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11307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129231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3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2" y="2210819"/>
            <a:ext cx="6222613" cy="41086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177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후속조치 등록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한 후속조치 내용을 등록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RI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후속조치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7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6 KRI </a:t>
            </a:r>
            <a:r>
              <a:rPr lang="ko-KR" altLang="en-US" dirty="0"/>
              <a:t>관리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0608" y="2056069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임계치 이상으로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 값이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출된 각 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RI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에 대하여 후속조치 내용을 상세 등록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할 수 있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40193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업점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속조치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01459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495880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411445"/>
              <a:ext cx="2175498" cy="17697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속조치 등록 현황 화면에서 조회되는 임계치 초과 지표에 대하여 실제 수행한 후속조치를 등록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각의 지표마다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속조치 등록 현황 화면 상에서 조회된 지표 정보와 지표값 산출 결과가 화면 상단에 조회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화면 하단에는 실제 수행한 후속조치결과를 등록하도록 구현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도 승인 필요성에 대한 검토 필요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속조치는 준법감시담당자가 등록하여야 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사업부장의 승인 필요 여부에 대한 확인 필요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17995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196111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36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3" y="2206041"/>
            <a:ext cx="6202134" cy="41134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870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별 모니터링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RI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한 영업점별 지표별 결과를 조회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RI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니터링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6 KRI </a:t>
            </a:r>
            <a:r>
              <a:rPr lang="ko-KR" altLang="en-US" dirty="0"/>
              <a:t>관리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1611" y="2060848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부점별 모니터링 대상 월별로 후속조치가 필요한 </a:t>
              </a:r>
              <a:r>
                <a:rPr lang="ko-KR" altLang="en-US" sz="1000" b="1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부점별 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RI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리스트를 조회하고</a:t>
              </a: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상태를 관리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할 수 있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959188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업점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결과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720454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714875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775373"/>
              <a:ext cx="2175498" cy="14619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업점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 대상 월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, Risk Level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로 각 지표 별 증감율과 위험 등급을 조회할 수 있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월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결과 조회 화면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정 불가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건에 위험 등급을 선택하면 특정 위험 등급의 지표만 조회 가능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default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는 전체 등급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특정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를 더블클릭하면 특정 지표를 조회조건으로 선택한 상태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모니터링 이력 화면으로 이동함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543884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560039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34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3" y="2206041"/>
            <a:ext cx="6222613" cy="41134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526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결과 관리 모듈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및 통제효과성에 대한 평가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승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위험평가 이력 및 추세의 분석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와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결과보고서의 작성 및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결과 관리 주요 기능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8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7 </a:t>
            </a:r>
            <a:r>
              <a:rPr lang="ko-KR" altLang="en-US" dirty="0"/>
              <a:t>위험평가결과 </a:t>
            </a:r>
            <a:r>
              <a:rPr lang="ko-KR" altLang="en-US" dirty="0" smtClean="0"/>
              <a:t>관리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grpSp>
        <p:nvGrpSpPr>
          <p:cNvPr id="159" name="그룹 158"/>
          <p:cNvGrpSpPr/>
          <p:nvPr/>
        </p:nvGrpSpPr>
        <p:grpSpPr>
          <a:xfrm>
            <a:off x="6944376" y="2059348"/>
            <a:ext cx="2717684" cy="4420090"/>
            <a:chOff x="6951840" y="2060848"/>
            <a:chExt cx="2717684" cy="4420090"/>
          </a:xfrm>
        </p:grpSpPr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61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62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63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3057103"/>
              <a:ext cx="2165260" cy="769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영업점별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등급 별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Risk Category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Risk Level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역 별 등 다양한 조회 단위별로 위험평가 결과를 통합된 화면에서 조회할 수 있는 기능을 제공하여 사용자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업무의 편의성 제고</a:t>
              </a:r>
            </a:p>
          </p:txBody>
        </p:sp>
        <p:sp>
          <p:nvSpPr>
            <p:cNvPr id="164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813479"/>
              <a:ext cx="193642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위험평가 결과 통합 조회 화면 구현</a:t>
              </a:r>
            </a:p>
          </p:txBody>
        </p:sp>
        <p:pic>
          <p:nvPicPr>
            <p:cNvPr id="165" name="그림 164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813479"/>
              <a:ext cx="318769" cy="318769"/>
            </a:xfrm>
            <a:prstGeom prst="rect">
              <a:avLst/>
            </a:prstGeom>
          </p:spPr>
        </p:pic>
        <p:sp>
          <p:nvSpPr>
            <p:cNvPr id="16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4903179"/>
              <a:ext cx="2175496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결과보고서 등 자금세탁방지 업무 담당자가 작성하는 보고서의 수작업을 최소화하도록 구현하여 사용자의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 편의성 제고</a:t>
              </a:r>
            </a:p>
          </p:txBody>
        </p:sp>
        <p:sp>
          <p:nvSpPr>
            <p:cNvPr id="16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4664445"/>
              <a:ext cx="112819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무 보고서 작성 지원</a:t>
              </a:r>
            </a:p>
          </p:txBody>
        </p:sp>
        <p:pic>
          <p:nvPicPr>
            <p:cNvPr id="168" name="그림 167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4658866"/>
              <a:ext cx="303240" cy="318769"/>
            </a:xfrm>
            <a:prstGeom prst="rect">
              <a:avLst/>
            </a:prstGeom>
          </p:spPr>
        </p:pic>
      </p:grpSp>
      <p:sp>
        <p:nvSpPr>
          <p:cNvPr id="4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5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53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54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5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7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8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9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0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2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4" name="AutoShape 128"/>
          <p:cNvSpPr>
            <a:spLocks noChangeArrowheads="1"/>
          </p:cNvSpPr>
          <p:nvPr/>
        </p:nvSpPr>
        <p:spPr bwMode="gray">
          <a:xfrm>
            <a:off x="761759" y="2276840"/>
            <a:ext cx="2125338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5" name="Rectangle 11"/>
          <p:cNvSpPr>
            <a:spLocks noChangeAspect="1" noChangeArrowheads="1"/>
          </p:cNvSpPr>
          <p:nvPr/>
        </p:nvSpPr>
        <p:spPr bwMode="auto">
          <a:xfrm>
            <a:off x="868237" y="2321652"/>
            <a:ext cx="191238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및 통제효과성 평가 관리</a:t>
            </a:r>
          </a:p>
        </p:txBody>
      </p:sp>
      <p:sp>
        <p:nvSpPr>
          <p:cNvPr id="66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7" name="Rectangle 11"/>
          <p:cNvSpPr>
            <a:spLocks noChangeAspect="1" noChangeArrowheads="1"/>
          </p:cNvSpPr>
          <p:nvPr/>
        </p:nvSpPr>
        <p:spPr bwMode="auto">
          <a:xfrm>
            <a:off x="4269590" y="2321652"/>
            <a:ext cx="1681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설계평가 개선조치 관리</a:t>
            </a:r>
          </a:p>
        </p:txBody>
      </p:sp>
      <p:sp>
        <p:nvSpPr>
          <p:cNvPr id="68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0" name="AutoShape 128"/>
          <p:cNvSpPr>
            <a:spLocks noChangeArrowheads="1"/>
          </p:cNvSpPr>
          <p:nvPr/>
        </p:nvSpPr>
        <p:spPr bwMode="gray">
          <a:xfrm>
            <a:off x="742223" y="4329100"/>
            <a:ext cx="2125338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1" name="Rectangle 11"/>
          <p:cNvSpPr>
            <a:spLocks noChangeAspect="1" noChangeArrowheads="1"/>
          </p:cNvSpPr>
          <p:nvPr/>
        </p:nvSpPr>
        <p:spPr bwMode="auto">
          <a:xfrm>
            <a:off x="852709" y="4373913"/>
            <a:ext cx="1904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사 위험평가 이력 및 추세 분석 관리</a:t>
            </a:r>
          </a:p>
        </p:txBody>
      </p:sp>
      <p:sp>
        <p:nvSpPr>
          <p:cNvPr id="72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3" name="Rectangle 11"/>
          <p:cNvSpPr>
            <a:spLocks noChangeAspect="1" noChangeArrowheads="1"/>
          </p:cNvSpPr>
          <p:nvPr/>
        </p:nvSpPr>
        <p:spPr bwMode="auto">
          <a:xfrm>
            <a:off x="4269588" y="4373913"/>
            <a:ext cx="1681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운영평가 개선조치 관리</a:t>
            </a:r>
          </a:p>
        </p:txBody>
      </p:sp>
      <p:sp>
        <p:nvSpPr>
          <p:cNvPr id="74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5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다양한 조회 조건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(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조직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분포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순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이력 등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)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별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효과성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잔여위험에 대한 평가 결과의 조회 기능</a:t>
            </a:r>
          </a:p>
        </p:txBody>
      </p:sp>
      <p:sp>
        <p:nvSpPr>
          <p:cNvPr id="76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영업점별로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다양한 조회조건에 따라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효과성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잔여위험 평가 결과 및 보안위험 평가 결과를 조회하고 이를 확정 및 승인하는 기능</a:t>
            </a:r>
          </a:p>
        </p:txBody>
      </p:sp>
      <p:sp>
        <p:nvSpPr>
          <p:cNvPr id="77" name="Rs27"/>
          <p:cNvSpPr>
            <a:spLocks noChangeAspect="1" noChangeArrowheads="1"/>
          </p:cNvSpPr>
          <p:nvPr/>
        </p:nvSpPr>
        <p:spPr bwMode="auto">
          <a:xfrm>
            <a:off x="446760" y="4807197"/>
            <a:ext cx="2755337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효과성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 운영효과성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등급 등의 다양한 조회조건 별 부점별 순위 조회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endParaRPr lang="ko-KR" altLang="en-US" sz="900" kern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ML/TF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 취약점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효과성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보안위험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KRI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에 대한 다양한 조회조건 별 평가 이력 조회 기능</a:t>
            </a:r>
          </a:p>
        </p:txBody>
      </p:sp>
      <p:sp>
        <p:nvSpPr>
          <p:cNvPr id="78" name="Rs27"/>
          <p:cNvSpPr>
            <a:spLocks noChangeAspect="1" noChangeArrowheads="1"/>
          </p:cNvSpPr>
          <p:nvPr/>
        </p:nvSpPr>
        <p:spPr bwMode="auto">
          <a:xfrm>
            <a:off x="3735436" y="4813146"/>
            <a:ext cx="2837744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자금세탁 위험평가 결과보고서를 작성할 수 있도록 결과보고서에 포함되는 항목 중 자동화가 가능한 모든 항목의 작성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조회 할 수 있는 기능</a:t>
            </a:r>
          </a:p>
        </p:txBody>
      </p:sp>
      <p:pic>
        <p:nvPicPr>
          <p:cNvPr id="81" name="그림 8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42" y="3352882"/>
            <a:ext cx="2576259" cy="652262"/>
          </a:xfrm>
          <a:prstGeom prst="rect">
            <a:avLst/>
          </a:prstGeom>
        </p:spPr>
      </p:pic>
      <p:pic>
        <p:nvPicPr>
          <p:cNvPr id="82" name="그림 81"/>
          <p:cNvPicPr preferRelativeResize="0">
            <a:picLocks/>
          </p:cNvPicPr>
          <p:nvPr/>
        </p:nvPicPr>
        <p:blipFill rotWithShape="1">
          <a:blip r:embed="rId5">
            <a:grayscl/>
          </a:blip>
          <a:srcRect l="33626" t="49031" r="22767" b="38738"/>
          <a:stretch/>
        </p:blipFill>
        <p:spPr>
          <a:xfrm>
            <a:off x="3927241" y="3448080"/>
            <a:ext cx="2371726" cy="362172"/>
          </a:xfrm>
          <a:prstGeom prst="rect">
            <a:avLst/>
          </a:prstGeom>
          <a:effectLst>
            <a:outerShdw dist="50800" dir="5400000" algn="ctr" rotWithShape="0">
              <a:schemeClr val="bg1"/>
            </a:outerShdw>
          </a:effectLst>
        </p:spPr>
      </p:pic>
      <p:grpSp>
        <p:nvGrpSpPr>
          <p:cNvPr id="83" name="그룹 82"/>
          <p:cNvGrpSpPr/>
          <p:nvPr/>
        </p:nvGrpSpPr>
        <p:grpSpPr>
          <a:xfrm>
            <a:off x="3766467" y="5413372"/>
            <a:ext cx="2700000" cy="648000"/>
            <a:chOff x="2119986" y="2872576"/>
            <a:chExt cx="5990552" cy="1144407"/>
          </a:xfrm>
        </p:grpSpPr>
        <p:pic>
          <p:nvPicPr>
            <p:cNvPr id="84" name="그림 83"/>
            <p:cNvPicPr>
              <a:picLocks noChangeAspect="1"/>
            </p:cNvPicPr>
            <p:nvPr/>
          </p:nvPicPr>
          <p:blipFill>
            <a:blip r:embed="rId6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9986" y="2872576"/>
              <a:ext cx="5473981" cy="762039"/>
            </a:xfrm>
            <a:prstGeom prst="rect">
              <a:avLst/>
            </a:prstGeom>
          </p:spPr>
        </p:pic>
        <p:pic>
          <p:nvPicPr>
            <p:cNvPr id="85" name="그림 84"/>
            <p:cNvPicPr>
              <a:picLocks noChangeAspect="1"/>
            </p:cNvPicPr>
            <p:nvPr/>
          </p:nvPicPr>
          <p:blipFill rotWithShape="1"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125"/>
            <a:stretch/>
          </p:blipFill>
          <p:spPr>
            <a:xfrm>
              <a:off x="2528601" y="3284745"/>
              <a:ext cx="5581937" cy="732238"/>
            </a:xfrm>
            <a:prstGeom prst="rect">
              <a:avLst/>
            </a:prstGeom>
          </p:spPr>
        </p:pic>
      </p:grpSp>
      <p:pic>
        <p:nvPicPr>
          <p:cNvPr id="79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008050" y="550115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24080" y="326961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006092" y="336801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7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8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79467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결과 관리 모듈의 주요 기능인 전사 위험평가 결과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각 영업점별 위험평가 결과를 조회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결과에 대한 조회 및 승인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7 </a:t>
            </a:r>
            <a:r>
              <a:rPr lang="ko-KR" altLang="en-US" dirty="0"/>
              <a:t>위험평가결과 관리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4832A5FE-031B-485A-A309-BE2A0750944F}"/>
              </a:ext>
            </a:extLst>
          </p:cNvPr>
          <p:cNvSpPr/>
          <p:nvPr/>
        </p:nvSpPr>
        <p:spPr>
          <a:xfrm>
            <a:off x="6943214" y="2061512"/>
            <a:ext cx="2717340" cy="4420090"/>
          </a:xfrm>
          <a:prstGeom prst="rect">
            <a:avLst/>
          </a:prstGeom>
          <a:solidFill>
            <a:srgbClr val="ECF7FE"/>
          </a:solidFill>
          <a:ln w="1270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8" name="양쪽 모서리가 둥근 사각형 517">
            <a:extLst>
              <a:ext uri="{FF2B5EF4-FFF2-40B4-BE49-F238E27FC236}">
                <a16:creationId xmlns:a16="http://schemas.microsoft.com/office/drawing/2014/main" id="{3E3D28BE-959C-480B-8AD1-3B8A1BB208AE}"/>
              </a:ext>
            </a:extLst>
          </p:cNvPr>
          <p:cNvSpPr/>
          <p:nvPr/>
        </p:nvSpPr>
        <p:spPr>
          <a:xfrm>
            <a:off x="6943214" y="2061512"/>
            <a:ext cx="2717340" cy="299934"/>
          </a:xfrm>
          <a:prstGeom prst="rect">
            <a:avLst/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/>
            <a:r>
              <a:rPr lang="ko-KR" altLang="en-US" sz="12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화면 설명</a:t>
            </a:r>
            <a:endParaRPr lang="ko-KR" altLang="en-US" sz="12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9" name="양쪽 모서리가 둥근 사각형 517">
            <a:extLst>
              <a:ext uri="{FF2B5EF4-FFF2-40B4-BE49-F238E27FC236}">
                <a16:creationId xmlns:a16="http://schemas.microsoft.com/office/drawing/2014/main" id="{44EC17C8-AF98-4F87-8AE2-101CBA21F03A}"/>
              </a:ext>
            </a:extLst>
          </p:cNvPr>
          <p:cNvSpPr/>
          <p:nvPr/>
        </p:nvSpPr>
        <p:spPr>
          <a:xfrm>
            <a:off x="6943256" y="2061516"/>
            <a:ext cx="2717642" cy="149967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sp>
        <p:nvSpPr>
          <p:cNvPr id="150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36991" y="2804064"/>
            <a:ext cx="216526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각 </a:t>
            </a:r>
            <a:r>
              <a:rPr lang="ko-KR" altLang="en-US" sz="1000" b="1" dirty="0" smtClean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영업점별 </a:t>
            </a:r>
            <a:r>
              <a:rPr lang="en-US" altLang="ko-KR" sz="1000" b="1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ML/TF </a:t>
            </a:r>
            <a:r>
              <a:rPr lang="ko-KR" altLang="en-US" sz="1000" b="1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위험</a:t>
            </a:r>
            <a:r>
              <a:rPr lang="en-US" altLang="ko-KR" sz="1000" b="1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, </a:t>
            </a:r>
            <a:r>
              <a:rPr lang="ko-KR" altLang="en-US" sz="1000" b="1" dirty="0" smtClean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제 효과성</a:t>
            </a:r>
            <a:r>
              <a:rPr lang="en-US" altLang="ko-KR" sz="1000" b="1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, </a:t>
            </a:r>
            <a:r>
              <a:rPr lang="ko-KR" altLang="en-US" sz="1000" b="1" dirty="0" smtClean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잔여 위험 </a:t>
            </a:r>
            <a:r>
              <a:rPr lang="ko-KR" altLang="en-US" sz="1000" b="1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평가 결과를 조회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하는 화면 </a:t>
            </a:r>
          </a:p>
        </p:txBody>
      </p:sp>
      <p:sp>
        <p:nvSpPr>
          <p:cNvPr id="151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6991" y="2560440"/>
            <a:ext cx="53540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화면 개요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pic>
        <p:nvPicPr>
          <p:cNvPr id="152" name="그림 151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0230" y="2560440"/>
            <a:ext cx="318769" cy="318769"/>
          </a:xfrm>
          <a:prstGeom prst="rect">
            <a:avLst/>
          </a:prstGeom>
        </p:spPr>
      </p:pic>
      <p:sp>
        <p:nvSpPr>
          <p:cNvPr id="153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24969" y="3537012"/>
            <a:ext cx="217549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평가 결과</a:t>
            </a:r>
          </a:p>
        </p:txBody>
      </p:sp>
      <p:sp>
        <p:nvSpPr>
          <p:cNvPr id="154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24967" y="3326567"/>
            <a:ext cx="86658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관리 필요 데이터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pic>
        <p:nvPicPr>
          <p:cNvPr id="155" name="그림 154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0230" y="3320988"/>
            <a:ext cx="303240" cy="318769"/>
          </a:xfrm>
          <a:prstGeom prst="rect">
            <a:avLst/>
          </a:prstGeom>
        </p:spPr>
      </p:pic>
      <p:sp>
        <p:nvSpPr>
          <p:cNvPr id="15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24967" y="4173171"/>
            <a:ext cx="2175498" cy="2282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연도 별 평가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회 차별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각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별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 효과성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잔여 위험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 결과를 하나의 화면에서 조회하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정 처리하는 화면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비스 별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 효과성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잔여 위험이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조회되도록 구현 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잔여 위험은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비스를 통합한 합계도 조회할 수 있도록 구현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든 데이터는 가중치가 적용된 값이 출력되어야 함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별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결과의 조회도 가능하며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 위험평가 결과의 조회도 가능하도록 구성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에도 잔여 위험이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조회되도록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구성해야 함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7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6991" y="3941682"/>
            <a:ext cx="216347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특이사항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pic>
        <p:nvPicPr>
          <p:cNvPr id="158" name="그림 157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2973" y="3957837"/>
            <a:ext cx="291273" cy="291273"/>
          </a:xfrm>
          <a:prstGeom prst="rect">
            <a:avLst/>
          </a:prstGeom>
        </p:spPr>
      </p:pic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46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3" y="2206041"/>
            <a:ext cx="6202134" cy="41134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5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9274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 AML </a:t>
            </a:r>
            <a:r>
              <a:rPr lang="ko-KR" altLang="en-US" dirty="0"/>
              <a:t>업무 </a:t>
            </a:r>
            <a:r>
              <a:rPr lang="ko-KR" altLang="en-US" dirty="0" smtClean="0"/>
              <a:t>구축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에서는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현재 운영 중인 자금세탁방지 업무 프로세스 및 시스템 진단을 통하여 보완 및 개선이 필요한 취약점을 도출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이에 대한 개선방안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립하여 시스템을 구축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9521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en-US" altLang="ko-KR" sz="1000" dirty="0" smtClean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AML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업무 구축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25" name="Rectangle 30"/>
          <p:cNvSpPr>
            <a:spLocks noChangeArrowheads="1"/>
          </p:cNvSpPr>
          <p:nvPr/>
        </p:nvSpPr>
        <p:spPr bwMode="auto">
          <a:xfrm>
            <a:off x="1829881" y="2204864"/>
            <a:ext cx="2871091" cy="2855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5994" tIns="35994" rIns="35994" bIns="35994" anchor="ctr"/>
          <a:lstStyle/>
          <a:p>
            <a:pPr marL="82526" marR="0" lvl="0" indent="-82526" algn="ctr" defTabSz="956977" eaLnBrk="1" fontAlgn="auto" latinLnBrk="0" hangingPunct="1">
              <a:lnSpc>
                <a:spcPts val="18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u="sng" kern="0" spc="-1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itchFamily="2" charset="2"/>
              </a:rPr>
              <a:t>자금세탁방지업무 전체 구성</a:t>
            </a:r>
            <a:endParaRPr kumimoji="0" lang="en-US" altLang="ko-KR" sz="1200" i="0" u="sng" strike="noStrike" kern="0" cap="none" spc="-1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sym typeface="Wingdings" pitchFamily="2" charset="2"/>
            </a:endParaRPr>
          </a:p>
        </p:txBody>
      </p:sp>
      <p:sp>
        <p:nvSpPr>
          <p:cNvPr id="126" name="AutoShape 19"/>
          <p:cNvSpPr>
            <a:spLocks noChangeArrowheads="1"/>
          </p:cNvSpPr>
          <p:nvPr/>
        </p:nvSpPr>
        <p:spPr bwMode="auto">
          <a:xfrm>
            <a:off x="948093" y="2556715"/>
            <a:ext cx="3711546" cy="1505757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7" name="AutoShape 20"/>
          <p:cNvSpPr>
            <a:spLocks noChangeArrowheads="1"/>
          </p:cNvSpPr>
          <p:nvPr/>
        </p:nvSpPr>
        <p:spPr bwMode="auto">
          <a:xfrm>
            <a:off x="948093" y="4105057"/>
            <a:ext cx="3711546" cy="2173470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8" name="Rectangle 26"/>
          <p:cNvSpPr>
            <a:spLocks noChangeArrowheads="1"/>
          </p:cNvSpPr>
          <p:nvPr/>
        </p:nvSpPr>
        <p:spPr bwMode="auto">
          <a:xfrm>
            <a:off x="434405" y="4105057"/>
            <a:ext cx="485899" cy="217347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확인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절차</a:t>
            </a:r>
          </a:p>
        </p:txBody>
      </p:sp>
      <p:sp>
        <p:nvSpPr>
          <p:cNvPr id="129" name="Rectangle 29"/>
          <p:cNvSpPr>
            <a:spLocks noChangeArrowheads="1"/>
          </p:cNvSpPr>
          <p:nvPr/>
        </p:nvSpPr>
        <p:spPr bwMode="auto">
          <a:xfrm>
            <a:off x="2523560" y="2892291"/>
            <a:ext cx="685558" cy="377541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9569" tIns="49785" rIns="99569" bIns="49785">
            <a:spAutoFit/>
          </a:bodyPr>
          <a:lstStyle>
            <a:lvl1pPr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1pPr>
            <a:lvl2pPr marL="49847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2pPr>
            <a:lvl3pPr marL="995363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3pPr>
            <a:lvl4pPr marL="1493838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4pPr>
            <a:lvl5pPr marL="199072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9pPr>
          </a:lstStyle>
          <a:p>
            <a:pPr algn="ctr">
              <a:defRPr/>
            </a:pP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평가모델</a:t>
            </a:r>
          </a:p>
          <a:p>
            <a:pPr algn="ctr">
              <a:defRPr/>
            </a:pP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관리</a:t>
            </a:r>
          </a:p>
        </p:txBody>
      </p:sp>
      <p:grpSp>
        <p:nvGrpSpPr>
          <p:cNvPr id="130" name="Group 30"/>
          <p:cNvGrpSpPr>
            <a:grpSpLocks/>
          </p:cNvGrpSpPr>
          <p:nvPr/>
        </p:nvGrpSpPr>
        <p:grpSpPr bwMode="auto">
          <a:xfrm>
            <a:off x="1090119" y="2696380"/>
            <a:ext cx="1101090" cy="841450"/>
            <a:chOff x="890" y="2053"/>
            <a:chExt cx="680" cy="494"/>
          </a:xfrm>
        </p:grpSpPr>
        <p:sp>
          <p:nvSpPr>
            <p:cNvPr id="131" name="AutoShape 31"/>
            <p:cNvSpPr>
              <a:spLocks noChangeArrowheads="1"/>
            </p:cNvSpPr>
            <p:nvPr/>
          </p:nvSpPr>
          <p:spPr bwMode="auto">
            <a:xfrm>
              <a:off x="890" y="2055"/>
              <a:ext cx="680" cy="208"/>
            </a:xfrm>
            <a:prstGeom prst="roundRect">
              <a:avLst>
                <a:gd name="adj" fmla="val 39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453" tIns="82800" rIns="101453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ko-KR" altLang="en-US" sz="900" b="0" i="0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32" name="AutoShape 32"/>
            <p:cNvSpPr>
              <a:spLocks noChangeArrowheads="1"/>
            </p:cNvSpPr>
            <p:nvPr/>
          </p:nvSpPr>
          <p:spPr bwMode="auto">
            <a:xfrm>
              <a:off x="890" y="2327"/>
              <a:ext cx="680" cy="208"/>
            </a:xfrm>
            <a:prstGeom prst="roundRect">
              <a:avLst>
                <a:gd name="adj" fmla="val 39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453" tIns="82800" rIns="101453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ko-KR" altLang="en-US" sz="900" b="0" i="0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33" name="Rectangle 33"/>
            <p:cNvSpPr>
              <a:spLocks noChangeArrowheads="1"/>
            </p:cNvSpPr>
            <p:nvPr/>
          </p:nvSpPr>
          <p:spPr bwMode="auto">
            <a:xfrm>
              <a:off x="984" y="2053"/>
              <a:ext cx="491" cy="2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marL="0" marR="0" lvl="0" indent="0" algn="ctr" defTabSz="995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고객 위험평가</a:t>
              </a:r>
            </a:p>
            <a:p>
              <a:pPr marL="0" marR="0" lvl="0" indent="0" algn="ctr" defTabSz="995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신규고객</a:t>
              </a:r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)</a:t>
              </a:r>
            </a:p>
          </p:txBody>
        </p:sp>
        <p:sp>
          <p:nvSpPr>
            <p:cNvPr id="134" name="Rectangle 34"/>
            <p:cNvSpPr>
              <a:spLocks noChangeArrowheads="1"/>
            </p:cNvSpPr>
            <p:nvPr/>
          </p:nvSpPr>
          <p:spPr bwMode="auto">
            <a:xfrm>
              <a:off x="984" y="2325"/>
              <a:ext cx="491" cy="2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고객 위험평가</a:t>
              </a:r>
            </a:p>
            <a:p>
              <a:pPr algn="ctr">
                <a:defRPr/>
              </a:pPr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기존고객</a:t>
              </a:r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)</a:t>
              </a:r>
            </a:p>
          </p:txBody>
        </p:sp>
      </p:grpSp>
      <p:grpSp>
        <p:nvGrpSpPr>
          <p:cNvPr id="135" name="Group 35"/>
          <p:cNvGrpSpPr>
            <a:grpSpLocks/>
          </p:cNvGrpSpPr>
          <p:nvPr/>
        </p:nvGrpSpPr>
        <p:grpSpPr bwMode="auto">
          <a:xfrm>
            <a:off x="3483363" y="2681061"/>
            <a:ext cx="1101089" cy="817606"/>
            <a:chOff x="2368" y="2044"/>
            <a:chExt cx="680" cy="480"/>
          </a:xfrm>
        </p:grpSpPr>
        <p:sp>
          <p:nvSpPr>
            <p:cNvPr id="136" name="AutoShape 36"/>
            <p:cNvSpPr>
              <a:spLocks noChangeArrowheads="1"/>
            </p:cNvSpPr>
            <p:nvPr/>
          </p:nvSpPr>
          <p:spPr bwMode="auto">
            <a:xfrm>
              <a:off x="2368" y="2316"/>
              <a:ext cx="680" cy="208"/>
            </a:xfrm>
            <a:prstGeom prst="roundRect">
              <a:avLst>
                <a:gd name="adj" fmla="val 39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453" tIns="82800" rIns="101453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ko-KR" altLang="en-US" sz="800" b="0" i="0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37" name="AutoShape 37"/>
            <p:cNvSpPr>
              <a:spLocks noChangeArrowheads="1"/>
            </p:cNvSpPr>
            <p:nvPr/>
          </p:nvSpPr>
          <p:spPr bwMode="auto">
            <a:xfrm>
              <a:off x="2368" y="2044"/>
              <a:ext cx="680" cy="208"/>
            </a:xfrm>
            <a:prstGeom prst="roundRect">
              <a:avLst>
                <a:gd name="adj" fmla="val 39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453" tIns="82800" rIns="101453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ko-KR" altLang="en-US" sz="800" b="0" i="0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38" name="Rectangle 38"/>
            <p:cNvSpPr>
              <a:spLocks noChangeArrowheads="1"/>
            </p:cNvSpPr>
            <p:nvPr/>
          </p:nvSpPr>
          <p:spPr bwMode="auto">
            <a:xfrm>
              <a:off x="2433" y="2081"/>
              <a:ext cx="567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의심거래 룰 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모델</a:t>
              </a:r>
            </a:p>
          </p:txBody>
        </p:sp>
        <p:sp>
          <p:nvSpPr>
            <p:cNvPr id="139" name="Rectangle 39"/>
            <p:cNvSpPr>
              <a:spLocks noChangeArrowheads="1"/>
            </p:cNvSpPr>
            <p:nvPr/>
          </p:nvSpPr>
          <p:spPr bwMode="auto">
            <a:xfrm>
              <a:off x="2464" y="2353"/>
              <a:ext cx="491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스코어링 모델</a:t>
              </a:r>
            </a:p>
          </p:txBody>
        </p:sp>
      </p:grpSp>
      <p:sp>
        <p:nvSpPr>
          <p:cNvPr id="140" name="AutoShape 40"/>
          <p:cNvSpPr>
            <a:spLocks noChangeArrowheads="1"/>
          </p:cNvSpPr>
          <p:nvPr/>
        </p:nvSpPr>
        <p:spPr bwMode="auto">
          <a:xfrm>
            <a:off x="1101455" y="3638341"/>
            <a:ext cx="2958368" cy="352592"/>
          </a:xfrm>
          <a:prstGeom prst="can">
            <a:avLst>
              <a:gd name="adj" fmla="val 24083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 wrap="none" lIns="99569" tIns="49785" rIns="99569" bIns="49785" anchor="ctr"/>
          <a:lstStyle>
            <a:lvl1pPr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1pPr>
            <a:lvl2pPr marL="49847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2pPr>
            <a:lvl3pPr marL="995363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3pPr>
            <a:lvl4pPr marL="1493838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4pPr>
            <a:lvl5pPr marL="199072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9pPr>
          </a:lstStyle>
          <a:p>
            <a:pPr algn="ctr">
              <a:defRPr/>
            </a:pP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AML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마트 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고객정보 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+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거래정보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</p:txBody>
      </p:sp>
      <p:sp>
        <p:nvSpPr>
          <p:cNvPr id="141" name="Line 41"/>
          <p:cNvSpPr>
            <a:spLocks noChangeShapeType="1"/>
          </p:cNvSpPr>
          <p:nvPr/>
        </p:nvSpPr>
        <p:spPr bwMode="auto">
          <a:xfrm>
            <a:off x="2209020" y="3105193"/>
            <a:ext cx="307658" cy="0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453" tIns="82800" rIns="101453" bIns="46800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42" name="Line 42"/>
          <p:cNvSpPr>
            <a:spLocks noChangeShapeType="1"/>
          </p:cNvSpPr>
          <p:nvPr/>
        </p:nvSpPr>
        <p:spPr bwMode="auto">
          <a:xfrm>
            <a:off x="3211335" y="3105193"/>
            <a:ext cx="307658" cy="0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453" tIns="82800" rIns="101453" bIns="46800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43" name="Picture 46" descr="그림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981" y="4139057"/>
            <a:ext cx="430721" cy="354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" name="AutoShape 91"/>
          <p:cNvSpPr>
            <a:spLocks noChangeArrowheads="1"/>
          </p:cNvSpPr>
          <p:nvPr/>
        </p:nvSpPr>
        <p:spPr bwMode="auto">
          <a:xfrm>
            <a:off x="1707054" y="4193632"/>
            <a:ext cx="680085" cy="255501"/>
          </a:xfrm>
          <a:prstGeom prst="roundRect">
            <a:avLst>
              <a:gd name="adj" fmla="val 394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5" name="AutoShape 92"/>
          <p:cNvSpPr>
            <a:spLocks noChangeArrowheads="1"/>
          </p:cNvSpPr>
          <p:nvPr/>
        </p:nvSpPr>
        <p:spPr bwMode="auto">
          <a:xfrm>
            <a:off x="1121801" y="4732720"/>
            <a:ext cx="693038" cy="364516"/>
          </a:xfrm>
          <a:prstGeom prst="diamond">
            <a:avLst/>
          </a:prstGeom>
          <a:solidFill>
            <a:srgbClr val="ABDDFB"/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101453" tIns="82800" rIns="101453" bIns="46800" anchor="ctr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46" name="Rectangle 93"/>
          <p:cNvSpPr>
            <a:spLocks noChangeArrowheads="1"/>
          </p:cNvSpPr>
          <p:nvPr/>
        </p:nvSpPr>
        <p:spPr bwMode="auto">
          <a:xfrm>
            <a:off x="1743773" y="4207259"/>
            <a:ext cx="606643" cy="239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9569" tIns="49785" rIns="99569" bIns="49785">
            <a:spAutoFit/>
          </a:bodyPr>
          <a:lstStyle>
            <a:lvl1pPr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1pPr>
            <a:lvl2pPr marL="49847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2pPr>
            <a:lvl3pPr marL="995363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3pPr>
            <a:lvl4pPr marL="1493838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4pPr>
            <a:lvl5pPr marL="199072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9pPr>
          </a:lstStyle>
          <a:p>
            <a:pPr algn="ctr">
              <a:defRPr/>
            </a:pP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신규 신청</a:t>
            </a:r>
          </a:p>
        </p:txBody>
      </p:sp>
      <p:grpSp>
        <p:nvGrpSpPr>
          <p:cNvPr id="147" name="Group 94"/>
          <p:cNvGrpSpPr>
            <a:grpSpLocks/>
          </p:cNvGrpSpPr>
          <p:nvPr/>
        </p:nvGrpSpPr>
        <p:grpSpPr bwMode="auto">
          <a:xfrm>
            <a:off x="3221053" y="4156156"/>
            <a:ext cx="693038" cy="378142"/>
            <a:chOff x="2197" y="2806"/>
            <a:chExt cx="428" cy="222"/>
          </a:xfrm>
        </p:grpSpPr>
        <p:sp>
          <p:nvSpPr>
            <p:cNvPr id="148" name="AutoShape 95"/>
            <p:cNvSpPr>
              <a:spLocks noChangeArrowheads="1"/>
            </p:cNvSpPr>
            <p:nvPr/>
          </p:nvSpPr>
          <p:spPr bwMode="auto">
            <a:xfrm>
              <a:off x="2197" y="2808"/>
              <a:ext cx="428" cy="214"/>
            </a:xfrm>
            <a:prstGeom prst="diamond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9" name="Rectangle 96"/>
            <p:cNvSpPr>
              <a:spLocks noChangeArrowheads="1"/>
            </p:cNvSpPr>
            <p:nvPr/>
          </p:nvSpPr>
          <p:spPr bwMode="auto">
            <a:xfrm>
              <a:off x="2209" y="2806"/>
              <a:ext cx="416" cy="2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보고</a:t>
              </a:r>
              <a:endPara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여부</a:t>
              </a:r>
            </a:p>
          </p:txBody>
        </p:sp>
      </p:grpSp>
      <p:grpSp>
        <p:nvGrpSpPr>
          <p:cNvPr id="150" name="Group 97"/>
          <p:cNvGrpSpPr>
            <a:grpSpLocks/>
          </p:cNvGrpSpPr>
          <p:nvPr/>
        </p:nvGrpSpPr>
        <p:grpSpPr bwMode="auto">
          <a:xfrm>
            <a:off x="2095691" y="4788080"/>
            <a:ext cx="680089" cy="255500"/>
            <a:chOff x="1715" y="3178"/>
            <a:chExt cx="420" cy="150"/>
          </a:xfrm>
        </p:grpSpPr>
        <p:sp>
          <p:nvSpPr>
            <p:cNvPr id="151" name="AutoShape 98"/>
            <p:cNvSpPr>
              <a:spLocks noChangeArrowheads="1"/>
            </p:cNvSpPr>
            <p:nvPr/>
          </p:nvSpPr>
          <p:spPr bwMode="auto">
            <a:xfrm>
              <a:off x="1715" y="3178"/>
              <a:ext cx="420" cy="150"/>
            </a:xfrm>
            <a:prstGeom prst="roundRect">
              <a:avLst>
                <a:gd name="adj" fmla="val 394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52" name="Rectangle 99"/>
            <p:cNvSpPr>
              <a:spLocks noChangeArrowheads="1"/>
            </p:cNvSpPr>
            <p:nvPr/>
          </p:nvSpPr>
          <p:spPr bwMode="auto">
            <a:xfrm>
              <a:off x="1739" y="3186"/>
              <a:ext cx="358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거래거절</a:t>
              </a:r>
            </a:p>
          </p:txBody>
        </p:sp>
      </p:grpSp>
      <p:sp>
        <p:nvSpPr>
          <p:cNvPr id="153" name="Rectangle 100"/>
          <p:cNvSpPr>
            <a:spLocks noChangeArrowheads="1"/>
          </p:cNvSpPr>
          <p:nvPr/>
        </p:nvSpPr>
        <p:spPr bwMode="auto">
          <a:xfrm>
            <a:off x="1119580" y="4725144"/>
            <a:ext cx="693205" cy="377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9569" tIns="49785" rIns="99569" bIns="49785">
            <a:spAutoFit/>
          </a:bodyPr>
          <a:lstStyle>
            <a:lvl1pPr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1pPr>
            <a:lvl2pPr marL="49847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2pPr>
            <a:lvl3pPr marL="995363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3pPr>
            <a:lvl4pPr marL="1493838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4pPr>
            <a:lvl5pPr marL="1990725" defTabSz="995363"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산돌고딕 L" pitchFamily="50" charset="-127"/>
                <a:ea typeface="산돌고딕 L" pitchFamily="50" charset="-127"/>
              </a:defRPr>
            </a:lvl9pPr>
          </a:lstStyle>
          <a:p>
            <a:pPr algn="ctr">
              <a:defRPr/>
            </a:pP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Watch List</a:t>
            </a:r>
          </a:p>
          <a:p>
            <a:pPr algn="ctr">
              <a:defRPr/>
            </a:pP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필터링</a:t>
            </a:r>
          </a:p>
        </p:txBody>
      </p:sp>
      <p:grpSp>
        <p:nvGrpSpPr>
          <p:cNvPr id="154" name="Group 108"/>
          <p:cNvGrpSpPr>
            <a:grpSpLocks/>
          </p:cNvGrpSpPr>
          <p:nvPr/>
        </p:nvGrpSpPr>
        <p:grpSpPr bwMode="auto">
          <a:xfrm>
            <a:off x="1128982" y="5496698"/>
            <a:ext cx="680085" cy="260612"/>
            <a:chOff x="905" y="3654"/>
            <a:chExt cx="420" cy="153"/>
          </a:xfrm>
        </p:grpSpPr>
        <p:sp>
          <p:nvSpPr>
            <p:cNvPr id="155" name="AutoShape 109"/>
            <p:cNvSpPr>
              <a:spLocks noChangeArrowheads="1"/>
            </p:cNvSpPr>
            <p:nvPr/>
          </p:nvSpPr>
          <p:spPr bwMode="auto">
            <a:xfrm>
              <a:off x="905" y="3654"/>
              <a:ext cx="420" cy="150"/>
            </a:xfrm>
            <a:prstGeom prst="roundRect">
              <a:avLst>
                <a:gd name="adj" fmla="val 39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453" tIns="82800" rIns="101453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ko-KR" altLang="en-US" sz="800" b="0" i="0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6" name="Rectangle 110"/>
            <p:cNvSpPr>
              <a:spLocks noChangeArrowheads="1"/>
            </p:cNvSpPr>
            <p:nvPr/>
          </p:nvSpPr>
          <p:spPr bwMode="auto">
            <a:xfrm>
              <a:off x="935" y="3667"/>
              <a:ext cx="358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위험평가</a:t>
              </a:r>
            </a:p>
          </p:txBody>
        </p:sp>
      </p:grpSp>
      <p:grpSp>
        <p:nvGrpSpPr>
          <p:cNvPr id="157" name="Group 111"/>
          <p:cNvGrpSpPr>
            <a:grpSpLocks/>
          </p:cNvGrpSpPr>
          <p:nvPr/>
        </p:nvGrpSpPr>
        <p:grpSpPr bwMode="auto">
          <a:xfrm>
            <a:off x="2055192" y="5448363"/>
            <a:ext cx="693038" cy="364516"/>
            <a:chOff x="1690" y="3597"/>
            <a:chExt cx="428" cy="214"/>
          </a:xfrm>
        </p:grpSpPr>
        <p:sp>
          <p:nvSpPr>
            <p:cNvPr id="158" name="AutoShape 112"/>
            <p:cNvSpPr>
              <a:spLocks noChangeArrowheads="1"/>
            </p:cNvSpPr>
            <p:nvPr/>
          </p:nvSpPr>
          <p:spPr bwMode="auto">
            <a:xfrm>
              <a:off x="1690" y="3597"/>
              <a:ext cx="428" cy="214"/>
            </a:xfrm>
            <a:prstGeom prst="diamond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59" name="Rectangle 113"/>
            <p:cNvSpPr>
              <a:spLocks noChangeArrowheads="1"/>
            </p:cNvSpPr>
            <p:nvPr/>
          </p:nvSpPr>
          <p:spPr bwMode="auto">
            <a:xfrm>
              <a:off x="1737" y="3634"/>
              <a:ext cx="342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no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고위험</a:t>
              </a:r>
            </a:p>
          </p:txBody>
        </p:sp>
      </p:grpSp>
      <p:grpSp>
        <p:nvGrpSpPr>
          <p:cNvPr id="160" name="Group 114"/>
          <p:cNvGrpSpPr>
            <a:grpSpLocks/>
          </p:cNvGrpSpPr>
          <p:nvPr/>
        </p:nvGrpSpPr>
        <p:grpSpPr bwMode="auto">
          <a:xfrm>
            <a:off x="2916643" y="5300800"/>
            <a:ext cx="680088" cy="660897"/>
            <a:chOff x="2102" y="3567"/>
            <a:chExt cx="420" cy="388"/>
          </a:xfrm>
        </p:grpSpPr>
        <p:sp>
          <p:nvSpPr>
            <p:cNvPr id="161" name="AutoShape 115"/>
            <p:cNvSpPr>
              <a:spLocks noChangeArrowheads="1"/>
            </p:cNvSpPr>
            <p:nvPr/>
          </p:nvSpPr>
          <p:spPr bwMode="auto">
            <a:xfrm>
              <a:off x="2102" y="3567"/>
              <a:ext cx="420" cy="150"/>
            </a:xfrm>
            <a:prstGeom prst="roundRect">
              <a:avLst>
                <a:gd name="adj" fmla="val 39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453" tIns="82800" rIns="101453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ko-KR" altLang="en-US" sz="900" b="0" i="0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62" name="AutoShape 116"/>
            <p:cNvSpPr>
              <a:spLocks noChangeArrowheads="1"/>
            </p:cNvSpPr>
            <p:nvPr/>
          </p:nvSpPr>
          <p:spPr bwMode="auto">
            <a:xfrm>
              <a:off x="2102" y="3805"/>
              <a:ext cx="420" cy="150"/>
            </a:xfrm>
            <a:prstGeom prst="roundRect">
              <a:avLst>
                <a:gd name="adj" fmla="val 394"/>
              </a:avLst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453" tIns="82800" rIns="101453" bIns="4680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ko-KR" altLang="en-US" sz="900" b="0" i="0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63" name="Rectangle 117"/>
            <p:cNvSpPr>
              <a:spLocks noChangeArrowheads="1"/>
            </p:cNvSpPr>
            <p:nvPr/>
          </p:nvSpPr>
          <p:spPr bwMode="auto">
            <a:xfrm>
              <a:off x="2126" y="3572"/>
              <a:ext cx="374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EDD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수행</a:t>
              </a:r>
            </a:p>
          </p:txBody>
        </p:sp>
        <p:sp>
          <p:nvSpPr>
            <p:cNvPr id="164" name="Rectangle 118"/>
            <p:cNvSpPr>
              <a:spLocks noChangeArrowheads="1"/>
            </p:cNvSpPr>
            <p:nvPr/>
          </p:nvSpPr>
          <p:spPr bwMode="auto">
            <a:xfrm>
              <a:off x="2123" y="3813"/>
              <a:ext cx="378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en-US" altLang="ko-KR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CDD</a:t>
              </a: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수행</a:t>
              </a:r>
            </a:p>
          </p:txBody>
        </p:sp>
      </p:grpSp>
      <p:grpSp>
        <p:nvGrpSpPr>
          <p:cNvPr id="165" name="Group 119"/>
          <p:cNvGrpSpPr>
            <a:grpSpLocks/>
          </p:cNvGrpSpPr>
          <p:nvPr/>
        </p:nvGrpSpPr>
        <p:grpSpPr bwMode="auto">
          <a:xfrm>
            <a:off x="3816936" y="5440480"/>
            <a:ext cx="693038" cy="364516"/>
            <a:chOff x="1690" y="3597"/>
            <a:chExt cx="428" cy="214"/>
          </a:xfrm>
        </p:grpSpPr>
        <p:sp>
          <p:nvSpPr>
            <p:cNvPr id="166" name="AutoShape 120"/>
            <p:cNvSpPr>
              <a:spLocks noChangeArrowheads="1"/>
            </p:cNvSpPr>
            <p:nvPr/>
          </p:nvSpPr>
          <p:spPr bwMode="auto">
            <a:xfrm>
              <a:off x="1690" y="3597"/>
              <a:ext cx="428" cy="214"/>
            </a:xfrm>
            <a:prstGeom prst="diamond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67" name="Rectangle 121"/>
            <p:cNvSpPr>
              <a:spLocks noChangeArrowheads="1"/>
            </p:cNvSpPr>
            <p:nvPr/>
          </p:nvSpPr>
          <p:spPr bwMode="auto">
            <a:xfrm>
              <a:off x="1752" y="3634"/>
              <a:ext cx="299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고위험</a:t>
              </a:r>
            </a:p>
          </p:txBody>
        </p:sp>
      </p:grpSp>
      <p:cxnSp>
        <p:nvCxnSpPr>
          <p:cNvPr id="168" name="AutoShape 122"/>
          <p:cNvCxnSpPr>
            <a:cxnSpLocks noChangeShapeType="1"/>
            <a:stCxn id="143" idx="3"/>
            <a:endCxn id="144" idx="1"/>
          </p:cNvCxnSpPr>
          <p:nvPr/>
        </p:nvCxnSpPr>
        <p:spPr bwMode="auto">
          <a:xfrm>
            <a:off x="1559702" y="4316206"/>
            <a:ext cx="147352" cy="5177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9" name="AutoShape 123"/>
          <p:cNvCxnSpPr>
            <a:cxnSpLocks noChangeShapeType="1"/>
            <a:stCxn id="146" idx="2"/>
            <a:endCxn id="145" idx="0"/>
          </p:cNvCxnSpPr>
          <p:nvPr/>
        </p:nvCxnSpPr>
        <p:spPr bwMode="auto">
          <a:xfrm rot="5400000">
            <a:off x="1614499" y="4300123"/>
            <a:ext cx="286419" cy="57877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0" name="AutoShape 124"/>
          <p:cNvCxnSpPr>
            <a:cxnSpLocks noChangeShapeType="1"/>
            <a:stCxn id="145" idx="2"/>
            <a:endCxn id="155" idx="0"/>
          </p:cNvCxnSpPr>
          <p:nvPr/>
        </p:nvCxnSpPr>
        <p:spPr bwMode="auto">
          <a:xfrm>
            <a:off x="1468320" y="5097236"/>
            <a:ext cx="705" cy="399462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1" name="AutoShape 125"/>
          <p:cNvCxnSpPr>
            <a:cxnSpLocks noChangeShapeType="1"/>
            <a:stCxn id="155" idx="3"/>
            <a:endCxn id="158" idx="1"/>
          </p:cNvCxnSpPr>
          <p:nvPr/>
        </p:nvCxnSpPr>
        <p:spPr bwMode="auto">
          <a:xfrm>
            <a:off x="1809067" y="5624450"/>
            <a:ext cx="246125" cy="6171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2" name="AutoShape 126"/>
          <p:cNvCxnSpPr>
            <a:cxnSpLocks noChangeShapeType="1"/>
            <a:stCxn id="158" idx="2"/>
            <a:endCxn id="162" idx="1"/>
          </p:cNvCxnSpPr>
          <p:nvPr/>
        </p:nvCxnSpPr>
        <p:spPr bwMode="auto">
          <a:xfrm rot="16200000" flipH="1">
            <a:off x="2648643" y="5565947"/>
            <a:ext cx="21068" cy="514932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3" name="AutoShape 127"/>
          <p:cNvCxnSpPr>
            <a:cxnSpLocks noChangeShapeType="1"/>
            <a:stCxn id="158" idx="0"/>
            <a:endCxn id="161" idx="1"/>
          </p:cNvCxnSpPr>
          <p:nvPr/>
        </p:nvCxnSpPr>
        <p:spPr bwMode="auto">
          <a:xfrm rot="5400000" flipH="1" flipV="1">
            <a:off x="2649271" y="5180991"/>
            <a:ext cx="19812" cy="514932"/>
          </a:xfrm>
          <a:prstGeom prst="bentConnector2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4" name="AutoShape 128"/>
          <p:cNvCxnSpPr>
            <a:cxnSpLocks noChangeShapeType="1"/>
            <a:stCxn id="161" idx="3"/>
            <a:endCxn id="166" idx="1"/>
          </p:cNvCxnSpPr>
          <p:nvPr/>
        </p:nvCxnSpPr>
        <p:spPr bwMode="auto">
          <a:xfrm>
            <a:off x="3596731" y="5428551"/>
            <a:ext cx="220205" cy="19418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5" name="AutoShape 129"/>
          <p:cNvCxnSpPr>
            <a:cxnSpLocks noChangeShapeType="1"/>
            <a:stCxn id="162" idx="3"/>
            <a:endCxn id="166" idx="1"/>
          </p:cNvCxnSpPr>
          <p:nvPr/>
        </p:nvCxnSpPr>
        <p:spPr bwMode="auto">
          <a:xfrm flipV="1">
            <a:off x="3596731" y="5622738"/>
            <a:ext cx="220205" cy="21120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6" name="AutoShape 130"/>
          <p:cNvCxnSpPr>
            <a:cxnSpLocks noChangeShapeType="1"/>
            <a:stCxn id="166" idx="0"/>
            <a:endCxn id="151" idx="2"/>
          </p:cNvCxnSpPr>
          <p:nvPr/>
        </p:nvCxnSpPr>
        <p:spPr bwMode="auto">
          <a:xfrm rot="16200000" flipV="1">
            <a:off x="3101146" y="4378170"/>
            <a:ext cx="396900" cy="172771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7" name="AutoShape 131"/>
          <p:cNvCxnSpPr>
            <a:cxnSpLocks noChangeShapeType="1"/>
            <a:stCxn id="151" idx="3"/>
            <a:endCxn id="149" idx="1"/>
          </p:cNvCxnSpPr>
          <p:nvPr/>
        </p:nvCxnSpPr>
        <p:spPr bwMode="auto">
          <a:xfrm flipV="1">
            <a:off x="2775780" y="4345227"/>
            <a:ext cx="464704" cy="570603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8" name="AutoShape 133"/>
          <p:cNvCxnSpPr>
            <a:cxnSpLocks noChangeShapeType="1"/>
            <a:stCxn id="145" idx="3"/>
            <a:endCxn id="151" idx="1"/>
          </p:cNvCxnSpPr>
          <p:nvPr/>
        </p:nvCxnSpPr>
        <p:spPr bwMode="auto">
          <a:xfrm>
            <a:off x="1814839" y="4914978"/>
            <a:ext cx="280852" cy="852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9" name="Freeform 134"/>
          <p:cNvSpPr>
            <a:spLocks/>
          </p:cNvSpPr>
          <p:nvPr/>
        </p:nvSpPr>
        <p:spPr bwMode="auto">
          <a:xfrm>
            <a:off x="980012" y="3144371"/>
            <a:ext cx="148970" cy="2485181"/>
          </a:xfrm>
          <a:custGeom>
            <a:avLst/>
            <a:gdLst>
              <a:gd name="T0" fmla="*/ 238 w 238"/>
              <a:gd name="T1" fmla="*/ 1524 h 1524"/>
              <a:gd name="T2" fmla="*/ 0 w 238"/>
              <a:gd name="T3" fmla="*/ 1524 h 1524"/>
              <a:gd name="T4" fmla="*/ 0 w 238"/>
              <a:gd name="T5" fmla="*/ 0 h 1524"/>
              <a:gd name="T6" fmla="*/ 190 w 238"/>
              <a:gd name="T7" fmla="*/ 0 h 1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8" h="1524">
                <a:moveTo>
                  <a:pt x="238" y="1524"/>
                </a:moveTo>
                <a:lnTo>
                  <a:pt x="0" y="1524"/>
                </a:lnTo>
                <a:lnTo>
                  <a:pt x="0" y="0"/>
                </a:lnTo>
                <a:lnTo>
                  <a:pt x="190" y="0"/>
                </a:lnTo>
              </a:path>
            </a:pathLst>
          </a:custGeom>
          <a:noFill/>
          <a:ln w="3175" cap="flat" cmpd="sng">
            <a:solidFill>
              <a:schemeClr val="bg1">
                <a:lumMod val="50000"/>
              </a:schemeClr>
            </a:solidFill>
            <a:prstDash val="dash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1453" tIns="82800" rIns="101453" bIns="46800" anchor="ctr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80" name="Group 137"/>
          <p:cNvGrpSpPr>
            <a:grpSpLocks/>
          </p:cNvGrpSpPr>
          <p:nvPr/>
        </p:nvGrpSpPr>
        <p:grpSpPr bwMode="auto">
          <a:xfrm>
            <a:off x="3596718" y="5990664"/>
            <a:ext cx="1131855" cy="255502"/>
            <a:chOff x="1635" y="3178"/>
            <a:chExt cx="580" cy="150"/>
          </a:xfrm>
        </p:grpSpPr>
        <p:sp>
          <p:nvSpPr>
            <p:cNvPr id="181" name="AutoShape 138"/>
            <p:cNvSpPr>
              <a:spLocks noChangeArrowheads="1"/>
            </p:cNvSpPr>
            <p:nvPr/>
          </p:nvSpPr>
          <p:spPr bwMode="auto">
            <a:xfrm>
              <a:off x="1715" y="3178"/>
              <a:ext cx="420" cy="150"/>
            </a:xfrm>
            <a:prstGeom prst="roundRect">
              <a:avLst>
                <a:gd name="adj" fmla="val 394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82" name="Rectangle 139"/>
            <p:cNvSpPr>
              <a:spLocks noChangeArrowheads="1"/>
            </p:cNvSpPr>
            <p:nvPr/>
          </p:nvSpPr>
          <p:spPr bwMode="auto">
            <a:xfrm>
              <a:off x="1635" y="3188"/>
              <a:ext cx="580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9569" tIns="49785" rIns="99569" bIns="49785">
              <a:spAutoFit/>
            </a:bodyPr>
            <a:lstStyle>
              <a:lvl1pPr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1pPr>
              <a:lvl2pPr marL="49847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2pPr>
              <a:lvl3pPr marL="995363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3pPr>
              <a:lvl4pPr marL="1493838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4pPr>
              <a:lvl5pPr marL="1990725" defTabSz="995363"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5pPr>
              <a:lvl6pPr marL="24479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6pPr>
              <a:lvl7pPr marL="29051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7pPr>
              <a:lvl8pPr marL="33623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8pPr>
              <a:lvl9pPr marL="3819525" defTabSz="9953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산돌고딕 L" pitchFamily="50" charset="-127"/>
                  <a:ea typeface="산돌고딕 L" pitchFamily="50" charset="-127"/>
                </a:defRPr>
              </a:lvl9pPr>
            </a:lstStyle>
            <a:p>
              <a:pPr algn="ctr">
                <a:defRPr/>
              </a:pPr>
              <a:r>
                <a:rPr lang="ko-KR" altLang="en-US" sz="9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거래 수행</a:t>
              </a:r>
            </a:p>
          </p:txBody>
        </p:sp>
      </p:grpSp>
      <p:cxnSp>
        <p:nvCxnSpPr>
          <p:cNvPr id="183" name="AutoShape 140"/>
          <p:cNvCxnSpPr>
            <a:cxnSpLocks noChangeShapeType="1"/>
            <a:stCxn id="166" idx="2"/>
            <a:endCxn id="182" idx="0"/>
          </p:cNvCxnSpPr>
          <p:nvPr/>
        </p:nvCxnSpPr>
        <p:spPr bwMode="auto">
          <a:xfrm flipH="1">
            <a:off x="4162646" y="5804996"/>
            <a:ext cx="809" cy="202701"/>
          </a:xfrm>
          <a:prstGeom prst="straightConnector1">
            <a:avLst/>
          </a:prstGeom>
          <a:noFill/>
          <a:ln w="6350">
            <a:solidFill>
              <a:srgbClr val="80808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4" name="Text Box 141"/>
          <p:cNvSpPr txBox="1">
            <a:spLocks noChangeArrowheads="1"/>
          </p:cNvSpPr>
          <p:nvPr/>
        </p:nvSpPr>
        <p:spPr bwMode="auto">
          <a:xfrm>
            <a:off x="1763729" y="4927773"/>
            <a:ext cx="374087" cy="221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Yes</a:t>
            </a:r>
          </a:p>
        </p:txBody>
      </p:sp>
      <p:sp>
        <p:nvSpPr>
          <p:cNvPr id="185" name="Text Box 142"/>
          <p:cNvSpPr txBox="1">
            <a:spLocks noChangeArrowheads="1"/>
          </p:cNvSpPr>
          <p:nvPr/>
        </p:nvSpPr>
        <p:spPr bwMode="auto">
          <a:xfrm>
            <a:off x="3902363" y="4116979"/>
            <a:ext cx="374087" cy="221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Yes</a:t>
            </a:r>
          </a:p>
        </p:txBody>
      </p:sp>
      <p:sp>
        <p:nvSpPr>
          <p:cNvPr id="186" name="Text Box 143"/>
          <p:cNvSpPr txBox="1">
            <a:spLocks noChangeArrowheads="1"/>
          </p:cNvSpPr>
          <p:nvPr/>
        </p:nvSpPr>
        <p:spPr bwMode="auto">
          <a:xfrm>
            <a:off x="2055190" y="5270146"/>
            <a:ext cx="374087" cy="221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Yes</a:t>
            </a:r>
          </a:p>
        </p:txBody>
      </p:sp>
      <p:sp>
        <p:nvSpPr>
          <p:cNvPr id="187" name="Text Box 144"/>
          <p:cNvSpPr txBox="1">
            <a:spLocks noChangeArrowheads="1"/>
          </p:cNvSpPr>
          <p:nvPr/>
        </p:nvSpPr>
        <p:spPr bwMode="auto">
          <a:xfrm>
            <a:off x="2082719" y="5772632"/>
            <a:ext cx="351438" cy="221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No</a:t>
            </a:r>
          </a:p>
        </p:txBody>
      </p:sp>
      <p:sp>
        <p:nvSpPr>
          <p:cNvPr id="188" name="Text Box 145"/>
          <p:cNvSpPr txBox="1">
            <a:spLocks noChangeArrowheads="1"/>
          </p:cNvSpPr>
          <p:nvPr/>
        </p:nvSpPr>
        <p:spPr bwMode="auto">
          <a:xfrm>
            <a:off x="3917485" y="5007928"/>
            <a:ext cx="351438" cy="221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No</a:t>
            </a:r>
          </a:p>
        </p:txBody>
      </p:sp>
      <p:sp>
        <p:nvSpPr>
          <p:cNvPr id="189" name="Text Box 146"/>
          <p:cNvSpPr txBox="1">
            <a:spLocks noChangeArrowheads="1"/>
          </p:cNvSpPr>
          <p:nvPr/>
        </p:nvSpPr>
        <p:spPr bwMode="auto">
          <a:xfrm>
            <a:off x="4173168" y="5736863"/>
            <a:ext cx="374087" cy="221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0" cap="none" spc="-1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Yes</a:t>
            </a:r>
          </a:p>
        </p:txBody>
      </p:sp>
      <p:sp>
        <p:nvSpPr>
          <p:cNvPr id="194" name="AutoShape 21"/>
          <p:cNvSpPr>
            <a:spLocks noChangeArrowheads="1"/>
          </p:cNvSpPr>
          <p:nvPr/>
        </p:nvSpPr>
        <p:spPr bwMode="auto">
          <a:xfrm>
            <a:off x="4726823" y="2949080"/>
            <a:ext cx="1486317" cy="29053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0" bIns="0" anchor="ctr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02" name="AutoShape 79"/>
          <p:cNvSpPr>
            <a:spLocks noChangeArrowheads="1"/>
          </p:cNvSpPr>
          <p:nvPr/>
        </p:nvSpPr>
        <p:spPr bwMode="auto">
          <a:xfrm>
            <a:off x="4777159" y="3076236"/>
            <a:ext cx="1383340" cy="274239"/>
          </a:xfrm>
          <a:prstGeom prst="roundRect">
            <a:avLst>
              <a:gd name="adj" fmla="val 394"/>
            </a:avLst>
          </a:prstGeom>
          <a:solidFill>
            <a:srgbClr val="DDDDDD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1453" tIns="46800" rIns="101453" bIns="46800" anchor="ctr"/>
          <a:lstStyle/>
          <a:p>
            <a:pPr algn="ctr" defTabSz="995363">
              <a:defRPr/>
            </a:pPr>
            <a:r>
              <a:rPr kumimoji="1"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Alert </a:t>
            </a:r>
            <a:r>
              <a:rPr kumimoji="1"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모니터링</a:t>
            </a:r>
          </a:p>
        </p:txBody>
      </p:sp>
      <p:sp>
        <p:nvSpPr>
          <p:cNvPr id="203" name="AutoShape 81"/>
          <p:cNvSpPr>
            <a:spLocks noChangeArrowheads="1"/>
          </p:cNvSpPr>
          <p:nvPr/>
        </p:nvSpPr>
        <p:spPr bwMode="auto">
          <a:xfrm>
            <a:off x="4777159" y="3561689"/>
            <a:ext cx="1383340" cy="274240"/>
          </a:xfrm>
          <a:prstGeom prst="roundRect">
            <a:avLst>
              <a:gd name="adj" fmla="val 394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Alert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접수</a:t>
            </a:r>
          </a:p>
        </p:txBody>
      </p:sp>
      <p:sp>
        <p:nvSpPr>
          <p:cNvPr id="204" name="AutoShape 83"/>
          <p:cNvSpPr>
            <a:spLocks noChangeArrowheads="1"/>
          </p:cNvSpPr>
          <p:nvPr/>
        </p:nvSpPr>
        <p:spPr bwMode="auto">
          <a:xfrm>
            <a:off x="4777159" y="4048847"/>
            <a:ext cx="1383340" cy="274240"/>
          </a:xfrm>
          <a:prstGeom prst="roundRect">
            <a:avLst>
              <a:gd name="adj" fmla="val 394"/>
            </a:avLst>
          </a:prstGeom>
          <a:solidFill>
            <a:srgbClr val="DDDDDD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1453" tIns="46800" rIns="101453" bIns="46800" anchor="ctr"/>
          <a:lstStyle/>
          <a:p>
            <a:pPr algn="ctr" defTabSz="995363">
              <a:defRPr/>
            </a:pPr>
            <a:r>
              <a:rPr kumimoji="1"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담당자 지정</a:t>
            </a:r>
          </a:p>
        </p:txBody>
      </p:sp>
      <p:sp>
        <p:nvSpPr>
          <p:cNvPr id="211" name="AutoShape 85"/>
          <p:cNvSpPr>
            <a:spLocks noChangeArrowheads="1"/>
          </p:cNvSpPr>
          <p:nvPr/>
        </p:nvSpPr>
        <p:spPr bwMode="auto">
          <a:xfrm>
            <a:off x="4777159" y="4536004"/>
            <a:ext cx="1383340" cy="274240"/>
          </a:xfrm>
          <a:prstGeom prst="roundRect">
            <a:avLst>
              <a:gd name="adj" fmla="val 394"/>
            </a:avLst>
          </a:prstGeom>
          <a:solidFill>
            <a:srgbClr val="DDDDDD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1453" tIns="46800" rIns="101453" bIns="46800" anchor="ctr"/>
          <a:lstStyle/>
          <a:p>
            <a:pPr algn="ctr" defTabSz="995363">
              <a:defRPr/>
            </a:pPr>
            <a:r>
              <a:rPr kumimoji="1"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분석수행 및 결과 정리</a:t>
            </a:r>
          </a:p>
        </p:txBody>
      </p:sp>
      <p:sp>
        <p:nvSpPr>
          <p:cNvPr id="212" name="AutoShape 87"/>
          <p:cNvSpPr>
            <a:spLocks noChangeArrowheads="1"/>
          </p:cNvSpPr>
          <p:nvPr/>
        </p:nvSpPr>
        <p:spPr bwMode="auto">
          <a:xfrm>
            <a:off x="4777159" y="5023160"/>
            <a:ext cx="1383340" cy="274240"/>
          </a:xfrm>
          <a:prstGeom prst="roundRect">
            <a:avLst>
              <a:gd name="adj" fmla="val 394"/>
            </a:avLst>
          </a:prstGeom>
          <a:solidFill>
            <a:srgbClr val="DDDDDD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1453" tIns="46800" rIns="101453" bIns="46800" anchor="ctr"/>
          <a:lstStyle/>
          <a:p>
            <a:pPr algn="ctr" defTabSz="995363">
              <a:defRPr/>
            </a:pPr>
            <a:r>
              <a:rPr kumimoji="1"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/CTR </a:t>
            </a:r>
            <a:r>
              <a:rPr kumimoji="1"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보고서 작성</a:t>
            </a:r>
          </a:p>
        </p:txBody>
      </p:sp>
      <p:sp>
        <p:nvSpPr>
          <p:cNvPr id="214" name="AutoShape 89"/>
          <p:cNvSpPr>
            <a:spLocks noChangeArrowheads="1"/>
          </p:cNvSpPr>
          <p:nvPr/>
        </p:nvSpPr>
        <p:spPr bwMode="auto">
          <a:xfrm>
            <a:off x="4777159" y="5510318"/>
            <a:ext cx="1383340" cy="274240"/>
          </a:xfrm>
          <a:prstGeom prst="roundRect">
            <a:avLst>
              <a:gd name="adj" fmla="val 394"/>
            </a:avLst>
          </a:prstGeom>
          <a:solidFill>
            <a:srgbClr val="DDDDDD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1453" tIns="46800" rIns="101453" bIns="46800" anchor="ctr"/>
          <a:lstStyle/>
          <a:p>
            <a:pPr algn="ctr" defTabSz="995363">
              <a:defRPr/>
            </a:pPr>
            <a:r>
              <a:rPr kumimoji="1"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/CTR</a:t>
            </a:r>
            <a:r>
              <a:rPr kumimoji="1"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보고</a:t>
            </a:r>
          </a:p>
        </p:txBody>
      </p:sp>
      <p:sp>
        <p:nvSpPr>
          <p:cNvPr id="215" name="Rectangle 102"/>
          <p:cNvSpPr>
            <a:spLocks noChangeArrowheads="1"/>
          </p:cNvSpPr>
          <p:nvPr/>
        </p:nvSpPr>
        <p:spPr bwMode="auto">
          <a:xfrm>
            <a:off x="4726480" y="5895011"/>
            <a:ext cx="1486660" cy="383516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및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버넌스</a:t>
            </a:r>
          </a:p>
        </p:txBody>
      </p:sp>
      <p:cxnSp>
        <p:nvCxnSpPr>
          <p:cNvPr id="216" name="AutoShape 103"/>
          <p:cNvCxnSpPr>
            <a:cxnSpLocks noChangeShapeType="1"/>
          </p:cNvCxnSpPr>
          <p:nvPr/>
        </p:nvCxnSpPr>
        <p:spPr bwMode="auto">
          <a:xfrm>
            <a:off x="5457913" y="3342420"/>
            <a:ext cx="0" cy="209201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7" name="AutoShape 104"/>
          <p:cNvCxnSpPr>
            <a:cxnSpLocks noChangeShapeType="1"/>
          </p:cNvCxnSpPr>
          <p:nvPr/>
        </p:nvCxnSpPr>
        <p:spPr bwMode="auto">
          <a:xfrm flipH="1">
            <a:off x="5454094" y="3835928"/>
            <a:ext cx="0" cy="216326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0" name="Rectangle 136"/>
          <p:cNvSpPr>
            <a:spLocks noChangeArrowheads="1"/>
          </p:cNvSpPr>
          <p:nvPr/>
        </p:nvSpPr>
        <p:spPr bwMode="auto">
          <a:xfrm>
            <a:off x="4726480" y="2544989"/>
            <a:ext cx="1486660" cy="369781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 모니터링 및</a:t>
            </a:r>
            <a:b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분석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</a:t>
            </a:r>
          </a:p>
        </p:txBody>
      </p:sp>
      <p:cxnSp>
        <p:nvCxnSpPr>
          <p:cNvPr id="238" name="AutoShape 103"/>
          <p:cNvCxnSpPr>
            <a:cxnSpLocks noChangeShapeType="1"/>
          </p:cNvCxnSpPr>
          <p:nvPr/>
        </p:nvCxnSpPr>
        <p:spPr bwMode="auto">
          <a:xfrm>
            <a:off x="5457913" y="4328847"/>
            <a:ext cx="0" cy="209201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7" name="AutoShape 103"/>
          <p:cNvCxnSpPr>
            <a:cxnSpLocks noChangeShapeType="1"/>
          </p:cNvCxnSpPr>
          <p:nvPr/>
        </p:nvCxnSpPr>
        <p:spPr bwMode="auto">
          <a:xfrm>
            <a:off x="5457913" y="4814199"/>
            <a:ext cx="0" cy="209201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8" name="AutoShape 103"/>
          <p:cNvCxnSpPr>
            <a:cxnSpLocks noChangeShapeType="1"/>
          </p:cNvCxnSpPr>
          <p:nvPr/>
        </p:nvCxnSpPr>
        <p:spPr bwMode="auto">
          <a:xfrm>
            <a:off x="5457913" y="5304205"/>
            <a:ext cx="0" cy="209201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9" name="Line 147"/>
          <p:cNvSpPr>
            <a:spLocks noChangeShapeType="1"/>
          </p:cNvSpPr>
          <p:nvPr/>
        </p:nvSpPr>
        <p:spPr bwMode="auto">
          <a:xfrm>
            <a:off x="4543978" y="3105193"/>
            <a:ext cx="307658" cy="0"/>
          </a:xfrm>
          <a:prstGeom prst="line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453" tIns="82800" rIns="101453" bIns="46800"/>
          <a:lstStyle/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ko-KR" altLang="en-US" sz="800" b="0" i="0" u="none" strike="noStrike" kern="0" cap="none" spc="-10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cxnSp>
        <p:nvCxnSpPr>
          <p:cNvPr id="290" name="AutoShape 132"/>
          <p:cNvCxnSpPr>
            <a:cxnSpLocks noChangeShapeType="1"/>
            <a:stCxn id="149" idx="3"/>
            <a:endCxn id="203" idx="1"/>
          </p:cNvCxnSpPr>
          <p:nvPr/>
        </p:nvCxnSpPr>
        <p:spPr bwMode="auto">
          <a:xfrm flipV="1">
            <a:off x="3914091" y="3698809"/>
            <a:ext cx="863068" cy="646418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1" name="Rectangle 25"/>
          <p:cNvSpPr>
            <a:spLocks noChangeArrowheads="1"/>
          </p:cNvSpPr>
          <p:nvPr/>
        </p:nvSpPr>
        <p:spPr bwMode="auto">
          <a:xfrm>
            <a:off x="434405" y="2552247"/>
            <a:ext cx="485899" cy="1510224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</a:t>
            </a: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평가</a:t>
            </a: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형</a:t>
            </a:r>
          </a:p>
        </p:txBody>
      </p:sp>
      <p:sp>
        <p:nvSpPr>
          <p:cNvPr id="11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1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111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333086" y="239076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6525908" y="2572738"/>
            <a:ext cx="2956975" cy="3705789"/>
            <a:chOff x="6525908" y="2572738"/>
            <a:chExt cx="2956975" cy="3705789"/>
          </a:xfrm>
        </p:grpSpPr>
        <p:sp>
          <p:nvSpPr>
            <p:cNvPr id="292" name="직사각형 291"/>
            <p:cNvSpPr/>
            <p:nvPr/>
          </p:nvSpPr>
          <p:spPr>
            <a:xfrm>
              <a:off x="6597384" y="2586663"/>
              <a:ext cx="2880000" cy="266666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고객확인 </a:t>
              </a: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프로세스 구축</a:t>
              </a:r>
            </a:p>
          </p:txBody>
        </p:sp>
        <p:sp>
          <p:nvSpPr>
            <p:cNvPr id="293" name="TextBox 292"/>
            <p:cNvSpPr txBox="1"/>
            <p:nvPr/>
          </p:nvSpPr>
          <p:spPr>
            <a:xfrm>
              <a:off x="6525908" y="2572738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94" name="직사각형 293"/>
            <p:cNvSpPr/>
            <p:nvPr/>
          </p:nvSpPr>
          <p:spPr>
            <a:xfrm>
              <a:off x="6597384" y="2898286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고객위험평가 </a:t>
              </a: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구축</a:t>
              </a:r>
            </a:p>
          </p:txBody>
        </p:sp>
        <p:sp>
          <p:nvSpPr>
            <p:cNvPr id="295" name="TextBox 294"/>
            <p:cNvSpPr txBox="1"/>
            <p:nvPr/>
          </p:nvSpPr>
          <p:spPr>
            <a:xfrm>
              <a:off x="6525908" y="2884361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2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96" name="직사각형 295"/>
            <p:cNvSpPr/>
            <p:nvPr/>
          </p:nvSpPr>
          <p:spPr>
            <a:xfrm>
              <a:off x="6602883" y="3209643"/>
              <a:ext cx="2880000" cy="266666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요주의리스트 </a:t>
              </a: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필터링 구축</a:t>
              </a:r>
            </a:p>
          </p:txBody>
        </p:sp>
        <p:sp>
          <p:nvSpPr>
            <p:cNvPr id="297" name="TextBox 296"/>
            <p:cNvSpPr txBox="1"/>
            <p:nvPr/>
          </p:nvSpPr>
          <p:spPr>
            <a:xfrm>
              <a:off x="6525908" y="3195718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3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98" name="직사각형 297"/>
            <p:cNvSpPr/>
            <p:nvPr/>
          </p:nvSpPr>
          <p:spPr>
            <a:xfrm>
              <a:off x="6602883" y="3521266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고객 </a:t>
              </a: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프로파일 구축</a:t>
              </a:r>
            </a:p>
          </p:txBody>
        </p:sp>
        <p:sp>
          <p:nvSpPr>
            <p:cNvPr id="299" name="TextBox 298"/>
            <p:cNvSpPr txBox="1"/>
            <p:nvPr/>
          </p:nvSpPr>
          <p:spPr>
            <a:xfrm>
              <a:off x="6525908" y="3507341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4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00" name="직사각형 299"/>
            <p:cNvSpPr/>
            <p:nvPr/>
          </p:nvSpPr>
          <p:spPr>
            <a:xfrm>
              <a:off x="6591885" y="3832623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환거래 은행 및 무역거래 관리</a:t>
              </a:r>
            </a:p>
          </p:txBody>
        </p:sp>
        <p:sp>
          <p:nvSpPr>
            <p:cNvPr id="301" name="TextBox 300"/>
            <p:cNvSpPr txBox="1"/>
            <p:nvPr/>
          </p:nvSpPr>
          <p:spPr>
            <a:xfrm>
              <a:off x="6525908" y="3818698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5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02" name="직사각형 301"/>
            <p:cNvSpPr/>
            <p:nvPr/>
          </p:nvSpPr>
          <p:spPr>
            <a:xfrm>
              <a:off x="6591885" y="4143980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의심거래 </a:t>
              </a: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모니터링 구축</a:t>
              </a:r>
            </a:p>
          </p:txBody>
        </p:sp>
        <p:sp>
          <p:nvSpPr>
            <p:cNvPr id="303" name="TextBox 302"/>
            <p:cNvSpPr txBox="1"/>
            <p:nvPr/>
          </p:nvSpPr>
          <p:spPr>
            <a:xfrm>
              <a:off x="6525908" y="4130055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6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04" name="직사각형 303"/>
            <p:cNvSpPr/>
            <p:nvPr/>
          </p:nvSpPr>
          <p:spPr>
            <a:xfrm>
              <a:off x="6597384" y="4455337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고액현금거래 </a:t>
              </a:r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모니터링 구축</a:t>
              </a:r>
            </a:p>
          </p:txBody>
        </p:sp>
        <p:sp>
          <p:nvSpPr>
            <p:cNvPr id="305" name="TextBox 304"/>
            <p:cNvSpPr txBox="1"/>
            <p:nvPr/>
          </p:nvSpPr>
          <p:spPr>
            <a:xfrm>
              <a:off x="6525908" y="4441412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7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06" name="직사각형 305"/>
            <p:cNvSpPr/>
            <p:nvPr/>
          </p:nvSpPr>
          <p:spPr>
            <a:xfrm>
              <a:off x="6597384" y="4766694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직원알기제도</a:t>
              </a:r>
            </a:p>
          </p:txBody>
        </p:sp>
        <p:sp>
          <p:nvSpPr>
            <p:cNvPr id="307" name="TextBox 306"/>
            <p:cNvSpPr txBox="1"/>
            <p:nvPr/>
          </p:nvSpPr>
          <p:spPr>
            <a:xfrm>
              <a:off x="6525908" y="4752769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8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22" name="직사각형 121"/>
            <p:cNvSpPr/>
            <p:nvPr/>
          </p:nvSpPr>
          <p:spPr>
            <a:xfrm>
              <a:off x="6597384" y="5700765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시스템관리</a:t>
              </a:r>
              <a:endParaRPr lang="ko-KR" altLang="en-US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6525908" y="5686840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1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90" name="직사각형 189"/>
            <p:cNvSpPr/>
            <p:nvPr/>
          </p:nvSpPr>
          <p:spPr>
            <a:xfrm>
              <a:off x="6597384" y="6012127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기타업무</a:t>
              </a:r>
              <a:endParaRPr lang="ko-KR" altLang="en-US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6525908" y="5998202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2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93" name="직사각형 192"/>
            <p:cNvSpPr/>
            <p:nvPr/>
          </p:nvSpPr>
          <p:spPr>
            <a:xfrm>
              <a:off x="6591885" y="5078051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해외지점 관리 방안</a:t>
              </a: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6525908" y="5064126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9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97" name="직사각형 196"/>
            <p:cNvSpPr/>
            <p:nvPr/>
          </p:nvSpPr>
          <p:spPr>
            <a:xfrm>
              <a:off x="6583265" y="5389408"/>
              <a:ext cx="2880000" cy="266400"/>
            </a:xfrm>
            <a:prstGeom prst="rect">
              <a:avLst/>
            </a:prstGeom>
            <a:gradFill rotWithShape="0">
              <a:gsLst>
                <a:gs pos="0">
                  <a:srgbClr val="59B5ED"/>
                </a:gs>
                <a:gs pos="100000">
                  <a:srgbClr val="1898E6"/>
                </a:gs>
              </a:gsLst>
              <a:lin ang="5400000" scaled="1"/>
            </a:gradFill>
            <a:ln w="9525" algn="ctr">
              <a:solidFill>
                <a:srgbClr val="0091EA"/>
              </a:solidFill>
              <a:round/>
              <a:headEnd/>
              <a:tailEnd/>
            </a:ln>
          </p:spPr>
          <p:txBody>
            <a:bodyPr lIns="252000" tIns="0" rIns="0" bIns="36000" anchor="ctr"/>
            <a:lstStyle/>
            <a:p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내부통제</a:t>
              </a:r>
              <a:endParaRPr lang="ko-KR" altLang="en-US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6525908" y="5375483"/>
              <a:ext cx="180000" cy="1897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altLang="ko-KR" sz="1100" b="1" dirty="0" smtClean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0</a:t>
              </a:r>
              <a:endParaRPr lang="ko-KR" altLang="en-US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8636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결과 관리 모듈의 주요 기능인 영업점별 순위 조회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영업점별 위험 및 통제 효과성 순위를 조회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위험평가 이력 및 추세 분석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7 </a:t>
            </a:r>
            <a:r>
              <a:rPr lang="ko-KR" altLang="en-US" dirty="0"/>
              <a:t>위험평가결과 관리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214" y="2058470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Risk Category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별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서비스별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부점별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 및 통제 효과성 순위와 분류 유형별 점수를 조회하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81546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및 통제효과성 순위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42812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537233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505979"/>
              <a:ext cx="2175498" cy="17697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도 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회차 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점별로 </a:t>
              </a:r>
              <a:r>
                <a:rPr lang="en-US" altLang="ko-KR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와 </a:t>
              </a:r>
              <a:r>
                <a:rPr lang="ko-KR" altLang="en-US" sz="1000" b="1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효과성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결과를 순위 순으로 조회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체 위험평가 점수는 서비스별 합계와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합계가 동일하나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서비스 및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isk Category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항목별 점수가 다르므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서비스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Risk Category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회 화면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ab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으로 구성하여 조회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데이터는 가중치 적용값이어야 하고 통제효과성은 설계유효성과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운영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효과성이 통합된 최종 효과성 값으로 조회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274490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290645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4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3" y="2206041"/>
            <a:ext cx="6252809" cy="41134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920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결과 관리 모듈의 주요 기능인 자금세탁 위험평가 결과 보고서 작성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회차별 위험평가 결과 보고서를 작성 및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결과보고서 작성 및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131" name="그림 130" descr="48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93613" y="2207757"/>
            <a:ext cx="6202134" cy="19413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2" name="그림 131" descr="49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3613" y="4365323"/>
            <a:ext cx="6210084" cy="19541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76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7 </a:t>
            </a:r>
            <a:r>
              <a:rPr lang="ko-KR" altLang="en-US" dirty="0"/>
              <a:t>위험평가결과 관리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7" name="그룹 146"/>
          <p:cNvGrpSpPr/>
          <p:nvPr/>
        </p:nvGrpSpPr>
        <p:grpSpPr>
          <a:xfrm>
            <a:off x="6947348" y="2059223"/>
            <a:ext cx="2717684" cy="4420090"/>
            <a:chOff x="6951840" y="2060848"/>
            <a:chExt cx="2717684" cy="4420090"/>
          </a:xfrm>
        </p:grpSpPr>
        <p:sp>
          <p:nvSpPr>
            <p:cNvPr id="148" name="직사각형 14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50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1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연도 별로 전사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ML/TF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평가 결과 보고서를 작성하는 화면 </a:t>
              </a:r>
            </a:p>
          </p:txBody>
        </p:sp>
        <p:sp>
          <p:nvSpPr>
            <p:cNvPr id="152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3" name="그림 152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4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740193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결과 보고서 내 그리드 정보</a:t>
              </a:r>
            </a:p>
          </p:txBody>
        </p:sp>
        <p:sp>
          <p:nvSpPr>
            <p:cNvPr id="155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01459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6" name="그림 155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98856" y="3495880"/>
              <a:ext cx="303240" cy="318769"/>
            </a:xfrm>
            <a:prstGeom prst="rect">
              <a:avLst/>
            </a:prstGeom>
          </p:spPr>
        </p:pic>
        <p:sp>
          <p:nvSpPr>
            <p:cNvPr id="157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411445"/>
              <a:ext cx="2175498" cy="17697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도 별로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위험평가 결과를 취합하여 위험평가 결과 보고서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를 작성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 보고서에 포함되는 내용 중 수기로 기술이 필요하지 않은 데이터를 이용하여 자동 산출이 가능한 건을 보고서 상의 그리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orm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에 맞춰 출력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서에 필요한 그리드를 조회하고 다운로드 받을 수 있는 화면으로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서 상의 표 형식에 맞는 정보만 자동 산출되어 엑셀로 다운로드 받을 수 있도록 구현</a:t>
              </a:r>
            </a:p>
          </p:txBody>
        </p:sp>
        <p:sp>
          <p:nvSpPr>
            <p:cNvPr id="158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179956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9" name="그림 158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21599" y="4196111"/>
              <a:ext cx="291273" cy="291273"/>
            </a:xfrm>
            <a:prstGeom prst="rect">
              <a:avLst/>
            </a:prstGeom>
          </p:spPr>
        </p:pic>
      </p:grpSp>
      <p:sp>
        <p:nvSpPr>
          <p:cNvPr id="2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2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37757" y="4295744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9003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3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 관리 모듈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고유위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위험 지표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결과값 산출을 위한 기준정보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목표관리 및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산출값에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한 시뮬레이션 관리 기능으로 구성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FIU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지표 관리 주요 기능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06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8 FIU </a:t>
            </a:r>
            <a:r>
              <a:rPr lang="ko-KR" altLang="en-US" dirty="0"/>
              <a:t>지표 </a:t>
            </a:r>
            <a:r>
              <a:rPr lang="ko-KR" altLang="en-US" dirty="0" smtClean="0"/>
              <a:t>관리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grpSp>
        <p:nvGrpSpPr>
          <p:cNvPr id="174" name="그룹 173"/>
          <p:cNvGrpSpPr/>
          <p:nvPr/>
        </p:nvGrpSpPr>
        <p:grpSpPr>
          <a:xfrm>
            <a:off x="6951840" y="2060848"/>
            <a:ext cx="2717684" cy="4420090"/>
            <a:chOff x="6951840" y="2060848"/>
            <a:chExt cx="2717684" cy="4420090"/>
          </a:xfrm>
        </p:grpSpPr>
        <p:sp>
          <p:nvSpPr>
            <p:cNvPr id="175" name="직사각형 174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76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77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78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927846"/>
              <a:ext cx="2165260" cy="1077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oFIU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 등록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수정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조회 기능</a:t>
              </a: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위험평가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데이터마트를 활용한 전기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당기의 지표 및 타사의 지표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출 값과의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비교 분석 기능</a:t>
              </a:r>
            </a:p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최적 목표 값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산정을 위한 지표 시뮬레이션 기능 제공으로 회사의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목표 수립의 편의성 증대</a:t>
              </a:r>
            </a:p>
          </p:txBody>
        </p:sp>
        <p:sp>
          <p:nvSpPr>
            <p:cNvPr id="179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684222"/>
              <a:ext cx="1248740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en-US" altLang="ko-KR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KoFIU </a:t>
              </a:r>
              <a:r>
                <a:rPr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지표 산출 관리</a:t>
              </a:r>
            </a:p>
          </p:txBody>
        </p:sp>
        <p:pic>
          <p:nvPicPr>
            <p:cNvPr id="180" name="그림 179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684222"/>
              <a:ext cx="318769" cy="318769"/>
            </a:xfrm>
            <a:prstGeom prst="rect">
              <a:avLst/>
            </a:prstGeom>
          </p:spPr>
        </p:pic>
        <p:sp>
          <p:nvSpPr>
            <p:cNvPr id="181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4748758"/>
              <a:ext cx="2175496" cy="11285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주기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유형 별 자동화 산출 및 산출 결과의 유형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주기 별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직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조회 기능 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보고서 작성 및 내부 보고용 정형화 보고서 작성 지원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시스템의 자료 제출과 연계하여 </a:t>
              </a:r>
              <a:r>
                <a:rPr lang="ko-KR" altLang="en-US" sz="1000" b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료 제출 과정의 자동화</a:t>
              </a:r>
            </a:p>
          </p:txBody>
        </p:sp>
        <p:sp>
          <p:nvSpPr>
            <p:cNvPr id="182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4510024"/>
              <a:ext cx="1013739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지표 산출 결과 관리</a:t>
              </a:r>
            </a:p>
          </p:txBody>
        </p:sp>
        <p:pic>
          <p:nvPicPr>
            <p:cNvPr id="183" name="그림 182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4504445"/>
              <a:ext cx="303240" cy="318769"/>
            </a:xfrm>
            <a:prstGeom prst="rect">
              <a:avLst/>
            </a:prstGeom>
          </p:spPr>
        </p:pic>
      </p:grpSp>
      <p:sp>
        <p:nvSpPr>
          <p:cNvPr id="5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5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87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88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89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90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1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92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3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9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5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9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8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99" name="Rectangle 11"/>
          <p:cNvSpPr>
            <a:spLocks noChangeAspect="1" noChangeArrowheads="1"/>
          </p:cNvSpPr>
          <p:nvPr/>
        </p:nvSpPr>
        <p:spPr bwMode="auto">
          <a:xfrm>
            <a:off x="1218710" y="2321652"/>
            <a:ext cx="124553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U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유</a:t>
            </a: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지표 관리</a:t>
            </a:r>
          </a:p>
        </p:txBody>
      </p:sp>
      <p:sp>
        <p:nvSpPr>
          <p:cNvPr id="100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1" name="Rectangle 11"/>
          <p:cNvSpPr>
            <a:spLocks noChangeAspect="1" noChangeArrowheads="1"/>
          </p:cNvSpPr>
          <p:nvPr/>
        </p:nvSpPr>
        <p:spPr bwMode="auto">
          <a:xfrm>
            <a:off x="4244744" y="2321652"/>
            <a:ext cx="173124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U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유</a:t>
            </a: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지표 기준정보 관리</a:t>
            </a:r>
          </a:p>
        </p:txBody>
      </p:sp>
      <p:sp>
        <p:nvSpPr>
          <p:cNvPr id="102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4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5" name="Rectangle 11"/>
          <p:cNvSpPr>
            <a:spLocks noChangeAspect="1" noChangeArrowheads="1"/>
          </p:cNvSpPr>
          <p:nvPr/>
        </p:nvSpPr>
        <p:spPr bwMode="auto">
          <a:xfrm>
            <a:off x="1051193" y="4373913"/>
            <a:ext cx="15805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U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지표에 대한 목표 관리</a:t>
            </a:r>
          </a:p>
        </p:txBody>
      </p:sp>
      <p:sp>
        <p:nvSpPr>
          <p:cNvPr id="106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7" name="Rectangle 11"/>
          <p:cNvSpPr>
            <a:spLocks noChangeAspect="1" noChangeArrowheads="1"/>
          </p:cNvSpPr>
          <p:nvPr/>
        </p:nvSpPr>
        <p:spPr bwMode="auto">
          <a:xfrm>
            <a:off x="4562938" y="4373913"/>
            <a:ext cx="109485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U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표 산출값 관리</a:t>
            </a:r>
          </a:p>
        </p:txBody>
      </p:sp>
      <p:sp>
        <p:nvSpPr>
          <p:cNvPr id="108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9" name="Rs27"/>
          <p:cNvSpPr>
            <a:spLocks noChangeAspect="1" noChangeArrowheads="1"/>
          </p:cNvSpPr>
          <p:nvPr/>
        </p:nvSpPr>
        <p:spPr bwMode="auto">
          <a:xfrm>
            <a:off x="446760" y="2681809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월별로 고유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운영위험에 대하여 지표명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설명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산출 로직 및 배점 등의 정보를 등록 및 관리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각 지표에 대한 입력값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 배점 등 상세 내용을 관리하는 기능</a:t>
            </a:r>
          </a:p>
        </p:txBody>
      </p:sp>
      <p:sp>
        <p:nvSpPr>
          <p:cNvPr id="110" name="Rs27"/>
          <p:cNvSpPr>
            <a:spLocks noChangeAspect="1" noChangeArrowheads="1"/>
          </p:cNvSpPr>
          <p:nvPr/>
        </p:nvSpPr>
        <p:spPr bwMode="auto">
          <a:xfrm>
            <a:off x="3735436" y="2687758"/>
            <a:ext cx="2755337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IU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의 연계표준 형태로 데이터 생성을 위하여 필요한 각종 코드 및 기준정보를 관리하는 기능</a:t>
            </a:r>
          </a:p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IU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를 기준으로 데이터 입력항목과 연계표준 항목을 </a:t>
            </a: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apping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하는 기능</a:t>
            </a:r>
          </a:p>
          <a:p>
            <a:pPr marL="84242" indent="-84242">
              <a:lnSpc>
                <a:spcPts val="1376"/>
              </a:lnSpc>
              <a:buFont typeface="Arial" panose="020B0604020202020204" pitchFamily="34" charset="0"/>
              <a:buChar char="•"/>
            </a:pP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이 필요한 데이터에 대하여 </a:t>
            </a: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R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주기</a:t>
            </a: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용</a:t>
            </a: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부서</a:t>
            </a: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</a:t>
            </a:r>
            <a:r>
              <a:rPr lang="en-US" altLang="ko-KR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900" spc="-1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결재경로 등을 설정하는 기능</a:t>
            </a:r>
          </a:p>
        </p:txBody>
      </p:sp>
      <p:sp>
        <p:nvSpPr>
          <p:cNvPr id="111" name="Rs27"/>
          <p:cNvSpPr>
            <a:spLocks noChangeAspect="1" noChangeArrowheads="1"/>
          </p:cNvSpPr>
          <p:nvPr/>
        </p:nvSpPr>
        <p:spPr bwMode="auto">
          <a:xfrm>
            <a:off x="446760" y="4807197"/>
            <a:ext cx="275533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연도별로 운영위험 지표에 대한 위험관리 목표를 등록하고 관리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당해년도 평가 결과와 목표에 대한 비교 및 개선 조치 필요사항 도출 기능</a:t>
            </a:r>
          </a:p>
        </p:txBody>
      </p:sp>
      <p:sp>
        <p:nvSpPr>
          <p:cNvPr id="112" name="Rs27"/>
          <p:cNvSpPr>
            <a:spLocks noChangeAspect="1" noChangeArrowheads="1"/>
          </p:cNvSpPr>
          <p:nvPr/>
        </p:nvSpPr>
        <p:spPr bwMode="auto">
          <a:xfrm>
            <a:off x="3735436" y="4813146"/>
            <a:ext cx="2837744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FIU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지표 별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균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및 최대값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최소값을 입수하여 당사의 지표 점수가 어떻게 산출될지 시뮬레이션 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확정된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FIU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지표 값을 연계표준의 양식으로 변환하는 기능</a:t>
            </a: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확정된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FIU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지표의 첨부파일을 양식 및 담당자 별로 다운로드 하는 기능</a:t>
            </a:r>
          </a:p>
        </p:txBody>
      </p:sp>
      <p:pic>
        <p:nvPicPr>
          <p:cNvPr id="117" name="그림 116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28" y="3535231"/>
            <a:ext cx="2700000" cy="444745"/>
          </a:xfrm>
          <a:prstGeom prst="rect">
            <a:avLst/>
          </a:prstGeom>
        </p:spPr>
      </p:pic>
      <p:pic>
        <p:nvPicPr>
          <p:cNvPr id="119" name="그림 118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28" y="5555158"/>
            <a:ext cx="2700000" cy="516268"/>
          </a:xfrm>
          <a:prstGeom prst="rect">
            <a:avLst/>
          </a:prstGeom>
        </p:spPr>
      </p:pic>
      <p:grpSp>
        <p:nvGrpSpPr>
          <p:cNvPr id="120" name="그룹 119"/>
          <p:cNvGrpSpPr/>
          <p:nvPr/>
        </p:nvGrpSpPr>
        <p:grpSpPr>
          <a:xfrm>
            <a:off x="4162467" y="5697252"/>
            <a:ext cx="1908000" cy="390132"/>
            <a:chOff x="4332425" y="5108363"/>
            <a:chExt cx="1958031" cy="498605"/>
          </a:xfrm>
        </p:grpSpPr>
        <p:pic>
          <p:nvPicPr>
            <p:cNvPr id="121" name="Picture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9635" y="5108363"/>
              <a:ext cx="298138" cy="298138"/>
            </a:xfrm>
            <a:prstGeom prst="rect">
              <a:avLst/>
            </a:prstGeom>
          </p:spPr>
        </p:pic>
        <p:sp>
          <p:nvSpPr>
            <p:cNvPr id="122" name="TextBox 649"/>
            <p:cNvSpPr txBox="1">
              <a:spLocks noChangeArrowheads="1"/>
            </p:cNvSpPr>
            <p:nvPr/>
          </p:nvSpPr>
          <p:spPr bwMode="auto">
            <a:xfrm>
              <a:off x="4332425" y="5429960"/>
              <a:ext cx="361908" cy="1770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fontAlgn="auto">
                <a:spcBef>
                  <a:spcPct val="10000"/>
                </a:spcBef>
                <a:spcAft>
                  <a:spcPct val="10000"/>
                </a:spcAft>
              </a:pPr>
              <a:r>
                <a:rPr kumimoji="0" lang="ko-KR" altLang="en-US" sz="900" b="0" spc="-1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연계표준</a:t>
              </a:r>
              <a:endParaRPr kumimoji="0" lang="en-US" altLang="ko-KR" sz="900" b="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pic>
          <p:nvPicPr>
            <p:cNvPr id="123" name="Picture 1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4702" y="5160781"/>
              <a:ext cx="1045754" cy="288253"/>
            </a:xfrm>
            <a:prstGeom prst="rect">
              <a:avLst/>
            </a:prstGeom>
          </p:spPr>
        </p:pic>
        <p:sp>
          <p:nvSpPr>
            <p:cNvPr id="124" name="Right Arrow 11"/>
            <p:cNvSpPr/>
            <p:nvPr/>
          </p:nvSpPr>
          <p:spPr bwMode="auto">
            <a:xfrm>
              <a:off x="4763864" y="5255581"/>
              <a:ext cx="441897" cy="150920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pic>
        <p:nvPicPr>
          <p:cNvPr id="57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10113" y="5409392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14735" y="3458154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60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800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 관리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위험 지표 조회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운영위험 지표를 조회 및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FIU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유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운영지표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8 FIU </a:t>
            </a:r>
            <a:r>
              <a:rPr lang="ko-KR" altLang="en-US" dirty="0"/>
              <a:t>지표 관리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51840" y="2064695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oFIU </a:t>
              </a:r>
              <a:r>
                <a:rPr lang="ko-KR" altLang="en-US" sz="1000" b="1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운영 위험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의 리스트를 조회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하고 필요 시 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upload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할 수 있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607000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정보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368266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362687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242248"/>
              <a:ext cx="2175498" cy="2103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년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Category, Factor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소분류를 조회 조건으로 하여 연도 별로 적용될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의 리스트를 조회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엑셀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다운로드 및 업로드가 가능하여야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함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해당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화면은 리스트를 조회하는 화면이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지표의 상세 내용은 해당 지표 더블 클릭 시 상세 관리 화면으로 이동되도록 구현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도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ategory, Factor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 개수를 조회할 수 있는 화면 별도 구현 필요할 것으로 보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필요성 검토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동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 대상 지표를 설정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동 산출 대상 지표는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입력 값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동으로 처리되도록 구성</a:t>
              </a: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010759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026914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55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3613" y="2206041"/>
            <a:ext cx="6202134" cy="41134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488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 관리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 코드 관리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지표 코드를 조회 및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FIU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유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운영지표 기준정보 관리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5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8 FIU </a:t>
            </a:r>
            <a:r>
              <a:rPr lang="ko-KR" altLang="en-US" dirty="0"/>
              <a:t>지표 관리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6" name="그룹 145"/>
          <p:cNvGrpSpPr/>
          <p:nvPr/>
        </p:nvGrpSpPr>
        <p:grpSpPr>
          <a:xfrm>
            <a:off x="6943214" y="2050722"/>
            <a:ext cx="2717684" cy="4420090"/>
            <a:chOff x="6951840" y="2060848"/>
            <a:chExt cx="2717684" cy="4420090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8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FIU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 </a:t>
              </a:r>
              <a:r>
                <a:rPr lang="ko-KR" altLang="en-US" sz="1000" b="1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연계 표준 </a:t>
              </a:r>
              <a:r>
                <a:rPr lang="ko-KR" altLang="en-US" sz="1000" b="1" dirty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데이터 생성을 위하여 필요한 코드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를 관리할 수 있는 화면 </a:t>
              </a:r>
            </a:p>
          </p:txBody>
        </p:sp>
        <p:sp>
          <p:nvSpPr>
            <p:cNvPr id="151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820867"/>
              <a:ext cx="217549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정보</a:t>
              </a:r>
            </a:p>
          </p:txBody>
        </p:sp>
        <p:sp>
          <p:nvSpPr>
            <p:cNvPr id="15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582133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98856" y="3576554"/>
              <a:ext cx="303240" cy="318769"/>
            </a:xfrm>
            <a:prstGeom prst="rect">
              <a:avLst/>
            </a:prstGeom>
          </p:spPr>
        </p:pic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673056"/>
              <a:ext cx="2175498" cy="14619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IU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산출에 활용되는 다양한 코드 정보를 등록하여 관리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데이터 입력 양식 별로 사용되는 코드 정보를 관리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본 코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외 추가로 회사가 코드를 추가 등록할 수 있는 기능 구현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정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삭제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추가 기능 필요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위험과 고유 위험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별도 조회 조건으로 하여 조회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ontents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가 변경되도록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구현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7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441567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21599" y="4457722"/>
              <a:ext cx="291273" cy="291273"/>
            </a:xfrm>
            <a:prstGeom prst="rect">
              <a:avLst/>
            </a:prstGeom>
          </p:spPr>
        </p:pic>
      </p:grpSp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2" name="그림 31" descr="54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81303" y="2200693"/>
            <a:ext cx="6273069" cy="411877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8147" y="21481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594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6" y="2060848"/>
            <a:ext cx="6732748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표 관리 모듈의 주요 기능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위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유위험 지표 입력값 등록 및 확정 화면이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당 화면에서는 월별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운영위험지표 및 고유위험 지표의 평가 결과를 입력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FIU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운영위험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유위험 지표 입력값 등록 및 확정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131" name="그림 130" descr="58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4228" y="2210591"/>
            <a:ext cx="5397116" cy="271346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2" name="그림 131" descr="59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56556" y="3673313"/>
            <a:ext cx="5684848" cy="26881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77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5.5.8 FIU </a:t>
            </a:r>
            <a:r>
              <a:rPr lang="ko-KR" altLang="en-US" dirty="0"/>
              <a:t>지표 관리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grpSp>
        <p:nvGrpSpPr>
          <p:cNvPr id="147" name="그룹 146"/>
          <p:cNvGrpSpPr/>
          <p:nvPr/>
        </p:nvGrpSpPr>
        <p:grpSpPr>
          <a:xfrm>
            <a:off x="6943214" y="2060624"/>
            <a:ext cx="2717684" cy="4420090"/>
            <a:chOff x="6951840" y="2060848"/>
            <a:chExt cx="2717684" cy="4420090"/>
          </a:xfrm>
        </p:grpSpPr>
        <p:sp>
          <p:nvSpPr>
            <p:cNvPr id="148" name="직사각형 14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2060848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49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60848"/>
              <a:ext cx="2717340" cy="299934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화면 설명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50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60852"/>
              <a:ext cx="2717642" cy="149967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51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45617" y="2803400"/>
              <a:ext cx="21652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92075" indent="-92075" defTabSz="879475" fontAlgn="auto">
                <a:spcBef>
                  <a:spcPts val="0"/>
                </a:spcBef>
                <a:spcAft>
                  <a:spcPts val="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</a:pPr>
              <a:r>
                <a:rPr lang="en-US" altLang="ko-KR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KoFIU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운영 위험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/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고유 위험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지표 평가결과를 입력하는 화면</a:t>
              </a:r>
            </a:p>
          </p:txBody>
        </p:sp>
        <p:sp>
          <p:nvSpPr>
            <p:cNvPr id="152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2559776"/>
              <a:ext cx="5354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 개요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3" name="그림 152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98856" y="2559776"/>
              <a:ext cx="318769" cy="318769"/>
            </a:xfrm>
            <a:prstGeom prst="rect">
              <a:avLst/>
            </a:prstGeom>
          </p:spPr>
        </p:pic>
        <p:sp>
          <p:nvSpPr>
            <p:cNvPr id="154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5" y="3673537"/>
              <a:ext cx="217549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월별 운영 위험 및 고요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평가 결과</a:t>
              </a:r>
            </a:p>
          </p:txBody>
        </p:sp>
        <p:sp>
          <p:nvSpPr>
            <p:cNvPr id="155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593" y="3434803"/>
              <a:ext cx="86658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리 필요 데이터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56" name="그림 155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98856" y="3429224"/>
              <a:ext cx="303240" cy="318769"/>
            </a:xfrm>
            <a:prstGeom prst="rect">
              <a:avLst/>
            </a:prstGeom>
          </p:spPr>
        </p:pic>
        <p:sp>
          <p:nvSpPr>
            <p:cNvPr id="157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33593" y="4494276"/>
              <a:ext cx="2175498" cy="17697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월별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및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유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의 평가 결과를 입력하는 화면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의 경우 평가 결과를 입력하며 입력값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값이 어떻게 산출되는지 입력 즉시 확인할 수 있도록 구성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운영 위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의 경우 일반적으로 전월과 동일한 평가항목이 많으므로 마지막에 입력한 월의 데이터를 복사하여 재검토 하는 기능 필요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중앙회에서 특정 지표에 대하여 입력하고 모든 부점에 평가 결과를 전달하는 기능 필요</a:t>
              </a:r>
            </a:p>
          </p:txBody>
        </p:sp>
        <p:sp>
          <p:nvSpPr>
            <p:cNvPr id="158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5617" y="4262787"/>
              <a:ext cx="216347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특이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59" name="그림 158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21599" y="4278942"/>
              <a:ext cx="291273" cy="291273"/>
            </a:xfrm>
            <a:prstGeom prst="rect">
              <a:avLst/>
            </a:prstGeom>
          </p:spPr>
        </p:pic>
      </p:grpSp>
      <p:sp>
        <p:nvSpPr>
          <p:cNvPr id="2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10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.5.5 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2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633699" y="2135280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2475" y="354140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1297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2.5.1.1 </a:t>
            </a:r>
            <a:r>
              <a:rPr lang="ko-KR" altLang="en-US" dirty="0"/>
              <a:t>사용자권한 및 메뉴관리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메뉴 및 사용권한을 관리하기 위한 메뉴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권한그룹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그룹별 메뉴권한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사용자관리 등의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메뉴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권한그룹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메뉴권한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사용자관리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5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2617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관리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31" name="자유형: 도형 4">
            <a:extLst>
              <a:ext uri="{FF2B5EF4-FFF2-40B4-BE49-F238E27FC236}">
                <a16:creationId xmlns:a16="http://schemas.microsoft.com/office/drawing/2014/main" id="{ECF58973-DC72-4E32-8278-80B8EE1FFCFB}"/>
              </a:ext>
            </a:extLst>
          </p:cNvPr>
          <p:cNvSpPr/>
          <p:nvPr/>
        </p:nvSpPr>
        <p:spPr>
          <a:xfrm>
            <a:off x="232538" y="2060848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2" name="자유형: 도형 59">
            <a:extLst>
              <a:ext uri="{FF2B5EF4-FFF2-40B4-BE49-F238E27FC236}">
                <a16:creationId xmlns:a16="http://schemas.microsoft.com/office/drawing/2014/main" id="{2FD87C47-85B1-4461-9DBF-E9AD98DD6FBA}"/>
              </a:ext>
            </a:extLst>
          </p:cNvPr>
          <p:cNvSpPr/>
          <p:nvPr/>
        </p:nvSpPr>
        <p:spPr>
          <a:xfrm flipV="1">
            <a:off x="232538" y="6309320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3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5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8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9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0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2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3" name="Rectangle 11"/>
          <p:cNvSpPr>
            <a:spLocks noChangeAspect="1" noChangeArrowheads="1"/>
          </p:cNvSpPr>
          <p:nvPr/>
        </p:nvSpPr>
        <p:spPr bwMode="auto">
          <a:xfrm>
            <a:off x="1617060" y="2321652"/>
            <a:ext cx="44884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메뉴관리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4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5" name="Rectangle 11"/>
          <p:cNvSpPr>
            <a:spLocks noChangeAspect="1" noChangeArrowheads="1"/>
          </p:cNvSpPr>
          <p:nvPr/>
        </p:nvSpPr>
        <p:spPr bwMode="auto">
          <a:xfrm>
            <a:off x="4773737" y="2321652"/>
            <a:ext cx="6732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권한그룹관리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8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9" name="Rectangle 11"/>
          <p:cNvSpPr>
            <a:spLocks noChangeAspect="1" noChangeArrowheads="1"/>
          </p:cNvSpPr>
          <p:nvPr/>
        </p:nvSpPr>
        <p:spPr bwMode="auto">
          <a:xfrm>
            <a:off x="1318102" y="4373913"/>
            <a:ext cx="104676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그룹별 메뉴권한관리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0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1" name="Rectangle 11"/>
          <p:cNvSpPr>
            <a:spLocks noChangeAspect="1" noChangeArrowheads="1"/>
          </p:cNvSpPr>
          <p:nvPr/>
        </p:nvSpPr>
        <p:spPr bwMode="auto">
          <a:xfrm>
            <a:off x="4829843" y="4373913"/>
            <a:ext cx="5610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사용자관리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5" name="Rs27"/>
          <p:cNvSpPr>
            <a:spLocks noChangeAspect="1" noChangeArrowheads="1"/>
          </p:cNvSpPr>
          <p:nvPr/>
        </p:nvSpPr>
        <p:spPr bwMode="auto">
          <a:xfrm>
            <a:off x="359102" y="5985284"/>
            <a:ext cx="3105334" cy="141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9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자금세탁방지시스템의 권한그룹별 메뉴 관리 기능</a:t>
            </a:r>
            <a:endParaRPr lang="en-US" altLang="ko-KR" sz="9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sp>
        <p:nvSpPr>
          <p:cNvPr id="57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16932"/>
            <a:ext cx="216526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자금세탁방지시스템 메뉴 및 프로그램 관리 기능</a:t>
            </a:r>
          </a:p>
        </p:txBody>
      </p:sp>
      <p:grpSp>
        <p:nvGrpSpPr>
          <p:cNvPr id="58" name="그룹 57"/>
          <p:cNvGrpSpPr/>
          <p:nvPr/>
        </p:nvGrpSpPr>
        <p:grpSpPr>
          <a:xfrm>
            <a:off x="7113487" y="2573308"/>
            <a:ext cx="740486" cy="318769"/>
            <a:chOff x="7113487" y="2573308"/>
            <a:chExt cx="740486" cy="318769"/>
          </a:xfrm>
        </p:grpSpPr>
        <p:sp>
          <p:nvSpPr>
            <p:cNvPr id="59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49372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메뉴관리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60" name="그림 59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61" name="그룹 60"/>
          <p:cNvGrpSpPr/>
          <p:nvPr/>
        </p:nvGrpSpPr>
        <p:grpSpPr>
          <a:xfrm>
            <a:off x="7113487" y="3416970"/>
            <a:ext cx="2376017" cy="552090"/>
            <a:chOff x="7113487" y="3439317"/>
            <a:chExt cx="2376017" cy="552090"/>
          </a:xfrm>
        </p:grpSpPr>
        <p:sp>
          <p:nvSpPr>
            <p:cNvPr id="62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시스템 사용 권한 그룹 관리 기능 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록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정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삭제 등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63" name="그룹 62"/>
            <p:cNvGrpSpPr/>
            <p:nvPr/>
          </p:nvGrpSpPr>
          <p:grpSpPr>
            <a:xfrm>
              <a:off x="7113487" y="3439317"/>
              <a:ext cx="933487" cy="318769"/>
              <a:chOff x="7113487" y="4132302"/>
              <a:chExt cx="933487" cy="318769"/>
            </a:xfrm>
          </p:grpSpPr>
          <p:sp>
            <p:nvSpPr>
              <p:cNvPr id="64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686726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ko-KR" altLang="en-US" sz="1100" spc="-70" dirty="0" smtClean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권한그룹관리</a:t>
                </a:r>
                <a:endPara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65" name="그림 64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cxnSp>
        <p:nvCxnSpPr>
          <p:cNvPr id="66" name="직선 연결선 65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28498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7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642480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시스템 사용권한 그룹 별 메뉴 및 프로그램 관리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403746"/>
            <a:ext cx="111088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그룹별메뉴권한관리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149080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2" name="직선 연결선 71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1571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3" name="그림 7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1666" y="4395996"/>
            <a:ext cx="320400" cy="320400"/>
          </a:xfrm>
          <a:prstGeom prst="rect">
            <a:avLst/>
          </a:prstGeom>
        </p:spPr>
      </p:pic>
      <p:sp>
        <p:nvSpPr>
          <p:cNvPr id="70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650591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 업무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사용자 리스트 조회 및 권한 그룹 부여 등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1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411857"/>
            <a:ext cx="61715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사용자관리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pic>
        <p:nvPicPr>
          <p:cNvPr id="74" name="그림 73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547" y="5403129"/>
            <a:ext cx="320400" cy="320400"/>
          </a:xfrm>
          <a:prstGeom prst="rect">
            <a:avLst/>
          </a:prstGeom>
        </p:spPr>
      </p:pic>
      <p:pic>
        <p:nvPicPr>
          <p:cNvPr id="99" name="그림 98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886" y="2383209"/>
            <a:ext cx="318769" cy="318769"/>
          </a:xfrm>
          <a:prstGeom prst="rect">
            <a:avLst/>
          </a:prstGeom>
        </p:spPr>
      </p:pic>
      <p:pic>
        <p:nvPicPr>
          <p:cNvPr id="100" name="그림 99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8394" y="2380498"/>
            <a:ext cx="318769" cy="318769"/>
          </a:xfrm>
          <a:prstGeom prst="rect">
            <a:avLst/>
          </a:prstGeom>
        </p:spPr>
      </p:pic>
      <p:pic>
        <p:nvPicPr>
          <p:cNvPr id="101" name="그림 100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021" y="4435469"/>
            <a:ext cx="320400" cy="320400"/>
          </a:xfrm>
          <a:prstGeom prst="rect">
            <a:avLst/>
          </a:prstGeom>
        </p:spPr>
      </p:pic>
      <p:pic>
        <p:nvPicPr>
          <p:cNvPr id="102" name="그림 101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2272" y="4444610"/>
            <a:ext cx="320400" cy="320400"/>
          </a:xfrm>
          <a:prstGeom prst="rect">
            <a:avLst/>
          </a:prstGeom>
        </p:spPr>
      </p:pic>
      <p:grpSp>
        <p:nvGrpSpPr>
          <p:cNvPr id="23" name="그룹 22"/>
          <p:cNvGrpSpPr/>
          <p:nvPr/>
        </p:nvGrpSpPr>
        <p:grpSpPr>
          <a:xfrm>
            <a:off x="404848" y="2621748"/>
            <a:ext cx="2806191" cy="1473571"/>
            <a:chOff x="404848" y="2621748"/>
            <a:chExt cx="2806191" cy="1473571"/>
          </a:xfrm>
        </p:grpSpPr>
        <p:grpSp>
          <p:nvGrpSpPr>
            <p:cNvPr id="106" name="그룹 105"/>
            <p:cNvGrpSpPr/>
            <p:nvPr/>
          </p:nvGrpSpPr>
          <p:grpSpPr>
            <a:xfrm>
              <a:off x="404848" y="2621748"/>
              <a:ext cx="900000" cy="147259"/>
              <a:chOff x="1114108" y="2573280"/>
              <a:chExt cx="879978" cy="144000"/>
            </a:xfrm>
          </p:grpSpPr>
          <p:sp>
            <p:nvSpPr>
              <p:cNvPr id="108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09" name="Rt40" descr="도식1"/>
              <p:cNvSpPr>
                <a:spLocks noChangeArrowheads="1"/>
              </p:cNvSpPr>
              <p:nvPr/>
            </p:nvSpPr>
            <p:spPr bwMode="auto">
              <a:xfrm>
                <a:off x="1438118" y="2594003"/>
                <a:ext cx="231966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메뉴관리</a:t>
                </a:r>
              </a:p>
            </p:txBody>
          </p:sp>
        </p:grpSp>
        <p:pic>
          <p:nvPicPr>
            <p:cNvPr id="111" name="그림 1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2323" y="2773315"/>
              <a:ext cx="2798716" cy="1322004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pic>
        <p:nvPicPr>
          <p:cNvPr id="81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28091" y="2630074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그룹 25"/>
          <p:cNvGrpSpPr/>
          <p:nvPr/>
        </p:nvGrpSpPr>
        <p:grpSpPr>
          <a:xfrm>
            <a:off x="3741265" y="2625400"/>
            <a:ext cx="2757503" cy="1439717"/>
            <a:chOff x="3741265" y="2625400"/>
            <a:chExt cx="2757503" cy="1439717"/>
          </a:xfrm>
        </p:grpSpPr>
        <p:grpSp>
          <p:nvGrpSpPr>
            <p:cNvPr id="113" name="그룹 112"/>
            <p:cNvGrpSpPr/>
            <p:nvPr/>
          </p:nvGrpSpPr>
          <p:grpSpPr>
            <a:xfrm>
              <a:off x="3741265" y="2625400"/>
              <a:ext cx="900000" cy="147259"/>
              <a:chOff x="1114108" y="2573280"/>
              <a:chExt cx="879978" cy="144000"/>
            </a:xfrm>
          </p:grpSpPr>
          <p:sp>
            <p:nvSpPr>
              <p:cNvPr id="115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16" name="Rt40" descr="도식1"/>
              <p:cNvSpPr>
                <a:spLocks noChangeArrowheads="1"/>
              </p:cNvSpPr>
              <p:nvPr/>
            </p:nvSpPr>
            <p:spPr bwMode="auto">
              <a:xfrm>
                <a:off x="1380129" y="2594003"/>
                <a:ext cx="347950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권한그룹관리</a:t>
                </a:r>
              </a:p>
            </p:txBody>
          </p:sp>
        </p:grpSp>
        <p:pic>
          <p:nvPicPr>
            <p:cNvPr id="119" name="그림 11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47567" y="2789692"/>
              <a:ext cx="2751201" cy="127542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pic>
        <p:nvPicPr>
          <p:cNvPr id="82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38606" y="2651142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4" name="Rt40" descr="도식1"/>
          <p:cNvSpPr>
            <a:spLocks noChangeArrowheads="1"/>
          </p:cNvSpPr>
          <p:nvPr/>
        </p:nvSpPr>
        <p:spPr bwMode="auto">
          <a:xfrm>
            <a:off x="614310" y="4672479"/>
            <a:ext cx="540212" cy="107722"/>
          </a:xfrm>
          <a:prstGeom prst="rect">
            <a:avLst/>
          </a:prstGeom>
          <a:noFill/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pAutoFit/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latinLnBrk="0"/>
            <a:r>
              <a:rPr lang="ko-KR" altLang="en-US" sz="700" spc="-150" dirty="0" smtClean="0">
                <a:solidFill>
                  <a:srgbClr val="F8F8F8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그룹별메뉴 권한관리</a:t>
            </a:r>
          </a:p>
        </p:txBody>
      </p:sp>
      <p:grpSp>
        <p:nvGrpSpPr>
          <p:cNvPr id="27" name="그룹 26"/>
          <p:cNvGrpSpPr/>
          <p:nvPr/>
        </p:nvGrpSpPr>
        <p:grpSpPr>
          <a:xfrm>
            <a:off x="3741226" y="4687201"/>
            <a:ext cx="2757503" cy="1434402"/>
            <a:chOff x="3741226" y="4687201"/>
            <a:chExt cx="2757503" cy="1434402"/>
          </a:xfrm>
        </p:grpSpPr>
        <p:grpSp>
          <p:nvGrpSpPr>
            <p:cNvPr id="127" name="그룹 126"/>
            <p:cNvGrpSpPr/>
            <p:nvPr/>
          </p:nvGrpSpPr>
          <p:grpSpPr>
            <a:xfrm>
              <a:off x="3741226" y="4687201"/>
              <a:ext cx="900000" cy="147259"/>
              <a:chOff x="1114108" y="2573280"/>
              <a:chExt cx="879978" cy="144000"/>
            </a:xfrm>
          </p:grpSpPr>
          <p:sp>
            <p:nvSpPr>
              <p:cNvPr id="129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30" name="Rt40" descr="도식1"/>
              <p:cNvSpPr>
                <a:spLocks noChangeArrowheads="1"/>
              </p:cNvSpPr>
              <p:nvPr/>
            </p:nvSpPr>
            <p:spPr bwMode="auto">
              <a:xfrm>
                <a:off x="1409126" y="2594003"/>
                <a:ext cx="289959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사용자관리</a:t>
                </a:r>
              </a:p>
            </p:txBody>
          </p:sp>
        </p:grpSp>
        <p:pic>
          <p:nvPicPr>
            <p:cNvPr id="132" name="그림 13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41226" y="4851492"/>
              <a:ext cx="2757503" cy="1270111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pic>
        <p:nvPicPr>
          <p:cNvPr id="83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38606" y="470661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그룹 5"/>
          <p:cNvGrpSpPr/>
          <p:nvPr/>
        </p:nvGrpSpPr>
        <p:grpSpPr>
          <a:xfrm>
            <a:off x="420682" y="4651287"/>
            <a:ext cx="2791384" cy="1470317"/>
            <a:chOff x="420682" y="4651287"/>
            <a:chExt cx="2791384" cy="1470317"/>
          </a:xfrm>
        </p:grpSpPr>
        <p:grpSp>
          <p:nvGrpSpPr>
            <p:cNvPr id="2" name="그룹 1"/>
            <p:cNvGrpSpPr/>
            <p:nvPr/>
          </p:nvGrpSpPr>
          <p:grpSpPr>
            <a:xfrm>
              <a:off x="421026" y="4651287"/>
              <a:ext cx="2791040" cy="1470317"/>
              <a:chOff x="421026" y="4651287"/>
              <a:chExt cx="2791040" cy="1470317"/>
            </a:xfrm>
          </p:grpSpPr>
          <p:sp>
            <p:nvSpPr>
              <p:cNvPr id="123" name="Text Box 358" descr="도식1"/>
              <p:cNvSpPr>
                <a:spLocks noChangeArrowheads="1"/>
              </p:cNvSpPr>
              <p:nvPr/>
            </p:nvSpPr>
            <p:spPr bwMode="auto">
              <a:xfrm>
                <a:off x="434411" y="4651287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125" name="그림 124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21026" y="4808070"/>
                <a:ext cx="2791040" cy="1313534"/>
              </a:xfrm>
              <a:prstGeom prst="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</p:pic>
        </p:grpSp>
        <p:grpSp>
          <p:nvGrpSpPr>
            <p:cNvPr id="3" name="그룹 2"/>
            <p:cNvGrpSpPr/>
            <p:nvPr/>
          </p:nvGrpSpPr>
          <p:grpSpPr>
            <a:xfrm>
              <a:off x="420682" y="4656049"/>
              <a:ext cx="900000" cy="147259"/>
              <a:chOff x="420682" y="4656049"/>
              <a:chExt cx="900000" cy="147259"/>
            </a:xfrm>
          </p:grpSpPr>
          <p:sp>
            <p:nvSpPr>
              <p:cNvPr id="87" name="Text Box 358" descr="도식1"/>
              <p:cNvSpPr>
                <a:spLocks noChangeArrowheads="1"/>
              </p:cNvSpPr>
              <p:nvPr/>
            </p:nvSpPr>
            <p:spPr bwMode="auto">
              <a:xfrm>
                <a:off x="420682" y="4656049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88" name="Rt40" descr="도식1"/>
              <p:cNvSpPr>
                <a:spLocks noChangeArrowheads="1"/>
              </p:cNvSpPr>
              <p:nvPr/>
            </p:nvSpPr>
            <p:spPr bwMode="auto">
              <a:xfrm>
                <a:off x="603787" y="4677241"/>
                <a:ext cx="533800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그룹별메뉴권한관리</a:t>
                </a:r>
              </a:p>
            </p:txBody>
          </p:sp>
        </p:grpSp>
      </p:grpSp>
      <p:pic>
        <p:nvPicPr>
          <p:cNvPr id="84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33896" y="471713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92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5993959"/>
            <a:ext cx="229075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 통폐합 등 조직 변경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스템 반영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3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94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146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5.1.2 </a:t>
            </a:r>
            <a:r>
              <a:rPr lang="ko-KR" altLang="en-US" dirty="0" smtClean="0"/>
              <a:t>코드정보 및 메세지관리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통코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메세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기관정보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퍼티 등을 관리하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코드정보 및 메시지 관리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22" name="그룹 21"/>
          <p:cNvGrpSpPr/>
          <p:nvPr/>
        </p:nvGrpSpPr>
        <p:grpSpPr>
          <a:xfrm>
            <a:off x="6955778" y="2573308"/>
            <a:ext cx="2717340" cy="3428288"/>
            <a:chOff x="6955778" y="2573308"/>
            <a:chExt cx="2717340" cy="3428288"/>
          </a:xfrm>
        </p:grpSpPr>
        <p:sp>
          <p:nvSpPr>
            <p:cNvPr id="2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09036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en-US" altLang="ko-KR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oFIU </a:t>
              </a:r>
              <a:r>
                <a: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파일 검증</a:t>
              </a:r>
            </a:p>
          </p:txBody>
        </p:sp>
        <p:sp>
          <p:nvSpPr>
            <p:cNvPr id="25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4754541"/>
              <a:ext cx="1471557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량연계보고 결과 검증 강화</a:t>
              </a:r>
            </a:p>
          </p:txBody>
        </p:sp>
        <p:sp>
          <p:nvSpPr>
            <p:cNvPr id="2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5052618"/>
              <a:ext cx="2218911" cy="9489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KoFIU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대량 연계 보고 시 발생 되는 오류 응답 패턴 도출</a:t>
              </a:r>
              <a:b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-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유효성 체크 항목 추가</a:t>
              </a:r>
              <a:b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- KoFIU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오류 응답 내용 별 정정 처리 방안 도출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오류 응답 내용 자동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수동 재처리</a:t>
              </a:r>
            </a:p>
          </p:txBody>
        </p: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F9612716-9862-4B92-8080-735319A03F5B}"/>
                </a:ext>
              </a:extLst>
            </p:cNvPr>
            <p:cNvCxnSpPr>
              <a:cxnSpLocks/>
            </p:cNvCxnSpPr>
            <p:nvPr/>
          </p:nvCxnSpPr>
          <p:spPr>
            <a:xfrm>
              <a:off x="6955778" y="4511987"/>
              <a:ext cx="2717340" cy="0"/>
            </a:xfrm>
            <a:prstGeom prst="line">
              <a:avLst/>
            </a:prstGeom>
            <a:solidFill>
              <a:srgbClr val="DEF2FE"/>
            </a:solidFill>
            <a:ln w="12700">
              <a:solidFill>
                <a:srgbClr val="00497A">
                  <a:alpha val="35000"/>
                </a:srgb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28" name="그림 27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  <p:pic>
          <p:nvPicPr>
            <p:cNvPr id="29" name="그림 28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13487" y="4748962"/>
              <a:ext cx="318769" cy="318769"/>
            </a:xfrm>
            <a:prstGeom prst="rect">
              <a:avLst/>
            </a:prstGeom>
          </p:spPr>
        </p:pic>
        <p:sp>
          <p:nvSpPr>
            <p:cNvPr id="3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2886492"/>
              <a:ext cx="2218911" cy="12567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파일 생성시 금칙어 점검 및 항목별 자료의</a:t>
              </a:r>
              <a:b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유효성 검증</a:t>
              </a:r>
              <a:b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-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유효성 체크 결과 화면</a:t>
              </a:r>
              <a:b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   예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종합 의견에 금칙어가 존재 합니다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.</a:t>
              </a:r>
              <a:b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         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타행계좌 금융기관코드 누락입니다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.</a:t>
              </a: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대량연계보고 결과 검증 강화</a:t>
              </a:r>
              <a:b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- KoFIU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에서 전달한 오류 응답 내용 및 </a:t>
              </a:r>
              <a:b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   오류 내용 별 대응 처리방법 안내</a:t>
              </a:r>
            </a:p>
          </p:txBody>
        </p:sp>
      </p:grp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34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5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36" name="자유형: 도형 4">
            <a:extLst>
              <a:ext uri="{FF2B5EF4-FFF2-40B4-BE49-F238E27FC236}">
                <a16:creationId xmlns:a16="http://schemas.microsoft.com/office/drawing/2014/main" id="{ECF58973-DC72-4E32-8278-80B8EE1FFCFB}"/>
              </a:ext>
            </a:extLst>
          </p:cNvPr>
          <p:cNvSpPr/>
          <p:nvPr/>
        </p:nvSpPr>
        <p:spPr>
          <a:xfrm>
            <a:off x="232538" y="2060848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7" name="자유형: 도형 59">
            <a:extLst>
              <a:ext uri="{FF2B5EF4-FFF2-40B4-BE49-F238E27FC236}">
                <a16:creationId xmlns:a16="http://schemas.microsoft.com/office/drawing/2014/main" id="{2FD87C47-85B1-4461-9DBF-E9AD98DD6FBA}"/>
              </a:ext>
            </a:extLst>
          </p:cNvPr>
          <p:cNvSpPr/>
          <p:nvPr/>
        </p:nvSpPr>
        <p:spPr>
          <a:xfrm flipV="1">
            <a:off x="232538" y="6309320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8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9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0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1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2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3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4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7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8" name="Rectangle 11"/>
          <p:cNvSpPr>
            <a:spLocks noChangeAspect="1" noChangeArrowheads="1"/>
          </p:cNvSpPr>
          <p:nvPr/>
        </p:nvSpPr>
        <p:spPr bwMode="auto">
          <a:xfrm>
            <a:off x="1486416" y="2321652"/>
            <a:ext cx="71013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공통코드 관리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9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0" name="Rectangle 11"/>
          <p:cNvSpPr>
            <a:spLocks noChangeAspect="1" noChangeArrowheads="1"/>
          </p:cNvSpPr>
          <p:nvPr/>
        </p:nvSpPr>
        <p:spPr bwMode="auto">
          <a:xfrm>
            <a:off x="4811408" y="2321652"/>
            <a:ext cx="59792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메세지 관리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1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3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4" name="Rectangle 11"/>
          <p:cNvSpPr>
            <a:spLocks noChangeAspect="1" noChangeArrowheads="1"/>
          </p:cNvSpPr>
          <p:nvPr/>
        </p:nvSpPr>
        <p:spPr bwMode="auto">
          <a:xfrm>
            <a:off x="1374206" y="4373913"/>
            <a:ext cx="934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기관정보 관리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5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6" name="Rectangle 11"/>
          <p:cNvSpPr>
            <a:spLocks noChangeAspect="1" noChangeArrowheads="1"/>
          </p:cNvSpPr>
          <p:nvPr/>
        </p:nvSpPr>
        <p:spPr bwMode="auto">
          <a:xfrm>
            <a:off x="4755304" y="4373913"/>
            <a:ext cx="71013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프로퍼티 관리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7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2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2816932"/>
            <a:ext cx="229075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시스템에서 사용되는 코드정보 관리 기능</a:t>
            </a:r>
          </a:p>
        </p:txBody>
      </p:sp>
      <p:grpSp>
        <p:nvGrpSpPr>
          <p:cNvPr id="63" name="그룹 62"/>
          <p:cNvGrpSpPr/>
          <p:nvPr/>
        </p:nvGrpSpPr>
        <p:grpSpPr>
          <a:xfrm>
            <a:off x="7113487" y="2573308"/>
            <a:ext cx="1029026" cy="318769"/>
            <a:chOff x="7113487" y="2573308"/>
            <a:chExt cx="1029026" cy="318769"/>
          </a:xfrm>
        </p:grpSpPr>
        <p:sp>
          <p:nvSpPr>
            <p:cNvPr id="64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78226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공통코드 관리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65" name="그림 64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66" name="그룹 65"/>
          <p:cNvGrpSpPr/>
          <p:nvPr/>
        </p:nvGrpSpPr>
        <p:grpSpPr>
          <a:xfrm>
            <a:off x="7113487" y="3537012"/>
            <a:ext cx="2376017" cy="552090"/>
            <a:chOff x="7113487" y="3439317"/>
            <a:chExt cx="2376017" cy="552090"/>
          </a:xfrm>
        </p:grpSpPr>
        <p:sp>
          <p:nvSpPr>
            <p:cNvPr id="67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시스템에서 사용되는 메시지 관리 기능</a:t>
              </a:r>
            </a:p>
          </p:txBody>
        </p:sp>
        <p:grpSp>
          <p:nvGrpSpPr>
            <p:cNvPr id="68" name="그룹 67"/>
            <p:cNvGrpSpPr/>
            <p:nvPr/>
          </p:nvGrpSpPr>
          <p:grpSpPr>
            <a:xfrm>
              <a:off x="7113487" y="3439317"/>
              <a:ext cx="851735" cy="318769"/>
              <a:chOff x="7113487" y="4132302"/>
              <a:chExt cx="851735" cy="318769"/>
            </a:xfrm>
          </p:grpSpPr>
          <p:sp>
            <p:nvSpPr>
              <p:cNvPr id="69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604974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ko-KR" altLang="en-US" sz="1100" spc="-70" dirty="0" smtClean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메시지 관리</a:t>
                </a:r>
                <a:endPara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70" name="그림 69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cxnSp>
        <p:nvCxnSpPr>
          <p:cNvPr id="71" name="직선 연결선 70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3569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2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695527"/>
            <a:ext cx="212925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액현금거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CTR)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 의심거래보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STR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서에 사용되는 보고기관 정보를 관리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록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정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삭제 등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3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456793"/>
            <a:ext cx="102912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보고기관정보 관리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74" name="직선 연결선 73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27119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35184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8" name="그림 77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1666" y="4449043"/>
            <a:ext cx="320400" cy="320400"/>
          </a:xfrm>
          <a:prstGeom prst="rect">
            <a:avLst/>
          </a:prstGeom>
        </p:spPr>
      </p:pic>
      <p:grpSp>
        <p:nvGrpSpPr>
          <p:cNvPr id="127" name="그룹 126"/>
          <p:cNvGrpSpPr/>
          <p:nvPr/>
        </p:nvGrpSpPr>
        <p:grpSpPr>
          <a:xfrm>
            <a:off x="7112547" y="5589240"/>
            <a:ext cx="2376957" cy="565595"/>
            <a:chOff x="7112547" y="5466049"/>
            <a:chExt cx="2376957" cy="565595"/>
          </a:xfrm>
        </p:grpSpPr>
        <p:sp>
          <p:nvSpPr>
            <p:cNvPr id="75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5723867"/>
              <a:ext cx="212925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시스템에서 사용되는 프로퍼티정보를 관리 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록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수정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삭제 등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76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5474777"/>
              <a:ext cx="78226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프로퍼티 관리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79" name="그림 78">
              <a:extLst>
                <a:ext uri="{FF2B5EF4-FFF2-40B4-BE49-F238E27FC236}">
                  <a16:creationId xmlns:a16="http://schemas.microsoft.com/office/drawing/2014/main" id="{1B4D65A0-3DC0-42CA-9156-D7554D0D2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12547" y="5466049"/>
              <a:ext cx="320400" cy="320400"/>
            </a:xfrm>
            <a:prstGeom prst="rect">
              <a:avLst/>
            </a:prstGeom>
          </p:spPr>
        </p:pic>
      </p:grpSp>
      <p:pic>
        <p:nvPicPr>
          <p:cNvPr id="80" name="그림 79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886" y="2383209"/>
            <a:ext cx="318769" cy="318769"/>
          </a:xfrm>
          <a:prstGeom prst="rect">
            <a:avLst/>
          </a:prstGeom>
        </p:spPr>
      </p:pic>
      <p:pic>
        <p:nvPicPr>
          <p:cNvPr id="81" name="그림 80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8394" y="2380498"/>
            <a:ext cx="318769" cy="318769"/>
          </a:xfrm>
          <a:prstGeom prst="rect">
            <a:avLst/>
          </a:prstGeom>
        </p:spPr>
      </p:pic>
      <p:pic>
        <p:nvPicPr>
          <p:cNvPr id="82" name="그림 81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021" y="4435469"/>
            <a:ext cx="320400" cy="320400"/>
          </a:xfrm>
          <a:prstGeom prst="rect">
            <a:avLst/>
          </a:prstGeom>
        </p:spPr>
      </p:pic>
      <p:pic>
        <p:nvPicPr>
          <p:cNvPr id="87" name="그림 86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2272" y="4444610"/>
            <a:ext cx="320400" cy="320400"/>
          </a:xfrm>
          <a:prstGeom prst="rect">
            <a:avLst/>
          </a:prstGeom>
        </p:spPr>
      </p:pic>
      <p:grpSp>
        <p:nvGrpSpPr>
          <p:cNvPr id="94" name="그룹 93"/>
          <p:cNvGrpSpPr/>
          <p:nvPr/>
        </p:nvGrpSpPr>
        <p:grpSpPr>
          <a:xfrm>
            <a:off x="404848" y="2621748"/>
            <a:ext cx="900000" cy="147259"/>
            <a:chOff x="1114108" y="2573280"/>
            <a:chExt cx="879978" cy="144000"/>
          </a:xfrm>
        </p:grpSpPr>
        <p:sp>
          <p:nvSpPr>
            <p:cNvPr id="96" name="Text Box 358" descr="도식1"/>
            <p:cNvSpPr>
              <a:spLocks noChangeArrowheads="1"/>
            </p:cNvSpPr>
            <p:nvPr/>
          </p:nvSpPr>
          <p:spPr bwMode="auto">
            <a:xfrm>
              <a:off x="1114108" y="2573280"/>
              <a:ext cx="879978" cy="1440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dirty="0"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7" name="Rt40" descr="도식1"/>
            <p:cNvSpPr>
              <a:spLocks noChangeArrowheads="1"/>
            </p:cNvSpPr>
            <p:nvPr/>
          </p:nvSpPr>
          <p:spPr bwMode="auto">
            <a:xfrm>
              <a:off x="1376995" y="2594003"/>
              <a:ext cx="354219" cy="10533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7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공통코드 관리</a:t>
              </a:r>
            </a:p>
          </p:txBody>
        </p:sp>
      </p:grpSp>
      <p:pic>
        <p:nvPicPr>
          <p:cNvPr id="98" name="그림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8401" y="2782236"/>
            <a:ext cx="2812638" cy="132014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86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01013" y="266273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그룹 5"/>
          <p:cNvGrpSpPr/>
          <p:nvPr/>
        </p:nvGrpSpPr>
        <p:grpSpPr>
          <a:xfrm>
            <a:off x="3741265" y="2625400"/>
            <a:ext cx="2757502" cy="1439717"/>
            <a:chOff x="3741265" y="2625400"/>
            <a:chExt cx="2757502" cy="1439717"/>
          </a:xfrm>
        </p:grpSpPr>
        <p:grpSp>
          <p:nvGrpSpPr>
            <p:cNvPr id="100" name="그룹 99"/>
            <p:cNvGrpSpPr/>
            <p:nvPr/>
          </p:nvGrpSpPr>
          <p:grpSpPr>
            <a:xfrm>
              <a:off x="3741265" y="2625400"/>
              <a:ext cx="900000" cy="147259"/>
              <a:chOff x="1114108" y="2573280"/>
              <a:chExt cx="879978" cy="144000"/>
            </a:xfrm>
          </p:grpSpPr>
          <p:sp>
            <p:nvSpPr>
              <p:cNvPr id="102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03" name="Rt40" descr="도식1"/>
              <p:cNvSpPr>
                <a:spLocks noChangeArrowheads="1"/>
              </p:cNvSpPr>
              <p:nvPr/>
            </p:nvSpPr>
            <p:spPr bwMode="auto">
              <a:xfrm>
                <a:off x="1380129" y="2594003"/>
                <a:ext cx="347950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권한그룹관리</a:t>
                </a:r>
              </a:p>
            </p:txBody>
          </p:sp>
        </p:grpSp>
        <p:pic>
          <p:nvPicPr>
            <p:cNvPr id="104" name="그림 10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46546" y="2791317"/>
              <a:ext cx="2752221" cy="1273800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pic>
        <p:nvPicPr>
          <p:cNvPr id="85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59119" y="2667090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" name="Text Box 358" descr="도식1"/>
          <p:cNvSpPr>
            <a:spLocks noChangeArrowheads="1"/>
          </p:cNvSpPr>
          <p:nvPr/>
        </p:nvSpPr>
        <p:spPr bwMode="auto">
          <a:xfrm>
            <a:off x="434411" y="4651287"/>
            <a:ext cx="900000" cy="147259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2060"/>
              </a:gs>
              <a:gs pos="100000">
                <a:srgbClr val="0070C0"/>
              </a:gs>
            </a:gsLst>
            <a:lin ang="1080000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12700" dir="5400000" sx="99000" sy="99000" algn="t" rotWithShape="0">
              <a:prstClr val="black">
                <a:alpha val="2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tIns="180000"/>
          <a:lstStyle/>
          <a:p>
            <a:pPr algn="ctr" latinLnBrk="0"/>
            <a:endParaRPr lang="ko-KR" altLang="en-US" sz="1000" dirty="0">
              <a:solidFill>
                <a:srgbClr val="F8F8F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420682" y="4656049"/>
            <a:ext cx="2790357" cy="1465555"/>
            <a:chOff x="420682" y="4656049"/>
            <a:chExt cx="2790357" cy="1465555"/>
          </a:xfrm>
        </p:grpSpPr>
        <p:grpSp>
          <p:nvGrpSpPr>
            <p:cNvPr id="116" name="그룹 115"/>
            <p:cNvGrpSpPr/>
            <p:nvPr/>
          </p:nvGrpSpPr>
          <p:grpSpPr>
            <a:xfrm>
              <a:off x="420682" y="4656049"/>
              <a:ext cx="900000" cy="147259"/>
              <a:chOff x="420682" y="4656049"/>
              <a:chExt cx="900000" cy="147259"/>
            </a:xfrm>
          </p:grpSpPr>
          <p:sp>
            <p:nvSpPr>
              <p:cNvPr id="117" name="Text Box 358" descr="도식1"/>
              <p:cNvSpPr>
                <a:spLocks noChangeArrowheads="1"/>
              </p:cNvSpPr>
              <p:nvPr/>
            </p:nvSpPr>
            <p:spPr bwMode="auto">
              <a:xfrm>
                <a:off x="420682" y="4656049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18" name="Rt40" descr="도식1"/>
              <p:cNvSpPr>
                <a:spLocks noChangeArrowheads="1"/>
              </p:cNvSpPr>
              <p:nvPr/>
            </p:nvSpPr>
            <p:spPr bwMode="auto">
              <a:xfrm>
                <a:off x="633443" y="4677241"/>
                <a:ext cx="474490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보고기관정보관리</a:t>
                </a:r>
              </a:p>
            </p:txBody>
          </p:sp>
        </p:grpSp>
        <p:pic>
          <p:nvPicPr>
            <p:cNvPr id="121" name="그림 12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34411" y="4814696"/>
              <a:ext cx="2776628" cy="1306908"/>
            </a:xfrm>
            <a:prstGeom prst="rect">
              <a:avLst/>
            </a:prstGeom>
          </p:spPr>
        </p:pic>
      </p:grpSp>
      <p:grpSp>
        <p:nvGrpSpPr>
          <p:cNvPr id="122" name="그룹 121"/>
          <p:cNvGrpSpPr/>
          <p:nvPr/>
        </p:nvGrpSpPr>
        <p:grpSpPr>
          <a:xfrm>
            <a:off x="3741226" y="4687201"/>
            <a:ext cx="2757503" cy="1434402"/>
            <a:chOff x="3741226" y="4687201"/>
            <a:chExt cx="2757503" cy="1434402"/>
          </a:xfrm>
        </p:grpSpPr>
        <p:grpSp>
          <p:nvGrpSpPr>
            <p:cNvPr id="123" name="그룹 122"/>
            <p:cNvGrpSpPr/>
            <p:nvPr/>
          </p:nvGrpSpPr>
          <p:grpSpPr>
            <a:xfrm>
              <a:off x="3741226" y="4687201"/>
              <a:ext cx="900000" cy="147259"/>
              <a:chOff x="1114108" y="2573280"/>
              <a:chExt cx="879978" cy="144000"/>
            </a:xfrm>
          </p:grpSpPr>
          <p:sp>
            <p:nvSpPr>
              <p:cNvPr id="125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26" name="Rt40" descr="도식1"/>
              <p:cNvSpPr>
                <a:spLocks noChangeArrowheads="1"/>
              </p:cNvSpPr>
              <p:nvPr/>
            </p:nvSpPr>
            <p:spPr bwMode="auto">
              <a:xfrm>
                <a:off x="1376998" y="2594003"/>
                <a:ext cx="354219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프로퍼티 관리</a:t>
                </a:r>
              </a:p>
            </p:txBody>
          </p:sp>
        </p:grpSp>
        <p:pic>
          <p:nvPicPr>
            <p:cNvPr id="124" name="그림 12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741226" y="4851492"/>
              <a:ext cx="2757503" cy="1270111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sp>
        <p:nvSpPr>
          <p:cNvPr id="99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2617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관리</a:t>
            </a:r>
          </a:p>
        </p:txBody>
      </p:sp>
      <p:pic>
        <p:nvPicPr>
          <p:cNvPr id="106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27483" y="4687022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85589" y="469137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101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5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6611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그룹 95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99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00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5.1.3 </a:t>
            </a:r>
            <a:r>
              <a:rPr lang="ko-KR" altLang="en-US" dirty="0" smtClean="0"/>
              <a:t>사용현황 및 배치모니터링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사용현황 및 배치작업현황 모니터링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사용현황 및 로그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배치현황 모니터링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9" name="자유형: 도형 4">
            <a:extLst>
              <a:ext uri="{FF2B5EF4-FFF2-40B4-BE49-F238E27FC236}">
                <a16:creationId xmlns:a16="http://schemas.microsoft.com/office/drawing/2014/main" id="{ECF58973-DC72-4E32-8278-80B8EE1FFCFB}"/>
              </a:ext>
            </a:extLst>
          </p:cNvPr>
          <p:cNvSpPr/>
          <p:nvPr/>
        </p:nvSpPr>
        <p:spPr>
          <a:xfrm>
            <a:off x="232538" y="2060848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0" name="자유형: 도형 59">
            <a:extLst>
              <a:ext uri="{FF2B5EF4-FFF2-40B4-BE49-F238E27FC236}">
                <a16:creationId xmlns:a16="http://schemas.microsoft.com/office/drawing/2014/main" id="{2FD87C47-85B1-4461-9DBF-E9AD98DD6FBA}"/>
              </a:ext>
            </a:extLst>
          </p:cNvPr>
          <p:cNvSpPr/>
          <p:nvPr/>
        </p:nvSpPr>
        <p:spPr>
          <a:xfrm flipV="1">
            <a:off x="232538" y="6309320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1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2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5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7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8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0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Rectangle 11"/>
          <p:cNvSpPr>
            <a:spLocks noChangeAspect="1" noChangeArrowheads="1"/>
          </p:cNvSpPr>
          <p:nvPr/>
        </p:nvSpPr>
        <p:spPr bwMode="auto">
          <a:xfrm>
            <a:off x="1486418" y="2321652"/>
            <a:ext cx="7101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사용현황 조회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2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3" name="Rectangle 11"/>
          <p:cNvSpPr>
            <a:spLocks noChangeAspect="1" noChangeArrowheads="1"/>
          </p:cNvSpPr>
          <p:nvPr/>
        </p:nvSpPr>
        <p:spPr bwMode="auto">
          <a:xfrm>
            <a:off x="4773739" y="2321652"/>
            <a:ext cx="6732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로그조회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4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6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7" name="Rectangle 11"/>
          <p:cNvSpPr>
            <a:spLocks noChangeAspect="1" noChangeArrowheads="1"/>
          </p:cNvSpPr>
          <p:nvPr/>
        </p:nvSpPr>
        <p:spPr bwMode="auto">
          <a:xfrm>
            <a:off x="1392642" y="4373913"/>
            <a:ext cx="89768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거래로그조회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8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9" name="Rectangle 11"/>
          <p:cNvSpPr>
            <a:spLocks noChangeAspect="1" noChangeArrowheads="1"/>
          </p:cNvSpPr>
          <p:nvPr/>
        </p:nvSpPr>
        <p:spPr bwMode="auto">
          <a:xfrm>
            <a:off x="4661533" y="4373913"/>
            <a:ext cx="89768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배치작업모니터링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0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cxnSp>
        <p:nvCxnSpPr>
          <p:cNvPr id="84" name="직선 연결선 83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3569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7" name="직선 연결선 8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329100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0" name="직선 연결선 8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33721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1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2816932"/>
            <a:ext cx="229075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별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직급별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사용자그룹별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실점별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시스템 사용현황 조회하는 화면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02" name="그룹 101"/>
          <p:cNvGrpSpPr/>
          <p:nvPr/>
        </p:nvGrpSpPr>
        <p:grpSpPr>
          <a:xfrm>
            <a:off x="7113487" y="2573308"/>
            <a:ext cx="1029026" cy="318769"/>
            <a:chOff x="7113487" y="2573308"/>
            <a:chExt cx="1029026" cy="318769"/>
          </a:xfrm>
        </p:grpSpPr>
        <p:sp>
          <p:nvSpPr>
            <p:cNvPr id="10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78226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사용현황 조회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04" name="그림 103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105" name="그룹 104"/>
          <p:cNvGrpSpPr/>
          <p:nvPr/>
        </p:nvGrpSpPr>
        <p:grpSpPr>
          <a:xfrm>
            <a:off x="7113487" y="3537012"/>
            <a:ext cx="2376017" cy="705978"/>
            <a:chOff x="7113487" y="3439317"/>
            <a:chExt cx="2376017" cy="705978"/>
          </a:xfrm>
        </p:grpSpPr>
        <p:sp>
          <p:nvSpPr>
            <p:cNvPr id="10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로그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및 장애발생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현황을 모니터링 하고 장애가 발생한 경우 장애발생 로그를 즉시 확인 할 수 있는 화면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107" name="그룹 106"/>
            <p:cNvGrpSpPr/>
            <p:nvPr/>
          </p:nvGrpSpPr>
          <p:grpSpPr>
            <a:xfrm>
              <a:off x="7113487" y="3439317"/>
              <a:ext cx="933487" cy="318769"/>
              <a:chOff x="7113487" y="4132302"/>
              <a:chExt cx="933487" cy="318769"/>
            </a:xfrm>
          </p:grpSpPr>
          <p:sp>
            <p:nvSpPr>
              <p:cNvPr id="108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686726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ko-KR" altLang="en-US" sz="1100" spc="-70" dirty="0" smtClean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업무로그조회</a:t>
                </a:r>
                <a:endPara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109" name="그림 108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sp>
        <p:nvSpPr>
          <p:cNvPr id="110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753433"/>
            <a:ext cx="212925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거래로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신용거래로그 등 자금세탁방지시스템에서 사용되는 업무 로그정보를 조회하는 화면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11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514699"/>
            <a:ext cx="98745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업무거래로그조회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12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739643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배치작업 스케쥴을 확인하고 배치수행현황 및 수행이력을 모니터링 하는 화면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13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490553"/>
            <a:ext cx="98745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배치작업모니터링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pic>
        <p:nvPicPr>
          <p:cNvPr id="114" name="그림 113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1666" y="4506949"/>
            <a:ext cx="320400" cy="320400"/>
          </a:xfrm>
          <a:prstGeom prst="rect">
            <a:avLst/>
          </a:prstGeom>
        </p:spPr>
      </p:pic>
      <p:pic>
        <p:nvPicPr>
          <p:cNvPr id="115" name="그림 114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547" y="5481825"/>
            <a:ext cx="320400" cy="320400"/>
          </a:xfrm>
          <a:prstGeom prst="rect">
            <a:avLst/>
          </a:prstGeom>
        </p:spPr>
      </p:pic>
      <p:grpSp>
        <p:nvGrpSpPr>
          <p:cNvPr id="16" name="그룹 15"/>
          <p:cNvGrpSpPr/>
          <p:nvPr/>
        </p:nvGrpSpPr>
        <p:grpSpPr>
          <a:xfrm>
            <a:off x="354296" y="4667814"/>
            <a:ext cx="1927619" cy="1297307"/>
            <a:chOff x="354296" y="4667814"/>
            <a:chExt cx="1927619" cy="1297307"/>
          </a:xfrm>
        </p:grpSpPr>
        <p:pic>
          <p:nvPicPr>
            <p:cNvPr id="122" name="그림 12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4296" y="4865472"/>
              <a:ext cx="1927619" cy="1099649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24" name="그룹 123"/>
            <p:cNvGrpSpPr/>
            <p:nvPr/>
          </p:nvGrpSpPr>
          <p:grpSpPr>
            <a:xfrm>
              <a:off x="354297" y="4667814"/>
              <a:ext cx="828000" cy="188600"/>
              <a:chOff x="307903" y="2251498"/>
              <a:chExt cx="1569472" cy="188600"/>
            </a:xfrm>
          </p:grpSpPr>
          <p:sp>
            <p:nvSpPr>
              <p:cNvPr id="125" name="Text Box 358" descr="도식1"/>
              <p:cNvSpPr>
                <a:spLocks noChangeArrowheads="1"/>
              </p:cNvSpPr>
              <p:nvPr/>
            </p:nvSpPr>
            <p:spPr bwMode="auto">
              <a:xfrm>
                <a:off x="307903" y="2251498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26" name="Rt40" descr="도식1"/>
              <p:cNvSpPr>
                <a:spLocks noChangeArrowheads="1"/>
              </p:cNvSpPr>
              <p:nvPr/>
            </p:nvSpPr>
            <p:spPr bwMode="auto">
              <a:xfrm>
                <a:off x="408982" y="2286065"/>
                <a:ext cx="1367321" cy="123111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800" spc="-150" dirty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자금세탁거래로그조회</a:t>
                </a:r>
                <a:endParaRPr lang="ko-KR" altLang="en-US" sz="800" spc="-15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</p:grpSp>
      <p:grpSp>
        <p:nvGrpSpPr>
          <p:cNvPr id="6" name="그룹 5"/>
          <p:cNvGrpSpPr/>
          <p:nvPr/>
        </p:nvGrpSpPr>
        <p:grpSpPr>
          <a:xfrm>
            <a:off x="1338686" y="4839126"/>
            <a:ext cx="1944502" cy="1218166"/>
            <a:chOff x="1338686" y="4827349"/>
            <a:chExt cx="1944502" cy="1218166"/>
          </a:xfrm>
        </p:grpSpPr>
        <p:pic>
          <p:nvPicPr>
            <p:cNvPr id="123" name="그림 12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38686" y="5017044"/>
              <a:ext cx="1944502" cy="1028471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27" name="그룹 126"/>
            <p:cNvGrpSpPr/>
            <p:nvPr/>
          </p:nvGrpSpPr>
          <p:grpSpPr>
            <a:xfrm>
              <a:off x="2455188" y="4827349"/>
              <a:ext cx="828000" cy="188600"/>
              <a:chOff x="307903" y="2251498"/>
              <a:chExt cx="1569472" cy="188600"/>
            </a:xfrm>
          </p:grpSpPr>
          <p:sp>
            <p:nvSpPr>
              <p:cNvPr id="128" name="Text Box 358" descr="도식1"/>
              <p:cNvSpPr>
                <a:spLocks noChangeArrowheads="1"/>
              </p:cNvSpPr>
              <p:nvPr/>
            </p:nvSpPr>
            <p:spPr bwMode="auto">
              <a:xfrm>
                <a:off x="307903" y="2251498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29" name="Rt40" descr="도식1"/>
              <p:cNvSpPr>
                <a:spLocks noChangeArrowheads="1"/>
              </p:cNvSpPr>
              <p:nvPr/>
            </p:nvSpPr>
            <p:spPr bwMode="auto">
              <a:xfrm>
                <a:off x="545716" y="2286065"/>
                <a:ext cx="1093858" cy="123111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800" b="1" spc="-150" dirty="0" smtClean="0">
                    <a:solidFill>
                      <a:prstClr val="white"/>
                    </a:solidFill>
                    <a:latin typeface="나눔바른고딕" pitchFamily="50" charset="-127"/>
                    <a:ea typeface="나눔바른고딕" pitchFamily="50" charset="-127"/>
                  </a:rPr>
                  <a:t>신용거래로그조회</a:t>
                </a:r>
              </a:p>
            </p:txBody>
          </p:sp>
        </p:grpSp>
      </p:grpSp>
      <p:pic>
        <p:nvPicPr>
          <p:cNvPr id="152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1841206" y="480613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그림 9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886" y="2383209"/>
            <a:ext cx="318769" cy="318769"/>
          </a:xfrm>
          <a:prstGeom prst="rect">
            <a:avLst/>
          </a:prstGeom>
        </p:spPr>
      </p:pic>
      <p:pic>
        <p:nvPicPr>
          <p:cNvPr id="92" name="그림 9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8394" y="2380498"/>
            <a:ext cx="318769" cy="318769"/>
          </a:xfrm>
          <a:prstGeom prst="rect">
            <a:avLst/>
          </a:prstGeom>
        </p:spPr>
      </p:pic>
      <p:pic>
        <p:nvPicPr>
          <p:cNvPr id="93" name="그림 9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021" y="4435469"/>
            <a:ext cx="320400" cy="320400"/>
          </a:xfrm>
          <a:prstGeom prst="rect">
            <a:avLst/>
          </a:prstGeom>
        </p:spPr>
      </p:pic>
      <p:pic>
        <p:nvPicPr>
          <p:cNvPr id="94" name="그림 93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2272" y="4444610"/>
            <a:ext cx="320400" cy="320400"/>
          </a:xfrm>
          <a:prstGeom prst="rect">
            <a:avLst/>
          </a:prstGeom>
        </p:spPr>
      </p:pic>
      <p:grpSp>
        <p:nvGrpSpPr>
          <p:cNvPr id="2" name="그룹 1"/>
          <p:cNvGrpSpPr/>
          <p:nvPr/>
        </p:nvGrpSpPr>
        <p:grpSpPr>
          <a:xfrm>
            <a:off x="413806" y="2609485"/>
            <a:ext cx="2826242" cy="1492897"/>
            <a:chOff x="381666" y="2609485"/>
            <a:chExt cx="2826242" cy="1492897"/>
          </a:xfrm>
        </p:grpSpPr>
        <p:grpSp>
          <p:nvGrpSpPr>
            <p:cNvPr id="142" name="그룹 141"/>
            <p:cNvGrpSpPr/>
            <p:nvPr/>
          </p:nvGrpSpPr>
          <p:grpSpPr>
            <a:xfrm>
              <a:off x="395661" y="2609485"/>
              <a:ext cx="828000" cy="188600"/>
              <a:chOff x="307903" y="2251498"/>
              <a:chExt cx="1569472" cy="188600"/>
            </a:xfrm>
          </p:grpSpPr>
          <p:sp>
            <p:nvSpPr>
              <p:cNvPr id="143" name="Text Box 358" descr="도식1"/>
              <p:cNvSpPr>
                <a:spLocks noChangeArrowheads="1"/>
              </p:cNvSpPr>
              <p:nvPr/>
            </p:nvSpPr>
            <p:spPr bwMode="auto">
              <a:xfrm>
                <a:off x="307903" y="2251498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44" name="Rt40" descr="도식1"/>
              <p:cNvSpPr>
                <a:spLocks noChangeArrowheads="1"/>
              </p:cNvSpPr>
              <p:nvPr/>
            </p:nvSpPr>
            <p:spPr bwMode="auto">
              <a:xfrm>
                <a:off x="755379" y="2293759"/>
                <a:ext cx="674545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700" spc="-150" dirty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사용현황조회</a:t>
                </a:r>
              </a:p>
            </p:txBody>
          </p:sp>
        </p:grpSp>
        <p:pic>
          <p:nvPicPr>
            <p:cNvPr id="157" name="그림 15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81666" y="2782400"/>
              <a:ext cx="2826242" cy="1319982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  <p:pic>
        <p:nvPicPr>
          <p:cNvPr id="150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14484" y="2645910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그룹 2"/>
          <p:cNvGrpSpPr/>
          <p:nvPr/>
        </p:nvGrpSpPr>
        <p:grpSpPr>
          <a:xfrm>
            <a:off x="3741265" y="2625400"/>
            <a:ext cx="2757502" cy="1432813"/>
            <a:chOff x="3741265" y="2625400"/>
            <a:chExt cx="2757502" cy="1432813"/>
          </a:xfrm>
        </p:grpSpPr>
        <p:grpSp>
          <p:nvGrpSpPr>
            <p:cNvPr id="159" name="그룹 158"/>
            <p:cNvGrpSpPr/>
            <p:nvPr/>
          </p:nvGrpSpPr>
          <p:grpSpPr>
            <a:xfrm>
              <a:off x="3741265" y="2625400"/>
              <a:ext cx="900000" cy="147259"/>
              <a:chOff x="1114108" y="2573280"/>
              <a:chExt cx="879978" cy="144000"/>
            </a:xfrm>
          </p:grpSpPr>
          <p:sp>
            <p:nvSpPr>
              <p:cNvPr id="161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62" name="Rt40" descr="도식1"/>
              <p:cNvSpPr>
                <a:spLocks noChangeArrowheads="1"/>
              </p:cNvSpPr>
              <p:nvPr/>
            </p:nvSpPr>
            <p:spPr bwMode="auto">
              <a:xfrm>
                <a:off x="1380130" y="2594003"/>
                <a:ext cx="347950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Jokerman" panose="04090605060D06020702" pitchFamily="82" charset="0"/>
                    <a:ea typeface="KoPub돋움체 Bold" panose="00000800000000000000" pitchFamily="2" charset="-127"/>
                  </a:rPr>
                  <a:t>업무로그조회</a:t>
                </a:r>
              </a:p>
            </p:txBody>
          </p:sp>
        </p:grpSp>
        <p:pic>
          <p:nvPicPr>
            <p:cNvPr id="163" name="그림 16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741265" y="2785154"/>
              <a:ext cx="2757502" cy="1273059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pic>
        <p:nvPicPr>
          <p:cNvPr id="151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55505" y="268892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그룹 6"/>
          <p:cNvGrpSpPr/>
          <p:nvPr/>
        </p:nvGrpSpPr>
        <p:grpSpPr>
          <a:xfrm>
            <a:off x="3740517" y="4687201"/>
            <a:ext cx="2750400" cy="1406095"/>
            <a:chOff x="3740517" y="4687201"/>
            <a:chExt cx="2750400" cy="1406095"/>
          </a:xfrm>
        </p:grpSpPr>
        <p:grpSp>
          <p:nvGrpSpPr>
            <p:cNvPr id="170" name="그룹 169"/>
            <p:cNvGrpSpPr/>
            <p:nvPr/>
          </p:nvGrpSpPr>
          <p:grpSpPr>
            <a:xfrm>
              <a:off x="3741226" y="4687201"/>
              <a:ext cx="900000" cy="147259"/>
              <a:chOff x="1114108" y="2573280"/>
              <a:chExt cx="879978" cy="144000"/>
            </a:xfrm>
          </p:grpSpPr>
          <p:sp>
            <p:nvSpPr>
              <p:cNvPr id="172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73" name="Rt40" descr="도식1"/>
              <p:cNvSpPr>
                <a:spLocks noChangeArrowheads="1"/>
              </p:cNvSpPr>
              <p:nvPr/>
            </p:nvSpPr>
            <p:spPr bwMode="auto">
              <a:xfrm>
                <a:off x="1322141" y="2594003"/>
                <a:ext cx="463934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Juice ITC" panose="04040403040A02020202" pitchFamily="82" charset="0"/>
                    <a:ea typeface="KoPub돋움체 Bold" panose="00000800000000000000" pitchFamily="2" charset="-127"/>
                  </a:rPr>
                  <a:t>배치작업모니터링</a:t>
                </a:r>
              </a:p>
            </p:txBody>
          </p:sp>
        </p:grpSp>
        <p:pic>
          <p:nvPicPr>
            <p:cNvPr id="174" name="그림 173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740517" y="4842116"/>
              <a:ext cx="2750400" cy="1251180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pic>
        <p:nvPicPr>
          <p:cNvPr id="154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51579" y="473654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2617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관리</a:t>
            </a:r>
          </a:p>
        </p:txBody>
      </p:sp>
      <p:sp>
        <p:nvSpPr>
          <p:cNvPr id="15" name="슬라이드 번호 개체 틀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116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005325" y="497001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18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80720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2.5.1.4 </a:t>
            </a:r>
            <a:r>
              <a:rPr lang="ko-KR" altLang="en-US" dirty="0" smtClean="0"/>
              <a:t>정보관리 </a:t>
            </a:r>
            <a:r>
              <a:rPr lang="en-US" altLang="ko-KR" dirty="0" smtClean="0"/>
              <a:t>(1/2)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서비스를 위한 공지사항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Q&amp;A, FAQ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료실 등의 업무게시판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업무게시판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31" name="자유형: 도형 4">
            <a:extLst>
              <a:ext uri="{FF2B5EF4-FFF2-40B4-BE49-F238E27FC236}">
                <a16:creationId xmlns:a16="http://schemas.microsoft.com/office/drawing/2014/main" id="{ECF58973-DC72-4E32-8278-80B8EE1FFCFB}"/>
              </a:ext>
            </a:extLst>
          </p:cNvPr>
          <p:cNvSpPr/>
          <p:nvPr/>
        </p:nvSpPr>
        <p:spPr>
          <a:xfrm>
            <a:off x="232538" y="2060848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2" name="자유형: 도형 59">
            <a:extLst>
              <a:ext uri="{FF2B5EF4-FFF2-40B4-BE49-F238E27FC236}">
                <a16:creationId xmlns:a16="http://schemas.microsoft.com/office/drawing/2014/main" id="{2FD87C47-85B1-4461-9DBF-E9AD98DD6FBA}"/>
              </a:ext>
            </a:extLst>
          </p:cNvPr>
          <p:cNvSpPr/>
          <p:nvPr/>
        </p:nvSpPr>
        <p:spPr>
          <a:xfrm flipV="1">
            <a:off x="232538" y="6309320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3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5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8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9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0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2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3" name="Rectangle 11"/>
          <p:cNvSpPr>
            <a:spLocks noChangeAspect="1" noChangeArrowheads="1"/>
          </p:cNvSpPr>
          <p:nvPr/>
        </p:nvSpPr>
        <p:spPr bwMode="auto">
          <a:xfrm>
            <a:off x="1617061" y="2321652"/>
            <a:ext cx="44884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공지사항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4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5" name="Rectangle 11"/>
          <p:cNvSpPr>
            <a:spLocks noChangeAspect="1" noChangeArrowheads="1"/>
          </p:cNvSpPr>
          <p:nvPr/>
        </p:nvSpPr>
        <p:spPr bwMode="auto">
          <a:xfrm>
            <a:off x="4974114" y="2321652"/>
            <a:ext cx="27251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Q&amp;A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8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9" name="Rectangle 11"/>
          <p:cNvSpPr>
            <a:spLocks noChangeAspect="1" noChangeArrowheads="1"/>
          </p:cNvSpPr>
          <p:nvPr/>
        </p:nvSpPr>
        <p:spPr bwMode="auto">
          <a:xfrm>
            <a:off x="1714843" y="4373913"/>
            <a:ext cx="25327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AQ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0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1" name="Rectangle 11"/>
          <p:cNvSpPr>
            <a:spLocks noChangeAspect="1" noChangeArrowheads="1"/>
          </p:cNvSpPr>
          <p:nvPr/>
        </p:nvSpPr>
        <p:spPr bwMode="auto">
          <a:xfrm>
            <a:off x="4942053" y="4373913"/>
            <a:ext cx="33663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료실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cxnSp>
        <p:nvCxnSpPr>
          <p:cNvPr id="137" name="직선 연결선 13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3569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직선 연결선 137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329100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9" name="직선 연결선 13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373216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0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2816932"/>
            <a:ext cx="229075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시스템의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와 관련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공지사항 관리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41" name="그룹 140"/>
          <p:cNvGrpSpPr/>
          <p:nvPr/>
        </p:nvGrpSpPr>
        <p:grpSpPr>
          <a:xfrm>
            <a:off x="7113487" y="2573308"/>
            <a:ext cx="740486" cy="318769"/>
            <a:chOff x="7113487" y="2573308"/>
            <a:chExt cx="740486" cy="318769"/>
          </a:xfrm>
        </p:grpSpPr>
        <p:sp>
          <p:nvSpPr>
            <p:cNvPr id="142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49372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공지사항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43" name="그림 142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144" name="그룹 143"/>
          <p:cNvGrpSpPr/>
          <p:nvPr/>
        </p:nvGrpSpPr>
        <p:grpSpPr>
          <a:xfrm>
            <a:off x="7113487" y="3537012"/>
            <a:ext cx="2376017" cy="552090"/>
            <a:chOff x="7113487" y="3439317"/>
            <a:chExt cx="2376017" cy="552090"/>
          </a:xfrm>
        </p:grpSpPr>
        <p:sp>
          <p:nvSpPr>
            <p:cNvPr id="145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시스템의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와 관련된 질문과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답변 관리 기능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146" name="그룹 145"/>
            <p:cNvGrpSpPr/>
            <p:nvPr/>
          </p:nvGrpSpPr>
          <p:grpSpPr>
            <a:xfrm>
              <a:off x="7113487" y="3439317"/>
              <a:ext cx="519593" cy="318769"/>
              <a:chOff x="7113487" y="4132302"/>
              <a:chExt cx="519593" cy="318769"/>
            </a:xfrm>
          </p:grpSpPr>
          <p:sp>
            <p:nvSpPr>
              <p:cNvPr id="147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272832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en-US" altLang="ko-KR" sz="1100" spc="-70" dirty="0" smtClean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Q&amp;A</a:t>
                </a:r>
                <a:endPara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148" name="그림 147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sp>
        <p:nvSpPr>
          <p:cNvPr id="149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753433"/>
            <a:ext cx="212925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시스템의 전화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문서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응대 관리를 위한 자주 묻는 질문 등 을 등록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정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삭제  할 수 있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0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514699"/>
            <a:ext cx="27892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FAQ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51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807904"/>
            <a:ext cx="212925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시스템에 필요한 자료 도는 사용자 업무별 매뉴얼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 매뉴얼 등을 관리 하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2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558814"/>
            <a:ext cx="37029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자료실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pic>
        <p:nvPicPr>
          <p:cNvPr id="153" name="그림 15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1666" y="4506949"/>
            <a:ext cx="320400" cy="320400"/>
          </a:xfrm>
          <a:prstGeom prst="rect">
            <a:avLst/>
          </a:prstGeom>
        </p:spPr>
      </p:pic>
      <p:pic>
        <p:nvPicPr>
          <p:cNvPr id="154" name="그림 153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547" y="5550086"/>
            <a:ext cx="320400" cy="320400"/>
          </a:xfrm>
          <a:prstGeom prst="rect">
            <a:avLst/>
          </a:prstGeom>
        </p:spPr>
      </p:pic>
      <p:pic>
        <p:nvPicPr>
          <p:cNvPr id="82" name="그림 81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886" y="2383209"/>
            <a:ext cx="318769" cy="318769"/>
          </a:xfrm>
          <a:prstGeom prst="rect">
            <a:avLst/>
          </a:prstGeom>
        </p:spPr>
      </p:pic>
      <p:pic>
        <p:nvPicPr>
          <p:cNvPr id="83" name="그림 82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8394" y="2380498"/>
            <a:ext cx="318769" cy="318769"/>
          </a:xfrm>
          <a:prstGeom prst="rect">
            <a:avLst/>
          </a:prstGeom>
        </p:spPr>
      </p:pic>
      <p:pic>
        <p:nvPicPr>
          <p:cNvPr id="84" name="그림 83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021" y="4435469"/>
            <a:ext cx="320400" cy="320400"/>
          </a:xfrm>
          <a:prstGeom prst="rect">
            <a:avLst/>
          </a:prstGeom>
        </p:spPr>
      </p:pic>
      <p:pic>
        <p:nvPicPr>
          <p:cNvPr id="85" name="그림 84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2272" y="4444610"/>
            <a:ext cx="320400" cy="320400"/>
          </a:xfrm>
          <a:prstGeom prst="rect">
            <a:avLst/>
          </a:prstGeom>
        </p:spPr>
      </p:pic>
      <p:grpSp>
        <p:nvGrpSpPr>
          <p:cNvPr id="87" name="그룹 86"/>
          <p:cNvGrpSpPr/>
          <p:nvPr/>
        </p:nvGrpSpPr>
        <p:grpSpPr>
          <a:xfrm>
            <a:off x="420181" y="2609485"/>
            <a:ext cx="828000" cy="188600"/>
            <a:chOff x="307903" y="2251498"/>
            <a:chExt cx="1569472" cy="188600"/>
          </a:xfrm>
        </p:grpSpPr>
        <p:sp>
          <p:nvSpPr>
            <p:cNvPr id="89" name="Text Box 358" descr="도식1"/>
            <p:cNvSpPr>
              <a:spLocks noChangeArrowheads="1"/>
            </p:cNvSpPr>
            <p:nvPr/>
          </p:nvSpPr>
          <p:spPr bwMode="auto">
            <a:xfrm>
              <a:off x="307903" y="2251498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바른고딕" pitchFamily="50" charset="-127"/>
                <a:ea typeface="나눔바른고딕" pitchFamily="50" charset="-127"/>
              </a:endParaRPr>
            </a:p>
          </p:txBody>
        </p:sp>
        <p:sp>
          <p:nvSpPr>
            <p:cNvPr id="90" name="Rt40" descr="도식1"/>
            <p:cNvSpPr>
              <a:spLocks noChangeArrowheads="1"/>
            </p:cNvSpPr>
            <p:nvPr/>
          </p:nvSpPr>
          <p:spPr bwMode="auto">
            <a:xfrm>
              <a:off x="752342" y="2286065"/>
              <a:ext cx="680622" cy="123111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>
                <a:defRPr/>
              </a:pPr>
              <a:r>
                <a:rPr lang="ko-KR" altLang="en-US" sz="800" kern="0" dirty="0">
                  <a:solidFill>
                    <a:prstClr val="white"/>
                  </a:solidFill>
                  <a:latin typeface="Javanese Text" panose="02000000000000000000" pitchFamily="2" charset="0"/>
                  <a:ea typeface="KoPub돋움체 Bold" panose="00000800000000000000" pitchFamily="2" charset="-127"/>
                </a:rPr>
                <a:t>공지사항</a:t>
              </a:r>
            </a:p>
          </p:txBody>
        </p:sp>
      </p:grpSp>
      <p:pic>
        <p:nvPicPr>
          <p:cNvPr id="91" name="그림 9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860" y="2776440"/>
            <a:ext cx="2824807" cy="132594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pSp>
        <p:nvGrpSpPr>
          <p:cNvPr id="16" name="그룹 15"/>
          <p:cNvGrpSpPr/>
          <p:nvPr/>
        </p:nvGrpSpPr>
        <p:grpSpPr>
          <a:xfrm>
            <a:off x="3741265" y="2625399"/>
            <a:ext cx="2757502" cy="1476982"/>
            <a:chOff x="3741265" y="2625399"/>
            <a:chExt cx="2757502" cy="1476982"/>
          </a:xfrm>
        </p:grpSpPr>
        <p:grpSp>
          <p:nvGrpSpPr>
            <p:cNvPr id="99" name="그룹 98"/>
            <p:cNvGrpSpPr/>
            <p:nvPr/>
          </p:nvGrpSpPr>
          <p:grpSpPr>
            <a:xfrm>
              <a:off x="3741265" y="2625399"/>
              <a:ext cx="900000" cy="147259"/>
              <a:chOff x="1114108" y="2573279"/>
              <a:chExt cx="879978" cy="144000"/>
            </a:xfrm>
          </p:grpSpPr>
          <p:sp>
            <p:nvSpPr>
              <p:cNvPr id="101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79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02" name="Rt40" descr="도식1"/>
              <p:cNvSpPr>
                <a:spLocks noChangeArrowheads="1"/>
              </p:cNvSpPr>
              <p:nvPr/>
            </p:nvSpPr>
            <p:spPr bwMode="auto">
              <a:xfrm>
                <a:off x="1489059" y="2594004"/>
                <a:ext cx="130090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en-US" altLang="ko-KR" sz="700" spc="-150" dirty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Q&amp;A</a:t>
                </a:r>
              </a:p>
            </p:txBody>
          </p:sp>
        </p:grpSp>
        <p:pic>
          <p:nvPicPr>
            <p:cNvPr id="103" name="그림 10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49167" y="2791986"/>
              <a:ext cx="2749600" cy="1310395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7" name="그룹 6"/>
          <p:cNvGrpSpPr/>
          <p:nvPr/>
        </p:nvGrpSpPr>
        <p:grpSpPr>
          <a:xfrm>
            <a:off x="419505" y="4656049"/>
            <a:ext cx="2777243" cy="1472617"/>
            <a:chOff x="419505" y="4656049"/>
            <a:chExt cx="2777243" cy="1472617"/>
          </a:xfrm>
        </p:grpSpPr>
        <p:grpSp>
          <p:nvGrpSpPr>
            <p:cNvPr id="111" name="그룹 110"/>
            <p:cNvGrpSpPr/>
            <p:nvPr/>
          </p:nvGrpSpPr>
          <p:grpSpPr>
            <a:xfrm>
              <a:off x="420682" y="4656049"/>
              <a:ext cx="900000" cy="147259"/>
              <a:chOff x="420682" y="4656049"/>
              <a:chExt cx="900000" cy="147259"/>
            </a:xfrm>
          </p:grpSpPr>
          <p:sp>
            <p:nvSpPr>
              <p:cNvPr id="113" name="Text Box 358" descr="도식1"/>
              <p:cNvSpPr>
                <a:spLocks noChangeArrowheads="1"/>
              </p:cNvSpPr>
              <p:nvPr/>
            </p:nvSpPr>
            <p:spPr bwMode="auto">
              <a:xfrm>
                <a:off x="420682" y="4656049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14" name="Rt40" descr="도식1"/>
              <p:cNvSpPr>
                <a:spLocks noChangeArrowheads="1"/>
              </p:cNvSpPr>
              <p:nvPr/>
            </p:nvSpPr>
            <p:spPr bwMode="auto">
              <a:xfrm>
                <a:off x="811377" y="4677241"/>
                <a:ext cx="118622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en-US" altLang="ko-KR" sz="700" spc="-150" dirty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FAQ</a:t>
                </a:r>
              </a:p>
            </p:txBody>
          </p:sp>
        </p:grpSp>
        <p:pic>
          <p:nvPicPr>
            <p:cNvPr id="115" name="그림 11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9505" y="4811901"/>
              <a:ext cx="2777243" cy="1316765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25" name="그룹 24"/>
          <p:cNvGrpSpPr/>
          <p:nvPr/>
        </p:nvGrpSpPr>
        <p:grpSpPr>
          <a:xfrm>
            <a:off x="3741225" y="4687201"/>
            <a:ext cx="2749693" cy="1406095"/>
            <a:chOff x="3741225" y="4687201"/>
            <a:chExt cx="2749693" cy="1406095"/>
          </a:xfrm>
        </p:grpSpPr>
        <p:grpSp>
          <p:nvGrpSpPr>
            <p:cNvPr id="125" name="그룹 124"/>
            <p:cNvGrpSpPr/>
            <p:nvPr/>
          </p:nvGrpSpPr>
          <p:grpSpPr>
            <a:xfrm>
              <a:off x="3741225" y="4687201"/>
              <a:ext cx="900000" cy="147259"/>
              <a:chOff x="1114107" y="2573280"/>
              <a:chExt cx="879978" cy="144000"/>
            </a:xfrm>
          </p:grpSpPr>
          <p:sp>
            <p:nvSpPr>
              <p:cNvPr id="127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7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28" name="Rt40" descr="도식1"/>
              <p:cNvSpPr>
                <a:spLocks noChangeArrowheads="1"/>
              </p:cNvSpPr>
              <p:nvPr/>
            </p:nvSpPr>
            <p:spPr bwMode="auto">
              <a:xfrm>
                <a:off x="1467121" y="2594003"/>
                <a:ext cx="173976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자료실</a:t>
                </a:r>
              </a:p>
            </p:txBody>
          </p:sp>
        </p:grpSp>
        <p:pic>
          <p:nvPicPr>
            <p:cNvPr id="163" name="그림 16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46208" y="4841619"/>
              <a:ext cx="2744710" cy="1251677"/>
            </a:xfrm>
            <a:prstGeom prst="rect">
              <a:avLst/>
            </a:prstGeom>
          </p:spPr>
        </p:pic>
      </p:grpSp>
      <p:sp>
        <p:nvSpPr>
          <p:cNvPr id="81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2617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관리</a:t>
            </a:r>
          </a:p>
        </p:txBody>
      </p:sp>
      <p:pic>
        <p:nvPicPr>
          <p:cNvPr id="92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93799" y="474025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76814" y="476887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41473" y="269932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10142" y="271396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6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6" name="Rectangle 127"/>
          <p:cNvSpPr>
            <a:spLocks noChangeArrowheads="1"/>
          </p:cNvSpPr>
          <p:nvPr/>
        </p:nvSpPr>
        <p:spPr bwMode="gray">
          <a:xfrm>
            <a:off x="236475" y="227684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8" name="Rectangle 127"/>
          <p:cNvSpPr>
            <a:spLocks noChangeArrowheads="1"/>
          </p:cNvSpPr>
          <p:nvPr/>
        </p:nvSpPr>
        <p:spPr bwMode="gray">
          <a:xfrm>
            <a:off x="236475" y="4329100"/>
            <a:ext cx="3168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379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직사각형 137"/>
          <p:cNvSpPr/>
          <p:nvPr/>
        </p:nvSpPr>
        <p:spPr>
          <a:xfrm>
            <a:off x="302283" y="2046871"/>
            <a:ext cx="9403280" cy="439733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구축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신 법령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업무규정 개정안 및 부산은행의 고객확인 프로세스 현황을 검토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선사항을 도출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프로세스를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5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21214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확인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프로세스 구축 절차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39" name="TextBox 138"/>
          <p:cNvSpPr txBox="1"/>
          <p:nvPr/>
        </p:nvSpPr>
        <p:spPr>
          <a:xfrm>
            <a:off x="578421" y="5589240"/>
            <a:ext cx="2101315" cy="78819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pPr marL="108000" indent="-10800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ko-KR" altLang="en-US" dirty="0" smtClean="0">
                <a:solidFill>
                  <a:srgbClr val="000000"/>
                </a:solidFill>
              </a:rPr>
              <a:t>법령 및 업무규정 변경사항에 따른 영항도 분석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2910449" y="5589240"/>
            <a:ext cx="2106421" cy="78819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>
            <a:defPPr>
              <a:defRPr lang="en-US"/>
            </a:defPPr>
            <a:lvl1pPr marL="108000" indent="-108000">
              <a:spcBef>
                <a:spcPts val="300"/>
              </a:spcBef>
              <a:buFont typeface="Arial" panose="020B0604020202020204" pitchFamily="34" charset="0"/>
              <a:buChar char="•"/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r>
              <a:rPr lang="ko-KR" altLang="en-US" dirty="0" smtClean="0"/>
              <a:t>부산은행의 고객확인 프로세스 </a:t>
            </a:r>
            <a:r>
              <a:rPr lang="en-US" altLang="ko-KR" dirty="0" smtClean="0"/>
              <a:t>As-Is </a:t>
            </a:r>
            <a:r>
              <a:rPr lang="ko-KR" altLang="en-US" dirty="0" smtClean="0"/>
              <a:t>분석</a:t>
            </a:r>
            <a:endParaRPr lang="en-US" altLang="ko-KR" dirty="0" smtClean="0"/>
          </a:p>
          <a:p>
            <a:r>
              <a:rPr lang="en-US" altLang="ko-KR" dirty="0" smtClean="0"/>
              <a:t>To-Be </a:t>
            </a:r>
            <a:r>
              <a:rPr lang="ko-KR" altLang="en-US" dirty="0" smtClean="0"/>
              <a:t>고객확인 프로세스 구축을 위한 대상 거래 및 대상자 정의</a:t>
            </a:r>
            <a:endParaRPr lang="ko-KR" altLang="en-US" dirty="0"/>
          </a:p>
        </p:txBody>
      </p:sp>
      <p:sp>
        <p:nvSpPr>
          <p:cNvPr id="141" name="TextBox 140"/>
          <p:cNvSpPr txBox="1"/>
          <p:nvPr/>
        </p:nvSpPr>
        <p:spPr>
          <a:xfrm>
            <a:off x="5186467" y="5589240"/>
            <a:ext cx="2106421" cy="78819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>
            <a:defPPr>
              <a:defRPr lang="en-US"/>
            </a:defPPr>
            <a:lvl1pPr marL="108000" indent="-108000">
              <a:spcBef>
                <a:spcPts val="300"/>
              </a:spcBef>
              <a:buFont typeface="Arial" panose="020B0604020202020204" pitchFamily="34" charset="0"/>
              <a:buChar char="•"/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r>
              <a:rPr lang="en-US" altLang="ko-KR" dirty="0"/>
              <a:t>To-Be </a:t>
            </a:r>
            <a:r>
              <a:rPr lang="ko-KR" altLang="en-US" dirty="0"/>
              <a:t>고객확인 프로세스 </a:t>
            </a:r>
            <a:r>
              <a:rPr lang="ko-KR" altLang="en-US" dirty="0" smtClean="0"/>
              <a:t>구축</a:t>
            </a:r>
            <a:endParaRPr lang="ko-KR" altLang="en-US" dirty="0"/>
          </a:p>
        </p:txBody>
      </p:sp>
      <p:sp>
        <p:nvSpPr>
          <p:cNvPr id="142" name="TextBox 141"/>
          <p:cNvSpPr txBox="1"/>
          <p:nvPr/>
        </p:nvSpPr>
        <p:spPr>
          <a:xfrm>
            <a:off x="7440200" y="5589240"/>
            <a:ext cx="2153215" cy="78819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>
            <a:defPPr>
              <a:defRPr lang="en-US"/>
            </a:defPPr>
            <a:lvl1pPr marL="108000" indent="-108000">
              <a:spcBef>
                <a:spcPts val="300"/>
              </a:spcBef>
              <a:buFont typeface="Arial" panose="020B0604020202020204" pitchFamily="34" charset="0"/>
              <a:buChar char="•"/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r>
              <a:rPr lang="ko-KR" altLang="en-US" dirty="0" smtClean="0"/>
              <a:t>신원확인 및 검증절차</a:t>
            </a:r>
            <a:r>
              <a:rPr lang="en-US" altLang="ko-KR" dirty="0" smtClean="0"/>
              <a:t>, </a:t>
            </a:r>
            <a:r>
              <a:rPr lang="ko-KR" altLang="en-US" dirty="0" smtClean="0"/>
              <a:t>실제소유자 확인 방법 등 고객확인에 따른 상세 내용 정의</a:t>
            </a:r>
            <a:endParaRPr lang="en-US" altLang="ko-KR" dirty="0" smtClean="0"/>
          </a:p>
        </p:txBody>
      </p:sp>
      <p:sp>
        <p:nvSpPr>
          <p:cNvPr id="148" name="직사각형 147"/>
          <p:cNvSpPr/>
          <p:nvPr/>
        </p:nvSpPr>
        <p:spPr>
          <a:xfrm>
            <a:off x="568969" y="2717712"/>
            <a:ext cx="2110767" cy="364557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 rtlCol="0" anchor="t" anchorCtr="0"/>
          <a:lstStyle/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특정 금융거래정보의 보고 및 이용 등에 관한 법률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2019.7.1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 시행인 최신 법률 변경 사항 검토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특정 금융거래정보의 보고 및 이용 등에 관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법률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2019.4.30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019.06.25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개정에 따른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019.7.1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행인 최신 시행령 변경 사항 검토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방지 및 공중협박자금조달 금지에 관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규정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금융위원회에서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019.4.28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표한 업무규정 개정안 검토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특정 금융거래정보 보고 및 감독규정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2018.7.12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행 된 감독규정 검토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49" name="오각형 148"/>
          <p:cNvSpPr/>
          <p:nvPr/>
        </p:nvSpPr>
        <p:spPr bwMode="ltGray">
          <a:xfrm>
            <a:off x="578421" y="2145680"/>
            <a:ext cx="2276806" cy="495194"/>
          </a:xfrm>
          <a:prstGeom prst="homePlate">
            <a:avLst>
              <a:gd name="adj" fmla="val 23753"/>
            </a:avLst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최신 법령 등 변경 사항 검토</a:t>
            </a:r>
            <a:endParaRPr lang="ko-KR" altLang="en-US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609713" y="2215269"/>
            <a:ext cx="295690" cy="3405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1" name="갈매기형 수장 150"/>
          <p:cNvSpPr/>
          <p:nvPr/>
        </p:nvSpPr>
        <p:spPr bwMode="ltGray">
          <a:xfrm>
            <a:off x="2872213" y="2145680"/>
            <a:ext cx="2247238" cy="495194"/>
          </a:xfrm>
          <a:prstGeom prst="chevron">
            <a:avLst>
              <a:gd name="adj" fmla="val 23752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부산은행 현황분석</a:t>
            </a:r>
            <a:endParaRPr lang="ko-KR" altLang="en-US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2944958" y="2215269"/>
            <a:ext cx="295690" cy="3405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3" name="직사각형 152"/>
          <p:cNvSpPr/>
          <p:nvPr/>
        </p:nvSpPr>
        <p:spPr>
          <a:xfrm>
            <a:off x="2910450" y="2717712"/>
            <a:ext cx="2106420" cy="32011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 rtlCol="0" anchor="t" anchorCtr="0"/>
          <a:lstStyle/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상거래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상품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비스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채널 현황 검토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별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s-Is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세스 검토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신규 계좌개설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.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회성 금융 거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비대면 등 업무 별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s-Is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세스 검토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별 채널 별 고객확인 대상 정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여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외환 등 업무 별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상 정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터넷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마트폰 등 채널 별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상 정의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별 고객확인 대상자 정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계좌주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신탁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보험 수익자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 업무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형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별 고객확인 대상자 정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리인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보제공자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증인 등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련인에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한 고객확인 대상자 정의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54" name="직선 연결선 153"/>
          <p:cNvCxnSpPr/>
          <p:nvPr/>
        </p:nvCxnSpPr>
        <p:spPr>
          <a:xfrm>
            <a:off x="2825333" y="2765372"/>
            <a:ext cx="0" cy="238995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갈매기형 수장 154"/>
          <p:cNvSpPr/>
          <p:nvPr/>
        </p:nvSpPr>
        <p:spPr bwMode="ltGray">
          <a:xfrm>
            <a:off x="5130424" y="2146806"/>
            <a:ext cx="2247237" cy="495194"/>
          </a:xfrm>
          <a:prstGeom prst="chevron">
            <a:avLst>
              <a:gd name="adj" fmla="val 23752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업무 별 프로세스 수립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5234462" y="2215269"/>
            <a:ext cx="295690" cy="3405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7" name="직사각형 156"/>
          <p:cNvSpPr/>
          <p:nvPr/>
        </p:nvSpPr>
        <p:spPr>
          <a:xfrm>
            <a:off x="5186468" y="2717712"/>
            <a:ext cx="2106420" cy="32011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 rtlCol="0" anchor="t" anchorCtr="0"/>
          <a:lstStyle/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무 및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채널별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의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세스 수립</a:t>
            </a:r>
            <a:b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신규계좌 개설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회성 금융거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비대면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채널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신송금 등 업무 및 채널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별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 프로세스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가상통화취급업소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액자산가 등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금세탁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위험군에 대한 프로세스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립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58" name="직선 연결선 157"/>
          <p:cNvCxnSpPr/>
          <p:nvPr/>
        </p:nvCxnSpPr>
        <p:spPr>
          <a:xfrm>
            <a:off x="5081698" y="2755109"/>
            <a:ext cx="0" cy="238995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갈매기형 수장 158"/>
          <p:cNvSpPr/>
          <p:nvPr/>
        </p:nvSpPr>
        <p:spPr bwMode="ltGray">
          <a:xfrm>
            <a:off x="7386283" y="2146804"/>
            <a:ext cx="2247237" cy="495194"/>
          </a:xfrm>
          <a:prstGeom prst="chevron">
            <a:avLst>
              <a:gd name="adj" fmla="val 23752"/>
            </a:avLst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상세 내용 정의</a:t>
            </a:r>
            <a:endParaRPr lang="ko-KR" altLang="en-US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7490322" y="2215267"/>
            <a:ext cx="295690" cy="3405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1" name="직사각형 160"/>
          <p:cNvSpPr/>
          <p:nvPr/>
        </p:nvSpPr>
        <p:spPr>
          <a:xfrm>
            <a:off x="7440200" y="2717712"/>
            <a:ext cx="2153216" cy="32011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 rtlCol="0" anchor="t" anchorCtr="0"/>
          <a:lstStyle/>
          <a:p>
            <a:pPr marL="174625" indent="-171450">
              <a:spcBef>
                <a:spcPts val="4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타 고객확인에 따른 상세 내용 정의</a:t>
            </a:r>
            <a:b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신원확인 및 검증절차 정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 유형별 실제소유자 확인 절차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수립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 수용 정책 수립</a:t>
            </a:r>
          </a:p>
        </p:txBody>
      </p:sp>
      <p:cxnSp>
        <p:nvCxnSpPr>
          <p:cNvPr id="162" name="직선 연결선 161"/>
          <p:cNvCxnSpPr/>
          <p:nvPr/>
        </p:nvCxnSpPr>
        <p:spPr>
          <a:xfrm>
            <a:off x="7337557" y="2755107"/>
            <a:ext cx="0" cy="238995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직사각형 164"/>
          <p:cNvSpPr/>
          <p:nvPr/>
        </p:nvSpPr>
        <p:spPr>
          <a:xfrm>
            <a:off x="236456" y="2145680"/>
            <a:ext cx="285797" cy="3392308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행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절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차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6" name="직사각형 165"/>
          <p:cNvSpPr/>
          <p:nvPr/>
        </p:nvSpPr>
        <p:spPr>
          <a:xfrm>
            <a:off x="241778" y="5589239"/>
            <a:ext cx="285797" cy="799097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산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출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과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568970" y="2127941"/>
            <a:ext cx="2109052" cy="3380373"/>
          </a:xfrm>
          <a:prstGeom prst="rect">
            <a:avLst/>
          </a:prstGeom>
          <a:noFill/>
          <a:ln w="38100">
            <a:solidFill>
              <a:srgbClr val="FD641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9817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2.5.1.4 </a:t>
            </a:r>
            <a:r>
              <a:rPr lang="ko-KR" altLang="en-US" dirty="0" smtClean="0"/>
              <a:t>정보관리 </a:t>
            </a:r>
            <a:r>
              <a:rPr lang="en-US" altLang="ko-KR" dirty="0" smtClean="0"/>
              <a:t>(2/2)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와 관련된 도움말을 관리하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도움말 관리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3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60497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도움말 관리</a:t>
            </a:r>
          </a:p>
        </p:txBody>
      </p:sp>
      <p:sp>
        <p:nvSpPr>
          <p:cNvPr id="2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774926"/>
            <a:ext cx="60497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도움말 등록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085141"/>
            <a:ext cx="221891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금세탁방지시스템의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와 관련된 도움말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보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록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정 기능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매뉴얼 등을 이미지화 하고 해당 이미지를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록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여러 개의 파일 등록 가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53701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769347"/>
            <a:ext cx="318769" cy="318769"/>
          </a:xfrm>
          <a:prstGeom prst="rect">
            <a:avLst/>
          </a:prstGeom>
        </p:spPr>
      </p:pic>
      <p:sp>
        <p:nvSpPr>
          <p:cNvPr id="30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6492"/>
            <a:ext cx="221891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금세탁방지시스템의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와 관련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움말 관리 기능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 별 도움말 등록 후 사용여부 설정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44" name="그룹 43"/>
          <p:cNvGrpSpPr/>
          <p:nvPr/>
        </p:nvGrpSpPr>
        <p:grpSpPr>
          <a:xfrm>
            <a:off x="452376" y="2377970"/>
            <a:ext cx="4262540" cy="3148302"/>
            <a:chOff x="452376" y="2267386"/>
            <a:chExt cx="4262540" cy="3148302"/>
          </a:xfrm>
        </p:grpSpPr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9420" y="2463410"/>
              <a:ext cx="4255496" cy="2952278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grpSp>
          <p:nvGrpSpPr>
            <p:cNvPr id="31" name="그룹 30"/>
            <p:cNvGrpSpPr/>
            <p:nvPr/>
          </p:nvGrpSpPr>
          <p:grpSpPr>
            <a:xfrm>
              <a:off x="452376" y="2267386"/>
              <a:ext cx="1569472" cy="188600"/>
              <a:chOff x="1035928" y="4768356"/>
              <a:chExt cx="3093892" cy="316874"/>
            </a:xfrm>
          </p:grpSpPr>
          <p:sp>
            <p:nvSpPr>
              <p:cNvPr id="32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33" name="Rt40" descr="도식1"/>
              <p:cNvSpPr>
                <a:spLocks noChangeArrowheads="1"/>
              </p:cNvSpPr>
              <p:nvPr/>
            </p:nvSpPr>
            <p:spPr bwMode="auto">
              <a:xfrm>
                <a:off x="2165772" y="4813506"/>
                <a:ext cx="834238" cy="232697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9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도움말 관리</a:t>
                </a:r>
              </a:p>
            </p:txBody>
          </p:sp>
        </p:grpSp>
      </p:grpSp>
      <p:grpSp>
        <p:nvGrpSpPr>
          <p:cNvPr id="7" name="그룹 6"/>
          <p:cNvGrpSpPr/>
          <p:nvPr/>
        </p:nvGrpSpPr>
        <p:grpSpPr>
          <a:xfrm>
            <a:off x="3758978" y="2267386"/>
            <a:ext cx="2712974" cy="1375077"/>
            <a:chOff x="1460612" y="3147187"/>
            <a:chExt cx="2712974" cy="1375077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60612" y="3334868"/>
              <a:ext cx="2712974" cy="1187396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grpSp>
          <p:nvGrpSpPr>
            <p:cNvPr id="34" name="그룹 33"/>
            <p:cNvGrpSpPr/>
            <p:nvPr/>
          </p:nvGrpSpPr>
          <p:grpSpPr>
            <a:xfrm>
              <a:off x="1469749" y="3147187"/>
              <a:ext cx="1569472" cy="188600"/>
              <a:chOff x="1035928" y="4768356"/>
              <a:chExt cx="3093892" cy="316874"/>
            </a:xfrm>
          </p:grpSpPr>
          <p:sp>
            <p:nvSpPr>
              <p:cNvPr id="35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36" name="Rt40" descr="도식1"/>
              <p:cNvSpPr>
                <a:spLocks noChangeArrowheads="1"/>
              </p:cNvSpPr>
              <p:nvPr/>
            </p:nvSpPr>
            <p:spPr bwMode="auto">
              <a:xfrm>
                <a:off x="2165772" y="4813506"/>
                <a:ext cx="834238" cy="232697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9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도움말 등록</a:t>
                </a:r>
              </a:p>
            </p:txBody>
          </p:sp>
        </p:grpSp>
      </p:grpSp>
      <p:grpSp>
        <p:nvGrpSpPr>
          <p:cNvPr id="45" name="그룹 44"/>
          <p:cNvGrpSpPr/>
          <p:nvPr/>
        </p:nvGrpSpPr>
        <p:grpSpPr>
          <a:xfrm>
            <a:off x="3091868" y="3779054"/>
            <a:ext cx="3637537" cy="2547128"/>
            <a:chOff x="1235087" y="3659294"/>
            <a:chExt cx="3637537" cy="2547128"/>
          </a:xfrm>
        </p:grpSpPr>
        <p:pic>
          <p:nvPicPr>
            <p:cNvPr id="38" name="그림 3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45103" y="3846280"/>
              <a:ext cx="3627521" cy="2360142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grpSp>
          <p:nvGrpSpPr>
            <p:cNvPr id="39" name="그룹 38"/>
            <p:cNvGrpSpPr/>
            <p:nvPr/>
          </p:nvGrpSpPr>
          <p:grpSpPr>
            <a:xfrm>
              <a:off x="1235087" y="3659294"/>
              <a:ext cx="1569472" cy="188600"/>
              <a:chOff x="1035928" y="4768356"/>
              <a:chExt cx="3093892" cy="316874"/>
            </a:xfrm>
          </p:grpSpPr>
          <p:sp>
            <p:nvSpPr>
              <p:cNvPr id="40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41" name="Rt40" descr="도식1"/>
              <p:cNvSpPr>
                <a:spLocks noChangeArrowheads="1"/>
              </p:cNvSpPr>
              <p:nvPr/>
            </p:nvSpPr>
            <p:spPr bwMode="auto">
              <a:xfrm>
                <a:off x="2165772" y="4813506"/>
                <a:ext cx="834238" cy="232697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9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도움말 보기</a:t>
                </a:r>
              </a:p>
            </p:txBody>
          </p:sp>
        </p:grpSp>
      </p:grpSp>
      <p:cxnSp>
        <p:nvCxnSpPr>
          <p:cNvPr id="46" name="직선 연결선 45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2184" y="490516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47" name="그림 46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3487" y="5141951"/>
            <a:ext cx="320400" cy="320400"/>
          </a:xfrm>
          <a:prstGeom prst="rect">
            <a:avLst/>
          </a:prstGeom>
        </p:spPr>
      </p:pic>
      <p:sp>
        <p:nvSpPr>
          <p:cNvPr id="4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143077"/>
            <a:ext cx="60497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도움말 보기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9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500212"/>
            <a:ext cx="221891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 별 등록된 도움말 이미지를 화면에 출력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여러 개의 도움말이 등록 된 경우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네비게이션으로 이동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50" name="그림 49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819" y="2339177"/>
            <a:ext cx="318769" cy="318769"/>
          </a:xfrm>
          <a:prstGeom prst="rect">
            <a:avLst/>
          </a:prstGeom>
        </p:spPr>
      </p:pic>
      <p:pic>
        <p:nvPicPr>
          <p:cNvPr id="51" name="그림 50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100" y="2218585"/>
            <a:ext cx="318769" cy="318769"/>
          </a:xfrm>
          <a:prstGeom prst="rect">
            <a:avLst/>
          </a:prstGeom>
        </p:spPr>
      </p:pic>
      <p:pic>
        <p:nvPicPr>
          <p:cNvPr id="52" name="그림 51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4788" y="3755981"/>
            <a:ext cx="320400" cy="320400"/>
          </a:xfrm>
          <a:prstGeom prst="rect">
            <a:avLst/>
          </a:prstGeom>
        </p:spPr>
      </p:pic>
      <p:sp>
        <p:nvSpPr>
          <p:cNvPr id="53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2617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관리</a:t>
            </a:r>
          </a:p>
        </p:txBody>
      </p:sp>
      <p:pic>
        <p:nvPicPr>
          <p:cNvPr id="54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97921" y="236509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43748" y="3876072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264342" y="242022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094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2.5.2.1 </a:t>
            </a:r>
            <a:r>
              <a:rPr lang="ko-KR" altLang="en-US" dirty="0"/>
              <a:t>유지보수 현황 관리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유지보수현황 프로세스 및 기능 신설을 통해 현업부서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담당자의 소통 창구를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유지보수 현황 관리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3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61024"/>
            <a:ext cx="45781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청등록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0316" y="3784315"/>
            <a:ext cx="45781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현황관리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074427"/>
            <a:ext cx="221891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청 내용 및 요청건에 대한 진행상태 및 처리결과 조회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리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579835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61024"/>
            <a:ext cx="318769" cy="318769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778736"/>
            <a:ext cx="318769" cy="318769"/>
          </a:xfrm>
          <a:prstGeom prst="rect">
            <a:avLst/>
          </a:prstGeom>
        </p:spPr>
      </p:pic>
      <p:sp>
        <p:nvSpPr>
          <p:cNvPr id="30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74208"/>
            <a:ext cx="221891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업부서담당자가 자금세탁방지시스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산자료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및 오류수정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선사항 요청 등록 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2873617" y="5156649"/>
            <a:ext cx="1548173" cy="900643"/>
            <a:chOff x="1413833" y="2406721"/>
            <a:chExt cx="1548173" cy="900643"/>
          </a:xfrm>
        </p:grpSpPr>
        <p:grpSp>
          <p:nvGrpSpPr>
            <p:cNvPr id="32" name="그룹 31"/>
            <p:cNvGrpSpPr/>
            <p:nvPr/>
          </p:nvGrpSpPr>
          <p:grpSpPr>
            <a:xfrm>
              <a:off x="1413833" y="2406721"/>
              <a:ext cx="900000" cy="147259"/>
              <a:chOff x="1114108" y="2573279"/>
              <a:chExt cx="879978" cy="144000"/>
            </a:xfrm>
          </p:grpSpPr>
          <p:sp>
            <p:nvSpPr>
              <p:cNvPr id="34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79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5" name="Rt40" descr="도식1"/>
              <p:cNvSpPr>
                <a:spLocks noChangeArrowheads="1"/>
              </p:cNvSpPr>
              <p:nvPr/>
            </p:nvSpPr>
            <p:spPr bwMode="auto">
              <a:xfrm>
                <a:off x="1416179" y="2586480"/>
                <a:ext cx="275853" cy="120386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8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현황관리</a:t>
                </a:r>
                <a:endParaRPr lang="en-US" altLang="ko-KR" sz="800" spc="-150" dirty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pic>
          <p:nvPicPr>
            <p:cNvPr id="33" name="그림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1736" y="2573308"/>
              <a:ext cx="1540270" cy="73405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3" name="그룹 2"/>
          <p:cNvGrpSpPr/>
          <p:nvPr/>
        </p:nvGrpSpPr>
        <p:grpSpPr>
          <a:xfrm>
            <a:off x="579117" y="3042102"/>
            <a:ext cx="424515" cy="548955"/>
            <a:chOff x="452376" y="2277815"/>
            <a:chExt cx="424515" cy="548955"/>
          </a:xfrm>
        </p:grpSpPr>
        <p:pic>
          <p:nvPicPr>
            <p:cNvPr id="36" name="그림 3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2376" y="2277815"/>
              <a:ext cx="424515" cy="300199"/>
            </a:xfrm>
            <a:prstGeom prst="rect">
              <a:avLst/>
            </a:prstGeom>
          </p:spPr>
        </p:pic>
        <p:sp>
          <p:nvSpPr>
            <p:cNvPr id="37" name="직사각형 36"/>
            <p:cNvSpPr/>
            <p:nvPr/>
          </p:nvSpPr>
          <p:spPr>
            <a:xfrm>
              <a:off x="485096" y="2580549"/>
              <a:ext cx="359073" cy="24622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0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현업부서</a:t>
              </a:r>
              <a:endParaRPr kumimoji="1" lang="en-US" altLang="ko-KR" sz="800" b="0" i="0" u="none" strike="noStrike" kern="0" cap="none" spc="0" normalizeH="0" baseline="0" noProof="0" dirty="0" smtClean="0">
                <a:ln w="0"/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0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담당자</a:t>
              </a:r>
            </a:p>
          </p:txBody>
        </p:sp>
      </p:grpSp>
      <p:cxnSp>
        <p:nvCxnSpPr>
          <p:cNvPr id="31" name="꺾인 연결선 30"/>
          <p:cNvCxnSpPr>
            <a:stCxn id="36" idx="3"/>
            <a:endCxn id="53" idx="0"/>
          </p:cNvCxnSpPr>
          <p:nvPr/>
        </p:nvCxnSpPr>
        <p:spPr>
          <a:xfrm>
            <a:off x="1003632" y="3192202"/>
            <a:ext cx="1231833" cy="59596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그룹 59"/>
          <p:cNvGrpSpPr/>
          <p:nvPr/>
        </p:nvGrpSpPr>
        <p:grpSpPr>
          <a:xfrm>
            <a:off x="1857458" y="3766974"/>
            <a:ext cx="1154077" cy="696290"/>
            <a:chOff x="1198609" y="2575997"/>
            <a:chExt cx="1154077" cy="696290"/>
          </a:xfrm>
        </p:grpSpPr>
        <p:grpSp>
          <p:nvGrpSpPr>
            <p:cNvPr id="50" name="그룹 49"/>
            <p:cNvGrpSpPr/>
            <p:nvPr/>
          </p:nvGrpSpPr>
          <p:grpSpPr>
            <a:xfrm>
              <a:off x="1198609" y="2575997"/>
              <a:ext cx="756000" cy="147259"/>
              <a:chOff x="1114108" y="2573279"/>
              <a:chExt cx="879978" cy="144000"/>
            </a:xfrm>
          </p:grpSpPr>
          <p:sp>
            <p:nvSpPr>
              <p:cNvPr id="52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79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53" name="Rt40" descr="도식1"/>
              <p:cNvSpPr>
                <a:spLocks noChangeArrowheads="1"/>
              </p:cNvSpPr>
              <p:nvPr/>
            </p:nvSpPr>
            <p:spPr bwMode="auto">
              <a:xfrm>
                <a:off x="1412298" y="2594004"/>
                <a:ext cx="283614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요청 등록</a:t>
                </a:r>
                <a:endParaRPr lang="en-US" altLang="ko-KR" sz="700" spc="-150" dirty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pic>
          <p:nvPicPr>
            <p:cNvPr id="51" name="그림 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10008" y="2727714"/>
              <a:ext cx="1142678" cy="54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cxnSp>
        <p:nvCxnSpPr>
          <p:cNvPr id="61" name="꺾인 연결선 60"/>
          <p:cNvCxnSpPr>
            <a:stCxn id="51" idx="2"/>
            <a:endCxn id="35" idx="0"/>
          </p:cNvCxnSpPr>
          <p:nvPr/>
        </p:nvCxnSpPr>
        <p:spPr>
          <a:xfrm rot="16200000" flipH="1">
            <a:off x="2528469" y="4374991"/>
            <a:ext cx="706885" cy="88343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Box 36"/>
          <p:cNvSpPr txBox="1">
            <a:spLocks noChangeArrowheads="1"/>
          </p:cNvSpPr>
          <p:nvPr/>
        </p:nvSpPr>
        <p:spPr bwMode="auto">
          <a:xfrm>
            <a:off x="941431" y="2957217"/>
            <a:ext cx="1372730" cy="208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75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자금세탁방지시스템 전산자료 및</a:t>
            </a:r>
            <a:r>
              <a:rPr lang="en-US" altLang="ko-KR" sz="75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/>
            </a:r>
            <a:br>
              <a:rPr lang="en-US" altLang="ko-KR" sz="75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</a:br>
            <a:r>
              <a:rPr lang="ko-KR" altLang="en-US" sz="75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오류수정</a:t>
            </a:r>
            <a:r>
              <a:rPr lang="en-US" altLang="ko-KR" sz="75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/</a:t>
            </a:r>
            <a:r>
              <a:rPr lang="ko-KR" altLang="en-US" sz="75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개선사항 요청 등록 </a:t>
            </a:r>
            <a:endParaRPr lang="ko-KR" altLang="en-US" sz="750" b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65" name="꺾인 연결선 64"/>
          <p:cNvCxnSpPr>
            <a:stCxn id="33" idx="1"/>
            <a:endCxn id="37" idx="2"/>
          </p:cNvCxnSpPr>
          <p:nvPr/>
        </p:nvCxnSpPr>
        <p:spPr>
          <a:xfrm rot="10800000">
            <a:off x="791374" y="3591058"/>
            <a:ext cx="2090146" cy="209920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그룹 74"/>
          <p:cNvGrpSpPr/>
          <p:nvPr/>
        </p:nvGrpSpPr>
        <p:grpSpPr>
          <a:xfrm>
            <a:off x="5924650" y="3042102"/>
            <a:ext cx="530069" cy="488556"/>
            <a:chOff x="4901577" y="2569056"/>
            <a:chExt cx="530069" cy="488556"/>
          </a:xfrm>
        </p:grpSpPr>
        <p:pic>
          <p:nvPicPr>
            <p:cNvPr id="73" name="그림 7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01577" y="2569056"/>
              <a:ext cx="530069" cy="301354"/>
            </a:xfrm>
            <a:prstGeom prst="rect">
              <a:avLst/>
            </a:prstGeom>
          </p:spPr>
        </p:pic>
        <p:sp>
          <p:nvSpPr>
            <p:cNvPr id="74" name="직사각형 73"/>
            <p:cNvSpPr/>
            <p:nvPr/>
          </p:nvSpPr>
          <p:spPr>
            <a:xfrm>
              <a:off x="4988678" y="2934501"/>
              <a:ext cx="355867" cy="12311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kern="0" dirty="0" smtClean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IT</a:t>
              </a:r>
              <a:r>
                <a:rPr kumimoji="1" lang="ko-KR" altLang="en-US" sz="800" kern="0" dirty="0" smtClean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담당자</a:t>
              </a:r>
              <a:endPara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76" name="그룹 75"/>
          <p:cNvGrpSpPr/>
          <p:nvPr/>
        </p:nvGrpSpPr>
        <p:grpSpPr>
          <a:xfrm>
            <a:off x="4268002" y="3790825"/>
            <a:ext cx="1154077" cy="696290"/>
            <a:chOff x="1198609" y="2575997"/>
            <a:chExt cx="1154077" cy="696290"/>
          </a:xfrm>
        </p:grpSpPr>
        <p:grpSp>
          <p:nvGrpSpPr>
            <p:cNvPr id="77" name="그룹 76"/>
            <p:cNvGrpSpPr/>
            <p:nvPr/>
          </p:nvGrpSpPr>
          <p:grpSpPr>
            <a:xfrm>
              <a:off x="1198609" y="2575997"/>
              <a:ext cx="756000" cy="147259"/>
              <a:chOff x="1114108" y="2573279"/>
              <a:chExt cx="879978" cy="144000"/>
            </a:xfrm>
          </p:grpSpPr>
          <p:sp>
            <p:nvSpPr>
              <p:cNvPr id="79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79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80" name="Rt40" descr="도식1"/>
              <p:cNvSpPr>
                <a:spLocks noChangeArrowheads="1"/>
              </p:cNvSpPr>
              <p:nvPr/>
            </p:nvSpPr>
            <p:spPr bwMode="auto">
              <a:xfrm>
                <a:off x="1262097" y="2594004"/>
                <a:ext cx="584021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진행</a:t>
                </a:r>
                <a:r>
                  <a:rPr lang="en-US" altLang="ko-KR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/</a:t>
                </a:r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처리결과 등록</a:t>
                </a:r>
                <a:endParaRPr lang="en-US" altLang="ko-KR" sz="700" spc="-150" dirty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pic>
          <p:nvPicPr>
            <p:cNvPr id="78" name="그림 7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10008" y="2727714"/>
              <a:ext cx="1142678" cy="54457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cxnSp>
        <p:nvCxnSpPr>
          <p:cNvPr id="81" name="꺾인 연결선 80"/>
          <p:cNvCxnSpPr>
            <a:stCxn id="33" idx="3"/>
            <a:endCxn id="74" idx="2"/>
          </p:cNvCxnSpPr>
          <p:nvPr/>
        </p:nvCxnSpPr>
        <p:spPr>
          <a:xfrm flipV="1">
            <a:off x="4421790" y="3530658"/>
            <a:ext cx="1767895" cy="215960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꺾인 연결선 91"/>
          <p:cNvCxnSpPr>
            <a:stCxn id="73" idx="1"/>
            <a:endCxn id="79" idx="3"/>
          </p:cNvCxnSpPr>
          <p:nvPr/>
        </p:nvCxnSpPr>
        <p:spPr>
          <a:xfrm rot="10800000" flipV="1">
            <a:off x="4646002" y="3192779"/>
            <a:ext cx="1278648" cy="59804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꺾인 연결선 100"/>
          <p:cNvCxnSpPr>
            <a:stCxn id="78" idx="2"/>
            <a:endCxn id="34" idx="3"/>
          </p:cNvCxnSpPr>
          <p:nvPr/>
        </p:nvCxnSpPr>
        <p:spPr>
          <a:xfrm rot="5400000">
            <a:off x="3752412" y="4058321"/>
            <a:ext cx="669534" cy="152712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 Box 36"/>
          <p:cNvSpPr txBox="1">
            <a:spLocks noChangeArrowheads="1"/>
          </p:cNvSpPr>
          <p:nvPr/>
        </p:nvSpPr>
        <p:spPr bwMode="auto">
          <a:xfrm>
            <a:off x="4953136" y="5525909"/>
            <a:ext cx="1224000" cy="11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현업 부서 요청내용 확인</a:t>
            </a:r>
            <a:endParaRPr lang="ko-KR" altLang="en-US" sz="800" b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17" name="Text Box 36"/>
          <p:cNvSpPr txBox="1">
            <a:spLocks noChangeArrowheads="1"/>
          </p:cNvSpPr>
          <p:nvPr/>
        </p:nvSpPr>
        <p:spPr bwMode="auto">
          <a:xfrm>
            <a:off x="786586" y="5527693"/>
            <a:ext cx="1718142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요청내용 진행상태 및 처리결과 확인</a:t>
            </a:r>
            <a:endParaRPr lang="ko-KR" altLang="en-US" sz="800" b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18" name="Text Box 36"/>
          <p:cNvSpPr txBox="1">
            <a:spLocks noChangeArrowheads="1"/>
          </p:cNvSpPr>
          <p:nvPr/>
        </p:nvSpPr>
        <p:spPr bwMode="auto">
          <a:xfrm>
            <a:off x="5002588" y="2950421"/>
            <a:ext cx="921718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진행상태 및 </a:t>
            </a:r>
            <a:r>
              <a:rPr lang="en-US" altLang="ko-KR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/>
            </a:r>
            <a:br>
              <a:rPr lang="en-US" altLang="ko-KR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</a:b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처리결과 등록</a:t>
            </a:r>
            <a:endParaRPr lang="ko-KR" altLang="en-US" sz="800" b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19" name="Text Box 36"/>
          <p:cNvSpPr txBox="1">
            <a:spLocks noChangeArrowheads="1"/>
          </p:cNvSpPr>
          <p:nvPr/>
        </p:nvSpPr>
        <p:spPr bwMode="auto">
          <a:xfrm>
            <a:off x="4885713" y="4548678"/>
            <a:ext cx="1032160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진행상태</a:t>
            </a:r>
            <a:r>
              <a:rPr lang="en-US" altLang="ko-KR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처리결과 등록</a:t>
            </a:r>
            <a:endParaRPr lang="ko-KR" altLang="en-US" sz="800" b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20" name="Text Box 36"/>
          <p:cNvSpPr txBox="1">
            <a:spLocks noChangeArrowheads="1"/>
          </p:cNvSpPr>
          <p:nvPr/>
        </p:nvSpPr>
        <p:spPr bwMode="auto">
          <a:xfrm>
            <a:off x="1606136" y="4512599"/>
            <a:ext cx="864000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요청내용 등록</a:t>
            </a:r>
            <a:r>
              <a:rPr lang="en-US" altLang="ko-KR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/</a:t>
            </a: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수정</a:t>
            </a:r>
            <a:r>
              <a:rPr lang="en-US" altLang="ko-KR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/</a:t>
            </a:r>
            <a:r>
              <a:rPr lang="ko-KR" altLang="en-US" sz="8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삭제</a:t>
            </a:r>
            <a:endParaRPr lang="ko-KR" altLang="en-US" sz="800" b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434405" y="2672916"/>
            <a:ext cx="6210783" cy="3600400"/>
          </a:xfrm>
          <a:prstGeom prst="rect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30" name="그룹 129"/>
          <p:cNvGrpSpPr/>
          <p:nvPr/>
        </p:nvGrpSpPr>
        <p:grpSpPr>
          <a:xfrm>
            <a:off x="438330" y="2281784"/>
            <a:ext cx="6174848" cy="329181"/>
            <a:chOff x="380381" y="2425800"/>
            <a:chExt cx="6174848" cy="329181"/>
          </a:xfrm>
        </p:grpSpPr>
        <p:sp>
          <p:nvSpPr>
            <p:cNvPr id="125" name="갈매기형 수장 124"/>
            <p:cNvSpPr/>
            <p:nvPr/>
          </p:nvSpPr>
          <p:spPr bwMode="ltGray">
            <a:xfrm>
              <a:off x="380381" y="2425801"/>
              <a:ext cx="1631299" cy="329180"/>
            </a:xfrm>
            <a:prstGeom prst="chevron">
              <a:avLst>
                <a:gd name="adj" fmla="val 23752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현업부서 전산자료 및</a:t>
              </a:r>
              <a:r>
                <a:rPr lang="en-US" altLang="ko-KR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/>
              </a:r>
              <a:br>
                <a:rPr lang="en-US" altLang="ko-KR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lang="ko-KR" altLang="en-US" sz="9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오</a:t>
              </a:r>
              <a:r>
                <a:rPr lang="ko-KR" altLang="en-US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류수정</a:t>
              </a:r>
              <a:r>
                <a:rPr lang="en-US" altLang="ko-KR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선사항 요청 등록</a:t>
              </a:r>
              <a:endParaRPr lang="en-US" altLang="ko-KR" sz="900" b="1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26" name="갈매기형 수장 125"/>
            <p:cNvSpPr/>
            <p:nvPr/>
          </p:nvSpPr>
          <p:spPr bwMode="ltGray">
            <a:xfrm>
              <a:off x="1998100" y="2425800"/>
              <a:ext cx="1409553" cy="329180"/>
            </a:xfrm>
            <a:prstGeom prst="chevron">
              <a:avLst>
                <a:gd name="adj" fmla="val 23752"/>
              </a:avLst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9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IT</a:t>
              </a:r>
              <a:r>
                <a:rPr lang="ko-KR" altLang="en-US" sz="9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담당자 </a:t>
              </a:r>
              <a:r>
                <a:rPr lang="ko-KR" altLang="en-US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현업부서 </a:t>
              </a:r>
              <a:endParaRPr lang="en-US" altLang="ko-KR" sz="900" b="1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/>
              <a:r>
                <a:rPr lang="ko-KR" altLang="en-US" sz="9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요청내용 </a:t>
              </a:r>
              <a:r>
                <a:rPr lang="ko-KR" altLang="en-US" sz="9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확인</a:t>
              </a:r>
              <a:endParaRPr lang="en-US" altLang="ko-KR" sz="900" b="1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27" name="갈매기형 수장 126"/>
            <p:cNvSpPr/>
            <p:nvPr/>
          </p:nvSpPr>
          <p:spPr bwMode="ltGray">
            <a:xfrm>
              <a:off x="4864338" y="2425800"/>
              <a:ext cx="1690891" cy="329180"/>
            </a:xfrm>
            <a:prstGeom prst="chevron">
              <a:avLst>
                <a:gd name="adj" fmla="val 23752"/>
              </a:avLst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현업부서 요청내용</a:t>
              </a:r>
              <a:endParaRPr lang="en-US" altLang="ko-KR" sz="1000" b="1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/>
              <a:r>
                <a:rPr lang="ko-KR" altLang="en-US" sz="1000" b="1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진행상태 및 처리결과 확인</a:t>
              </a:r>
              <a:endParaRPr lang="en-US" altLang="ko-KR" sz="1000" b="1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29" name="갈매기형 수장 128"/>
            <p:cNvSpPr/>
            <p:nvPr/>
          </p:nvSpPr>
          <p:spPr bwMode="ltGray">
            <a:xfrm>
              <a:off x="3385531" y="2430575"/>
              <a:ext cx="1487094" cy="324404"/>
            </a:xfrm>
            <a:prstGeom prst="chevron">
              <a:avLst>
                <a:gd name="adj" fmla="val 23752"/>
              </a:avLst>
            </a:prstGeom>
            <a:solidFill>
              <a:srgbClr val="22A8F0"/>
            </a:solidFill>
            <a:ln w="6350">
              <a:solidFill>
                <a:srgbClr val="038CDC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IT</a:t>
              </a:r>
              <a:r>
                <a:rPr lang="ko-KR" altLang="en-US" sz="10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담당자 진행상태 및</a:t>
              </a:r>
              <a:r>
                <a:rPr lang="en-US" altLang="ko-KR" sz="10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/>
              </a:r>
              <a:br>
                <a:rPr lang="en-US" altLang="ko-KR" sz="10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lang="ko-KR" altLang="en-US" sz="1000" b="1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처리결과 등록</a:t>
              </a:r>
              <a:endParaRPr lang="en-US" altLang="ko-KR" sz="1000" b="1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pic>
        <p:nvPicPr>
          <p:cNvPr id="131" name="그림 13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3182" y="3237706"/>
            <a:ext cx="318769" cy="318769"/>
          </a:xfrm>
          <a:prstGeom prst="rect">
            <a:avLst/>
          </a:prstGeom>
        </p:spPr>
      </p:pic>
      <p:pic>
        <p:nvPicPr>
          <p:cNvPr id="132" name="그림 13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1202" y="5454788"/>
            <a:ext cx="318769" cy="318769"/>
          </a:xfrm>
          <a:prstGeom prst="rect">
            <a:avLst/>
          </a:prstGeom>
        </p:spPr>
      </p:pic>
      <p:pic>
        <p:nvPicPr>
          <p:cNvPr id="133" name="그림 13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86894" y="3519380"/>
            <a:ext cx="320400" cy="320400"/>
          </a:xfrm>
          <a:prstGeom prst="rect">
            <a:avLst/>
          </a:prstGeom>
        </p:spPr>
      </p:pic>
      <p:pic>
        <p:nvPicPr>
          <p:cNvPr id="134" name="그림 133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53258" y="5460257"/>
            <a:ext cx="320400" cy="320400"/>
          </a:xfrm>
          <a:prstGeom prst="rect">
            <a:avLst/>
          </a:prstGeom>
        </p:spPr>
      </p:pic>
      <p:cxnSp>
        <p:nvCxnSpPr>
          <p:cNvPr id="135" name="직선 연결선 134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7681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9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009518"/>
            <a:ext cx="96917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진행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처리결과등록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0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307595"/>
            <a:ext cx="221891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T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담당자가 현업부서 요청 건에 대해 진행상태 및 처리결과를 등록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-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련자료 첨부 등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143" name="그림 14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3143" y="5003939"/>
            <a:ext cx="320400" cy="320400"/>
          </a:xfrm>
          <a:prstGeom prst="rect">
            <a:avLst/>
          </a:prstGeom>
        </p:spPr>
      </p:pic>
      <p:sp>
        <p:nvSpPr>
          <p:cNvPr id="82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1229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업무</a:t>
            </a:r>
          </a:p>
        </p:txBody>
      </p:sp>
      <p:pic>
        <p:nvPicPr>
          <p:cNvPr id="83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384916" y="258841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84" name="그림 83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6668" y="3777851"/>
            <a:ext cx="319654" cy="319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0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8" y="2089423"/>
            <a:ext cx="9405825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5.2.2 </a:t>
            </a:r>
            <a:r>
              <a:rPr lang="ko-KR" altLang="en-US" dirty="0" smtClean="0"/>
              <a:t>시스템 내 전자결재 </a:t>
            </a:r>
            <a:r>
              <a:rPr lang="ko-KR" altLang="en-US" dirty="0"/>
              <a:t>처리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서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결재가 필요한 업무의 전자결재 프로세스와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내 전자결재 처리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82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1229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업무</a:t>
            </a:r>
          </a:p>
        </p:txBody>
      </p:sp>
      <p:grpSp>
        <p:nvGrpSpPr>
          <p:cNvPr id="32" name="그룹 31"/>
          <p:cNvGrpSpPr/>
          <p:nvPr/>
        </p:nvGrpSpPr>
        <p:grpSpPr>
          <a:xfrm>
            <a:off x="576969" y="2754925"/>
            <a:ext cx="1059348" cy="197231"/>
            <a:chOff x="1790645" y="805731"/>
            <a:chExt cx="1080000" cy="245490"/>
          </a:xfrm>
        </p:grpSpPr>
        <p:sp>
          <p:nvSpPr>
            <p:cNvPr id="33" name="Text Box 119"/>
            <p:cNvSpPr txBox="1">
              <a:spLocks noChangeArrowheads="1"/>
            </p:cNvSpPr>
            <p:nvPr/>
          </p:nvSpPr>
          <p:spPr bwMode="auto">
            <a:xfrm>
              <a:off x="1987452" y="805731"/>
              <a:ext cx="686387" cy="2298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200" dirty="0" smtClean="0">
                  <a:solidFill>
                    <a:prstClr val="black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담당자</a:t>
              </a:r>
              <a:endParaRPr lang="ko-KR" altLang="en-US" sz="1200" dirty="0"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cxnSp>
          <p:nvCxnSpPr>
            <p:cNvPr id="34" name="직선 연결선 33"/>
            <p:cNvCxnSpPr/>
            <p:nvPr/>
          </p:nvCxnSpPr>
          <p:spPr>
            <a:xfrm>
              <a:off x="1790645" y="1051221"/>
              <a:ext cx="108000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그룹 46"/>
          <p:cNvGrpSpPr/>
          <p:nvPr/>
        </p:nvGrpSpPr>
        <p:grpSpPr>
          <a:xfrm>
            <a:off x="576969" y="3583017"/>
            <a:ext cx="1059348" cy="197231"/>
            <a:chOff x="1790645" y="805731"/>
            <a:chExt cx="1080000" cy="245490"/>
          </a:xfrm>
        </p:grpSpPr>
        <p:sp>
          <p:nvSpPr>
            <p:cNvPr id="48" name="Text Box 119"/>
            <p:cNvSpPr txBox="1">
              <a:spLocks noChangeArrowheads="1"/>
            </p:cNvSpPr>
            <p:nvPr/>
          </p:nvSpPr>
          <p:spPr bwMode="auto">
            <a:xfrm>
              <a:off x="1987453" y="805731"/>
              <a:ext cx="686387" cy="2298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200" dirty="0" smtClean="0">
                  <a:solidFill>
                    <a:prstClr val="black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책임자</a:t>
              </a:r>
              <a:endParaRPr lang="ko-KR" altLang="en-US" sz="1200" dirty="0"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cxnSp>
          <p:nvCxnSpPr>
            <p:cNvPr id="49" name="직선 연결선 48"/>
            <p:cNvCxnSpPr/>
            <p:nvPr/>
          </p:nvCxnSpPr>
          <p:spPr>
            <a:xfrm>
              <a:off x="1790645" y="1051221"/>
              <a:ext cx="108000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433551" y="2151276"/>
            <a:ext cx="1317858" cy="169277"/>
            <a:chOff x="307914" y="1927833"/>
            <a:chExt cx="1317858" cy="169277"/>
          </a:xfrm>
        </p:grpSpPr>
        <p:sp>
          <p:nvSpPr>
            <p:cNvPr id="83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110126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TR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결재 프로세스</a:t>
              </a:r>
            </a:p>
          </p:txBody>
        </p:sp>
        <p:grpSp>
          <p:nvGrpSpPr>
            <p:cNvPr id="84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85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87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  <p:sp>
              <p:nvSpPr>
                <p:cNvPr id="88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</p:grpSp>
          <p:sp>
            <p:nvSpPr>
              <p:cNvPr id="86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/>
              </a:p>
            </p:txBody>
          </p:sp>
        </p:grpSp>
      </p:grpSp>
      <p:sp>
        <p:nvSpPr>
          <p:cNvPr id="138" name="직사각형 137"/>
          <p:cNvSpPr/>
          <p:nvPr/>
        </p:nvSpPr>
        <p:spPr bwMode="auto">
          <a:xfrm>
            <a:off x="416496" y="2391300"/>
            <a:ext cx="8802031" cy="1820996"/>
          </a:xfrm>
          <a:prstGeom prst="rect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67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433551" y="4275512"/>
            <a:ext cx="1322666" cy="169277"/>
            <a:chOff x="307914" y="1927833"/>
            <a:chExt cx="1322666" cy="169277"/>
          </a:xfrm>
        </p:grpSpPr>
        <p:sp>
          <p:nvSpPr>
            <p:cNvPr id="169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1106072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CTR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결재 프로세스</a:t>
              </a:r>
            </a:p>
          </p:txBody>
        </p:sp>
        <p:grpSp>
          <p:nvGrpSpPr>
            <p:cNvPr id="170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171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173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  <p:sp>
              <p:nvSpPr>
                <p:cNvPr id="174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</p:grpSp>
          <p:sp>
            <p:nvSpPr>
              <p:cNvPr id="172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/>
              </a:p>
            </p:txBody>
          </p:sp>
        </p:grpSp>
      </p:grpSp>
      <p:sp>
        <p:nvSpPr>
          <p:cNvPr id="168" name="직사각형 167"/>
          <p:cNvSpPr/>
          <p:nvPr/>
        </p:nvSpPr>
        <p:spPr bwMode="auto">
          <a:xfrm>
            <a:off x="416496" y="4481300"/>
            <a:ext cx="8802031" cy="1945877"/>
          </a:xfrm>
          <a:prstGeom prst="rect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825552" y="2466921"/>
            <a:ext cx="7212956" cy="1648919"/>
            <a:chOff x="1700484" y="2466921"/>
            <a:chExt cx="7407055" cy="1648919"/>
          </a:xfrm>
        </p:grpSpPr>
        <p:pic>
          <p:nvPicPr>
            <p:cNvPr id="36" name="그림 35"/>
            <p:cNvPicPr preferRelativeResize="0"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65319" y="2625903"/>
              <a:ext cx="706233" cy="433845"/>
            </a:xfrm>
            <a:prstGeom prst="rect">
              <a:avLst/>
            </a:prstGeom>
          </p:spPr>
        </p:pic>
        <p:sp>
          <p:nvSpPr>
            <p:cNvPr id="38" name="Text Box 119"/>
            <p:cNvSpPr txBox="1">
              <a:spLocks noChangeArrowheads="1"/>
            </p:cNvSpPr>
            <p:nvPr/>
          </p:nvSpPr>
          <p:spPr bwMode="auto">
            <a:xfrm>
              <a:off x="1897648" y="2474615"/>
              <a:ext cx="841576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점검대상 모니터링</a:t>
              </a:r>
              <a:endPara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39" name="그림 38"/>
            <p:cNvPicPr preferRelativeResize="0"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51038" y="2625903"/>
              <a:ext cx="706232" cy="433845"/>
            </a:xfrm>
            <a:prstGeom prst="rect">
              <a:avLst/>
            </a:prstGeom>
          </p:spPr>
        </p:pic>
        <p:sp>
          <p:nvSpPr>
            <p:cNvPr id="40" name="Text Box 119"/>
            <p:cNvSpPr txBox="1">
              <a:spLocks noChangeArrowheads="1"/>
            </p:cNvSpPr>
            <p:nvPr/>
          </p:nvSpPr>
          <p:spPr bwMode="auto">
            <a:xfrm>
              <a:off x="5952170" y="2877630"/>
              <a:ext cx="496931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en-US" altLang="ko-KR" sz="900" dirty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R 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br>
                <a:rPr lang="en-US" altLang="ko-KR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외 판단 </a:t>
              </a:r>
              <a:endPara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1" name="Text Box 119"/>
            <p:cNvSpPr txBox="1">
              <a:spLocks noChangeArrowheads="1"/>
            </p:cNvSpPr>
            <p:nvPr/>
          </p:nvSpPr>
          <p:spPr bwMode="auto">
            <a:xfrm>
              <a:off x="5083367" y="2474615"/>
              <a:ext cx="841576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점검대상 상세정보</a:t>
              </a:r>
              <a:endPara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43" name="그림 42"/>
            <p:cNvPicPr preferRelativeResize="0"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25146" y="3432111"/>
              <a:ext cx="706232" cy="433845"/>
            </a:xfrm>
            <a:prstGeom prst="rect">
              <a:avLst/>
            </a:prstGeom>
          </p:spPr>
        </p:pic>
        <p:sp>
          <p:nvSpPr>
            <p:cNvPr id="44" name="Text Box 119"/>
            <p:cNvSpPr txBox="1">
              <a:spLocks noChangeArrowheads="1"/>
            </p:cNvSpPr>
            <p:nvPr/>
          </p:nvSpPr>
          <p:spPr bwMode="auto">
            <a:xfrm>
              <a:off x="6395010" y="3905070"/>
              <a:ext cx="1766509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en-US" altLang="ko-KR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TR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외 건 승인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반려 판단 </a:t>
              </a:r>
              <a:endParaRPr lang="ko-KR" altLang="en-US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5" name="Text Box 119"/>
            <p:cNvSpPr txBox="1">
              <a:spLocks noChangeArrowheads="1"/>
            </p:cNvSpPr>
            <p:nvPr/>
          </p:nvSpPr>
          <p:spPr bwMode="auto">
            <a:xfrm>
              <a:off x="6680343" y="3273129"/>
              <a:ext cx="1195840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결재요청결과 확인 화면</a:t>
              </a:r>
              <a:endParaRPr lang="ko-KR" altLang="en-US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6" name="순서도: 판단 45"/>
            <p:cNvSpPr/>
            <p:nvPr/>
          </p:nvSpPr>
          <p:spPr>
            <a:xfrm>
              <a:off x="1700484" y="3431119"/>
              <a:ext cx="1235907" cy="433845"/>
            </a:xfrm>
            <a:prstGeom prst="flowChartDecision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결재</a:t>
              </a:r>
              <a:r>
                <a:rPr lang="en-US" altLang="ko-KR" sz="900" dirty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판단 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?</a:t>
              </a:r>
            </a:p>
          </p:txBody>
        </p:sp>
        <p:cxnSp>
          <p:nvCxnSpPr>
            <p:cNvPr id="52" name="직선 화살표 연결선 51"/>
            <p:cNvCxnSpPr>
              <a:stCxn id="36" idx="3"/>
              <a:endCxn id="58" idx="1"/>
            </p:cNvCxnSpPr>
            <p:nvPr/>
          </p:nvCxnSpPr>
          <p:spPr>
            <a:xfrm>
              <a:off x="2671551" y="2842825"/>
              <a:ext cx="858914" cy="0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화살표 연결선 52"/>
            <p:cNvCxnSpPr>
              <a:stCxn id="43" idx="1"/>
              <a:endCxn id="46" idx="3"/>
            </p:cNvCxnSpPr>
            <p:nvPr/>
          </p:nvCxnSpPr>
          <p:spPr>
            <a:xfrm flipH="1" flipV="1">
              <a:off x="2936390" y="3648042"/>
              <a:ext cx="3988756" cy="991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화살표 연결선 53"/>
            <p:cNvCxnSpPr>
              <a:stCxn id="46" idx="0"/>
              <a:endCxn id="36" idx="2"/>
            </p:cNvCxnSpPr>
            <p:nvPr/>
          </p:nvCxnSpPr>
          <p:spPr>
            <a:xfrm flipH="1" flipV="1">
              <a:off x="2318436" y="3059748"/>
              <a:ext cx="2" cy="371371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 Box 119"/>
            <p:cNvSpPr txBox="1">
              <a:spLocks noChangeArrowheads="1"/>
            </p:cNvSpPr>
            <p:nvPr/>
          </p:nvSpPr>
          <p:spPr bwMode="auto">
            <a:xfrm>
              <a:off x="2376263" y="3301043"/>
              <a:ext cx="201978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90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반려</a:t>
              </a:r>
              <a:endParaRPr lang="ko-KR" altLang="en-US" sz="9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56" name="Text Box 119"/>
            <p:cNvSpPr txBox="1">
              <a:spLocks noChangeArrowheads="1"/>
            </p:cNvSpPr>
            <p:nvPr/>
          </p:nvSpPr>
          <p:spPr bwMode="auto">
            <a:xfrm>
              <a:off x="2365042" y="3869066"/>
              <a:ext cx="224421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00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승인</a:t>
              </a:r>
              <a:endPara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58" name="그림 5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30465" y="2625903"/>
              <a:ext cx="706233" cy="433845"/>
            </a:xfrm>
            <a:prstGeom prst="rect">
              <a:avLst/>
            </a:prstGeom>
          </p:spPr>
        </p:pic>
        <p:sp>
          <p:nvSpPr>
            <p:cNvPr id="60" name="Text Box 119"/>
            <p:cNvSpPr txBox="1">
              <a:spLocks noChangeArrowheads="1"/>
            </p:cNvSpPr>
            <p:nvPr/>
          </p:nvSpPr>
          <p:spPr bwMode="auto">
            <a:xfrm>
              <a:off x="3462794" y="2474615"/>
              <a:ext cx="841576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점검대상 요약정보</a:t>
              </a:r>
              <a:endPara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61" name="순서도: 판단 60"/>
            <p:cNvSpPr/>
            <p:nvPr/>
          </p:nvSpPr>
          <p:spPr>
            <a:xfrm>
              <a:off x="6660309" y="2625903"/>
              <a:ext cx="1235907" cy="433845"/>
            </a:xfrm>
            <a:prstGeom prst="flowChartDecision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?</a:t>
              </a:r>
            </a:p>
            <a:p>
              <a:pPr algn="ctr"/>
              <a:r>
                <a:rPr lang="ko-KR" altLang="en-US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외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?</a:t>
              </a:r>
            </a:p>
          </p:txBody>
        </p:sp>
        <p:pic>
          <p:nvPicPr>
            <p:cNvPr id="63" name="그림 62"/>
            <p:cNvPicPr preferRelativeResize="0"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43708" y="2625903"/>
              <a:ext cx="706232" cy="433845"/>
            </a:xfrm>
            <a:prstGeom prst="rect">
              <a:avLst/>
            </a:prstGeom>
          </p:spPr>
        </p:pic>
        <p:sp>
          <p:nvSpPr>
            <p:cNvPr id="64" name="Text Box 119"/>
            <p:cNvSpPr txBox="1">
              <a:spLocks noChangeArrowheads="1"/>
            </p:cNvSpPr>
            <p:nvPr/>
          </p:nvSpPr>
          <p:spPr bwMode="auto">
            <a:xfrm>
              <a:off x="8770908" y="3294339"/>
              <a:ext cx="336631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서</a:t>
              </a:r>
              <a:endPara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1028700"/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작성 </a:t>
              </a:r>
              <a:endParaRPr lang="ko-KR" altLang="en-US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65" name="Text Box 119"/>
            <p:cNvSpPr txBox="1">
              <a:spLocks noChangeArrowheads="1"/>
            </p:cNvSpPr>
            <p:nvPr/>
          </p:nvSpPr>
          <p:spPr bwMode="auto">
            <a:xfrm>
              <a:off x="8304092" y="2466921"/>
              <a:ext cx="785471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의심거래보고서</a:t>
              </a:r>
              <a:endParaRPr lang="ko-KR" altLang="en-US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cxnSp>
          <p:nvCxnSpPr>
            <p:cNvPr id="66" name="꺾인 연결선 65"/>
            <p:cNvCxnSpPr>
              <a:stCxn id="63" idx="2"/>
              <a:endCxn id="43" idx="3"/>
            </p:cNvCxnSpPr>
            <p:nvPr/>
          </p:nvCxnSpPr>
          <p:spPr>
            <a:xfrm rot="5400000">
              <a:off x="7869458" y="2821668"/>
              <a:ext cx="589286" cy="1065446"/>
            </a:xfrm>
            <a:prstGeom prst="bentConnector2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화살표 연결선 66"/>
            <p:cNvCxnSpPr>
              <a:stCxn id="58" idx="3"/>
              <a:endCxn id="39" idx="1"/>
            </p:cNvCxnSpPr>
            <p:nvPr/>
          </p:nvCxnSpPr>
          <p:spPr>
            <a:xfrm>
              <a:off x="4236697" y="2842825"/>
              <a:ext cx="914340" cy="0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직선 화살표 연결선 67"/>
            <p:cNvCxnSpPr>
              <a:stCxn id="39" idx="3"/>
              <a:endCxn id="61" idx="1"/>
            </p:cNvCxnSpPr>
            <p:nvPr/>
          </p:nvCxnSpPr>
          <p:spPr>
            <a:xfrm>
              <a:off x="5857270" y="2842825"/>
              <a:ext cx="803039" cy="0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직선 화살표 연결선 68"/>
            <p:cNvCxnSpPr>
              <a:stCxn id="61" idx="3"/>
              <a:endCxn id="63" idx="1"/>
            </p:cNvCxnSpPr>
            <p:nvPr/>
          </p:nvCxnSpPr>
          <p:spPr>
            <a:xfrm>
              <a:off x="7896216" y="2842825"/>
              <a:ext cx="447494" cy="0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직선 화살표 연결선 69"/>
            <p:cNvCxnSpPr>
              <a:stCxn id="61" idx="2"/>
              <a:endCxn id="45" idx="0"/>
            </p:cNvCxnSpPr>
            <p:nvPr/>
          </p:nvCxnSpPr>
          <p:spPr>
            <a:xfrm>
              <a:off x="7278263" y="3059748"/>
              <a:ext cx="0" cy="213381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 Box 119"/>
            <p:cNvSpPr txBox="1">
              <a:spLocks noChangeArrowheads="1"/>
            </p:cNvSpPr>
            <p:nvPr/>
          </p:nvSpPr>
          <p:spPr bwMode="auto">
            <a:xfrm>
              <a:off x="7881965" y="2685370"/>
              <a:ext cx="224421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00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endPara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72" name="Text Box 119"/>
            <p:cNvSpPr txBox="1">
              <a:spLocks noChangeArrowheads="1"/>
            </p:cNvSpPr>
            <p:nvPr/>
          </p:nvSpPr>
          <p:spPr bwMode="auto">
            <a:xfrm>
              <a:off x="7334573" y="3062205"/>
              <a:ext cx="460919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100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제외</a:t>
              </a:r>
              <a:endPara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91" name="Text Box 119"/>
            <p:cNvSpPr txBox="1">
              <a:spLocks noChangeArrowheads="1"/>
            </p:cNvSpPr>
            <p:nvPr/>
          </p:nvSpPr>
          <p:spPr bwMode="auto">
            <a:xfrm>
              <a:off x="3134483" y="3961952"/>
              <a:ext cx="625534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en-US" altLang="ko-KR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KoFIU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endParaRPr lang="ko-KR" altLang="en-US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cxnSp>
          <p:nvCxnSpPr>
            <p:cNvPr id="75" name="꺾인 연결선 74"/>
            <p:cNvCxnSpPr>
              <a:stCxn id="46" idx="2"/>
            </p:cNvCxnSpPr>
            <p:nvPr/>
          </p:nvCxnSpPr>
          <p:spPr>
            <a:xfrm rot="16200000" flipH="1">
              <a:off x="2606318" y="3577084"/>
              <a:ext cx="206810" cy="782570"/>
            </a:xfrm>
            <a:prstGeom prst="bentConnector2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3" name="Text Box 119"/>
          <p:cNvSpPr txBox="1">
            <a:spLocks noChangeArrowheads="1"/>
          </p:cNvSpPr>
          <p:nvPr/>
        </p:nvSpPr>
        <p:spPr bwMode="auto">
          <a:xfrm>
            <a:off x="824367" y="4892796"/>
            <a:ext cx="673262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1200" dirty="0"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담당자</a:t>
            </a:r>
          </a:p>
        </p:txBody>
      </p:sp>
      <p:cxnSp>
        <p:nvCxnSpPr>
          <p:cNvPr id="194" name="직선 연결선 193"/>
          <p:cNvCxnSpPr/>
          <p:nvPr/>
        </p:nvCxnSpPr>
        <p:spPr>
          <a:xfrm>
            <a:off x="575997" y="5115694"/>
            <a:ext cx="1170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6" name="그림 19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9112" y="4770647"/>
            <a:ext cx="674408" cy="466898"/>
          </a:xfrm>
          <a:prstGeom prst="rect">
            <a:avLst/>
          </a:prstGeom>
        </p:spPr>
      </p:pic>
      <p:sp>
        <p:nvSpPr>
          <p:cNvPr id="198" name="Text Box 119"/>
          <p:cNvSpPr txBox="1">
            <a:spLocks noChangeArrowheads="1"/>
          </p:cNvSpPr>
          <p:nvPr/>
        </p:nvSpPr>
        <p:spPr bwMode="auto">
          <a:xfrm>
            <a:off x="2118368" y="4599286"/>
            <a:ext cx="84157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대상 모니터링</a:t>
            </a:r>
          </a:p>
        </p:txBody>
      </p:sp>
      <p:pic>
        <p:nvPicPr>
          <p:cNvPr id="200" name="그림 19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9844" y="4735479"/>
            <a:ext cx="780000" cy="540000"/>
          </a:xfrm>
          <a:prstGeom prst="rect">
            <a:avLst/>
          </a:prstGeom>
        </p:spPr>
      </p:pic>
      <p:sp>
        <p:nvSpPr>
          <p:cNvPr id="201" name="Text Box 119"/>
          <p:cNvSpPr txBox="1">
            <a:spLocks noChangeArrowheads="1"/>
          </p:cNvSpPr>
          <p:nvPr/>
        </p:nvSpPr>
        <p:spPr bwMode="auto">
          <a:xfrm>
            <a:off x="5576989" y="5044799"/>
            <a:ext cx="50494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en-US" altLang="ko-KR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TR </a:t>
            </a:r>
            <a:r>
              <a: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</a:t>
            </a:r>
            <a:r>
              <a:rPr lang="en-US" altLang="ko-KR" sz="9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</a:p>
          <a:p>
            <a:pPr algn="ctr" defTabSz="1028700"/>
            <a:r>
              <a:rPr lang="ko-KR" altLang="en-US" sz="9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외 </a:t>
            </a:r>
            <a:r>
              <a: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판단 </a:t>
            </a:r>
          </a:p>
        </p:txBody>
      </p:sp>
      <p:sp>
        <p:nvSpPr>
          <p:cNvPr id="202" name="Text Box 119"/>
          <p:cNvSpPr txBox="1">
            <a:spLocks noChangeArrowheads="1"/>
          </p:cNvSpPr>
          <p:nvPr/>
        </p:nvSpPr>
        <p:spPr bwMode="auto">
          <a:xfrm>
            <a:off x="4679057" y="4564118"/>
            <a:ext cx="84157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9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대상 상세정보</a:t>
            </a:r>
          </a:p>
        </p:txBody>
      </p:sp>
      <p:pic>
        <p:nvPicPr>
          <p:cNvPr id="204" name="그림 203"/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7317882" y="5652327"/>
            <a:ext cx="715579" cy="439474"/>
          </a:xfrm>
          <a:prstGeom prst="rect">
            <a:avLst/>
          </a:prstGeom>
        </p:spPr>
      </p:pic>
      <p:sp>
        <p:nvSpPr>
          <p:cNvPr id="205" name="Text Box 119"/>
          <p:cNvSpPr txBox="1">
            <a:spLocks noChangeArrowheads="1"/>
          </p:cNvSpPr>
          <p:nvPr/>
        </p:nvSpPr>
        <p:spPr bwMode="auto">
          <a:xfrm>
            <a:off x="5498097" y="5939893"/>
            <a:ext cx="1774525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TR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외 건 승인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반려 판단 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06" name="Text Box 119"/>
          <p:cNvSpPr txBox="1">
            <a:spLocks noChangeArrowheads="1"/>
          </p:cNvSpPr>
          <p:nvPr/>
        </p:nvSpPr>
        <p:spPr bwMode="auto">
          <a:xfrm>
            <a:off x="7208396" y="5473272"/>
            <a:ext cx="934550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재요청결과 확인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07" name="순서도: 판단 206"/>
          <p:cNvSpPr/>
          <p:nvPr/>
        </p:nvSpPr>
        <p:spPr>
          <a:xfrm>
            <a:off x="1937456" y="5651093"/>
            <a:ext cx="1204801" cy="440709"/>
          </a:xfrm>
          <a:prstGeom prst="flowChartDecision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재</a:t>
            </a:r>
            <a:r>
              <a:rPr lang="en-US" altLang="ko-KR" sz="9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판단 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?</a:t>
            </a:r>
          </a:p>
        </p:txBody>
      </p:sp>
      <p:sp>
        <p:nvSpPr>
          <p:cNvPr id="209" name="Text Box 119"/>
          <p:cNvSpPr txBox="1">
            <a:spLocks noChangeArrowheads="1"/>
          </p:cNvSpPr>
          <p:nvPr/>
        </p:nvSpPr>
        <p:spPr bwMode="auto">
          <a:xfrm>
            <a:off x="824369" y="5716932"/>
            <a:ext cx="673262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1200" dirty="0"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책임자</a:t>
            </a:r>
          </a:p>
        </p:txBody>
      </p:sp>
      <p:cxnSp>
        <p:nvCxnSpPr>
          <p:cNvPr id="210" name="직선 연결선 209"/>
          <p:cNvCxnSpPr/>
          <p:nvPr/>
        </p:nvCxnSpPr>
        <p:spPr>
          <a:xfrm>
            <a:off x="575997" y="5939830"/>
            <a:ext cx="1170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직선 화살표 연결선 212"/>
          <p:cNvCxnSpPr>
            <a:stCxn id="196" idx="3"/>
            <a:endCxn id="200" idx="1"/>
          </p:cNvCxnSpPr>
          <p:nvPr/>
        </p:nvCxnSpPr>
        <p:spPr>
          <a:xfrm>
            <a:off x="2873520" y="5004096"/>
            <a:ext cx="1836324" cy="138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꺾인 연결선 213"/>
          <p:cNvCxnSpPr>
            <a:stCxn id="200" idx="3"/>
            <a:endCxn id="206" idx="0"/>
          </p:cNvCxnSpPr>
          <p:nvPr/>
        </p:nvCxnSpPr>
        <p:spPr>
          <a:xfrm>
            <a:off x="5489844" y="5005479"/>
            <a:ext cx="2185827" cy="467793"/>
          </a:xfrm>
          <a:prstGeom prst="bentConnector2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직선 화살표 연결선 214"/>
          <p:cNvCxnSpPr>
            <a:stCxn id="204" idx="1"/>
            <a:endCxn id="207" idx="3"/>
          </p:cNvCxnSpPr>
          <p:nvPr/>
        </p:nvCxnSpPr>
        <p:spPr>
          <a:xfrm flipH="1" flipV="1">
            <a:off x="3142257" y="5871448"/>
            <a:ext cx="4175625" cy="616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직선 화살표 연결선 215"/>
          <p:cNvCxnSpPr>
            <a:stCxn id="207" idx="0"/>
            <a:endCxn id="196" idx="2"/>
          </p:cNvCxnSpPr>
          <p:nvPr/>
        </p:nvCxnSpPr>
        <p:spPr>
          <a:xfrm flipH="1" flipV="1">
            <a:off x="2536316" y="5237545"/>
            <a:ext cx="3541" cy="41354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Text Box 119"/>
          <p:cNvSpPr txBox="1">
            <a:spLocks noChangeArrowheads="1"/>
          </p:cNvSpPr>
          <p:nvPr/>
        </p:nvSpPr>
        <p:spPr bwMode="auto">
          <a:xfrm>
            <a:off x="2613570" y="5506133"/>
            <a:ext cx="201978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9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반려</a:t>
            </a:r>
            <a:endParaRPr lang="ko-KR" altLang="en-US" sz="9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18" name="Text Box 119"/>
          <p:cNvSpPr txBox="1">
            <a:spLocks noChangeArrowheads="1"/>
          </p:cNvSpPr>
          <p:nvPr/>
        </p:nvSpPr>
        <p:spPr bwMode="auto">
          <a:xfrm>
            <a:off x="2603171" y="6110618"/>
            <a:ext cx="201978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승인</a:t>
            </a:r>
          </a:p>
        </p:txBody>
      </p:sp>
      <p:cxnSp>
        <p:nvCxnSpPr>
          <p:cNvPr id="228" name="꺾인 연결선 227"/>
          <p:cNvCxnSpPr>
            <a:stCxn id="207" idx="2"/>
            <a:endCxn id="230" idx="1"/>
          </p:cNvCxnSpPr>
          <p:nvPr/>
        </p:nvCxnSpPr>
        <p:spPr>
          <a:xfrm rot="16200000" flipH="1">
            <a:off x="2815299" y="5816360"/>
            <a:ext cx="197848" cy="748732"/>
          </a:xfrm>
          <a:prstGeom prst="bentConnector2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ext Box 119"/>
          <p:cNvSpPr txBox="1">
            <a:spLocks noChangeArrowheads="1"/>
          </p:cNvSpPr>
          <p:nvPr/>
        </p:nvSpPr>
        <p:spPr bwMode="auto">
          <a:xfrm>
            <a:off x="3288589" y="6212706"/>
            <a:ext cx="60914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en-US" altLang="ko-KR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oFIU </a:t>
            </a:r>
            <a:r>
              <a:rPr lang="ko-KR" altLang="en-US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90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8849" y="227941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09128" y="443480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10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8" y="2089423"/>
            <a:ext cx="9405825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5.2.3 </a:t>
            </a:r>
            <a:r>
              <a:rPr lang="ko-KR" altLang="en-US" dirty="0" smtClean="0"/>
              <a:t>통계 및 보고서 기능 강화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S-IS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현황 및 사용자 요구사항 분석을 통해 강화된 통계 자료 및 보고서를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통계 및 보고서 기능 강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82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1229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업무</a:t>
            </a:r>
          </a:p>
        </p:txBody>
      </p:sp>
      <p:cxnSp>
        <p:nvCxnSpPr>
          <p:cNvPr id="212" name="직선 연결선 211"/>
          <p:cNvCxnSpPr/>
          <p:nvPr/>
        </p:nvCxnSpPr>
        <p:spPr>
          <a:xfrm>
            <a:off x="290575" y="6745078"/>
            <a:ext cx="93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402" name="Rectangle 153"/>
          <p:cNvSpPr>
            <a:spLocks noChangeArrowheads="1"/>
          </p:cNvSpPr>
          <p:nvPr/>
        </p:nvSpPr>
        <p:spPr bwMode="auto">
          <a:xfrm>
            <a:off x="1894637" y="2366388"/>
            <a:ext cx="4285706" cy="522306"/>
          </a:xfrm>
          <a:prstGeom prst="rect">
            <a:avLst/>
          </a:prstGeom>
          <a:gradFill rotWithShape="1">
            <a:gsLst>
              <a:gs pos="0">
                <a:srgbClr val="F0F0F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7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9" name="AutoShape 151"/>
          <p:cNvSpPr>
            <a:spLocks noChangeArrowheads="1"/>
          </p:cNvSpPr>
          <p:nvPr/>
        </p:nvSpPr>
        <p:spPr bwMode="gray">
          <a:xfrm>
            <a:off x="3811185" y="2126742"/>
            <a:ext cx="3111903" cy="316456"/>
          </a:xfrm>
          <a:prstGeom prst="roundRect">
            <a:avLst>
              <a:gd name="adj" fmla="val 13593"/>
            </a:avLst>
          </a:prstGeom>
          <a:gradFill rotWithShape="0">
            <a:gsLst>
              <a:gs pos="0">
                <a:srgbClr val="59B5ED"/>
              </a:gs>
              <a:gs pos="100000">
                <a:srgbClr val="1898E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100" b="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10" name="Rectangle 152"/>
          <p:cNvSpPr>
            <a:spLocks noChangeArrowheads="1"/>
          </p:cNvSpPr>
          <p:nvPr/>
        </p:nvSpPr>
        <p:spPr bwMode="gray">
          <a:xfrm>
            <a:off x="5202287" y="2163611"/>
            <a:ext cx="328254" cy="16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en-US" altLang="en-US" sz="1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 계</a:t>
            </a:r>
          </a:p>
        </p:txBody>
      </p:sp>
      <p:sp>
        <p:nvSpPr>
          <p:cNvPr id="411" name="Rectangle 153"/>
          <p:cNvSpPr>
            <a:spLocks noChangeArrowheads="1"/>
          </p:cNvSpPr>
          <p:nvPr/>
        </p:nvSpPr>
        <p:spPr bwMode="gray">
          <a:xfrm>
            <a:off x="3811185" y="2366388"/>
            <a:ext cx="3111903" cy="4050944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91EA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b="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4" name="AutoShape 119"/>
          <p:cNvSpPr>
            <a:spLocks noChangeArrowheads="1"/>
          </p:cNvSpPr>
          <p:nvPr/>
        </p:nvSpPr>
        <p:spPr bwMode="auto">
          <a:xfrm>
            <a:off x="3346969" y="3661400"/>
            <a:ext cx="625033" cy="1219738"/>
          </a:xfrm>
          <a:prstGeom prst="rightArrow">
            <a:avLst>
              <a:gd name="adj1" fmla="val 68769"/>
              <a:gd name="adj2" fmla="val 64190"/>
            </a:avLst>
          </a:prstGeom>
          <a:gradFill rotWithShape="1">
            <a:gsLst>
              <a:gs pos="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 dirty="0"/>
          </a:p>
        </p:txBody>
      </p:sp>
      <p:sp>
        <p:nvSpPr>
          <p:cNvPr id="406" name="AutoShape 151"/>
          <p:cNvSpPr>
            <a:spLocks noChangeArrowheads="1"/>
          </p:cNvSpPr>
          <p:nvPr/>
        </p:nvSpPr>
        <p:spPr bwMode="gray">
          <a:xfrm>
            <a:off x="344488" y="2126742"/>
            <a:ext cx="3111903" cy="316456"/>
          </a:xfrm>
          <a:prstGeom prst="roundRect">
            <a:avLst>
              <a:gd name="adj" fmla="val 13593"/>
            </a:avLst>
          </a:prstGeom>
          <a:gradFill rotWithShape="1">
            <a:gsLst>
              <a:gs pos="0">
                <a:srgbClr val="B7E4FF"/>
              </a:gs>
              <a:gs pos="100000">
                <a:srgbClr val="81C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kumimoji="0" lang="ko-KR" altLang="en-US" sz="1100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07" name="Rectangle 152"/>
          <p:cNvSpPr>
            <a:spLocks noChangeArrowheads="1"/>
          </p:cNvSpPr>
          <p:nvPr/>
        </p:nvSpPr>
        <p:spPr bwMode="gray">
          <a:xfrm>
            <a:off x="1737036" y="2163611"/>
            <a:ext cx="328254" cy="16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100" dirty="0">
                <a:solidFill>
                  <a:srgbClr val="4D4D4D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 석</a:t>
            </a:r>
          </a:p>
        </p:txBody>
      </p:sp>
      <p:sp>
        <p:nvSpPr>
          <p:cNvPr id="408" name="Rectangle 153"/>
          <p:cNvSpPr>
            <a:spLocks noChangeArrowheads="1"/>
          </p:cNvSpPr>
          <p:nvPr/>
        </p:nvSpPr>
        <p:spPr bwMode="gray">
          <a:xfrm>
            <a:off x="344488" y="2366388"/>
            <a:ext cx="3111903" cy="4050944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C0C0C0"/>
            </a:solidFill>
            <a:miter lim="800000"/>
            <a:headEnd/>
            <a:tailEnd/>
          </a:ln>
        </p:spPr>
        <p:txBody>
          <a:bodyPr lIns="34765" tIns="69530" rIns="34765" bIns="34765" anchor="ctr"/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7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96" name="Group 152"/>
          <p:cNvGrpSpPr>
            <a:grpSpLocks/>
          </p:cNvGrpSpPr>
          <p:nvPr/>
        </p:nvGrpSpPr>
        <p:grpSpPr bwMode="auto">
          <a:xfrm>
            <a:off x="430213" y="2490820"/>
            <a:ext cx="2905125" cy="245791"/>
            <a:chOff x="181" y="1584"/>
            <a:chExt cx="1830" cy="179"/>
          </a:xfrm>
        </p:grpSpPr>
        <p:grpSp>
          <p:nvGrpSpPr>
            <p:cNvPr id="398" name="Group 148"/>
            <p:cNvGrpSpPr>
              <a:grpSpLocks/>
            </p:cNvGrpSpPr>
            <p:nvPr/>
          </p:nvGrpSpPr>
          <p:grpSpPr bwMode="auto">
            <a:xfrm>
              <a:off x="181" y="1584"/>
              <a:ext cx="1830" cy="179"/>
              <a:chOff x="459" y="1177"/>
              <a:chExt cx="1460" cy="153"/>
            </a:xfrm>
          </p:grpSpPr>
          <p:sp>
            <p:nvSpPr>
              <p:cNvPr id="400" name="AutoShape 149"/>
              <p:cNvSpPr>
                <a:spLocks noChangeArrowheads="1"/>
              </p:cNvSpPr>
              <p:nvPr/>
            </p:nvSpPr>
            <p:spPr bwMode="gray">
              <a:xfrm>
                <a:off x="459" y="1177"/>
                <a:ext cx="1460" cy="144"/>
              </a:xfrm>
              <a:prstGeom prst="roundRect">
                <a:avLst>
                  <a:gd name="adj" fmla="val 20546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endParaRPr lang="ko-KR" altLang="en-US" b="0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401" name="AutoShape 150"/>
              <p:cNvSpPr>
                <a:spLocks noChangeArrowheads="1"/>
              </p:cNvSpPr>
              <p:nvPr/>
            </p:nvSpPr>
            <p:spPr bwMode="gray">
              <a:xfrm>
                <a:off x="459" y="1255"/>
                <a:ext cx="1460" cy="75"/>
              </a:xfrm>
              <a:prstGeom prst="roundRect">
                <a:avLst>
                  <a:gd name="adj" fmla="val 0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900" b="0" dirty="0">
                  <a:solidFill>
                    <a:srgbClr val="4D4D4D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99" name="Rectangle 151"/>
            <p:cNvSpPr>
              <a:spLocks noChangeArrowheads="1"/>
            </p:cNvSpPr>
            <p:nvPr/>
          </p:nvSpPr>
          <p:spPr bwMode="auto">
            <a:xfrm>
              <a:off x="821" y="1618"/>
              <a:ext cx="549" cy="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57150" indent="-571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buSzPct val="80000"/>
                <a:buFont typeface="Wingdings" panose="05000000000000000000" pitchFamily="2" charset="2"/>
                <a:buNone/>
              </a:pPr>
              <a:r>
                <a:rPr lang="en-US" altLang="ko-KR" sz="1000" b="0" dirty="0"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AS-IS</a:t>
              </a:r>
              <a:r>
                <a:rPr lang="ko-KR" altLang="en-US" sz="1000" b="0" dirty="0"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 현황 분석</a:t>
              </a:r>
              <a:endParaRPr lang="en-US" altLang="en-US" sz="1000" b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</p:grpSp>
      <p:sp>
        <p:nvSpPr>
          <p:cNvPr id="397" name="Text Box 198"/>
          <p:cNvSpPr txBox="1">
            <a:spLocks noChangeArrowheads="1"/>
          </p:cNvSpPr>
          <p:nvPr/>
        </p:nvSpPr>
        <p:spPr bwMode="auto">
          <a:xfrm flipH="1">
            <a:off x="533401" y="2813421"/>
            <a:ext cx="216084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8900" indent="-889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S-IS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별 활용 빈도 분석</a:t>
            </a:r>
            <a:endParaRPr lang="en-US" altLang="ko-KR" sz="1000" b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hangingPunct="1"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S-IS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제공 형태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방법 분석</a:t>
            </a:r>
            <a:endParaRPr lang="en-US" altLang="ko-KR" sz="1000" b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hangingPunct="1"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S-IS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현업 담당 주체 파악</a:t>
            </a:r>
            <a:endParaRPr lang="en-US" altLang="ko-KR" sz="1000" b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390" name="Group 156"/>
          <p:cNvGrpSpPr>
            <a:grpSpLocks/>
          </p:cNvGrpSpPr>
          <p:nvPr/>
        </p:nvGrpSpPr>
        <p:grpSpPr bwMode="auto">
          <a:xfrm>
            <a:off x="430213" y="3667544"/>
            <a:ext cx="2905125" cy="245791"/>
            <a:chOff x="181" y="1584"/>
            <a:chExt cx="1830" cy="179"/>
          </a:xfrm>
        </p:grpSpPr>
        <p:grpSp>
          <p:nvGrpSpPr>
            <p:cNvPr id="392" name="Group 157"/>
            <p:cNvGrpSpPr>
              <a:grpSpLocks/>
            </p:cNvGrpSpPr>
            <p:nvPr/>
          </p:nvGrpSpPr>
          <p:grpSpPr bwMode="auto">
            <a:xfrm>
              <a:off x="181" y="1584"/>
              <a:ext cx="1830" cy="179"/>
              <a:chOff x="459" y="1177"/>
              <a:chExt cx="1460" cy="153"/>
            </a:xfrm>
          </p:grpSpPr>
          <p:sp>
            <p:nvSpPr>
              <p:cNvPr id="394" name="AutoShape 158"/>
              <p:cNvSpPr>
                <a:spLocks noChangeArrowheads="1"/>
              </p:cNvSpPr>
              <p:nvPr/>
            </p:nvSpPr>
            <p:spPr bwMode="gray">
              <a:xfrm>
                <a:off x="459" y="1177"/>
                <a:ext cx="1460" cy="144"/>
              </a:xfrm>
              <a:prstGeom prst="roundRect">
                <a:avLst>
                  <a:gd name="adj" fmla="val 20546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endParaRPr lang="ko-KR" altLang="en-US" b="0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95" name="AutoShape 159"/>
              <p:cNvSpPr>
                <a:spLocks noChangeArrowheads="1"/>
              </p:cNvSpPr>
              <p:nvPr/>
            </p:nvSpPr>
            <p:spPr bwMode="gray">
              <a:xfrm>
                <a:off x="459" y="1255"/>
                <a:ext cx="1460" cy="75"/>
              </a:xfrm>
              <a:prstGeom prst="roundRect">
                <a:avLst>
                  <a:gd name="adj" fmla="val 0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900" b="0" dirty="0">
                  <a:solidFill>
                    <a:srgbClr val="4D4D4D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93" name="Rectangle 160"/>
            <p:cNvSpPr>
              <a:spLocks noChangeArrowheads="1"/>
            </p:cNvSpPr>
            <p:nvPr/>
          </p:nvSpPr>
          <p:spPr bwMode="auto">
            <a:xfrm>
              <a:off x="755" y="1618"/>
              <a:ext cx="683" cy="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57150" indent="-571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buSzPct val="80000"/>
                <a:buFont typeface="Wingdings" panose="05000000000000000000" pitchFamily="2" charset="2"/>
                <a:buNone/>
              </a:pPr>
              <a:r>
                <a:rPr lang="en-US" altLang="en-US" sz="1000" b="0" dirty="0"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사용자 요구사항 분석</a:t>
              </a:r>
            </a:p>
          </p:txBody>
        </p:sp>
      </p:grpSp>
      <p:sp>
        <p:nvSpPr>
          <p:cNvPr id="391" name="Text Box 198"/>
          <p:cNvSpPr txBox="1">
            <a:spLocks noChangeArrowheads="1"/>
          </p:cNvSpPr>
          <p:nvPr/>
        </p:nvSpPr>
        <p:spPr bwMode="auto">
          <a:xfrm flipH="1">
            <a:off x="533401" y="3990145"/>
            <a:ext cx="1920398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8900" indent="-889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용자 그룹별 인터뷰 실시</a:t>
            </a:r>
            <a:b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폐합 가능여부 파악</a:t>
            </a:r>
            <a:b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선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가 요구사항 수렴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청사항 수용가능여부 및 방법 정리</a:t>
            </a:r>
          </a:p>
        </p:txBody>
      </p:sp>
      <p:grpSp>
        <p:nvGrpSpPr>
          <p:cNvPr id="384" name="Group 190"/>
          <p:cNvGrpSpPr>
            <a:grpSpLocks/>
          </p:cNvGrpSpPr>
          <p:nvPr/>
        </p:nvGrpSpPr>
        <p:grpSpPr bwMode="auto">
          <a:xfrm>
            <a:off x="4022726" y="2490820"/>
            <a:ext cx="2768600" cy="245791"/>
            <a:chOff x="2366" y="1554"/>
            <a:chExt cx="1830" cy="160"/>
          </a:xfrm>
        </p:grpSpPr>
        <p:grpSp>
          <p:nvGrpSpPr>
            <p:cNvPr id="386" name="Group 171"/>
            <p:cNvGrpSpPr>
              <a:grpSpLocks/>
            </p:cNvGrpSpPr>
            <p:nvPr/>
          </p:nvGrpSpPr>
          <p:grpSpPr bwMode="auto">
            <a:xfrm>
              <a:off x="2366" y="1554"/>
              <a:ext cx="1830" cy="160"/>
              <a:chOff x="459" y="1177"/>
              <a:chExt cx="1460" cy="153"/>
            </a:xfrm>
          </p:grpSpPr>
          <p:sp>
            <p:nvSpPr>
              <p:cNvPr id="388" name="AutoShape 172"/>
              <p:cNvSpPr>
                <a:spLocks noChangeArrowheads="1"/>
              </p:cNvSpPr>
              <p:nvPr/>
            </p:nvSpPr>
            <p:spPr bwMode="auto">
              <a:xfrm>
                <a:off x="459" y="1177"/>
                <a:ext cx="1460" cy="144"/>
              </a:xfrm>
              <a:prstGeom prst="roundRect">
                <a:avLst>
                  <a:gd name="adj" fmla="val 20546"/>
                </a:avLst>
              </a:pr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endParaRPr lang="ko-KR" altLang="en-US" b="0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89" name="AutoShape 173"/>
              <p:cNvSpPr>
                <a:spLocks noChangeArrowheads="1"/>
              </p:cNvSpPr>
              <p:nvPr/>
            </p:nvSpPr>
            <p:spPr bwMode="auto">
              <a:xfrm>
                <a:off x="459" y="1255"/>
                <a:ext cx="1460" cy="75"/>
              </a:xfrm>
              <a:prstGeom prst="roundRect">
                <a:avLst>
                  <a:gd name="adj" fmla="val 0"/>
                </a:avLst>
              </a:pr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87" name="Rectangle 174"/>
            <p:cNvSpPr>
              <a:spLocks noChangeArrowheads="1"/>
            </p:cNvSpPr>
            <p:nvPr/>
          </p:nvSpPr>
          <p:spPr bwMode="auto">
            <a:xfrm>
              <a:off x="2833" y="1585"/>
              <a:ext cx="903" cy="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57150" indent="-571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buSzPct val="80000"/>
                <a:buFont typeface="Wingdings" panose="05000000000000000000" pitchFamily="2" charset="2"/>
                <a:buNone/>
              </a:pPr>
              <a:r>
                <a:rPr lang="ko-KR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</a:t>
              </a:r>
              <a:r>
                <a:rPr lang="en-US" altLang="ko-KR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/</a:t>
              </a:r>
              <a:r>
                <a:rPr lang="en-US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보고서 분류체계 확립</a:t>
              </a:r>
            </a:p>
          </p:txBody>
        </p:sp>
      </p:grpSp>
      <p:sp>
        <p:nvSpPr>
          <p:cNvPr id="385" name="Text Box 198"/>
          <p:cNvSpPr txBox="1">
            <a:spLocks noChangeArrowheads="1"/>
          </p:cNvSpPr>
          <p:nvPr/>
        </p:nvSpPr>
        <p:spPr bwMode="auto">
          <a:xfrm flipH="1">
            <a:off x="4121064" y="2813421"/>
            <a:ext cx="22955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8900" indent="-889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중복성 제거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별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서별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용도별 등 다양한 분류 기준</a:t>
            </a:r>
            <a:b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마련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확정 전 사용자 의견 수렴</a:t>
            </a:r>
          </a:p>
        </p:txBody>
      </p:sp>
      <p:grpSp>
        <p:nvGrpSpPr>
          <p:cNvPr id="378" name="Group 192"/>
          <p:cNvGrpSpPr>
            <a:grpSpLocks/>
          </p:cNvGrpSpPr>
          <p:nvPr/>
        </p:nvGrpSpPr>
        <p:grpSpPr bwMode="auto">
          <a:xfrm>
            <a:off x="4022726" y="3667546"/>
            <a:ext cx="2768600" cy="245791"/>
            <a:chOff x="2366" y="2344"/>
            <a:chExt cx="1830" cy="160"/>
          </a:xfrm>
        </p:grpSpPr>
        <p:grpSp>
          <p:nvGrpSpPr>
            <p:cNvPr id="380" name="Group 178"/>
            <p:cNvGrpSpPr>
              <a:grpSpLocks/>
            </p:cNvGrpSpPr>
            <p:nvPr/>
          </p:nvGrpSpPr>
          <p:grpSpPr bwMode="auto">
            <a:xfrm>
              <a:off x="2366" y="2344"/>
              <a:ext cx="1830" cy="160"/>
              <a:chOff x="459" y="1177"/>
              <a:chExt cx="1460" cy="153"/>
            </a:xfrm>
          </p:grpSpPr>
          <p:sp>
            <p:nvSpPr>
              <p:cNvPr id="382" name="AutoShape 179"/>
              <p:cNvSpPr>
                <a:spLocks noChangeArrowheads="1"/>
              </p:cNvSpPr>
              <p:nvPr/>
            </p:nvSpPr>
            <p:spPr bwMode="auto">
              <a:xfrm>
                <a:off x="459" y="1177"/>
                <a:ext cx="1460" cy="144"/>
              </a:xfrm>
              <a:prstGeom prst="roundRect">
                <a:avLst>
                  <a:gd name="adj" fmla="val 20546"/>
                </a:avLst>
              </a:pr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endParaRPr lang="ko-KR" altLang="en-US" b="0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83" name="AutoShape 180"/>
              <p:cNvSpPr>
                <a:spLocks noChangeArrowheads="1"/>
              </p:cNvSpPr>
              <p:nvPr/>
            </p:nvSpPr>
            <p:spPr bwMode="auto">
              <a:xfrm>
                <a:off x="459" y="1255"/>
                <a:ext cx="1460" cy="75"/>
              </a:xfrm>
              <a:prstGeom prst="roundRect">
                <a:avLst>
                  <a:gd name="adj" fmla="val 0"/>
                </a:avLst>
              </a:pr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81" name="Rectangle 181"/>
            <p:cNvSpPr>
              <a:spLocks noChangeArrowheads="1"/>
            </p:cNvSpPr>
            <p:nvPr/>
          </p:nvSpPr>
          <p:spPr bwMode="auto">
            <a:xfrm>
              <a:off x="2862" y="2375"/>
              <a:ext cx="829" cy="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57150" indent="-571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buSzPct val="80000"/>
                <a:buFont typeface="Wingdings" panose="05000000000000000000" pitchFamily="2" charset="2"/>
                <a:buNone/>
              </a:pPr>
              <a:r>
                <a:rPr lang="ko-KR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화면</a:t>
              </a:r>
              <a:r>
                <a:rPr lang="en-US" altLang="ko-KR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/</a:t>
              </a:r>
              <a:r>
                <a:rPr lang="en-US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보고서 통폐합 확정</a:t>
              </a:r>
            </a:p>
          </p:txBody>
        </p:sp>
      </p:grpSp>
      <p:sp>
        <p:nvSpPr>
          <p:cNvPr id="379" name="Text Box 198"/>
          <p:cNvSpPr txBox="1">
            <a:spLocks noChangeArrowheads="1"/>
          </p:cNvSpPr>
          <p:nvPr/>
        </p:nvSpPr>
        <p:spPr bwMode="auto">
          <a:xfrm flipH="1">
            <a:off x="4122577" y="3990147"/>
            <a:ext cx="2273883" cy="708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88900" indent="-889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통폐합 확정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- </a:t>
            </a: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폐합 보고서 요건 확정</a:t>
            </a:r>
            <a:endParaRPr lang="ko-KR" altLang="en-US" sz="1000" b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규 화면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요건 확정</a:t>
            </a:r>
            <a:endParaRPr lang="en-US" altLang="ko-KR" sz="1000" b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UI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툴 및 리포팅툴 의한 시각적 효과</a:t>
            </a:r>
          </a:p>
        </p:txBody>
      </p:sp>
      <p:grpSp>
        <p:nvGrpSpPr>
          <p:cNvPr id="372" name="Group 194"/>
          <p:cNvGrpSpPr>
            <a:grpSpLocks/>
          </p:cNvGrpSpPr>
          <p:nvPr/>
        </p:nvGrpSpPr>
        <p:grpSpPr bwMode="auto">
          <a:xfrm>
            <a:off x="4022726" y="4918009"/>
            <a:ext cx="2768600" cy="245791"/>
            <a:chOff x="2366" y="3201"/>
            <a:chExt cx="1830" cy="160"/>
          </a:xfrm>
        </p:grpSpPr>
        <p:grpSp>
          <p:nvGrpSpPr>
            <p:cNvPr id="374" name="Group 185"/>
            <p:cNvGrpSpPr>
              <a:grpSpLocks/>
            </p:cNvGrpSpPr>
            <p:nvPr/>
          </p:nvGrpSpPr>
          <p:grpSpPr bwMode="auto">
            <a:xfrm>
              <a:off x="2366" y="3201"/>
              <a:ext cx="1830" cy="160"/>
              <a:chOff x="459" y="1177"/>
              <a:chExt cx="1460" cy="153"/>
            </a:xfrm>
          </p:grpSpPr>
          <p:sp>
            <p:nvSpPr>
              <p:cNvPr id="376" name="AutoShape 186"/>
              <p:cNvSpPr>
                <a:spLocks noChangeArrowheads="1"/>
              </p:cNvSpPr>
              <p:nvPr/>
            </p:nvSpPr>
            <p:spPr bwMode="auto">
              <a:xfrm>
                <a:off x="459" y="1177"/>
                <a:ext cx="1460" cy="144"/>
              </a:xfrm>
              <a:prstGeom prst="roundRect">
                <a:avLst>
                  <a:gd name="adj" fmla="val 20546"/>
                </a:avLst>
              </a:pr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endParaRPr lang="ko-KR" altLang="en-US" b="0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77" name="AutoShape 187"/>
              <p:cNvSpPr>
                <a:spLocks noChangeArrowheads="1"/>
              </p:cNvSpPr>
              <p:nvPr/>
            </p:nvSpPr>
            <p:spPr bwMode="auto">
              <a:xfrm>
                <a:off x="459" y="1255"/>
                <a:ext cx="1460" cy="75"/>
              </a:xfrm>
              <a:prstGeom prst="roundRect">
                <a:avLst>
                  <a:gd name="adj" fmla="val 0"/>
                </a:avLst>
              </a:pr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75" name="Rectangle 188"/>
            <p:cNvSpPr>
              <a:spLocks noChangeArrowheads="1"/>
            </p:cNvSpPr>
            <p:nvPr/>
          </p:nvSpPr>
          <p:spPr bwMode="auto">
            <a:xfrm>
              <a:off x="3065" y="3232"/>
              <a:ext cx="430" cy="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57150" indent="-571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buSzPct val="80000"/>
                <a:buFont typeface="Wingdings" panose="05000000000000000000" pitchFamily="2" charset="2"/>
                <a:buNone/>
              </a:pPr>
              <a:r>
                <a:rPr lang="en-US" altLang="en-US" sz="1000" b="0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UI 개선 설계</a:t>
              </a:r>
            </a:p>
          </p:txBody>
        </p:sp>
      </p:grpSp>
      <p:sp>
        <p:nvSpPr>
          <p:cNvPr id="373" name="Text Box 198"/>
          <p:cNvSpPr txBox="1">
            <a:spLocks noChangeArrowheads="1"/>
          </p:cNvSpPr>
          <p:nvPr/>
        </p:nvSpPr>
        <p:spPr bwMode="auto">
          <a:xfrm flipH="1">
            <a:off x="4122577" y="5240610"/>
            <a:ext cx="192039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8900" indent="-889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약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황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세의 체계적 구조 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UI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툴 및 리포팅툴 의한 시각적 효과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용자별 권한에 따른 맞춤형 보고서</a:t>
            </a:r>
          </a:p>
        </p:txBody>
      </p:sp>
      <p:grpSp>
        <p:nvGrpSpPr>
          <p:cNvPr id="362" name="Group 198"/>
          <p:cNvGrpSpPr>
            <a:grpSpLocks/>
          </p:cNvGrpSpPr>
          <p:nvPr/>
        </p:nvGrpSpPr>
        <p:grpSpPr bwMode="auto">
          <a:xfrm rot="20161424">
            <a:off x="5897563" y="5859477"/>
            <a:ext cx="587455" cy="524059"/>
            <a:chOff x="921" y="2023"/>
            <a:chExt cx="680" cy="638"/>
          </a:xfrm>
        </p:grpSpPr>
        <p:sp>
          <p:nvSpPr>
            <p:cNvPr id="368" name="Oval 199"/>
            <p:cNvSpPr>
              <a:spLocks noChangeArrowheads="1"/>
            </p:cNvSpPr>
            <p:nvPr/>
          </p:nvSpPr>
          <p:spPr bwMode="auto">
            <a:xfrm rot="4894674">
              <a:off x="921" y="2023"/>
              <a:ext cx="97" cy="97"/>
            </a:xfrm>
            <a:prstGeom prst="ellipse">
              <a:avLst/>
            </a:prstGeom>
            <a:solidFill>
              <a:srgbClr val="DC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  <p:sp>
          <p:nvSpPr>
            <p:cNvPr id="369" name="Oval 200"/>
            <p:cNvSpPr>
              <a:spLocks noChangeArrowheads="1"/>
            </p:cNvSpPr>
            <p:nvPr/>
          </p:nvSpPr>
          <p:spPr bwMode="auto">
            <a:xfrm rot="4894674">
              <a:off x="1446" y="2422"/>
              <a:ext cx="56" cy="56"/>
            </a:xfrm>
            <a:prstGeom prst="ellipse">
              <a:avLst/>
            </a:prstGeom>
            <a:solidFill>
              <a:srgbClr val="88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  <p:sp>
          <p:nvSpPr>
            <p:cNvPr id="370" name="Oval 201"/>
            <p:cNvSpPr>
              <a:spLocks noChangeArrowheads="1"/>
            </p:cNvSpPr>
            <p:nvPr/>
          </p:nvSpPr>
          <p:spPr bwMode="auto">
            <a:xfrm rot="4894674">
              <a:off x="1545" y="2605"/>
              <a:ext cx="56" cy="56"/>
            </a:xfrm>
            <a:prstGeom prst="ellipse">
              <a:avLst/>
            </a:prstGeom>
            <a:solidFill>
              <a:srgbClr val="F2C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  <p:sp>
          <p:nvSpPr>
            <p:cNvPr id="371" name="Oval 202"/>
            <p:cNvSpPr>
              <a:spLocks noChangeArrowheads="1"/>
            </p:cNvSpPr>
            <p:nvPr/>
          </p:nvSpPr>
          <p:spPr bwMode="auto">
            <a:xfrm rot="4894674">
              <a:off x="1282" y="2427"/>
              <a:ext cx="115" cy="116"/>
            </a:xfrm>
            <a:prstGeom prst="ellipse">
              <a:avLst/>
            </a:prstGeom>
            <a:solidFill>
              <a:srgbClr val="DE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</p:grpSp>
      <p:grpSp>
        <p:nvGrpSpPr>
          <p:cNvPr id="363" name="Group 193"/>
          <p:cNvGrpSpPr>
            <a:grpSpLocks/>
          </p:cNvGrpSpPr>
          <p:nvPr/>
        </p:nvGrpSpPr>
        <p:grpSpPr bwMode="auto">
          <a:xfrm rot="11240163" flipH="1">
            <a:off x="6100683" y="5726045"/>
            <a:ext cx="587455" cy="524059"/>
            <a:chOff x="921" y="2023"/>
            <a:chExt cx="680" cy="638"/>
          </a:xfrm>
        </p:grpSpPr>
        <p:sp>
          <p:nvSpPr>
            <p:cNvPr id="364" name="Oval 194"/>
            <p:cNvSpPr>
              <a:spLocks noChangeArrowheads="1"/>
            </p:cNvSpPr>
            <p:nvPr/>
          </p:nvSpPr>
          <p:spPr bwMode="auto">
            <a:xfrm rot="4894674">
              <a:off x="921" y="2023"/>
              <a:ext cx="97" cy="97"/>
            </a:xfrm>
            <a:prstGeom prst="ellipse">
              <a:avLst/>
            </a:prstGeom>
            <a:solidFill>
              <a:srgbClr val="B0D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  <p:sp>
          <p:nvSpPr>
            <p:cNvPr id="365" name="Oval 195"/>
            <p:cNvSpPr>
              <a:spLocks noChangeArrowheads="1"/>
            </p:cNvSpPr>
            <p:nvPr/>
          </p:nvSpPr>
          <p:spPr bwMode="auto">
            <a:xfrm rot="4894674">
              <a:off x="1446" y="2422"/>
              <a:ext cx="56" cy="56"/>
            </a:xfrm>
            <a:prstGeom prst="ellipse">
              <a:avLst/>
            </a:prstGeom>
            <a:solidFill>
              <a:srgbClr val="88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  <p:sp>
          <p:nvSpPr>
            <p:cNvPr id="366" name="Oval 196"/>
            <p:cNvSpPr>
              <a:spLocks noChangeArrowheads="1"/>
            </p:cNvSpPr>
            <p:nvPr/>
          </p:nvSpPr>
          <p:spPr bwMode="auto">
            <a:xfrm rot="4894674">
              <a:off x="1545" y="2605"/>
              <a:ext cx="56" cy="56"/>
            </a:xfrm>
            <a:prstGeom prst="ellipse">
              <a:avLst/>
            </a:prstGeom>
            <a:solidFill>
              <a:srgbClr val="F2C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  <p:sp>
          <p:nvSpPr>
            <p:cNvPr id="367" name="Oval 197"/>
            <p:cNvSpPr>
              <a:spLocks noChangeArrowheads="1"/>
            </p:cNvSpPr>
            <p:nvPr/>
          </p:nvSpPr>
          <p:spPr bwMode="auto">
            <a:xfrm rot="4894674">
              <a:off x="1282" y="2427"/>
              <a:ext cx="115" cy="116"/>
            </a:xfrm>
            <a:prstGeom prst="ellipse">
              <a:avLst/>
            </a:prstGeom>
            <a:solidFill>
              <a:srgbClr val="DE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9569" tIns="49785" rIns="99569" bIns="49785" anchor="ctr"/>
            <a:lstStyle>
              <a:lvl1pPr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9536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endParaRPr lang="ko-KR" altLang="en-US" sz="1000" b="0" dirty="0">
                <a:latin typeface="산돌고딕 L" pitchFamily="18" charset="-127"/>
                <a:ea typeface="산돌고딕 L" pitchFamily="18" charset="-127"/>
              </a:endParaRPr>
            </a:p>
          </p:txBody>
        </p:sp>
      </p:grpSp>
      <p:pic>
        <p:nvPicPr>
          <p:cNvPr id="354" name="Picture 207" descr="관리자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5038" y="5567817"/>
            <a:ext cx="1179513" cy="78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56" name="Group 163"/>
          <p:cNvGrpSpPr>
            <a:grpSpLocks/>
          </p:cNvGrpSpPr>
          <p:nvPr/>
        </p:nvGrpSpPr>
        <p:grpSpPr bwMode="auto">
          <a:xfrm>
            <a:off x="430213" y="4918006"/>
            <a:ext cx="2905125" cy="245791"/>
            <a:chOff x="181" y="1584"/>
            <a:chExt cx="1830" cy="179"/>
          </a:xfrm>
        </p:grpSpPr>
        <p:grpSp>
          <p:nvGrpSpPr>
            <p:cNvPr id="358" name="Group 164"/>
            <p:cNvGrpSpPr>
              <a:grpSpLocks/>
            </p:cNvGrpSpPr>
            <p:nvPr/>
          </p:nvGrpSpPr>
          <p:grpSpPr bwMode="auto">
            <a:xfrm>
              <a:off x="181" y="1584"/>
              <a:ext cx="1830" cy="179"/>
              <a:chOff x="459" y="1177"/>
              <a:chExt cx="1460" cy="153"/>
            </a:xfrm>
          </p:grpSpPr>
          <p:sp>
            <p:nvSpPr>
              <p:cNvPr id="360" name="AutoShape 165"/>
              <p:cNvSpPr>
                <a:spLocks noChangeArrowheads="1"/>
              </p:cNvSpPr>
              <p:nvPr/>
            </p:nvSpPr>
            <p:spPr bwMode="gray">
              <a:xfrm>
                <a:off x="459" y="1177"/>
                <a:ext cx="1460" cy="144"/>
              </a:xfrm>
              <a:prstGeom prst="roundRect">
                <a:avLst>
                  <a:gd name="adj" fmla="val 20546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endParaRPr lang="ko-KR" altLang="en-US" b="0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61" name="AutoShape 166"/>
              <p:cNvSpPr>
                <a:spLocks noChangeArrowheads="1"/>
              </p:cNvSpPr>
              <p:nvPr/>
            </p:nvSpPr>
            <p:spPr bwMode="gray">
              <a:xfrm>
                <a:off x="459" y="1255"/>
                <a:ext cx="1460" cy="75"/>
              </a:xfrm>
              <a:prstGeom prst="roundRect">
                <a:avLst>
                  <a:gd name="adj" fmla="val 0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 defTabSz="8826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defTabSz="88265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900" b="0" dirty="0">
                  <a:solidFill>
                    <a:srgbClr val="4D4D4D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59" name="Rectangle 167"/>
            <p:cNvSpPr>
              <a:spLocks noChangeArrowheads="1"/>
            </p:cNvSpPr>
            <p:nvPr/>
          </p:nvSpPr>
          <p:spPr bwMode="auto">
            <a:xfrm>
              <a:off x="872" y="1618"/>
              <a:ext cx="447" cy="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marL="57150" indent="-571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976313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976313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buSzPct val="80000"/>
                <a:buFont typeface="Wingdings" panose="05000000000000000000" pitchFamily="2" charset="2"/>
                <a:buNone/>
              </a:pPr>
              <a:r>
                <a:rPr lang="en-US" altLang="en-US" sz="1000" b="0" dirty="0"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요구사항 정의</a:t>
              </a:r>
            </a:p>
          </p:txBody>
        </p:sp>
      </p:grpSp>
      <p:sp>
        <p:nvSpPr>
          <p:cNvPr id="357" name="Text Box 198"/>
          <p:cNvSpPr txBox="1">
            <a:spLocks noChangeArrowheads="1"/>
          </p:cNvSpPr>
          <p:nvPr/>
        </p:nvSpPr>
        <p:spPr bwMode="auto">
          <a:xfrm flipH="1">
            <a:off x="533401" y="5240607"/>
            <a:ext cx="147155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8900" indent="-889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509713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구사항정의서 작성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터뷰 대상자 확인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구사항 범위 및 방법 정의</a:t>
            </a:r>
          </a:p>
        </p:txBody>
      </p:sp>
      <p:grpSp>
        <p:nvGrpSpPr>
          <p:cNvPr id="412" name="그룹 411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413" name="직사각형 412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414" name="그룹 413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415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416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417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61024"/>
            <a:ext cx="120994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서별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활용조사 템플릿</a:t>
            </a:r>
          </a:p>
        </p:txBody>
      </p:sp>
      <p:sp>
        <p:nvSpPr>
          <p:cNvPr id="41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852812"/>
            <a:ext cx="155331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인터뷰결과 요건관리표 템플릿</a:t>
            </a:r>
          </a:p>
        </p:txBody>
      </p:sp>
      <p:pic>
        <p:nvPicPr>
          <p:cNvPr id="421" name="그림 42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2561024"/>
            <a:ext cx="318769" cy="318769"/>
          </a:xfrm>
          <a:prstGeom prst="rect">
            <a:avLst/>
          </a:prstGeom>
        </p:spPr>
      </p:pic>
      <p:pic>
        <p:nvPicPr>
          <p:cNvPr id="422" name="그림 42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487" y="3847233"/>
            <a:ext cx="318769" cy="318769"/>
          </a:xfrm>
          <a:prstGeom prst="rect">
            <a:avLst/>
          </a:prstGeom>
        </p:spPr>
      </p:pic>
      <p:sp>
        <p:nvSpPr>
          <p:cNvPr id="42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126117"/>
            <a:ext cx="117724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구사항정의서 템플릿</a:t>
            </a:r>
          </a:p>
        </p:txBody>
      </p:sp>
      <p:pic>
        <p:nvPicPr>
          <p:cNvPr id="427" name="그림 426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3143" y="5120538"/>
            <a:ext cx="320400" cy="320400"/>
          </a:xfrm>
          <a:prstGeom prst="rect">
            <a:avLst/>
          </a:prstGeom>
        </p:spPr>
      </p:pic>
      <p:pic>
        <p:nvPicPr>
          <p:cNvPr id="428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900" y="2870200"/>
            <a:ext cx="2295525" cy="84772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9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850" y="4156976"/>
            <a:ext cx="2314575" cy="82867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2325" y="5435109"/>
            <a:ext cx="2324100" cy="93186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1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82537" y="2774224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2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82538" y="4062934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3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82676" y="544456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1997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52521" y="2078088"/>
            <a:ext cx="9405825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9" name="직사각형 258"/>
          <p:cNvSpPr/>
          <p:nvPr/>
        </p:nvSpPr>
        <p:spPr>
          <a:xfrm>
            <a:off x="2596454" y="4297914"/>
            <a:ext cx="196306" cy="1391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8" name="직사각형 107"/>
          <p:cNvSpPr/>
          <p:nvPr/>
        </p:nvSpPr>
        <p:spPr>
          <a:xfrm>
            <a:off x="5450053" y="2821596"/>
            <a:ext cx="295035" cy="1393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5.2.4 </a:t>
            </a:r>
            <a:r>
              <a:rPr lang="ko-KR" altLang="en-US" dirty="0" smtClean="0"/>
              <a:t>자금세탁방지 운영 현황 보고서 관리 기능</a:t>
            </a:r>
            <a:endParaRPr lang="en-US" altLang="ko-KR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6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보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보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교육실적 현황 등 통계 자료를 현업부서담당자가 직접 시스템 기능을 통해 조회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필요시 신규 항목 요청 등  관리 하는 기능을 제공하여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ELF-BI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경을 제공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금세탁방지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운영 현황 보고서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82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1229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 시스템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5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타업무</a:t>
            </a:r>
          </a:p>
        </p:txBody>
      </p:sp>
      <p:grpSp>
        <p:nvGrpSpPr>
          <p:cNvPr id="15" name="그룹 14"/>
          <p:cNvGrpSpPr/>
          <p:nvPr/>
        </p:nvGrpSpPr>
        <p:grpSpPr>
          <a:xfrm>
            <a:off x="560538" y="4594913"/>
            <a:ext cx="756084" cy="1044116"/>
            <a:chOff x="552565" y="4748889"/>
            <a:chExt cx="756084" cy="1044116"/>
          </a:xfrm>
        </p:grpSpPr>
        <p:grpSp>
          <p:nvGrpSpPr>
            <p:cNvPr id="62" name="그룹 61">
              <a:extLst>
                <a:ext uri="{FF2B5EF4-FFF2-40B4-BE49-F238E27FC236}">
                  <a16:creationId xmlns:a16="http://schemas.microsoft.com/office/drawing/2014/main" id="{CB6D1AAC-0E36-4A91-A71A-28F43604C031}"/>
                </a:ext>
              </a:extLst>
            </p:cNvPr>
            <p:cNvGrpSpPr/>
            <p:nvPr/>
          </p:nvGrpSpPr>
          <p:grpSpPr>
            <a:xfrm>
              <a:off x="552565" y="4748889"/>
              <a:ext cx="756084" cy="1044116"/>
              <a:chOff x="5705884" y="3023691"/>
              <a:chExt cx="1080120" cy="1332148"/>
            </a:xfrm>
          </p:grpSpPr>
          <p:sp>
            <p:nvSpPr>
              <p:cNvPr id="66" name="Rn24">
                <a:extLst>
                  <a:ext uri="{FF2B5EF4-FFF2-40B4-BE49-F238E27FC236}">
                    <a16:creationId xmlns:a16="http://schemas.microsoft.com/office/drawing/2014/main" id="{663C6637-C229-4205-B66B-F8342909DD3E}"/>
                  </a:ext>
                </a:extLst>
              </p:cNvPr>
              <p:cNvSpPr/>
              <p:nvPr/>
            </p:nvSpPr>
            <p:spPr>
              <a:xfrm>
                <a:off x="5705884" y="3023691"/>
                <a:ext cx="1080120" cy="1332148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191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endParaRPr kumimoji="0" lang="en-US" altLang="ko-KR" sz="900" b="0" i="0" u="none" strike="noStrike" kern="1200" cap="none" spc="-100" normalizeH="0" baseline="0" noProof="0" dirty="0">
                  <a:ln w="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  <a:cs typeface="+mn-cs"/>
                </a:endParaRPr>
              </a:p>
            </p:txBody>
          </p:sp>
          <p:sp>
            <p:nvSpPr>
              <p:cNvPr id="67" name="Rn24">
                <a:extLst>
                  <a:ext uri="{FF2B5EF4-FFF2-40B4-BE49-F238E27FC236}">
                    <a16:creationId xmlns:a16="http://schemas.microsoft.com/office/drawing/2014/main" id="{E4C40EE0-F2F3-4EEF-A4CB-3577AB27C32B}"/>
                  </a:ext>
                </a:extLst>
              </p:cNvPr>
              <p:cNvSpPr/>
              <p:nvPr/>
            </p:nvSpPr>
            <p:spPr>
              <a:xfrm>
                <a:off x="5705884" y="3023691"/>
                <a:ext cx="1080120" cy="27902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ko-KR" altLang="en-US" sz="950" spc="-100" dirty="0" smtClean="0">
                    <a:ln w="9525">
                      <a:solidFill>
                        <a:srgbClr val="4472C4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현업부서담당자</a:t>
                </a:r>
                <a:endParaRPr kumimoji="0" lang="en-US" altLang="ko-KR" sz="950" b="0" i="0" u="none" strike="noStrike" kern="1200" cap="none" spc="-100" normalizeH="0" baseline="0" noProof="0" dirty="0">
                  <a:ln w="9525">
                    <a:solidFill>
                      <a:srgbClr val="4472C4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grpSp>
          <p:nvGrpSpPr>
            <p:cNvPr id="63" name="그룹 62">
              <a:extLst>
                <a:ext uri="{FF2B5EF4-FFF2-40B4-BE49-F238E27FC236}">
                  <a16:creationId xmlns:a16="http://schemas.microsoft.com/office/drawing/2014/main" id="{62618B3D-F336-451F-896F-CFF2ECB2EC7D}"/>
                </a:ext>
              </a:extLst>
            </p:cNvPr>
            <p:cNvGrpSpPr/>
            <p:nvPr/>
          </p:nvGrpSpPr>
          <p:grpSpPr>
            <a:xfrm>
              <a:off x="629212" y="5151335"/>
              <a:ext cx="602815" cy="372681"/>
              <a:chOff x="9525937" y="3551110"/>
              <a:chExt cx="776578" cy="480108"/>
            </a:xfrm>
          </p:grpSpPr>
          <p:pic>
            <p:nvPicPr>
              <p:cNvPr id="64" name="그림 63">
                <a:extLst>
                  <a:ext uri="{FF2B5EF4-FFF2-40B4-BE49-F238E27FC236}">
                    <a16:creationId xmlns:a16="http://schemas.microsoft.com/office/drawing/2014/main" id="{E102D204-D567-4DA8-B599-29C520E39C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525937" y="3551110"/>
                <a:ext cx="460794" cy="480108"/>
              </a:xfrm>
              <a:prstGeom prst="rect">
                <a:avLst/>
              </a:prstGeom>
            </p:spPr>
          </p:pic>
          <p:pic>
            <p:nvPicPr>
              <p:cNvPr id="65" name="그림 64">
                <a:extLst>
                  <a:ext uri="{FF2B5EF4-FFF2-40B4-BE49-F238E27FC236}">
                    <a16:creationId xmlns:a16="http://schemas.microsoft.com/office/drawing/2014/main" id="{2176B1C9-C444-4535-BCD3-CDC1281D65B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10859"/>
              <a:stretch/>
            </p:blipFill>
            <p:spPr>
              <a:xfrm>
                <a:off x="9863208" y="3749801"/>
                <a:ext cx="439307" cy="281417"/>
              </a:xfrm>
              <a:prstGeom prst="rect">
                <a:avLst/>
              </a:prstGeom>
            </p:spPr>
          </p:pic>
        </p:grpSp>
      </p:grpSp>
      <p:grpSp>
        <p:nvGrpSpPr>
          <p:cNvPr id="270" name="그룹 269"/>
          <p:cNvGrpSpPr/>
          <p:nvPr/>
        </p:nvGrpSpPr>
        <p:grpSpPr>
          <a:xfrm>
            <a:off x="596516" y="2600908"/>
            <a:ext cx="1387713" cy="1029755"/>
            <a:chOff x="1016870" y="2667950"/>
            <a:chExt cx="1387713" cy="1029755"/>
          </a:xfrm>
        </p:grpSpPr>
        <p:pic>
          <p:nvPicPr>
            <p:cNvPr id="76" name="그림 7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377" y="2822083"/>
              <a:ext cx="1387206" cy="875622"/>
            </a:xfrm>
            <a:prstGeom prst="rect">
              <a:avLst/>
            </a:prstGeom>
          </p:spPr>
        </p:pic>
        <p:sp>
          <p:nvSpPr>
            <p:cNvPr id="77" name="Text Box 358" descr="도식1"/>
            <p:cNvSpPr>
              <a:spLocks noChangeArrowheads="1"/>
            </p:cNvSpPr>
            <p:nvPr/>
          </p:nvSpPr>
          <p:spPr bwMode="auto">
            <a:xfrm>
              <a:off x="1016870" y="2667950"/>
              <a:ext cx="1002319" cy="154033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바른고딕" pitchFamily="50" charset="-127"/>
                <a:ea typeface="나눔바른고딕" pitchFamily="50" charset="-127"/>
              </a:endParaRPr>
            </a:p>
          </p:txBody>
        </p:sp>
        <p:sp>
          <p:nvSpPr>
            <p:cNvPr id="78" name="Rt40" descr="도식1"/>
            <p:cNvSpPr>
              <a:spLocks noChangeArrowheads="1"/>
            </p:cNvSpPr>
            <p:nvPr/>
          </p:nvSpPr>
          <p:spPr bwMode="auto">
            <a:xfrm>
              <a:off x="1167264" y="2683411"/>
              <a:ext cx="701530" cy="123111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squar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80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배치요청이력</a:t>
              </a:r>
            </a:p>
          </p:txBody>
        </p:sp>
      </p:grpSp>
      <p:cxnSp>
        <p:nvCxnSpPr>
          <p:cNvPr id="79" name="꺾인 연결선 78"/>
          <p:cNvCxnSpPr>
            <a:stCxn id="44" idx="0"/>
            <a:endCxn id="78" idx="0"/>
          </p:cNvCxnSpPr>
          <p:nvPr/>
        </p:nvCxnSpPr>
        <p:spPr>
          <a:xfrm rot="16200000" flipH="1" flipV="1">
            <a:off x="2110740" y="1475592"/>
            <a:ext cx="127712" cy="2153841"/>
          </a:xfrm>
          <a:prstGeom prst="bentConnector3">
            <a:avLst>
              <a:gd name="adj1" fmla="val -151668"/>
            </a:avLst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그룹 100"/>
          <p:cNvGrpSpPr/>
          <p:nvPr/>
        </p:nvGrpSpPr>
        <p:grpSpPr>
          <a:xfrm>
            <a:off x="5925108" y="3789040"/>
            <a:ext cx="1842883" cy="1799625"/>
            <a:chOff x="6465168" y="4987594"/>
            <a:chExt cx="776702" cy="776702"/>
          </a:xfrm>
        </p:grpSpPr>
        <p:sp>
          <p:nvSpPr>
            <p:cNvPr id="102" name="타원 101">
              <a:extLst>
                <a:ext uri="{FF2B5EF4-FFF2-40B4-BE49-F238E27FC236}">
                  <a16:creationId xmlns:a16="http://schemas.microsoft.com/office/drawing/2014/main" id="{A2E0AC56-5F14-4D6C-A5B0-5553DCD13068}"/>
                </a:ext>
              </a:extLst>
            </p:cNvPr>
            <p:cNvSpPr/>
            <p:nvPr/>
          </p:nvSpPr>
          <p:spPr>
            <a:xfrm>
              <a:off x="6465168" y="4987594"/>
              <a:ext cx="776702" cy="776702"/>
            </a:xfrm>
            <a:prstGeom prst="ellipse">
              <a:avLst/>
            </a:prstGeom>
            <a:solidFill>
              <a:schemeClr val="bg1"/>
            </a:soli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63500" dist="127000" dir="2700000" algn="tl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00" b="0" i="0" u="none" strike="noStrike" kern="1200" cap="none" spc="-100" normalizeH="0" baseline="0" noProof="0" dirty="0">
                <a:ln>
                  <a:noFill/>
                </a:ln>
                <a:gradFill flip="none" rotWithShape="1">
                  <a:gsLst>
                    <a:gs pos="0">
                      <a:prstClr val="black">
                        <a:lumMod val="75000"/>
                        <a:lumOff val="25000"/>
                      </a:prstClr>
                    </a:gs>
                    <a:gs pos="100000">
                      <a:prstClr val="black">
                        <a:lumMod val="75000"/>
                        <a:lumOff val="25000"/>
                      </a:prstClr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endParaRPr>
            </a:p>
          </p:txBody>
        </p: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3AEB5AC0-B166-47C0-B8F0-C3F9860D6CB4}"/>
                </a:ext>
              </a:extLst>
            </p:cNvPr>
            <p:cNvGrpSpPr/>
            <p:nvPr/>
          </p:nvGrpSpPr>
          <p:grpSpPr>
            <a:xfrm>
              <a:off x="6524064" y="5046490"/>
              <a:ext cx="658910" cy="658910"/>
              <a:chOff x="7642645" y="2665474"/>
              <a:chExt cx="658910" cy="658910"/>
            </a:xfrm>
          </p:grpSpPr>
          <p:sp>
            <p:nvSpPr>
              <p:cNvPr id="104" name="원호 103">
                <a:extLst>
                  <a:ext uri="{FF2B5EF4-FFF2-40B4-BE49-F238E27FC236}">
                    <a16:creationId xmlns:a16="http://schemas.microsoft.com/office/drawing/2014/main" id="{230B2E78-F33B-48BF-B4CA-E86DB7BECDA0}"/>
                  </a:ext>
                </a:extLst>
              </p:cNvPr>
              <p:cNvSpPr/>
              <p:nvPr/>
            </p:nvSpPr>
            <p:spPr>
              <a:xfrm rot="6746536">
                <a:off x="7642645" y="2665474"/>
                <a:ext cx="658910" cy="658910"/>
              </a:xfrm>
              <a:prstGeom prst="arc">
                <a:avLst>
                  <a:gd name="adj1" fmla="val 6934270"/>
                  <a:gd name="adj2" fmla="val 12116533"/>
                </a:avLst>
              </a:prstGeom>
              <a:noFill/>
              <a:ln w="38100" cap="sq" cmpd="sng">
                <a:solidFill>
                  <a:srgbClr val="D03038"/>
                </a:solidFill>
                <a:prstDash val="solid"/>
                <a:round/>
                <a:headEnd type="none" w="lg" len="med"/>
                <a:tailEnd type="triangle" w="lg" len="med"/>
              </a:ln>
              <a:effectLst/>
              <a:scene3d>
                <a:camera prst="orthographicFront"/>
                <a:lightRig rig="threePt" dir="t"/>
              </a:scene3d>
              <a:sp3d>
                <a:contourClr>
                  <a:schemeClr val="bg1"/>
                </a:contourClr>
              </a:sp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95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07" name="원호 106">
                <a:extLst>
                  <a:ext uri="{FF2B5EF4-FFF2-40B4-BE49-F238E27FC236}">
                    <a16:creationId xmlns:a16="http://schemas.microsoft.com/office/drawing/2014/main" id="{F3BBFA90-F4F4-44CD-A6F5-907BEA2CF59A}"/>
                  </a:ext>
                </a:extLst>
              </p:cNvPr>
              <p:cNvSpPr/>
              <p:nvPr/>
            </p:nvSpPr>
            <p:spPr>
              <a:xfrm rot="17437231">
                <a:off x="7642645" y="2665474"/>
                <a:ext cx="658910" cy="658910"/>
              </a:xfrm>
              <a:prstGeom prst="arc">
                <a:avLst>
                  <a:gd name="adj1" fmla="val 6934270"/>
                  <a:gd name="adj2" fmla="val 12116533"/>
                </a:avLst>
              </a:prstGeom>
              <a:noFill/>
              <a:ln w="38100" cap="sq" cmpd="sng">
                <a:solidFill>
                  <a:srgbClr val="D03038"/>
                </a:solidFill>
                <a:prstDash val="solid"/>
                <a:round/>
                <a:headEnd type="none" w="lg" len="med"/>
                <a:tailEnd type="triangle" w="lg" len="med"/>
              </a:ln>
              <a:effectLst/>
              <a:scene3d>
                <a:camera prst="orthographicFront"/>
                <a:lightRig rig="threePt" dir="t"/>
              </a:scene3d>
              <a:sp3d>
                <a:contourClr>
                  <a:schemeClr val="bg1"/>
                </a:contourClr>
              </a:sp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95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</p:grpSp>
      <p:grpSp>
        <p:nvGrpSpPr>
          <p:cNvPr id="80" name="그룹 79"/>
          <p:cNvGrpSpPr/>
          <p:nvPr/>
        </p:nvGrpSpPr>
        <p:grpSpPr>
          <a:xfrm>
            <a:off x="6682078" y="5410368"/>
            <a:ext cx="2461068" cy="965304"/>
            <a:chOff x="3864437" y="2246062"/>
            <a:chExt cx="2025641" cy="1296144"/>
          </a:xfrm>
        </p:grpSpPr>
        <p:pic>
          <p:nvPicPr>
            <p:cNvPr id="81" name="Picture 170" descr="디비박스-하늘"/>
            <p:cNvPicPr>
              <a:picLocks noChangeAspect="1" noChangeArrowheads="1"/>
            </p:cNvPicPr>
            <p:nvPr/>
          </p:nvPicPr>
          <p:blipFill>
            <a:blip r:embed="rId5">
              <a:lum bright="-6000" contrast="12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64437" y="2338378"/>
              <a:ext cx="2025641" cy="12038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3" name="Picture 178" descr="톱니-1"/>
            <p:cNvPicPr>
              <a:picLocks noChangeAspect="1" noChangeArrowheads="1"/>
            </p:cNvPicPr>
            <p:nvPr/>
          </p:nvPicPr>
          <p:blipFill>
            <a:blip r:embed="rId6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9935" y="2246062"/>
              <a:ext cx="406702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21" name="꺾인 연결선 120"/>
          <p:cNvCxnSpPr/>
          <p:nvPr/>
        </p:nvCxnSpPr>
        <p:spPr>
          <a:xfrm rot="16200000" flipH="1">
            <a:off x="6893571" y="1336033"/>
            <a:ext cx="108000" cy="2700000"/>
          </a:xfrm>
          <a:prstGeom prst="bentConnector3">
            <a:avLst>
              <a:gd name="adj1" fmla="val -197500"/>
            </a:avLst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1" name="Picture 178" descr="톱니-1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353" y="2530017"/>
            <a:ext cx="406702" cy="392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2" name="그룹 261"/>
          <p:cNvGrpSpPr/>
          <p:nvPr/>
        </p:nvGrpSpPr>
        <p:grpSpPr>
          <a:xfrm>
            <a:off x="1585612" y="4398562"/>
            <a:ext cx="1474407" cy="707886"/>
            <a:chOff x="1585612" y="4233853"/>
            <a:chExt cx="1474407" cy="707886"/>
          </a:xfrm>
        </p:grpSpPr>
        <p:sp>
          <p:nvSpPr>
            <p:cNvPr id="109" name="TextBox 108"/>
            <p:cNvSpPr txBox="1"/>
            <p:nvPr/>
          </p:nvSpPr>
          <p:spPr>
            <a:xfrm>
              <a:off x="1697430" y="4233853"/>
              <a:ext cx="136258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i="1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필요 보고용 </a:t>
              </a:r>
              <a:endPara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r>
                <a:rPr lang="ko-KR" altLang="en-US" sz="1000" i="1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항목 선택</a:t>
              </a:r>
              <a:r>
                <a:rPr lang="en-US" altLang="ko-KR" sz="1000" i="1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, </a:t>
              </a:r>
            </a:p>
            <a:p>
              <a:r>
                <a:rPr lang="ko-KR" altLang="en-US" sz="1000" i="1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기간 등 </a:t>
              </a:r>
              <a:endPara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r>
                <a:rPr lang="ko-KR" altLang="en-US" sz="1000" i="1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조건 입력</a:t>
              </a:r>
              <a:endPara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43" name="그림 142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85612" y="4277224"/>
              <a:ext cx="318769" cy="318769"/>
            </a:xfrm>
            <a:prstGeom prst="rect">
              <a:avLst/>
            </a:prstGeom>
          </p:spPr>
        </p:pic>
      </p:grpSp>
      <p:grpSp>
        <p:nvGrpSpPr>
          <p:cNvPr id="216" name="그룹 215"/>
          <p:cNvGrpSpPr/>
          <p:nvPr/>
        </p:nvGrpSpPr>
        <p:grpSpPr>
          <a:xfrm>
            <a:off x="5709084" y="2168860"/>
            <a:ext cx="2559912" cy="356348"/>
            <a:chOff x="5709084" y="2168860"/>
            <a:chExt cx="2559912" cy="356348"/>
          </a:xfrm>
        </p:grpSpPr>
        <p:sp>
          <p:nvSpPr>
            <p:cNvPr id="98" name="TextBox 97"/>
            <p:cNvSpPr txBox="1"/>
            <p:nvPr/>
          </p:nvSpPr>
          <p:spPr>
            <a:xfrm>
              <a:off x="5823235" y="2168860"/>
              <a:ext cx="24457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i="1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데이터 추출 배치 실행 요청</a:t>
              </a:r>
              <a:endParaRPr lang="ko-KR" altLang="en-US" sz="1000" i="1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144" name="그림 143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09084" y="2206439"/>
              <a:ext cx="318769" cy="318769"/>
            </a:xfrm>
            <a:prstGeom prst="rect">
              <a:avLst/>
            </a:prstGeom>
          </p:spPr>
        </p:pic>
      </p:grpSp>
      <p:pic>
        <p:nvPicPr>
          <p:cNvPr id="156" name="그림 155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37670" y="2584943"/>
            <a:ext cx="320400" cy="320400"/>
          </a:xfrm>
          <a:prstGeom prst="rect">
            <a:avLst/>
          </a:prstGeom>
        </p:spPr>
      </p:pic>
      <p:grpSp>
        <p:nvGrpSpPr>
          <p:cNvPr id="169" name="그룹 168"/>
          <p:cNvGrpSpPr/>
          <p:nvPr/>
        </p:nvGrpSpPr>
        <p:grpSpPr>
          <a:xfrm>
            <a:off x="7745914" y="2700252"/>
            <a:ext cx="1131522" cy="692744"/>
            <a:chOff x="3864437" y="2246062"/>
            <a:chExt cx="2025641" cy="1296144"/>
          </a:xfrm>
        </p:grpSpPr>
        <p:pic>
          <p:nvPicPr>
            <p:cNvPr id="170" name="Picture 170" descr="디비박스-하늘"/>
            <p:cNvPicPr>
              <a:picLocks noChangeAspect="1" noChangeArrowheads="1"/>
            </p:cNvPicPr>
            <p:nvPr/>
          </p:nvPicPr>
          <p:blipFill>
            <a:blip r:embed="rId5">
              <a:lum bright="-6000" contrast="12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64437" y="2338378"/>
              <a:ext cx="2025641" cy="12038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1" name="Picture 178" descr="톱니-1"/>
            <p:cNvPicPr>
              <a:picLocks noChangeAspect="1" noChangeArrowheads="1"/>
            </p:cNvPicPr>
            <p:nvPr/>
          </p:nvPicPr>
          <p:blipFill>
            <a:blip r:embed="rId6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9935" y="2246062"/>
              <a:ext cx="406702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9" name="직사각형 98"/>
          <p:cNvSpPr/>
          <p:nvPr/>
        </p:nvSpPr>
        <p:spPr bwMode="auto">
          <a:xfrm>
            <a:off x="7650352" y="2983278"/>
            <a:ext cx="1375951" cy="252000"/>
          </a:xfrm>
          <a:prstGeom prst="rect">
            <a:avLst/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 Unicode MS" panose="020B0604020202020204" pitchFamily="50" charset="-127"/>
              </a:rPr>
              <a:t>데이터 추출 배치 실행 </a:t>
            </a:r>
            <a:endParaRPr kumimoji="1"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cxnSp>
        <p:nvCxnSpPr>
          <p:cNvPr id="205" name="꺾인 연결선 204"/>
          <p:cNvCxnSpPr>
            <a:stCxn id="66" idx="3"/>
            <a:endCxn id="259" idx="1"/>
          </p:cNvCxnSpPr>
          <p:nvPr/>
        </p:nvCxnSpPr>
        <p:spPr>
          <a:xfrm flipV="1">
            <a:off x="1316622" y="4367513"/>
            <a:ext cx="1279832" cy="749458"/>
          </a:xfrm>
          <a:prstGeom prst="bentConnector3">
            <a:avLst>
              <a:gd name="adj1" fmla="val 15640"/>
            </a:avLst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그림 8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21252" y="4159003"/>
            <a:ext cx="2346026" cy="2054732"/>
          </a:xfrm>
          <a:prstGeom prst="rect">
            <a:avLst/>
          </a:prstGeom>
        </p:spPr>
      </p:pic>
      <p:sp>
        <p:nvSpPr>
          <p:cNvPr id="213" name="AutoShape 119"/>
          <p:cNvSpPr>
            <a:spLocks noChangeArrowheads="1"/>
          </p:cNvSpPr>
          <p:nvPr/>
        </p:nvSpPr>
        <p:spPr bwMode="auto">
          <a:xfrm>
            <a:off x="6789204" y="4293096"/>
            <a:ext cx="756970" cy="482708"/>
          </a:xfrm>
          <a:prstGeom prst="rightArrow">
            <a:avLst>
              <a:gd name="adj1" fmla="val 68769"/>
              <a:gd name="adj2" fmla="val 64190"/>
            </a:avLst>
          </a:prstGeom>
          <a:gradFill rotWithShape="1">
            <a:gsLst>
              <a:gs pos="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 dirty="0"/>
          </a:p>
        </p:txBody>
      </p:sp>
      <p:sp>
        <p:nvSpPr>
          <p:cNvPr id="214" name="TextBox 213"/>
          <p:cNvSpPr txBox="1"/>
          <p:nvPr/>
        </p:nvSpPr>
        <p:spPr>
          <a:xfrm>
            <a:off x="6280173" y="4347872"/>
            <a:ext cx="963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방지</a:t>
            </a:r>
            <a:endParaRPr lang="en-US" altLang="ko-KR" sz="1000" i="1" dirty="0" smtClean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용 항목 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Pool</a:t>
            </a:r>
            <a:endParaRPr lang="en-US" altLang="ko-KR" sz="1000" i="1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218" name="그룹 217"/>
          <p:cNvGrpSpPr/>
          <p:nvPr/>
        </p:nvGrpSpPr>
        <p:grpSpPr>
          <a:xfrm>
            <a:off x="6627171" y="3501008"/>
            <a:ext cx="1707256" cy="358302"/>
            <a:chOff x="6627171" y="3501008"/>
            <a:chExt cx="1707256" cy="358302"/>
          </a:xfrm>
        </p:grpSpPr>
        <p:sp>
          <p:nvSpPr>
            <p:cNvPr id="142" name="TextBox 141"/>
            <p:cNvSpPr txBox="1"/>
            <p:nvPr/>
          </p:nvSpPr>
          <p:spPr>
            <a:xfrm>
              <a:off x="6717196" y="3501008"/>
              <a:ext cx="161723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i="1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데이터 추출 배치 완료 알림</a:t>
              </a:r>
              <a:endParaRPr lang="ko-KR" altLang="en-US" sz="1000" i="1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217" name="그림 216">
              <a:extLst>
                <a:ext uri="{FF2B5EF4-FFF2-40B4-BE49-F238E27FC236}">
                  <a16:creationId xmlns:a16="http://schemas.microsoft.com/office/drawing/2014/main" id="{1B4D65A0-3DC0-42CA-9156-D7554D0D2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627171" y="3538910"/>
              <a:ext cx="320400" cy="320400"/>
            </a:xfrm>
            <a:prstGeom prst="rect">
              <a:avLst/>
            </a:prstGeom>
          </p:spPr>
        </p:pic>
      </p:grpSp>
      <p:cxnSp>
        <p:nvCxnSpPr>
          <p:cNvPr id="122" name="꺾인 연결선 121"/>
          <p:cNvCxnSpPr>
            <a:stCxn id="170" idx="2"/>
            <a:endCxn id="42" idx="3"/>
          </p:cNvCxnSpPr>
          <p:nvPr/>
        </p:nvCxnSpPr>
        <p:spPr>
          <a:xfrm rot="5400000">
            <a:off x="7129309" y="2566960"/>
            <a:ext cx="356331" cy="2008402"/>
          </a:xfrm>
          <a:prstGeom prst="bentConnector2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8" name="그룹 227"/>
          <p:cNvGrpSpPr/>
          <p:nvPr/>
        </p:nvGrpSpPr>
        <p:grpSpPr>
          <a:xfrm>
            <a:off x="5300243" y="5314129"/>
            <a:ext cx="756084" cy="855694"/>
            <a:chOff x="552565" y="4748889"/>
            <a:chExt cx="756084" cy="1044116"/>
          </a:xfrm>
        </p:grpSpPr>
        <p:grpSp>
          <p:nvGrpSpPr>
            <p:cNvPr id="229" name="그룹 228">
              <a:extLst>
                <a:ext uri="{FF2B5EF4-FFF2-40B4-BE49-F238E27FC236}">
                  <a16:creationId xmlns:a16="http://schemas.microsoft.com/office/drawing/2014/main" id="{CB6D1AAC-0E36-4A91-A71A-28F43604C031}"/>
                </a:ext>
              </a:extLst>
            </p:cNvPr>
            <p:cNvGrpSpPr/>
            <p:nvPr/>
          </p:nvGrpSpPr>
          <p:grpSpPr>
            <a:xfrm>
              <a:off x="552565" y="4748889"/>
              <a:ext cx="756084" cy="1044116"/>
              <a:chOff x="5705884" y="3023691"/>
              <a:chExt cx="1080120" cy="1332148"/>
            </a:xfrm>
          </p:grpSpPr>
          <p:sp>
            <p:nvSpPr>
              <p:cNvPr id="233" name="Rn24">
                <a:extLst>
                  <a:ext uri="{FF2B5EF4-FFF2-40B4-BE49-F238E27FC236}">
                    <a16:creationId xmlns:a16="http://schemas.microsoft.com/office/drawing/2014/main" id="{663C6637-C229-4205-B66B-F8342909DD3E}"/>
                  </a:ext>
                </a:extLst>
              </p:cNvPr>
              <p:cNvSpPr/>
              <p:nvPr/>
            </p:nvSpPr>
            <p:spPr>
              <a:xfrm>
                <a:off x="5705884" y="3023691"/>
                <a:ext cx="1080120" cy="1332148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191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endParaRPr kumimoji="0" lang="en-US" altLang="ko-KR" sz="900" b="0" i="0" u="none" strike="noStrike" kern="1200" cap="none" spc="-100" normalizeH="0" baseline="0" noProof="0" dirty="0">
                  <a:ln w="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  <a:cs typeface="+mn-cs"/>
                </a:endParaRPr>
              </a:p>
            </p:txBody>
          </p:sp>
          <p:sp>
            <p:nvSpPr>
              <p:cNvPr id="234" name="Rn24">
                <a:extLst>
                  <a:ext uri="{FF2B5EF4-FFF2-40B4-BE49-F238E27FC236}">
                    <a16:creationId xmlns:a16="http://schemas.microsoft.com/office/drawing/2014/main" id="{E4C40EE0-F2F3-4EEF-A4CB-3577AB27C32B}"/>
                  </a:ext>
                </a:extLst>
              </p:cNvPr>
              <p:cNvSpPr/>
              <p:nvPr/>
            </p:nvSpPr>
            <p:spPr>
              <a:xfrm>
                <a:off x="5705884" y="3023691"/>
                <a:ext cx="1080120" cy="27902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950" spc="-100" dirty="0" smtClean="0">
                    <a:ln w="9525">
                      <a:solidFill>
                        <a:srgbClr val="4472C4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IT</a:t>
                </a:r>
                <a:r>
                  <a:rPr lang="ko-KR" altLang="en-US" sz="950" spc="-100" dirty="0" smtClean="0">
                    <a:ln w="9525">
                      <a:solidFill>
                        <a:srgbClr val="4472C4">
                          <a:shade val="50000"/>
                          <a:alpha val="0"/>
                        </a:srgbClr>
                      </a:solidFill>
                    </a:ln>
                    <a:solidFill>
                      <a:prstClr val="white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부서담당자</a:t>
                </a:r>
                <a:endParaRPr kumimoji="0" lang="en-US" altLang="ko-KR" sz="950" b="0" i="0" u="none" strike="noStrike" kern="1200" cap="none" spc="-100" normalizeH="0" baseline="0" noProof="0" dirty="0">
                  <a:ln w="9525">
                    <a:solidFill>
                      <a:srgbClr val="4472C4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grpSp>
          <p:nvGrpSpPr>
            <p:cNvPr id="230" name="그룹 229">
              <a:extLst>
                <a:ext uri="{FF2B5EF4-FFF2-40B4-BE49-F238E27FC236}">
                  <a16:creationId xmlns:a16="http://schemas.microsoft.com/office/drawing/2014/main" id="{62618B3D-F336-451F-896F-CFF2ECB2EC7D}"/>
                </a:ext>
              </a:extLst>
            </p:cNvPr>
            <p:cNvGrpSpPr/>
            <p:nvPr/>
          </p:nvGrpSpPr>
          <p:grpSpPr>
            <a:xfrm>
              <a:off x="629212" y="5151335"/>
              <a:ext cx="602815" cy="372681"/>
              <a:chOff x="9525937" y="3551110"/>
              <a:chExt cx="776578" cy="480108"/>
            </a:xfrm>
          </p:grpSpPr>
          <p:pic>
            <p:nvPicPr>
              <p:cNvPr id="231" name="그림 230">
                <a:extLst>
                  <a:ext uri="{FF2B5EF4-FFF2-40B4-BE49-F238E27FC236}">
                    <a16:creationId xmlns:a16="http://schemas.microsoft.com/office/drawing/2014/main" id="{E102D204-D567-4DA8-B599-29C520E39C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525937" y="3551110"/>
                <a:ext cx="460794" cy="480108"/>
              </a:xfrm>
              <a:prstGeom prst="rect">
                <a:avLst/>
              </a:prstGeom>
            </p:spPr>
          </p:pic>
          <p:pic>
            <p:nvPicPr>
              <p:cNvPr id="232" name="그림 231">
                <a:extLst>
                  <a:ext uri="{FF2B5EF4-FFF2-40B4-BE49-F238E27FC236}">
                    <a16:creationId xmlns:a16="http://schemas.microsoft.com/office/drawing/2014/main" id="{2176B1C9-C444-4535-BCD3-CDC1281D65B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10859"/>
              <a:stretch/>
            </p:blipFill>
            <p:spPr>
              <a:xfrm>
                <a:off x="9863208" y="3749801"/>
                <a:ext cx="439307" cy="281417"/>
              </a:xfrm>
              <a:prstGeom prst="rect">
                <a:avLst/>
              </a:prstGeom>
            </p:spPr>
          </p:pic>
        </p:grpSp>
      </p:grpSp>
      <p:cxnSp>
        <p:nvCxnSpPr>
          <p:cNvPr id="235" name="꺾인 연결선 234"/>
          <p:cNvCxnSpPr>
            <a:stCxn id="42" idx="1"/>
            <a:endCxn id="67" idx="0"/>
          </p:cNvCxnSpPr>
          <p:nvPr/>
        </p:nvCxnSpPr>
        <p:spPr>
          <a:xfrm rot="10800000" flipV="1">
            <a:off x="938580" y="3749327"/>
            <a:ext cx="1652186" cy="845586"/>
          </a:xfrm>
          <a:prstGeom prst="bentConnector2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그룹 249"/>
          <p:cNvGrpSpPr/>
          <p:nvPr/>
        </p:nvGrpSpPr>
        <p:grpSpPr>
          <a:xfrm>
            <a:off x="2884961" y="5298625"/>
            <a:ext cx="1501625" cy="861923"/>
            <a:chOff x="5076783" y="4923153"/>
            <a:chExt cx="1501625" cy="861923"/>
          </a:xfrm>
        </p:grpSpPr>
        <p:grpSp>
          <p:nvGrpSpPr>
            <p:cNvPr id="242" name="그룹 241"/>
            <p:cNvGrpSpPr/>
            <p:nvPr/>
          </p:nvGrpSpPr>
          <p:grpSpPr>
            <a:xfrm>
              <a:off x="5076783" y="4923153"/>
              <a:ext cx="756000" cy="147259"/>
              <a:chOff x="1114108" y="2573279"/>
              <a:chExt cx="879978" cy="144000"/>
            </a:xfrm>
          </p:grpSpPr>
          <p:sp>
            <p:nvSpPr>
              <p:cNvPr id="244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79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45" name="Rt40" descr="도식1"/>
              <p:cNvSpPr>
                <a:spLocks noChangeArrowheads="1"/>
              </p:cNvSpPr>
              <p:nvPr/>
            </p:nvSpPr>
            <p:spPr bwMode="auto">
              <a:xfrm>
                <a:off x="1249968" y="2594004"/>
                <a:ext cx="608279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운용 항목 관리</a:t>
                </a:r>
                <a:endParaRPr lang="en-US" altLang="ko-KR" sz="700" dirty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pic>
          <p:nvPicPr>
            <p:cNvPr id="243" name="그림 242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088182" y="5074870"/>
              <a:ext cx="1490226" cy="71020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cxnSp>
        <p:nvCxnSpPr>
          <p:cNvPr id="246" name="꺾인 연결선 245"/>
          <p:cNvCxnSpPr>
            <a:stCxn id="66" idx="2"/>
            <a:endCxn id="243" idx="1"/>
          </p:cNvCxnSpPr>
          <p:nvPr/>
        </p:nvCxnSpPr>
        <p:spPr>
          <a:xfrm rot="16200000" flipH="1">
            <a:off x="1834262" y="4743347"/>
            <a:ext cx="166416" cy="1957780"/>
          </a:xfrm>
          <a:prstGeom prst="bentConnector2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/>
          <p:cNvSpPr txBox="1"/>
          <p:nvPr/>
        </p:nvSpPr>
        <p:spPr>
          <a:xfrm>
            <a:off x="1116920" y="5848604"/>
            <a:ext cx="16929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용 항목 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Pool </a:t>
            </a:r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회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추가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</a:p>
          <a:p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발 요청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등 관리</a:t>
            </a:r>
            <a:endParaRPr lang="en-US" altLang="ko-KR" sz="1000" i="1" dirty="0" smtClean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55" name="꺾인 연결선 254"/>
          <p:cNvCxnSpPr>
            <a:stCxn id="243" idx="3"/>
            <a:endCxn id="86" idx="1"/>
          </p:cNvCxnSpPr>
          <p:nvPr/>
        </p:nvCxnSpPr>
        <p:spPr>
          <a:xfrm flipV="1">
            <a:off x="4386586" y="5186369"/>
            <a:ext cx="2834666" cy="619076"/>
          </a:xfrm>
          <a:prstGeom prst="bentConnector3">
            <a:avLst>
              <a:gd name="adj1" fmla="val 28294"/>
            </a:avLst>
          </a:prstGeom>
          <a:ln w="317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꺾인 연결선 265"/>
          <p:cNvCxnSpPr>
            <a:stCxn id="233" idx="3"/>
            <a:endCxn id="86" idx="1"/>
          </p:cNvCxnSpPr>
          <p:nvPr/>
        </p:nvCxnSpPr>
        <p:spPr>
          <a:xfrm flipV="1">
            <a:off x="6056327" y="5186369"/>
            <a:ext cx="1164925" cy="555607"/>
          </a:xfrm>
          <a:prstGeom prst="bentConnector3">
            <a:avLst>
              <a:gd name="adj1" fmla="val 17722"/>
            </a:avLst>
          </a:prstGeom>
          <a:ln w="317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1" name="Picture 88" descr="예시"/>
          <p:cNvPicPr>
            <a:picLocks noChangeAspect="1" noChangeArrowheads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1742548" y="2713984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3" name="Picture 88" descr="예시"/>
          <p:cNvPicPr>
            <a:picLocks noChangeAspect="1" noChangeArrowheads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099718" y="5384240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4" name="Picture 88" descr="예시"/>
          <p:cNvPicPr>
            <a:picLocks noChangeAspect="1" noChangeArrowheads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28183" y="404371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" name="그림 275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92560" y="3825045"/>
            <a:ext cx="331137" cy="341612"/>
          </a:xfrm>
          <a:prstGeom prst="rect">
            <a:avLst/>
          </a:prstGeom>
        </p:spPr>
      </p:pic>
      <p:cxnSp>
        <p:nvCxnSpPr>
          <p:cNvPr id="279" name="꺾인 연결선 278"/>
          <p:cNvCxnSpPr>
            <a:stCxn id="243" idx="2"/>
            <a:endCxn id="233" idx="2"/>
          </p:cNvCxnSpPr>
          <p:nvPr/>
        </p:nvCxnSpPr>
        <p:spPr>
          <a:xfrm rot="16200000" flipH="1">
            <a:off x="4655242" y="5146779"/>
            <a:ext cx="9275" cy="2036812"/>
          </a:xfrm>
          <a:prstGeom prst="bentConnector3">
            <a:avLst>
              <a:gd name="adj1" fmla="val 2865725"/>
            </a:avLst>
          </a:prstGeom>
          <a:ln w="317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TextBox 282"/>
          <p:cNvSpPr txBox="1"/>
          <p:nvPr/>
        </p:nvSpPr>
        <p:spPr>
          <a:xfrm>
            <a:off x="3873956" y="6162065"/>
            <a:ext cx="1854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항목 신규 요청 건 검토 및 개발</a:t>
            </a:r>
            <a:endParaRPr lang="en-US" altLang="ko-KR" sz="1000" i="1" dirty="0" smtClean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pic>
        <p:nvPicPr>
          <p:cNvPr id="285" name="그림 284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7331" y="5899132"/>
            <a:ext cx="318769" cy="318769"/>
          </a:xfrm>
          <a:prstGeom prst="rect">
            <a:avLst/>
          </a:prstGeom>
        </p:spPr>
      </p:pic>
      <p:pic>
        <p:nvPicPr>
          <p:cNvPr id="286" name="그림 285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71335" y="6205456"/>
            <a:ext cx="318769" cy="318769"/>
          </a:xfrm>
          <a:prstGeom prst="rect">
            <a:avLst/>
          </a:prstGeom>
        </p:spPr>
      </p:pic>
      <p:sp>
        <p:nvSpPr>
          <p:cNvPr id="293" name="TextBox 292"/>
          <p:cNvSpPr txBox="1"/>
          <p:nvPr/>
        </p:nvSpPr>
        <p:spPr>
          <a:xfrm>
            <a:off x="1137418" y="3785783"/>
            <a:ext cx="12937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알림 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 </a:t>
            </a:r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확인</a:t>
            </a:r>
            <a:endParaRPr lang="ko-KR" altLang="en-US" sz="1000" i="1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4" name="TextBox 293"/>
          <p:cNvSpPr txBox="1"/>
          <p:nvPr/>
        </p:nvSpPr>
        <p:spPr>
          <a:xfrm>
            <a:off x="5134040" y="4937009"/>
            <a:ext cx="19877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항목 데이터 조회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추가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000" i="1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수정</a:t>
            </a:r>
            <a:r>
              <a:rPr lang="en-US" altLang="ko-KR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000" i="1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삭제</a:t>
            </a:r>
            <a:endParaRPr lang="en-US" altLang="ko-KR" sz="1000" i="1" dirty="0" smtClean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324017" y="5552799"/>
            <a:ext cx="16929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. </a:t>
            </a:r>
            <a:r>
              <a:rPr lang="ko-KR" altLang="en-US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항목 관리 및 신규 추가</a:t>
            </a:r>
            <a:endParaRPr lang="en-US" altLang="ko-KR" sz="1000" i="1" dirty="0" smtClean="0">
              <a:solidFill>
                <a:srgbClr val="FF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419361" y="4120255"/>
            <a:ext cx="11280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. </a:t>
            </a:r>
            <a:r>
              <a:rPr lang="ko-KR" altLang="en-US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통계 자료 요청</a:t>
            </a:r>
            <a:endParaRPr lang="en-US" altLang="ko-KR" sz="1000" i="1" dirty="0" smtClean="0">
              <a:solidFill>
                <a:srgbClr val="FF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29" name="그룹 28"/>
          <p:cNvGrpSpPr/>
          <p:nvPr/>
        </p:nvGrpSpPr>
        <p:grpSpPr>
          <a:xfrm>
            <a:off x="2576736" y="2462615"/>
            <a:ext cx="3726537" cy="2374844"/>
            <a:chOff x="2612740" y="2606631"/>
            <a:chExt cx="3598277" cy="2450646"/>
          </a:xfrm>
        </p:grpSpPr>
        <p:pic>
          <p:nvPicPr>
            <p:cNvPr id="42" name="그림 4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626287" y="2811549"/>
              <a:ext cx="3584730" cy="2245728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grpSp>
          <p:nvGrpSpPr>
            <p:cNvPr id="2" name="그룹 1"/>
            <p:cNvGrpSpPr/>
            <p:nvPr/>
          </p:nvGrpSpPr>
          <p:grpSpPr>
            <a:xfrm>
              <a:off x="2612740" y="2606631"/>
              <a:ext cx="1303109" cy="188600"/>
              <a:chOff x="2036676" y="3879058"/>
              <a:chExt cx="1303109" cy="188600"/>
            </a:xfrm>
          </p:grpSpPr>
          <p:sp>
            <p:nvSpPr>
              <p:cNvPr id="43" name="Text Box 358" descr="도식1"/>
              <p:cNvSpPr>
                <a:spLocks noChangeArrowheads="1"/>
              </p:cNvSpPr>
              <p:nvPr/>
            </p:nvSpPr>
            <p:spPr bwMode="auto">
              <a:xfrm>
                <a:off x="2036676" y="3879058"/>
                <a:ext cx="1303109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44" name="Rt40" descr="도식1"/>
              <p:cNvSpPr>
                <a:spLocks noChangeArrowheads="1"/>
              </p:cNvSpPr>
              <p:nvPr/>
            </p:nvSpPr>
            <p:spPr bwMode="auto">
              <a:xfrm>
                <a:off x="2107363" y="3905931"/>
                <a:ext cx="1161735" cy="138499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squar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en-US" altLang="ko-KR" sz="9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AML </a:t>
                </a:r>
                <a:r>
                  <a:rPr lang="ko-KR" altLang="en-US" sz="9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업무 운영현황</a:t>
                </a:r>
              </a:p>
            </p:txBody>
          </p:sp>
        </p:grpSp>
      </p:grpSp>
      <p:pic>
        <p:nvPicPr>
          <p:cNvPr id="272" name="Picture 88" descr="예시"/>
          <p:cNvPicPr>
            <a:picLocks noChangeAspect="1" noChangeArrowheads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048837" y="258554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7089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6.1 </a:t>
            </a:r>
            <a:r>
              <a:rPr lang="ko-KR" altLang="en-US" dirty="0" smtClean="0"/>
              <a:t>데이터 마트 구축 전략</a:t>
            </a:r>
            <a:endParaRPr lang="ko-KR" altLang="en-US" dirty="0"/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1547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6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구축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36405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마트는 고객사의 요건과 컨설팅 결과를 기반으로 통합 관점의 체계화된 데이터를 제공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타 시스템과의 안정성 및 효율성을 증대시킬 수 있는 연계 체계를 확립하며 유연하고 표준화된 설계를 기반으로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마트 구축 전략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1" name="Rectangle 126"/>
          <p:cNvSpPr>
            <a:spLocks noChangeArrowheads="1"/>
          </p:cNvSpPr>
          <p:nvPr/>
        </p:nvSpPr>
        <p:spPr bwMode="auto">
          <a:xfrm>
            <a:off x="3007321" y="2168860"/>
            <a:ext cx="3673872" cy="442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latinLnBrk="0">
              <a:lnSpc>
                <a:spcPct val="120000"/>
              </a:lnSpc>
              <a:buFont typeface="Monotype Sorts"/>
              <a:buNone/>
            </a:pPr>
            <a:r>
              <a:rPr lang="ko-KR" altLang="ko-KR" sz="2400" b="1" dirty="0">
                <a:solidFill>
                  <a:srgbClr val="000000"/>
                </a:solidFill>
                <a:latin typeface="나눔바른고딕" pitchFamily="50" charset="-127"/>
                <a:ea typeface="KoPub돋움체 Bold" panose="00000800000000000000"/>
              </a:rPr>
              <a:t>최적의 데이터 마트 구축</a:t>
            </a:r>
          </a:p>
        </p:txBody>
      </p:sp>
      <p:grpSp>
        <p:nvGrpSpPr>
          <p:cNvPr id="51" name="그룹 50"/>
          <p:cNvGrpSpPr/>
          <p:nvPr/>
        </p:nvGrpSpPr>
        <p:grpSpPr>
          <a:xfrm>
            <a:off x="319323" y="3464857"/>
            <a:ext cx="9278193" cy="2736452"/>
            <a:chOff x="319323" y="2672767"/>
            <a:chExt cx="9278193" cy="1524163"/>
          </a:xfrm>
        </p:grpSpPr>
        <p:grpSp>
          <p:nvGrpSpPr>
            <p:cNvPr id="3" name="그룹 2"/>
            <p:cNvGrpSpPr/>
            <p:nvPr/>
          </p:nvGrpSpPr>
          <p:grpSpPr>
            <a:xfrm>
              <a:off x="319323" y="2672767"/>
              <a:ext cx="2149401" cy="1524163"/>
              <a:chOff x="409909" y="1412776"/>
              <a:chExt cx="2951465" cy="1524163"/>
            </a:xfrm>
          </p:grpSpPr>
          <p:sp>
            <p:nvSpPr>
              <p:cNvPr id="42" name="AutoShape 582"/>
              <p:cNvSpPr>
                <a:spLocks noChangeArrowheads="1"/>
              </p:cNvSpPr>
              <p:nvPr/>
            </p:nvSpPr>
            <p:spPr bwMode="auto">
              <a:xfrm>
                <a:off x="409909" y="1412776"/>
                <a:ext cx="2951465" cy="1524163"/>
              </a:xfrm>
              <a:prstGeom prst="roundRect">
                <a:avLst>
                  <a:gd name="adj" fmla="val 3333"/>
                </a:avLst>
              </a:prstGeom>
              <a:solidFill>
                <a:schemeClr val="bg1">
                  <a:lumMod val="95000"/>
                </a:schemeClr>
              </a:solidFill>
              <a:ln w="1587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 lIns="91338" tIns="45668" rIns="91338" bIns="45668" anchor="ctr"/>
              <a:lstStyle>
                <a:lvl1pPr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endParaRPr lang="ko-KR" altLang="en-US" dirty="0"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43" name="AutoShape 583"/>
              <p:cNvSpPr>
                <a:spLocks noChangeArrowheads="1"/>
              </p:cNvSpPr>
              <p:nvPr/>
            </p:nvSpPr>
            <p:spPr bwMode="auto">
              <a:xfrm>
                <a:off x="482445" y="1463578"/>
                <a:ext cx="2806392" cy="249024"/>
              </a:xfrm>
              <a:prstGeom prst="roundRect">
                <a:avLst>
                  <a:gd name="adj" fmla="val 4815"/>
                </a:avLst>
              </a:prstGeom>
              <a:solidFill>
                <a:srgbClr val="005E9E"/>
              </a:solidFill>
              <a:ln w="952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45668" rIns="0" bIns="45668" anchor="ctr"/>
              <a:lstStyle/>
              <a:p>
                <a:pPr algn="ctr"/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타 시스템과의 안정적</a:t>
                </a:r>
                <a:r>
                  <a:rPr lang="en-US" altLang="ko-KR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, </a:t>
                </a:r>
              </a:p>
              <a:p>
                <a:pPr algn="ctr"/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효율적 연계 체계 확립</a:t>
                </a:r>
                <a:endParaRPr lang="ko-KR" altLang="en-US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grpSp>
          <p:nvGrpSpPr>
            <p:cNvPr id="57" name="그룹 56"/>
            <p:cNvGrpSpPr/>
            <p:nvPr/>
          </p:nvGrpSpPr>
          <p:grpSpPr>
            <a:xfrm>
              <a:off x="2695587" y="2672767"/>
              <a:ext cx="2149401" cy="1524163"/>
              <a:chOff x="409909" y="1412776"/>
              <a:chExt cx="2951465" cy="1524163"/>
            </a:xfrm>
          </p:grpSpPr>
          <p:sp>
            <p:nvSpPr>
              <p:cNvPr id="58" name="AutoShape 582"/>
              <p:cNvSpPr>
                <a:spLocks noChangeArrowheads="1"/>
              </p:cNvSpPr>
              <p:nvPr/>
            </p:nvSpPr>
            <p:spPr bwMode="auto">
              <a:xfrm>
                <a:off x="409909" y="1412776"/>
                <a:ext cx="2951465" cy="1524163"/>
              </a:xfrm>
              <a:prstGeom prst="roundRect">
                <a:avLst>
                  <a:gd name="adj" fmla="val 3333"/>
                </a:avLst>
              </a:prstGeom>
              <a:solidFill>
                <a:schemeClr val="bg1">
                  <a:lumMod val="95000"/>
                </a:schemeClr>
              </a:solidFill>
              <a:ln w="1587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 lIns="91338" tIns="45668" rIns="91338" bIns="45668" anchor="ctr"/>
              <a:lstStyle>
                <a:lvl1pPr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endParaRPr lang="ko-KR" altLang="en-US" dirty="0"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59" name="AutoShape 583"/>
              <p:cNvSpPr>
                <a:spLocks noChangeArrowheads="1"/>
              </p:cNvSpPr>
              <p:nvPr/>
            </p:nvSpPr>
            <p:spPr bwMode="auto">
              <a:xfrm>
                <a:off x="482445" y="1463578"/>
                <a:ext cx="2806392" cy="249024"/>
              </a:xfrm>
              <a:prstGeom prst="roundRect">
                <a:avLst>
                  <a:gd name="adj" fmla="val 4815"/>
                </a:avLst>
              </a:prstGeom>
              <a:solidFill>
                <a:srgbClr val="005E9E"/>
              </a:solidFill>
              <a:ln w="952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45668" rIns="0" bIns="45668" anchor="ctr"/>
              <a:lstStyle/>
              <a:p>
                <a:pPr algn="ctr"/>
                <a:r>
                  <a:rPr lang="en-US" altLang="ko-KR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RBA</a:t>
                </a:r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 요건 변경 대비 </a:t>
                </a:r>
                <a:endParaRPr lang="en-US" altLang="ko-KR" sz="1200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  <a:p>
                <a:pPr algn="ctr"/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유연한 정보 체계 확립</a:t>
                </a:r>
                <a:endParaRPr lang="ko-KR" altLang="en-US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grpSp>
          <p:nvGrpSpPr>
            <p:cNvPr id="61" name="그룹 60"/>
            <p:cNvGrpSpPr/>
            <p:nvPr/>
          </p:nvGrpSpPr>
          <p:grpSpPr>
            <a:xfrm>
              <a:off x="5071851" y="2672767"/>
              <a:ext cx="2149401" cy="1524163"/>
              <a:chOff x="409909" y="1412776"/>
              <a:chExt cx="2951465" cy="1524163"/>
            </a:xfrm>
          </p:grpSpPr>
          <p:sp>
            <p:nvSpPr>
              <p:cNvPr id="62" name="AutoShape 582"/>
              <p:cNvSpPr>
                <a:spLocks noChangeArrowheads="1"/>
              </p:cNvSpPr>
              <p:nvPr/>
            </p:nvSpPr>
            <p:spPr bwMode="auto">
              <a:xfrm>
                <a:off x="409909" y="1412776"/>
                <a:ext cx="2951465" cy="1524163"/>
              </a:xfrm>
              <a:prstGeom prst="roundRect">
                <a:avLst>
                  <a:gd name="adj" fmla="val 3333"/>
                </a:avLst>
              </a:prstGeom>
              <a:solidFill>
                <a:schemeClr val="bg1">
                  <a:lumMod val="95000"/>
                </a:schemeClr>
              </a:solidFill>
              <a:ln w="1587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 lIns="91338" tIns="45668" rIns="91338" bIns="45668" anchor="ctr"/>
              <a:lstStyle>
                <a:lvl1pPr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endParaRPr lang="ko-KR" altLang="en-US" dirty="0"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63" name="AutoShape 583"/>
              <p:cNvSpPr>
                <a:spLocks noChangeArrowheads="1"/>
              </p:cNvSpPr>
              <p:nvPr/>
            </p:nvSpPr>
            <p:spPr bwMode="auto">
              <a:xfrm>
                <a:off x="482445" y="1463578"/>
                <a:ext cx="2806392" cy="249024"/>
              </a:xfrm>
              <a:prstGeom prst="roundRect">
                <a:avLst>
                  <a:gd name="adj" fmla="val 4815"/>
                </a:avLst>
              </a:prstGeom>
              <a:solidFill>
                <a:srgbClr val="005E9E"/>
              </a:solidFill>
              <a:ln w="952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45668" rIns="0" bIns="45668" anchor="ctr"/>
              <a:lstStyle/>
              <a:p>
                <a:pPr algn="ctr"/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업무별 마트 세분화를 통한 </a:t>
                </a:r>
                <a:endParaRPr lang="en-US" altLang="ko-KR" sz="1200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  <a:p>
                <a:pPr algn="ctr"/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배치 작업 성능 확보</a:t>
                </a:r>
                <a:endParaRPr lang="ko-KR" altLang="en-US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grpSp>
          <p:nvGrpSpPr>
            <p:cNvPr id="65" name="그룹 64"/>
            <p:cNvGrpSpPr/>
            <p:nvPr/>
          </p:nvGrpSpPr>
          <p:grpSpPr>
            <a:xfrm>
              <a:off x="7448115" y="2672767"/>
              <a:ext cx="2149401" cy="1524163"/>
              <a:chOff x="409909" y="1412776"/>
              <a:chExt cx="2951465" cy="1524163"/>
            </a:xfrm>
          </p:grpSpPr>
          <p:sp>
            <p:nvSpPr>
              <p:cNvPr id="66" name="AutoShape 582"/>
              <p:cNvSpPr>
                <a:spLocks noChangeArrowheads="1"/>
              </p:cNvSpPr>
              <p:nvPr/>
            </p:nvSpPr>
            <p:spPr bwMode="auto">
              <a:xfrm>
                <a:off x="409909" y="1412776"/>
                <a:ext cx="2951465" cy="1524163"/>
              </a:xfrm>
              <a:prstGeom prst="roundRect">
                <a:avLst>
                  <a:gd name="adj" fmla="val 3333"/>
                </a:avLst>
              </a:prstGeom>
              <a:solidFill>
                <a:schemeClr val="bg1">
                  <a:lumMod val="95000"/>
                </a:schemeClr>
              </a:solidFill>
              <a:ln w="1587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 lIns="91338" tIns="45668" rIns="91338" bIns="45668" anchor="ctr"/>
              <a:lstStyle>
                <a:lvl1pPr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 eaLnBrk="0" hangingPunct="0"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0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eaLnBrk="1" hangingPunct="1">
                  <a:lnSpc>
                    <a:spcPct val="150000"/>
                  </a:lnSpc>
                </a:pPr>
                <a:endParaRPr lang="ko-KR" altLang="en-US" dirty="0"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67" name="AutoShape 583"/>
              <p:cNvSpPr>
                <a:spLocks noChangeArrowheads="1"/>
              </p:cNvSpPr>
              <p:nvPr/>
            </p:nvSpPr>
            <p:spPr bwMode="auto">
              <a:xfrm>
                <a:off x="482445" y="1463578"/>
                <a:ext cx="2806392" cy="249024"/>
              </a:xfrm>
              <a:prstGeom prst="roundRect">
                <a:avLst>
                  <a:gd name="adj" fmla="val 4815"/>
                </a:avLst>
              </a:prstGeom>
              <a:solidFill>
                <a:srgbClr val="005E9E"/>
              </a:solidFill>
              <a:ln w="952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45668" rIns="0" bIns="45668" anchor="ctr"/>
              <a:lstStyle/>
              <a:p>
                <a:pPr algn="ctr"/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표준화</a:t>
                </a:r>
                <a:r>
                  <a:rPr lang="en-US" altLang="ko-KR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/</a:t>
                </a:r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체계화된</a:t>
                </a:r>
                <a:endParaRPr lang="en-US" altLang="ko-KR" sz="1200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  <a:p>
                <a:pPr algn="ctr"/>
                <a:r>
                  <a:rPr lang="ko-KR" altLang="en-US" sz="1200" spc="-50" dirty="0" smtClean="0">
                    <a:ln>
                      <a:solidFill>
                        <a:srgbClr val="D64E75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데이터 관리</a:t>
                </a:r>
                <a:endParaRPr lang="ko-KR" altLang="en-US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</p:grpSp>
      <p:sp>
        <p:nvSpPr>
          <p:cNvPr id="95" name="AutoShape 84"/>
          <p:cNvSpPr>
            <a:spLocks noChangeArrowheads="1"/>
          </p:cNvSpPr>
          <p:nvPr/>
        </p:nvSpPr>
        <p:spPr bwMode="gray">
          <a:xfrm>
            <a:off x="411822" y="4142673"/>
            <a:ext cx="1948993" cy="1950623"/>
          </a:xfrm>
          <a:prstGeom prst="roundRect">
            <a:avLst>
              <a:gd name="adj" fmla="val 2032"/>
            </a:avLst>
          </a:prstGeom>
          <a:solidFill>
            <a:schemeClr val="bg1"/>
          </a:solidFill>
          <a:ln w="9525" algn="ctr">
            <a:solidFill>
              <a:srgbClr val="378CD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34765" tIns="69530" rIns="34765" bIns="34765" anchor="ctr"/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endParaRPr lang="ko-KR" altLang="en-US" sz="17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96" name="Group 114"/>
          <p:cNvGrpSpPr>
            <a:grpSpLocks/>
          </p:cNvGrpSpPr>
          <p:nvPr/>
        </p:nvGrpSpPr>
        <p:grpSpPr bwMode="auto">
          <a:xfrm>
            <a:off x="411821" y="4120517"/>
            <a:ext cx="1955067" cy="388603"/>
            <a:chOff x="164" y="2205"/>
            <a:chExt cx="1377" cy="149"/>
          </a:xfrm>
        </p:grpSpPr>
        <p:sp>
          <p:nvSpPr>
            <p:cNvPr id="99" name="Rectangle 85"/>
            <p:cNvSpPr>
              <a:spLocks noChangeArrowheads="1"/>
            </p:cNvSpPr>
            <p:nvPr/>
          </p:nvSpPr>
          <p:spPr bwMode="gray">
            <a:xfrm>
              <a:off x="164" y="2205"/>
              <a:ext cx="1377" cy="104"/>
            </a:xfrm>
            <a:prstGeom prst="rect">
              <a:avLst/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b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100" name="AutoShape 86"/>
            <p:cNvSpPr>
              <a:spLocks noChangeArrowheads="1"/>
            </p:cNvSpPr>
            <p:nvPr/>
          </p:nvSpPr>
          <p:spPr bwMode="gray">
            <a:xfrm>
              <a:off x="164" y="2288"/>
              <a:ext cx="1377" cy="66"/>
            </a:xfrm>
            <a:prstGeom prst="roundRect">
              <a:avLst>
                <a:gd name="adj" fmla="val 26088"/>
              </a:avLst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 Unicode MS" panose="020B0604020202020204" pitchFamily="50" charset="-127"/>
              </a:endParaRPr>
            </a:p>
          </p:txBody>
        </p:sp>
      </p:grpSp>
      <p:sp>
        <p:nvSpPr>
          <p:cNvPr id="97" name="Rectangle 88"/>
          <p:cNvSpPr>
            <a:spLocks noChangeArrowheads="1"/>
          </p:cNvSpPr>
          <p:nvPr/>
        </p:nvSpPr>
        <p:spPr bwMode="gray">
          <a:xfrm>
            <a:off x="649317" y="4227622"/>
            <a:ext cx="1581248" cy="169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4E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10000"/>
              </a:spcBef>
              <a:buSzPct val="80000"/>
            </a:pPr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의 인터페이스 구축</a:t>
            </a:r>
            <a:endParaRPr lang="en-US" altLang="ko-KR" sz="110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8" name="Rectangle 6"/>
          <p:cNvSpPr>
            <a:spLocks noChangeArrowheads="1"/>
          </p:cNvSpPr>
          <p:nvPr/>
        </p:nvSpPr>
        <p:spPr bwMode="gray">
          <a:xfrm>
            <a:off x="458589" y="4617132"/>
            <a:ext cx="180945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08688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88900" indent="-889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타 시스템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정계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보계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종합감사 등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으로부터 원천 데이터를 유실되지 않도록 안정적으로 적재하여 데이터 정합성 확보</a:t>
            </a:r>
          </a:p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행 시스템의 인프라 환경을 분석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준용하여 효율적인 연계 구축</a:t>
            </a:r>
          </a:p>
        </p:txBody>
      </p:sp>
      <p:sp>
        <p:nvSpPr>
          <p:cNvPr id="88" name="AutoShape 117"/>
          <p:cNvSpPr>
            <a:spLocks noChangeArrowheads="1"/>
          </p:cNvSpPr>
          <p:nvPr/>
        </p:nvSpPr>
        <p:spPr bwMode="gray">
          <a:xfrm>
            <a:off x="2788086" y="4142673"/>
            <a:ext cx="1948993" cy="1950623"/>
          </a:xfrm>
          <a:prstGeom prst="roundRect">
            <a:avLst>
              <a:gd name="adj" fmla="val 2032"/>
            </a:avLst>
          </a:prstGeom>
          <a:solidFill>
            <a:schemeClr val="bg1"/>
          </a:solidFill>
          <a:ln w="9525" algn="ctr">
            <a:solidFill>
              <a:srgbClr val="378CD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34765" tIns="69530" rIns="34765" bIns="34765" anchor="ctr"/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endParaRPr lang="ko-KR" altLang="en-US" sz="17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89" name="Group 118"/>
          <p:cNvGrpSpPr>
            <a:grpSpLocks/>
          </p:cNvGrpSpPr>
          <p:nvPr/>
        </p:nvGrpSpPr>
        <p:grpSpPr bwMode="auto">
          <a:xfrm>
            <a:off x="2792856" y="4120517"/>
            <a:ext cx="1955067" cy="388603"/>
            <a:chOff x="164" y="2205"/>
            <a:chExt cx="1377" cy="149"/>
          </a:xfrm>
        </p:grpSpPr>
        <p:sp>
          <p:nvSpPr>
            <p:cNvPr id="92" name="Rectangle 119"/>
            <p:cNvSpPr>
              <a:spLocks noChangeArrowheads="1"/>
            </p:cNvSpPr>
            <p:nvPr/>
          </p:nvSpPr>
          <p:spPr bwMode="gray">
            <a:xfrm>
              <a:off x="164" y="2205"/>
              <a:ext cx="1377" cy="104"/>
            </a:xfrm>
            <a:prstGeom prst="rect">
              <a:avLst/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b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93" name="AutoShape 120"/>
            <p:cNvSpPr>
              <a:spLocks noChangeArrowheads="1"/>
            </p:cNvSpPr>
            <p:nvPr/>
          </p:nvSpPr>
          <p:spPr bwMode="gray">
            <a:xfrm>
              <a:off x="164" y="2288"/>
              <a:ext cx="1377" cy="66"/>
            </a:xfrm>
            <a:prstGeom prst="roundRect">
              <a:avLst>
                <a:gd name="adj" fmla="val 26088"/>
              </a:avLst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 Unicode MS" panose="020B0604020202020204" pitchFamily="50" charset="-127"/>
              </a:endParaRPr>
            </a:p>
          </p:txBody>
        </p:sp>
      </p:grpSp>
      <p:sp>
        <p:nvSpPr>
          <p:cNvPr id="90" name="Rectangle 122"/>
          <p:cNvSpPr>
            <a:spLocks noChangeArrowheads="1"/>
          </p:cNvSpPr>
          <p:nvPr/>
        </p:nvSpPr>
        <p:spPr bwMode="gray">
          <a:xfrm>
            <a:off x="2986900" y="4227622"/>
            <a:ext cx="1664797" cy="169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4E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건 분석용 데이터 확보</a:t>
            </a:r>
            <a:endParaRPr lang="ko-KR" altLang="ko-KR" sz="110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Rectangle 6"/>
          <p:cNvSpPr>
            <a:spLocks noChangeArrowheads="1"/>
          </p:cNvSpPr>
          <p:nvPr/>
        </p:nvSpPr>
        <p:spPr bwMode="gray">
          <a:xfrm>
            <a:off x="2834853" y="4617132"/>
            <a:ext cx="1809456" cy="91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08688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88900" indent="-889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확하고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세밀한 분석을 통해 필요 원천 데이터 구축</a:t>
            </a:r>
          </a:p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금세탁방지시스템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적재된 원천 데이터 분석을 통해 유연한 요건 변경 대응</a:t>
            </a:r>
          </a:p>
        </p:txBody>
      </p:sp>
      <p:sp>
        <p:nvSpPr>
          <p:cNvPr id="81" name="AutoShape 125"/>
          <p:cNvSpPr>
            <a:spLocks noChangeArrowheads="1"/>
          </p:cNvSpPr>
          <p:nvPr/>
        </p:nvSpPr>
        <p:spPr bwMode="gray">
          <a:xfrm>
            <a:off x="5164350" y="4142673"/>
            <a:ext cx="1948993" cy="1950623"/>
          </a:xfrm>
          <a:prstGeom prst="roundRect">
            <a:avLst>
              <a:gd name="adj" fmla="val 2032"/>
            </a:avLst>
          </a:prstGeom>
          <a:solidFill>
            <a:schemeClr val="bg1"/>
          </a:solidFill>
          <a:ln w="9525" algn="ctr">
            <a:solidFill>
              <a:srgbClr val="378CD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34765" tIns="69530" rIns="34765" bIns="34765" anchor="ctr"/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endParaRPr lang="ko-KR" altLang="en-US" sz="17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82" name="Group 126"/>
          <p:cNvGrpSpPr>
            <a:grpSpLocks/>
          </p:cNvGrpSpPr>
          <p:nvPr/>
        </p:nvGrpSpPr>
        <p:grpSpPr bwMode="auto">
          <a:xfrm>
            <a:off x="5163638" y="4120517"/>
            <a:ext cx="1955067" cy="388603"/>
            <a:chOff x="164" y="2205"/>
            <a:chExt cx="1377" cy="149"/>
          </a:xfrm>
        </p:grpSpPr>
        <p:sp>
          <p:nvSpPr>
            <p:cNvPr id="85" name="Rectangle 127"/>
            <p:cNvSpPr>
              <a:spLocks noChangeArrowheads="1"/>
            </p:cNvSpPr>
            <p:nvPr/>
          </p:nvSpPr>
          <p:spPr bwMode="gray">
            <a:xfrm>
              <a:off x="164" y="2205"/>
              <a:ext cx="1377" cy="104"/>
            </a:xfrm>
            <a:prstGeom prst="rect">
              <a:avLst/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86" name="AutoShape 128"/>
            <p:cNvSpPr>
              <a:spLocks noChangeArrowheads="1"/>
            </p:cNvSpPr>
            <p:nvPr/>
          </p:nvSpPr>
          <p:spPr bwMode="gray">
            <a:xfrm>
              <a:off x="164" y="2288"/>
              <a:ext cx="1377" cy="66"/>
            </a:xfrm>
            <a:prstGeom prst="roundRect">
              <a:avLst>
                <a:gd name="adj" fmla="val 26088"/>
              </a:avLst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 Unicode MS" panose="020B0604020202020204" pitchFamily="50" charset="-127"/>
              </a:endParaRPr>
            </a:p>
          </p:txBody>
        </p:sp>
      </p:grpSp>
      <p:sp>
        <p:nvSpPr>
          <p:cNvPr id="83" name="Rectangle 130"/>
          <p:cNvSpPr>
            <a:spLocks noChangeArrowheads="1"/>
          </p:cNvSpPr>
          <p:nvPr/>
        </p:nvSpPr>
        <p:spPr bwMode="gray">
          <a:xfrm>
            <a:off x="5407481" y="4227622"/>
            <a:ext cx="1524001" cy="169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4E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10000"/>
              </a:spcBef>
              <a:buSzPct val="80000"/>
            </a:pPr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최적화 방안 수립</a:t>
            </a:r>
            <a:endParaRPr lang="en-US" altLang="ko-KR" sz="110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4" name="Rectangle 6"/>
          <p:cNvSpPr>
            <a:spLocks noChangeArrowheads="1"/>
          </p:cNvSpPr>
          <p:nvPr/>
        </p:nvSpPr>
        <p:spPr bwMode="gray">
          <a:xfrm>
            <a:off x="5211117" y="4617132"/>
            <a:ext cx="1809456" cy="1054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08688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88900" indent="-889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시나리오 요건 분석을 통해 추출 조건에 필요한 최소 항목 및 공통 기준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출</a:t>
            </a:r>
            <a:endParaRPr lang="en-US" altLang="ko-KR" sz="100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공통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준별 세분화 된 마트 구성을 통해 최적의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상거래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성능 확보</a:t>
            </a:r>
          </a:p>
        </p:txBody>
      </p:sp>
      <p:sp>
        <p:nvSpPr>
          <p:cNvPr id="74" name="AutoShape 133"/>
          <p:cNvSpPr>
            <a:spLocks noChangeArrowheads="1"/>
          </p:cNvSpPr>
          <p:nvPr/>
        </p:nvSpPr>
        <p:spPr bwMode="gray">
          <a:xfrm>
            <a:off x="7541896" y="4142673"/>
            <a:ext cx="1948993" cy="1950623"/>
          </a:xfrm>
          <a:prstGeom prst="roundRect">
            <a:avLst>
              <a:gd name="adj" fmla="val 2032"/>
            </a:avLst>
          </a:prstGeom>
          <a:solidFill>
            <a:schemeClr val="bg1"/>
          </a:solidFill>
          <a:ln w="9525" algn="ctr">
            <a:solidFill>
              <a:srgbClr val="378CD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34765" tIns="69530" rIns="34765" bIns="34765" anchor="ctr"/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endParaRPr lang="ko-KR" altLang="en-US" sz="17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75" name="Group 134"/>
          <p:cNvGrpSpPr>
            <a:grpSpLocks/>
          </p:cNvGrpSpPr>
          <p:nvPr/>
        </p:nvGrpSpPr>
        <p:grpSpPr bwMode="auto">
          <a:xfrm>
            <a:off x="7541184" y="4120517"/>
            <a:ext cx="1955067" cy="388603"/>
            <a:chOff x="164" y="2205"/>
            <a:chExt cx="1377" cy="149"/>
          </a:xfrm>
        </p:grpSpPr>
        <p:sp>
          <p:nvSpPr>
            <p:cNvPr id="78" name="Rectangle 135"/>
            <p:cNvSpPr>
              <a:spLocks noChangeArrowheads="1"/>
            </p:cNvSpPr>
            <p:nvPr/>
          </p:nvSpPr>
          <p:spPr bwMode="gray">
            <a:xfrm>
              <a:off x="164" y="2205"/>
              <a:ext cx="1377" cy="104"/>
            </a:xfrm>
            <a:prstGeom prst="rect">
              <a:avLst/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79" name="AutoShape 136"/>
            <p:cNvSpPr>
              <a:spLocks noChangeArrowheads="1"/>
            </p:cNvSpPr>
            <p:nvPr/>
          </p:nvSpPr>
          <p:spPr bwMode="gray">
            <a:xfrm>
              <a:off x="164" y="2288"/>
              <a:ext cx="1377" cy="66"/>
            </a:xfrm>
            <a:prstGeom prst="roundRect">
              <a:avLst>
                <a:gd name="adj" fmla="val 26088"/>
              </a:avLst>
            </a:prstGeom>
            <a:solidFill>
              <a:srgbClr val="22A8F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1" hangingPunct="1"/>
              <a:endParaRPr lang="ko-KR" altLang="en-US" sz="1000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 Unicode MS" panose="020B0604020202020204" pitchFamily="50" charset="-127"/>
              </a:endParaRPr>
            </a:p>
          </p:txBody>
        </p:sp>
      </p:grpSp>
      <p:sp>
        <p:nvSpPr>
          <p:cNvPr id="76" name="Rectangle 138"/>
          <p:cNvSpPr>
            <a:spLocks noChangeArrowheads="1"/>
          </p:cNvSpPr>
          <p:nvPr/>
        </p:nvSpPr>
        <p:spPr bwMode="gray">
          <a:xfrm>
            <a:off x="8009275" y="4149080"/>
            <a:ext cx="1072409" cy="355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4E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10000"/>
              </a:spcBef>
              <a:buSzPct val="80000"/>
            </a:pPr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표준화</a:t>
            </a:r>
            <a:r>
              <a:rPr lang="en-US" altLang="ko-KR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체계화된</a:t>
            </a:r>
            <a:endParaRPr lang="en-US" altLang="ko-KR" sz="110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1" hangingPunct="1">
              <a:spcBef>
                <a:spcPct val="10000"/>
              </a:spcBef>
              <a:buSzPct val="80000"/>
            </a:pPr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관리</a:t>
            </a:r>
            <a:endParaRPr lang="ko-KR" altLang="ko-KR" sz="110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7" name="Rectangle 6"/>
          <p:cNvSpPr>
            <a:spLocks noChangeArrowheads="1"/>
          </p:cNvSpPr>
          <p:nvPr/>
        </p:nvSpPr>
        <p:spPr bwMode="gray">
          <a:xfrm>
            <a:off x="7588663" y="4617132"/>
            <a:ext cx="1809456" cy="892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08688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88900" indent="-889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사의 메타 데이터 표준을 활용한 데이터 모델링 수행</a:t>
            </a:r>
          </a:p>
          <a:p>
            <a:pPr>
              <a:lnSpc>
                <a:spcPct val="110000"/>
              </a:lnSpc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별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제 영역을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반으로 데이터 마트를 구성하여 체계화 된 데이터 관리 체계 구축</a:t>
            </a:r>
          </a:p>
        </p:txBody>
      </p:sp>
      <p:pic>
        <p:nvPicPr>
          <p:cNvPr id="102" name="Picture 81" descr="헤드(밑줄,별x)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9" t="31548" r="22443" b="59608"/>
          <a:stretch>
            <a:fillRect/>
          </a:stretch>
        </p:blipFill>
        <p:spPr bwMode="auto">
          <a:xfrm>
            <a:off x="3114826" y="2789241"/>
            <a:ext cx="342235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487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6.2 </a:t>
            </a:r>
            <a:r>
              <a:rPr lang="ko-KR" altLang="en-US" dirty="0" smtClean="0"/>
              <a:t>업무별 마트 세분화 전략</a:t>
            </a:r>
            <a:endParaRPr lang="ko-KR" altLang="en-US" dirty="0"/>
          </a:p>
        </p:txBody>
      </p:sp>
      <p:sp>
        <p:nvSpPr>
          <p:cNvPr id="6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0705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룰 시나리오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건 상세 분석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통해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통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준 및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추출 조건 항목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도출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메타 데이터 표준 적용 업무별 마트 설계를 기반으로 세분화된 업무별 마트를 구축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룰 시나리오 마트 구성 절차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856570" y="5007080"/>
            <a:ext cx="7759695" cy="987320"/>
          </a:xfrm>
          <a:prstGeom prst="roundRect">
            <a:avLst>
              <a:gd name="adj" fmla="val 1819"/>
            </a:avLst>
          </a:prstGeom>
          <a:solidFill>
            <a:srgbClr val="FFFFFF"/>
          </a:solidFill>
          <a:ln w="6350" algn="ctr">
            <a:solidFill>
              <a:srgbClr val="969696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020" y="2060840"/>
            <a:ext cx="7767815" cy="2921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AutoShape 110"/>
          <p:cNvSpPr>
            <a:spLocks noChangeArrowheads="1"/>
          </p:cNvSpPr>
          <p:nvPr/>
        </p:nvSpPr>
        <p:spPr bwMode="gray">
          <a:xfrm rot="10800000" flipH="1" flipV="1">
            <a:off x="303809" y="6061670"/>
            <a:ext cx="1440000" cy="360000"/>
          </a:xfrm>
          <a:prstGeom prst="rect">
            <a:avLst/>
          </a:prstGeom>
          <a:solidFill>
            <a:srgbClr val="A5A5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1000" dirty="0" smtClean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메타 데이터 표준 적용</a:t>
            </a:r>
            <a:endParaRPr lang="en-US" altLang="ko-KR" sz="1000" dirty="0" smtClean="0">
              <a:solidFill>
                <a:srgbClr val="FFFFFF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  <a:p>
            <a:pPr algn="ctr" eaLnBrk="1" latinLnBrk="0" hangingPunct="1"/>
            <a:r>
              <a:rPr lang="ko-KR" altLang="en-US" sz="1000" dirty="0" smtClean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업무별 마트 설계</a:t>
            </a:r>
            <a:endParaRPr lang="ko-KR" altLang="en-US" sz="1000" dirty="0">
              <a:solidFill>
                <a:srgbClr val="FFFFFF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</p:txBody>
      </p:sp>
      <p:sp>
        <p:nvSpPr>
          <p:cNvPr id="16" name="AutoShape 110"/>
          <p:cNvSpPr>
            <a:spLocks noChangeArrowheads="1"/>
          </p:cNvSpPr>
          <p:nvPr/>
        </p:nvSpPr>
        <p:spPr bwMode="gray">
          <a:xfrm rot="10800000" flipH="1" flipV="1">
            <a:off x="303809" y="5013176"/>
            <a:ext cx="1440000" cy="360000"/>
          </a:xfrm>
          <a:prstGeom prst="rect">
            <a:avLst/>
          </a:prstGeom>
          <a:solidFill>
            <a:srgbClr val="8A8A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1000" dirty="0" smtClean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공통 기준 및 추출 조건</a:t>
            </a:r>
            <a:endParaRPr lang="en-US" altLang="ko-KR" sz="1000" dirty="0" smtClean="0">
              <a:solidFill>
                <a:srgbClr val="FFFFFF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  <a:p>
            <a:pPr algn="ctr" eaLnBrk="1" latinLnBrk="0" hangingPunct="1"/>
            <a:r>
              <a:rPr lang="ko-KR" altLang="en-US" sz="1000" dirty="0" smtClean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항목 도출</a:t>
            </a:r>
            <a:endParaRPr lang="ko-KR" altLang="en-US" sz="1000" dirty="0">
              <a:solidFill>
                <a:srgbClr val="FFFFFF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</p:txBody>
      </p:sp>
      <p:sp>
        <p:nvSpPr>
          <p:cNvPr id="17" name="AutoShape 110"/>
          <p:cNvSpPr>
            <a:spLocks noChangeArrowheads="1"/>
          </p:cNvSpPr>
          <p:nvPr/>
        </p:nvSpPr>
        <p:spPr bwMode="gray">
          <a:xfrm rot="10800000" flipH="1" flipV="1">
            <a:off x="303809" y="3140968"/>
            <a:ext cx="1440000" cy="360000"/>
          </a:xfrm>
          <a:prstGeom prst="rect">
            <a:avLst/>
          </a:prstGeom>
          <a:solidFill>
            <a:srgbClr val="5E5E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1000" dirty="0" smtClean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룰 시나리오 요건</a:t>
            </a:r>
            <a:endParaRPr lang="en-US" altLang="ko-KR" sz="1000" dirty="0" smtClean="0">
              <a:solidFill>
                <a:srgbClr val="FFFFFF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  <a:p>
            <a:pPr algn="ctr" eaLnBrk="1" latinLnBrk="0" hangingPunct="1"/>
            <a:r>
              <a:rPr lang="ko-KR" altLang="en-US" sz="1000" dirty="0" smtClean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상세 분석</a:t>
            </a:r>
            <a:endParaRPr lang="ko-KR" altLang="en-US" sz="1000" dirty="0">
              <a:solidFill>
                <a:srgbClr val="FFFFFF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1864384" y="2417761"/>
            <a:ext cx="194013" cy="2522370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2085184" y="2417761"/>
            <a:ext cx="194013" cy="2522370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20" name="Rectangle 188"/>
          <p:cNvSpPr>
            <a:spLocks noChangeArrowheads="1"/>
          </p:cNvSpPr>
          <p:nvPr/>
        </p:nvSpPr>
        <p:spPr bwMode="auto">
          <a:xfrm>
            <a:off x="2326235" y="5057390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구분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" name="Rectangle 188"/>
          <p:cNvSpPr>
            <a:spLocks noChangeArrowheads="1"/>
          </p:cNvSpPr>
          <p:nvPr/>
        </p:nvSpPr>
        <p:spPr bwMode="auto">
          <a:xfrm>
            <a:off x="3024412" y="5057390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lert</a:t>
            </a: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준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2" name="AutoShape 110" descr="넓은 하향 대각선"/>
          <p:cNvSpPr>
            <a:spLocks noChangeArrowheads="1"/>
          </p:cNvSpPr>
          <p:nvPr/>
        </p:nvSpPr>
        <p:spPr bwMode="gray">
          <a:xfrm rot="10800000" flipH="1" flipV="1">
            <a:off x="1880015" y="5035871"/>
            <a:ext cx="424245" cy="948555"/>
          </a:xfrm>
          <a:prstGeom prst="rect">
            <a:avLst/>
          </a:prstGeom>
          <a:pattFill prst="wdDnDiag">
            <a:fgClr>
              <a:srgbClr val="F0F0F0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 smtClean="0">
                <a:solidFill>
                  <a:srgbClr val="4D4D4D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공통</a:t>
            </a:r>
            <a:endParaRPr lang="en-US" altLang="ko-KR" sz="1000" dirty="0" smtClean="0">
              <a:solidFill>
                <a:srgbClr val="4D4D4D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  <a:p>
            <a:pPr algn="ctr" eaLnBrk="1" hangingPunct="1"/>
            <a:r>
              <a:rPr lang="ko-KR" altLang="en-US" sz="1000" dirty="0" smtClean="0">
                <a:solidFill>
                  <a:srgbClr val="4D4D4D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기준</a:t>
            </a:r>
            <a:endParaRPr lang="ko-KR" altLang="en-US" sz="1000" dirty="0">
              <a:solidFill>
                <a:srgbClr val="4D4D4D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</p:txBody>
      </p:sp>
      <p:sp>
        <p:nvSpPr>
          <p:cNvPr id="23" name="Rectangle 188"/>
          <p:cNvSpPr>
            <a:spLocks noChangeArrowheads="1"/>
          </p:cNvSpPr>
          <p:nvPr/>
        </p:nvSpPr>
        <p:spPr bwMode="auto">
          <a:xfrm>
            <a:off x="3722589" y="5057390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주기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5" name="Rectangle 188"/>
          <p:cNvSpPr>
            <a:spLocks noChangeArrowheads="1"/>
          </p:cNvSpPr>
          <p:nvPr/>
        </p:nvSpPr>
        <p:spPr bwMode="auto">
          <a:xfrm>
            <a:off x="5817120" y="5057390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입지구분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3959061" y="2420888"/>
            <a:ext cx="194013" cy="2522370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5549445" y="2512700"/>
            <a:ext cx="936000" cy="396656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5549445" y="3059989"/>
            <a:ext cx="936000" cy="237525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5549445" y="3568370"/>
            <a:ext cx="936000" cy="256674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5549445" y="4116294"/>
            <a:ext cx="936000" cy="248809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5549445" y="4587477"/>
            <a:ext cx="936000" cy="314703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2" name="Rectangle 188"/>
          <p:cNvSpPr>
            <a:spLocks noChangeArrowheads="1"/>
          </p:cNvSpPr>
          <p:nvPr/>
        </p:nvSpPr>
        <p:spPr bwMode="auto">
          <a:xfrm>
            <a:off x="5118943" y="5057390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채널구분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3" name="직사각형 4" descr="5차전산센터ob-10"/>
          <p:cNvSpPr>
            <a:spLocks noChangeArrowheads="1"/>
          </p:cNvSpPr>
          <p:nvPr/>
        </p:nvSpPr>
        <p:spPr bwMode="auto">
          <a:xfrm>
            <a:off x="2326235" y="5310539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수신</a:t>
            </a:r>
            <a:endParaRPr lang="ko-KR" altLang="en-US" sz="90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4" name="직사각형 4" descr="5차전산센터ob-10"/>
          <p:cNvSpPr>
            <a:spLocks noChangeArrowheads="1"/>
          </p:cNvSpPr>
          <p:nvPr/>
        </p:nvSpPr>
        <p:spPr bwMode="auto">
          <a:xfrm>
            <a:off x="3024412" y="5310539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계좌</a:t>
            </a:r>
            <a:endParaRPr lang="ko-KR" altLang="en-US" sz="90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5" name="직사각형 4" descr="5차전산센터ob-10"/>
          <p:cNvSpPr>
            <a:spLocks noChangeArrowheads="1"/>
          </p:cNvSpPr>
          <p:nvPr/>
        </p:nvSpPr>
        <p:spPr bwMode="auto">
          <a:xfrm>
            <a:off x="3031500" y="5605173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고객</a:t>
            </a:r>
            <a:endParaRPr lang="ko-KR" altLang="en-US" sz="90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6" name="직사각형 4" descr="5차전산센터ob-10"/>
          <p:cNvSpPr>
            <a:spLocks noChangeArrowheads="1"/>
          </p:cNvSpPr>
          <p:nvPr/>
        </p:nvSpPr>
        <p:spPr bwMode="auto">
          <a:xfrm>
            <a:off x="3722589" y="5310539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en-US" altLang="ko-KR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7</a:t>
            </a:r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일</a:t>
            </a:r>
            <a:endParaRPr lang="ko-KR" altLang="en-US" sz="90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7" name="직사각형 4" descr="5차전산센터ob-10"/>
          <p:cNvSpPr>
            <a:spLocks noChangeArrowheads="1"/>
          </p:cNvSpPr>
          <p:nvPr/>
        </p:nvSpPr>
        <p:spPr bwMode="auto">
          <a:xfrm>
            <a:off x="3727905" y="5605173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en-US" altLang="ko-KR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7</a:t>
            </a:r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일</a:t>
            </a:r>
            <a:endParaRPr lang="ko-KR" altLang="en-US" sz="90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38" name="직사각형 4" descr="5차전산센터ob-10"/>
          <p:cNvSpPr>
            <a:spLocks noChangeArrowheads="1"/>
          </p:cNvSpPr>
          <p:nvPr/>
        </p:nvSpPr>
        <p:spPr bwMode="auto">
          <a:xfrm>
            <a:off x="5118943" y="5310539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sp>
        <p:nvSpPr>
          <p:cNvPr id="39" name="직사각형 4" descr="5차전산센터ob-10"/>
          <p:cNvSpPr>
            <a:spLocks noChangeArrowheads="1"/>
          </p:cNvSpPr>
          <p:nvPr/>
        </p:nvSpPr>
        <p:spPr bwMode="auto">
          <a:xfrm>
            <a:off x="5120715" y="5605173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sp>
        <p:nvSpPr>
          <p:cNvPr id="40" name="직사각형 4" descr="5차전산센터ob-10"/>
          <p:cNvSpPr>
            <a:spLocks noChangeArrowheads="1"/>
          </p:cNvSpPr>
          <p:nvPr/>
        </p:nvSpPr>
        <p:spPr bwMode="auto">
          <a:xfrm>
            <a:off x="5817120" y="5310539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sp>
        <p:nvSpPr>
          <p:cNvPr id="41" name="직사각형 4" descr="5차전산센터ob-10"/>
          <p:cNvSpPr>
            <a:spLocks noChangeArrowheads="1"/>
          </p:cNvSpPr>
          <p:nvPr/>
        </p:nvSpPr>
        <p:spPr bwMode="auto">
          <a:xfrm>
            <a:off x="5817120" y="5605173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cxnSp>
        <p:nvCxnSpPr>
          <p:cNvPr id="42" name="직선 연결선 41"/>
          <p:cNvCxnSpPr>
            <a:stCxn id="33" idx="3"/>
            <a:endCxn id="34" idx="1"/>
          </p:cNvCxnSpPr>
          <p:nvPr/>
        </p:nvCxnSpPr>
        <p:spPr bwMode="auto">
          <a:xfrm>
            <a:off x="2902235" y="5382539"/>
            <a:ext cx="122177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직선 연결선 42"/>
          <p:cNvCxnSpPr>
            <a:stCxn id="33" idx="3"/>
            <a:endCxn id="35" idx="1"/>
          </p:cNvCxnSpPr>
          <p:nvPr/>
        </p:nvCxnSpPr>
        <p:spPr bwMode="auto">
          <a:xfrm>
            <a:off x="2902235" y="5382539"/>
            <a:ext cx="129265" cy="294634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직선 연결선 43"/>
          <p:cNvCxnSpPr>
            <a:stCxn id="34" idx="3"/>
            <a:endCxn id="36" idx="1"/>
          </p:cNvCxnSpPr>
          <p:nvPr/>
        </p:nvCxnSpPr>
        <p:spPr bwMode="auto">
          <a:xfrm>
            <a:off x="3600412" y="5382539"/>
            <a:ext cx="122177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직선 연결선 44"/>
          <p:cNvCxnSpPr>
            <a:stCxn id="36" idx="3"/>
            <a:endCxn id="52" idx="1"/>
          </p:cNvCxnSpPr>
          <p:nvPr/>
        </p:nvCxnSpPr>
        <p:spPr bwMode="auto">
          <a:xfrm>
            <a:off x="4298589" y="5382539"/>
            <a:ext cx="122177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직선 연결선 45"/>
          <p:cNvCxnSpPr>
            <a:stCxn id="38" idx="3"/>
            <a:endCxn id="40" idx="1"/>
          </p:cNvCxnSpPr>
          <p:nvPr/>
        </p:nvCxnSpPr>
        <p:spPr bwMode="auto">
          <a:xfrm>
            <a:off x="5694943" y="5382539"/>
            <a:ext cx="122177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직선 연결선 46"/>
          <p:cNvCxnSpPr>
            <a:stCxn id="35" idx="3"/>
            <a:endCxn id="37" idx="1"/>
          </p:cNvCxnSpPr>
          <p:nvPr/>
        </p:nvCxnSpPr>
        <p:spPr bwMode="auto">
          <a:xfrm>
            <a:off x="3607500" y="5677173"/>
            <a:ext cx="120405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직선 연결선 47"/>
          <p:cNvCxnSpPr>
            <a:stCxn id="37" idx="3"/>
            <a:endCxn id="53" idx="1"/>
          </p:cNvCxnSpPr>
          <p:nvPr/>
        </p:nvCxnSpPr>
        <p:spPr bwMode="auto">
          <a:xfrm>
            <a:off x="4303905" y="5677173"/>
            <a:ext cx="120405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직선 연결선 48"/>
          <p:cNvCxnSpPr>
            <a:stCxn id="39" idx="3"/>
            <a:endCxn id="41" idx="1"/>
          </p:cNvCxnSpPr>
          <p:nvPr/>
        </p:nvCxnSpPr>
        <p:spPr bwMode="auto">
          <a:xfrm>
            <a:off x="5696715" y="5677173"/>
            <a:ext cx="120405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AutoShape 110" descr="넓은 하향 대각선"/>
          <p:cNvSpPr>
            <a:spLocks noChangeArrowheads="1"/>
          </p:cNvSpPr>
          <p:nvPr/>
        </p:nvSpPr>
        <p:spPr bwMode="gray">
          <a:xfrm rot="10800000" flipH="1" flipV="1">
            <a:off x="7169681" y="5033145"/>
            <a:ext cx="424245" cy="948555"/>
          </a:xfrm>
          <a:prstGeom prst="rect">
            <a:avLst/>
          </a:prstGeom>
          <a:pattFill prst="wdDnDiag">
            <a:fgClr>
              <a:srgbClr val="F0F0F0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 smtClean="0">
                <a:solidFill>
                  <a:srgbClr val="4D4D4D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추출</a:t>
            </a:r>
            <a:endParaRPr lang="en-US" altLang="ko-KR" sz="1000" dirty="0" smtClean="0">
              <a:solidFill>
                <a:srgbClr val="4D4D4D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  <a:p>
            <a:pPr algn="ctr" eaLnBrk="1" hangingPunct="1"/>
            <a:r>
              <a:rPr lang="ko-KR" altLang="en-US" sz="1000" dirty="0" smtClean="0">
                <a:solidFill>
                  <a:srgbClr val="4D4D4D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조건</a:t>
            </a:r>
            <a:endParaRPr lang="en-US" altLang="ko-KR" sz="1000" dirty="0" smtClean="0">
              <a:solidFill>
                <a:srgbClr val="4D4D4D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  <a:p>
            <a:pPr algn="ctr" eaLnBrk="1" hangingPunct="1"/>
            <a:r>
              <a:rPr lang="ko-KR" altLang="en-US" sz="1000" dirty="0" smtClean="0">
                <a:solidFill>
                  <a:srgbClr val="4D4D4D"/>
                </a:solidFill>
                <a:latin typeface="나눔바른고딕" pitchFamily="50" charset="-127"/>
                <a:ea typeface="KoPub돋움체 Light" panose="00000300000000000000"/>
                <a:cs typeface="Times New Roman" panose="02020603050405020304" pitchFamily="18" charset="0"/>
              </a:rPr>
              <a:t>항목</a:t>
            </a:r>
            <a:endParaRPr lang="ko-KR" altLang="en-US" sz="1000" dirty="0">
              <a:solidFill>
                <a:srgbClr val="4D4D4D"/>
              </a:solidFill>
              <a:latin typeface="나눔바른고딕" pitchFamily="50" charset="-127"/>
              <a:ea typeface="KoPub돋움체 Light" panose="00000300000000000000"/>
              <a:cs typeface="Times New Roman" panose="02020603050405020304" pitchFamily="18" charset="0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6707064" y="2411362"/>
            <a:ext cx="1260000" cy="521805"/>
          </a:xfrm>
          <a:prstGeom prst="rect">
            <a:avLst/>
          </a:prstGeom>
          <a:noFill/>
          <a:ln w="12700" cap="flat" cmpd="sng" algn="ctr">
            <a:solidFill>
              <a:srgbClr val="378CD9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52" name="직사각형 4" descr="5차전산센터ob-10"/>
          <p:cNvSpPr>
            <a:spLocks noChangeArrowheads="1"/>
          </p:cNvSpPr>
          <p:nvPr/>
        </p:nvSpPr>
        <p:spPr bwMode="auto">
          <a:xfrm>
            <a:off x="4420766" y="5310539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sp>
        <p:nvSpPr>
          <p:cNvPr id="53" name="직사각형 4" descr="5차전산센터ob-10"/>
          <p:cNvSpPr>
            <a:spLocks noChangeArrowheads="1"/>
          </p:cNvSpPr>
          <p:nvPr/>
        </p:nvSpPr>
        <p:spPr bwMode="auto">
          <a:xfrm>
            <a:off x="4424310" y="5605173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sp>
        <p:nvSpPr>
          <p:cNvPr id="55" name="Rectangle 188"/>
          <p:cNvSpPr>
            <a:spLocks noChangeArrowheads="1"/>
          </p:cNvSpPr>
          <p:nvPr/>
        </p:nvSpPr>
        <p:spPr bwMode="auto">
          <a:xfrm>
            <a:off x="4420766" y="5057390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상</a:t>
            </a:r>
            <a:r>
              <a:rPr lang="ko-KR" altLang="en-US" sz="9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품</a:t>
            </a: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구분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56" name="직선 연결선 55"/>
          <p:cNvCxnSpPr>
            <a:stCxn id="52" idx="3"/>
            <a:endCxn id="38" idx="1"/>
          </p:cNvCxnSpPr>
          <p:nvPr/>
        </p:nvCxnSpPr>
        <p:spPr bwMode="auto">
          <a:xfrm>
            <a:off x="4996766" y="5382539"/>
            <a:ext cx="122177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직선 연결선 56"/>
          <p:cNvCxnSpPr>
            <a:stCxn id="53" idx="3"/>
            <a:endCxn id="39" idx="1"/>
          </p:cNvCxnSpPr>
          <p:nvPr/>
        </p:nvCxnSpPr>
        <p:spPr bwMode="auto">
          <a:xfrm>
            <a:off x="5000310" y="5677173"/>
            <a:ext cx="120405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188"/>
          <p:cNvSpPr>
            <a:spLocks noChangeArrowheads="1"/>
          </p:cNvSpPr>
          <p:nvPr/>
        </p:nvSpPr>
        <p:spPr bwMode="auto">
          <a:xfrm>
            <a:off x="7689460" y="5059429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금액합계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6707064" y="4445470"/>
            <a:ext cx="1260000" cy="496297"/>
          </a:xfrm>
          <a:prstGeom prst="rect">
            <a:avLst/>
          </a:prstGeom>
          <a:noFill/>
          <a:ln w="12700" cap="flat" cmpd="sng" algn="ctr">
            <a:solidFill>
              <a:srgbClr val="378CD9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6707064" y="2961820"/>
            <a:ext cx="1260000" cy="346160"/>
          </a:xfrm>
          <a:prstGeom prst="rect">
            <a:avLst/>
          </a:prstGeom>
          <a:noFill/>
          <a:ln w="12700" cap="flat" cmpd="sng" algn="ctr">
            <a:solidFill>
              <a:srgbClr val="378CD9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6707064" y="3347381"/>
            <a:ext cx="1260000" cy="600313"/>
          </a:xfrm>
          <a:prstGeom prst="rect">
            <a:avLst/>
          </a:prstGeom>
          <a:noFill/>
          <a:ln w="12700" cap="flat" cmpd="sng" algn="ctr">
            <a:solidFill>
              <a:srgbClr val="378CD9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6707064" y="3970205"/>
            <a:ext cx="1260000" cy="446433"/>
          </a:xfrm>
          <a:prstGeom prst="rect">
            <a:avLst/>
          </a:prstGeom>
          <a:noFill/>
          <a:ln w="12700" cap="flat" cmpd="sng" algn="ctr">
            <a:solidFill>
              <a:srgbClr val="378CD9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63" name="Rectangle 188"/>
          <p:cNvSpPr>
            <a:spLocks noChangeArrowheads="1"/>
          </p:cNvSpPr>
          <p:nvPr/>
        </p:nvSpPr>
        <p:spPr bwMode="auto">
          <a:xfrm>
            <a:off x="8364863" y="5059429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횟수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4" name="Rectangle 188"/>
          <p:cNvSpPr>
            <a:spLocks noChangeArrowheads="1"/>
          </p:cNvSpPr>
          <p:nvPr/>
        </p:nvSpPr>
        <p:spPr bwMode="auto">
          <a:xfrm>
            <a:off x="9001190" y="5059429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원장성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5" name="직사각형 4" descr="5차전산센터ob-10"/>
          <p:cNvSpPr>
            <a:spLocks noChangeArrowheads="1"/>
          </p:cNvSpPr>
          <p:nvPr/>
        </p:nvSpPr>
        <p:spPr bwMode="auto">
          <a:xfrm>
            <a:off x="7689460" y="5285515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거래금액</a:t>
            </a:r>
            <a:endParaRPr lang="ko-KR" altLang="en-US" sz="90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66" name="직사각형 4" descr="5차전산센터ob-10"/>
          <p:cNvSpPr>
            <a:spLocks noChangeArrowheads="1"/>
          </p:cNvSpPr>
          <p:nvPr/>
        </p:nvSpPr>
        <p:spPr bwMode="auto">
          <a:xfrm>
            <a:off x="8369295" y="5285515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금액조건별</a:t>
            </a:r>
            <a:endParaRPr lang="en-US" altLang="ko-KR" sz="90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67" name="Rectangle 188"/>
          <p:cNvSpPr>
            <a:spLocks noChangeArrowheads="1"/>
          </p:cNvSpPr>
          <p:nvPr/>
        </p:nvSpPr>
        <p:spPr bwMode="auto">
          <a:xfrm>
            <a:off x="6506252" y="5057390"/>
            <a:ext cx="576000" cy="180000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수단</a:t>
            </a:r>
            <a:endParaRPr lang="ko-KR" altLang="en-US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8" name="직사각형 4" descr="5차전산센터ob-10"/>
          <p:cNvSpPr>
            <a:spLocks noChangeArrowheads="1"/>
          </p:cNvSpPr>
          <p:nvPr/>
        </p:nvSpPr>
        <p:spPr bwMode="auto">
          <a:xfrm>
            <a:off x="6506252" y="5310539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sp>
        <p:nvSpPr>
          <p:cNvPr id="69" name="직사각형 4" descr="5차전산센터ob-10"/>
          <p:cNvSpPr>
            <a:spLocks noChangeArrowheads="1"/>
          </p:cNvSpPr>
          <p:nvPr/>
        </p:nvSpPr>
        <p:spPr bwMode="auto">
          <a:xfrm>
            <a:off x="6506252" y="5605173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코드</a:t>
            </a:r>
            <a:r>
              <a:rPr lang="ko-KR" altLang="en-US" sz="9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값</a:t>
            </a:r>
          </a:p>
        </p:txBody>
      </p:sp>
      <p:cxnSp>
        <p:nvCxnSpPr>
          <p:cNvPr id="70" name="직선 연결선 69"/>
          <p:cNvCxnSpPr>
            <a:stCxn id="40" idx="3"/>
            <a:endCxn id="68" idx="1"/>
          </p:cNvCxnSpPr>
          <p:nvPr/>
        </p:nvCxnSpPr>
        <p:spPr bwMode="auto">
          <a:xfrm>
            <a:off x="6393120" y="5382539"/>
            <a:ext cx="113132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직선 연결선 70"/>
          <p:cNvCxnSpPr>
            <a:stCxn id="41" idx="3"/>
            <a:endCxn id="69" idx="1"/>
          </p:cNvCxnSpPr>
          <p:nvPr/>
        </p:nvCxnSpPr>
        <p:spPr bwMode="auto">
          <a:xfrm>
            <a:off x="6393120" y="5677173"/>
            <a:ext cx="113132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직사각형 4" descr="5차전산센터ob-10"/>
          <p:cNvSpPr>
            <a:spLocks noChangeArrowheads="1"/>
          </p:cNvSpPr>
          <p:nvPr/>
        </p:nvSpPr>
        <p:spPr bwMode="auto">
          <a:xfrm>
            <a:off x="9001190" y="5285515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연령</a:t>
            </a:r>
            <a:endParaRPr lang="en-US" altLang="ko-KR" sz="90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73" name="직사각형 4" descr="5차전산센터ob-10"/>
          <p:cNvSpPr>
            <a:spLocks noChangeArrowheads="1"/>
          </p:cNvSpPr>
          <p:nvPr/>
        </p:nvSpPr>
        <p:spPr bwMode="auto">
          <a:xfrm>
            <a:off x="9001190" y="5458048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신용불량자</a:t>
            </a:r>
            <a:endParaRPr lang="en-US" altLang="ko-KR" sz="90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74" name="직사각형 4" descr="5차전산센터ob-10"/>
          <p:cNvSpPr>
            <a:spLocks noChangeArrowheads="1"/>
          </p:cNvSpPr>
          <p:nvPr/>
        </p:nvSpPr>
        <p:spPr bwMode="auto">
          <a:xfrm>
            <a:off x="9001190" y="5630581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개설일자</a:t>
            </a:r>
            <a:endParaRPr lang="en-US" altLang="ko-KR" sz="90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75" name="직사각형 4" descr="5차전산센터ob-10"/>
          <p:cNvSpPr>
            <a:spLocks noChangeArrowheads="1"/>
          </p:cNvSpPr>
          <p:nvPr/>
        </p:nvSpPr>
        <p:spPr bwMode="auto">
          <a:xfrm>
            <a:off x="9001190" y="5803115"/>
            <a:ext cx="576000" cy="144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rgbClr val="97CDE5"/>
            </a:solidFill>
            <a:round/>
            <a:headEnd/>
            <a:tailEnd/>
          </a:ln>
          <a:effectLst>
            <a:outerShdw dist="254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1068388" latinLnBrk="0"/>
            <a:r>
              <a:rPr lang="ko-KR" altLang="en-US" sz="90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계좌잔액</a:t>
            </a:r>
            <a:endParaRPr lang="en-US" altLang="ko-KR" sz="90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76" name="AutoShape 73"/>
          <p:cNvSpPr>
            <a:spLocks noChangeArrowheads="1"/>
          </p:cNvSpPr>
          <p:nvPr/>
        </p:nvSpPr>
        <p:spPr bwMode="auto">
          <a:xfrm>
            <a:off x="1858021" y="6052632"/>
            <a:ext cx="7758244" cy="400788"/>
          </a:xfrm>
          <a:prstGeom prst="roundRect">
            <a:avLst>
              <a:gd name="adj" fmla="val 1819"/>
            </a:avLst>
          </a:prstGeom>
          <a:solidFill>
            <a:srgbClr val="FFFFFF"/>
          </a:solidFill>
          <a:ln w="6350" algn="ctr">
            <a:solidFill>
              <a:srgbClr val="969696"/>
            </a:solidFill>
            <a:round/>
            <a:headEnd/>
            <a:tailEnd/>
          </a:ln>
        </p:spPr>
        <p:txBody>
          <a:bodyPr wrap="none" anchor="ctr"/>
          <a:lstStyle/>
          <a:p>
            <a:pPr marL="144000" indent="-1440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메타 표준용어 및 도메인 적용</a:t>
            </a:r>
            <a:endParaRPr kumimoji="0" lang="en-US" altLang="ko-KR" sz="900" kern="0" dirty="0" smtClean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  <a:p>
            <a:pPr marL="144000" indent="-144000" fontAlgn="auto" latinLnBrk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신규 용어 및 도메인 존재시 신청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rPr>
              <a:t>등록</a:t>
            </a:r>
            <a:endParaRPr kumimoji="0" lang="ko-KR" altLang="en-US" sz="900" kern="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77" name="AutoShape 143"/>
          <p:cNvSpPr>
            <a:spLocks noChangeArrowheads="1"/>
          </p:cNvSpPr>
          <p:nvPr/>
        </p:nvSpPr>
        <p:spPr bwMode="gray">
          <a:xfrm>
            <a:off x="4153075" y="6111840"/>
            <a:ext cx="400050" cy="287990"/>
          </a:xfrm>
          <a:prstGeom prst="rightArrow">
            <a:avLst>
              <a:gd name="adj1" fmla="val 76435"/>
              <a:gd name="adj2" fmla="val 38264"/>
            </a:avLst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lang="en-US" altLang="ko-KR" kern="0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grpSp>
        <p:nvGrpSpPr>
          <p:cNvPr id="78" name="그룹 77"/>
          <p:cNvGrpSpPr/>
          <p:nvPr/>
        </p:nvGrpSpPr>
        <p:grpSpPr>
          <a:xfrm>
            <a:off x="4592950" y="6089451"/>
            <a:ext cx="792000" cy="324000"/>
            <a:chOff x="222794" y="3262946"/>
            <a:chExt cx="576000" cy="216000"/>
          </a:xfrm>
        </p:grpSpPr>
        <p:pic>
          <p:nvPicPr>
            <p:cNvPr id="79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4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794" y="3262946"/>
              <a:ext cx="57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0" name="Text Box 57"/>
            <p:cNvSpPr txBox="1">
              <a:spLocks noChangeArrowheads="1"/>
            </p:cNvSpPr>
            <p:nvPr/>
          </p:nvSpPr>
          <p:spPr bwMode="gray">
            <a:xfrm>
              <a:off x="278807" y="3288875"/>
              <a:ext cx="463996" cy="164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신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계좌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당일</a:t>
              </a:r>
              <a:endParaRPr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집계현</a:t>
              </a:r>
              <a:r>
                <a:rPr lang="ko-KR" altLang="en-US" sz="8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황</a:t>
              </a:r>
            </a:p>
          </p:txBody>
        </p:sp>
      </p:grpSp>
      <p:grpSp>
        <p:nvGrpSpPr>
          <p:cNvPr id="81" name="그룹 80"/>
          <p:cNvGrpSpPr/>
          <p:nvPr/>
        </p:nvGrpSpPr>
        <p:grpSpPr>
          <a:xfrm>
            <a:off x="5429388" y="6089451"/>
            <a:ext cx="792000" cy="324000"/>
            <a:chOff x="222794" y="3262946"/>
            <a:chExt cx="576000" cy="216000"/>
          </a:xfrm>
        </p:grpSpPr>
        <p:pic>
          <p:nvPicPr>
            <p:cNvPr id="82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4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794" y="3262946"/>
              <a:ext cx="57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3" name="Text Box 57"/>
            <p:cNvSpPr txBox="1">
              <a:spLocks noChangeArrowheads="1"/>
            </p:cNvSpPr>
            <p:nvPr/>
          </p:nvSpPr>
          <p:spPr bwMode="gray">
            <a:xfrm>
              <a:off x="292215" y="3288875"/>
              <a:ext cx="437183" cy="164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신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계좌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en-US" altLang="ko-KR" sz="8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7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일</a:t>
              </a:r>
              <a:endParaRPr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집계현</a:t>
              </a:r>
              <a:r>
                <a:rPr lang="ko-KR" altLang="en-US" sz="8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황</a:t>
              </a:r>
            </a:p>
          </p:txBody>
        </p:sp>
      </p:grpSp>
      <p:grpSp>
        <p:nvGrpSpPr>
          <p:cNvPr id="84" name="그룹 83"/>
          <p:cNvGrpSpPr/>
          <p:nvPr/>
        </p:nvGrpSpPr>
        <p:grpSpPr>
          <a:xfrm>
            <a:off x="6265826" y="6089451"/>
            <a:ext cx="792000" cy="324000"/>
            <a:chOff x="222794" y="3262946"/>
            <a:chExt cx="576000" cy="216000"/>
          </a:xfrm>
        </p:grpSpPr>
        <p:pic>
          <p:nvPicPr>
            <p:cNvPr id="85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4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794" y="3262946"/>
              <a:ext cx="57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6" name="Text Box 57"/>
            <p:cNvSpPr txBox="1">
              <a:spLocks noChangeArrowheads="1"/>
            </p:cNvSpPr>
            <p:nvPr/>
          </p:nvSpPr>
          <p:spPr bwMode="gray">
            <a:xfrm>
              <a:off x="278809" y="3288875"/>
              <a:ext cx="463996" cy="164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신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당일</a:t>
              </a:r>
              <a:endParaRPr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집계현</a:t>
              </a:r>
              <a:r>
                <a:rPr lang="ko-KR" altLang="en-US" sz="8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황</a:t>
              </a:r>
            </a:p>
          </p:txBody>
        </p:sp>
      </p:grpSp>
      <p:grpSp>
        <p:nvGrpSpPr>
          <p:cNvPr id="87" name="그룹 86"/>
          <p:cNvGrpSpPr/>
          <p:nvPr/>
        </p:nvGrpSpPr>
        <p:grpSpPr>
          <a:xfrm>
            <a:off x="7102264" y="6089451"/>
            <a:ext cx="792000" cy="324000"/>
            <a:chOff x="222794" y="3262946"/>
            <a:chExt cx="576000" cy="216000"/>
          </a:xfrm>
        </p:grpSpPr>
        <p:pic>
          <p:nvPicPr>
            <p:cNvPr id="88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4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794" y="3262946"/>
              <a:ext cx="57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9" name="Text Box 57"/>
            <p:cNvSpPr txBox="1">
              <a:spLocks noChangeArrowheads="1"/>
            </p:cNvSpPr>
            <p:nvPr/>
          </p:nvSpPr>
          <p:spPr bwMode="gray">
            <a:xfrm>
              <a:off x="292221" y="3288875"/>
              <a:ext cx="437183" cy="164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신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_</a:t>
              </a:r>
              <a:r>
                <a:rPr lang="en-US" altLang="ko-KR" sz="8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7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일</a:t>
              </a:r>
              <a:endParaRPr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집계현</a:t>
              </a:r>
              <a:r>
                <a:rPr lang="ko-KR" altLang="en-US" sz="8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황</a:t>
              </a:r>
            </a:p>
          </p:txBody>
        </p:sp>
      </p:grpSp>
      <p:grpSp>
        <p:nvGrpSpPr>
          <p:cNvPr id="90" name="그룹 89"/>
          <p:cNvGrpSpPr/>
          <p:nvPr/>
        </p:nvGrpSpPr>
        <p:grpSpPr>
          <a:xfrm>
            <a:off x="7938702" y="6089451"/>
            <a:ext cx="792000" cy="324000"/>
            <a:chOff x="222794" y="3262946"/>
            <a:chExt cx="576000" cy="216000"/>
          </a:xfrm>
        </p:grpSpPr>
        <p:pic>
          <p:nvPicPr>
            <p:cNvPr id="91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4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794" y="3262946"/>
              <a:ext cx="57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" name="Text Box 57"/>
            <p:cNvSpPr txBox="1">
              <a:spLocks noChangeArrowheads="1"/>
            </p:cNvSpPr>
            <p:nvPr/>
          </p:nvSpPr>
          <p:spPr bwMode="gray">
            <a:xfrm>
              <a:off x="314956" y="3329912"/>
              <a:ext cx="391716" cy="820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속성정보</a:t>
              </a:r>
              <a:endPara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93" name="그룹 92"/>
          <p:cNvGrpSpPr/>
          <p:nvPr/>
        </p:nvGrpSpPr>
        <p:grpSpPr>
          <a:xfrm>
            <a:off x="8775142" y="6089451"/>
            <a:ext cx="792000" cy="324000"/>
            <a:chOff x="222794" y="3262946"/>
            <a:chExt cx="576000" cy="216000"/>
          </a:xfrm>
        </p:grpSpPr>
        <p:pic>
          <p:nvPicPr>
            <p:cNvPr id="94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4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794" y="3262946"/>
              <a:ext cx="57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5" name="Text Box 57"/>
            <p:cNvSpPr txBox="1">
              <a:spLocks noChangeArrowheads="1"/>
            </p:cNvSpPr>
            <p:nvPr/>
          </p:nvSpPr>
          <p:spPr bwMode="gray">
            <a:xfrm>
              <a:off x="314961" y="3329912"/>
              <a:ext cx="391716" cy="820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계좌속성정보</a:t>
              </a:r>
              <a:endPara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96" name="AutoShape 341"/>
          <p:cNvSpPr>
            <a:spLocks noChangeArrowheads="1"/>
          </p:cNvSpPr>
          <p:nvPr/>
        </p:nvSpPr>
        <p:spPr bwMode="auto">
          <a:xfrm rot="5400000">
            <a:off x="843809" y="3873280"/>
            <a:ext cx="360000" cy="720000"/>
          </a:xfrm>
          <a:prstGeom prst="rightArrow">
            <a:avLst>
              <a:gd name="adj1" fmla="val 50657"/>
              <a:gd name="adj2" fmla="val 38662"/>
            </a:avLst>
          </a:prstGeom>
          <a:gradFill rotWithShape="1">
            <a:gsLst>
              <a:gs pos="0">
                <a:srgbClr val="FAFAFA"/>
              </a:gs>
              <a:gs pos="100000">
                <a:srgbClr val="5F5F5F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ko-KR" altLang="en-US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97" name="AutoShape 341"/>
          <p:cNvSpPr>
            <a:spLocks noChangeArrowheads="1"/>
          </p:cNvSpPr>
          <p:nvPr/>
        </p:nvSpPr>
        <p:spPr bwMode="auto">
          <a:xfrm rot="5400000">
            <a:off x="843809" y="5301268"/>
            <a:ext cx="360000" cy="720000"/>
          </a:xfrm>
          <a:prstGeom prst="rightArrow">
            <a:avLst>
              <a:gd name="adj1" fmla="val 50657"/>
              <a:gd name="adj2" fmla="val 38662"/>
            </a:avLst>
          </a:prstGeom>
          <a:gradFill rotWithShape="1">
            <a:gsLst>
              <a:gs pos="0">
                <a:srgbClr val="FAFAFA"/>
              </a:gs>
              <a:gs pos="100000">
                <a:srgbClr val="5F5F5F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ko-KR" altLang="en-US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pic>
        <p:nvPicPr>
          <p:cNvPr id="98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85279" y="213509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0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02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1547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6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구축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01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058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6.3 </a:t>
            </a:r>
            <a:r>
              <a:rPr lang="ko-KR" altLang="en-US" dirty="0" smtClean="0"/>
              <a:t>데이터 마트 구성도</a:t>
            </a:r>
            <a:endParaRPr lang="ko-KR" altLang="en-US" dirty="0"/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마트 구성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231472" y="2052638"/>
            <a:ext cx="9438052" cy="4436702"/>
            <a:chOff x="231472" y="2052638"/>
            <a:chExt cx="9438052" cy="4436702"/>
          </a:xfrm>
        </p:grpSpPr>
        <p:grpSp>
          <p:nvGrpSpPr>
            <p:cNvPr id="13" name="Group 492"/>
            <p:cNvGrpSpPr>
              <a:grpSpLocks/>
            </p:cNvGrpSpPr>
            <p:nvPr/>
          </p:nvGrpSpPr>
          <p:grpSpPr bwMode="auto">
            <a:xfrm>
              <a:off x="1861822" y="2052638"/>
              <a:ext cx="7807702" cy="4436702"/>
              <a:chOff x="1082" y="1293"/>
              <a:chExt cx="4941" cy="2817"/>
            </a:xfrm>
          </p:grpSpPr>
          <p:sp>
            <p:nvSpPr>
              <p:cNvPr id="14" name="AutoShape 70"/>
              <p:cNvSpPr>
                <a:spLocks noChangeArrowheads="1"/>
              </p:cNvSpPr>
              <p:nvPr/>
            </p:nvSpPr>
            <p:spPr bwMode="auto">
              <a:xfrm>
                <a:off x="1082" y="1293"/>
                <a:ext cx="4941" cy="181"/>
              </a:xfrm>
              <a:prstGeom prst="roundRect">
                <a:avLst>
                  <a:gd name="adj" fmla="val 0"/>
                </a:avLst>
              </a:prstGeom>
              <a:solidFill>
                <a:srgbClr val="005E9E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855663" latinLnBrk="0"/>
                <a:endParaRPr lang="ko-KR" altLang="en-US" dirty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  <a:cs typeface="Times New Roman" pitchFamily="18" charset="0"/>
                </a:endParaRPr>
              </a:p>
            </p:txBody>
          </p:sp>
          <p:sp>
            <p:nvSpPr>
              <p:cNvPr id="15" name="Rectangle 438"/>
              <p:cNvSpPr>
                <a:spLocks noChangeArrowheads="1"/>
              </p:cNvSpPr>
              <p:nvPr/>
            </p:nvSpPr>
            <p:spPr bwMode="auto">
              <a:xfrm>
                <a:off x="1084" y="1457"/>
                <a:ext cx="4939" cy="2653"/>
              </a:xfrm>
              <a:prstGeom prst="rect">
                <a:avLst/>
              </a:prstGeom>
              <a:solidFill>
                <a:srgbClr val="F0F0F0"/>
              </a:solidFill>
              <a:ln w="9525" algn="ctr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endParaRPr>
              </a:p>
            </p:txBody>
          </p:sp>
        </p:grp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4545624" y="2092693"/>
              <a:ext cx="2436564" cy="184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885825" latinLnBrk="0"/>
              <a:r>
                <a:rPr lang="ko-KR" altLang="en-US" sz="12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자금세탁방지시스템 </a:t>
              </a:r>
              <a:r>
                <a:rPr lang="en-US" altLang="ko-KR" sz="12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– </a:t>
              </a:r>
              <a:r>
                <a:rPr lang="ko-KR" altLang="en-US" sz="12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데이터 마트 영역</a:t>
              </a:r>
              <a:endParaRPr lang="en-US" altLang="en-US" sz="120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7" name="AutoShape 73"/>
            <p:cNvSpPr>
              <a:spLocks noChangeArrowheads="1"/>
            </p:cNvSpPr>
            <p:nvPr/>
          </p:nvSpPr>
          <p:spPr bwMode="auto">
            <a:xfrm>
              <a:off x="4628964" y="2400603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8" name="Rectangle 76"/>
            <p:cNvSpPr>
              <a:spLocks noChangeArrowheads="1"/>
            </p:cNvSpPr>
            <p:nvPr/>
          </p:nvSpPr>
          <p:spPr bwMode="auto">
            <a:xfrm>
              <a:off x="5307063" y="2366672"/>
              <a:ext cx="934550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룰베이스모델 영역</a:t>
              </a:r>
            </a:p>
          </p:txBody>
        </p:sp>
        <p:sp>
          <p:nvSpPr>
            <p:cNvPr id="19" name="AutoShape 73"/>
            <p:cNvSpPr>
              <a:spLocks noChangeArrowheads="1"/>
            </p:cNvSpPr>
            <p:nvPr/>
          </p:nvSpPr>
          <p:spPr bwMode="auto">
            <a:xfrm>
              <a:off x="7198756" y="2400603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" name="Rectangle 76"/>
            <p:cNvSpPr>
              <a:spLocks noChangeArrowheads="1"/>
            </p:cNvSpPr>
            <p:nvPr/>
          </p:nvSpPr>
          <p:spPr bwMode="auto">
            <a:xfrm>
              <a:off x="7624130" y="2374268"/>
              <a:ext cx="1440000" cy="167865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36000" tIns="36000" rIns="36000" bIns="36000" anchor="ctr" anchorCtr="0">
              <a:no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거래모니터링 영역</a:t>
              </a:r>
            </a:p>
          </p:txBody>
        </p:sp>
        <p:sp>
          <p:nvSpPr>
            <p:cNvPr id="21" name="AutoShape 73"/>
            <p:cNvSpPr>
              <a:spLocks noChangeArrowheads="1"/>
            </p:cNvSpPr>
            <p:nvPr/>
          </p:nvSpPr>
          <p:spPr bwMode="auto">
            <a:xfrm>
              <a:off x="4628964" y="5642251"/>
              <a:ext cx="4860540" cy="785751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" name="Rectangle 76"/>
            <p:cNvSpPr>
              <a:spLocks noChangeArrowheads="1"/>
            </p:cNvSpPr>
            <p:nvPr/>
          </p:nvSpPr>
          <p:spPr bwMode="auto">
            <a:xfrm>
              <a:off x="6591959" y="5602596"/>
              <a:ext cx="934550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표준계수관리</a:t>
              </a:r>
              <a:r>
                <a:rPr kumimoji="0" lang="en-US" altLang="ko-KR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sp>
          <p:nvSpPr>
            <p:cNvPr id="23" name="AutoShape 73"/>
            <p:cNvSpPr>
              <a:spLocks noChangeArrowheads="1"/>
            </p:cNvSpPr>
            <p:nvPr/>
          </p:nvSpPr>
          <p:spPr bwMode="auto">
            <a:xfrm>
              <a:off x="2034480" y="3474075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" name="Rectangle 76"/>
            <p:cNvSpPr>
              <a:spLocks noChangeArrowheads="1"/>
            </p:cNvSpPr>
            <p:nvPr/>
          </p:nvSpPr>
          <p:spPr bwMode="auto">
            <a:xfrm>
              <a:off x="2921770" y="3418140"/>
              <a:ext cx="516167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RBA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sp>
          <p:nvSpPr>
            <p:cNvPr id="26" name="AutoShape 73"/>
            <p:cNvSpPr>
              <a:spLocks noChangeArrowheads="1"/>
            </p:cNvSpPr>
            <p:nvPr/>
          </p:nvSpPr>
          <p:spPr bwMode="auto">
            <a:xfrm>
              <a:off x="4628964" y="3474075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" name="Rectangle 76"/>
            <p:cNvSpPr>
              <a:spLocks noChangeArrowheads="1"/>
            </p:cNvSpPr>
            <p:nvPr/>
          </p:nvSpPr>
          <p:spPr bwMode="auto">
            <a:xfrm>
              <a:off x="5307063" y="3418140"/>
              <a:ext cx="934550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거래패턴모델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sp>
          <p:nvSpPr>
            <p:cNvPr id="28" name="AutoShape 73"/>
            <p:cNvSpPr>
              <a:spLocks noChangeArrowheads="1"/>
            </p:cNvSpPr>
            <p:nvPr/>
          </p:nvSpPr>
          <p:spPr bwMode="auto">
            <a:xfrm>
              <a:off x="7198756" y="3474075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" name="Rectangle 76"/>
            <p:cNvSpPr>
              <a:spLocks noChangeArrowheads="1"/>
            </p:cNvSpPr>
            <p:nvPr/>
          </p:nvSpPr>
          <p:spPr bwMode="auto">
            <a:xfrm>
              <a:off x="7932960" y="3418140"/>
              <a:ext cx="822340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보고서관리</a:t>
              </a:r>
              <a:r>
                <a:rPr kumimoji="0" lang="en-US" altLang="ko-KR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sp>
          <p:nvSpPr>
            <p:cNvPr id="30" name="AutoShape 73"/>
            <p:cNvSpPr>
              <a:spLocks noChangeArrowheads="1"/>
            </p:cNvSpPr>
            <p:nvPr/>
          </p:nvSpPr>
          <p:spPr bwMode="auto">
            <a:xfrm>
              <a:off x="2031218" y="4559086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" name="Rectangle 76"/>
            <p:cNvSpPr>
              <a:spLocks noChangeArrowheads="1"/>
            </p:cNvSpPr>
            <p:nvPr/>
          </p:nvSpPr>
          <p:spPr bwMode="auto">
            <a:xfrm>
              <a:off x="2924920" y="4507157"/>
              <a:ext cx="503343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KYC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sp>
          <p:nvSpPr>
            <p:cNvPr id="32" name="AutoShape 73"/>
            <p:cNvSpPr>
              <a:spLocks noChangeArrowheads="1"/>
            </p:cNvSpPr>
            <p:nvPr/>
          </p:nvSpPr>
          <p:spPr bwMode="auto">
            <a:xfrm>
              <a:off x="4628964" y="4559086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" name="Rectangle 76"/>
            <p:cNvSpPr>
              <a:spLocks noChangeArrowheads="1"/>
            </p:cNvSpPr>
            <p:nvPr/>
          </p:nvSpPr>
          <p:spPr bwMode="auto">
            <a:xfrm>
              <a:off x="5307063" y="4507157"/>
              <a:ext cx="934550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위험평가모델</a:t>
              </a:r>
              <a:r>
                <a:rPr kumimoji="0" lang="en-US" altLang="ko-KR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sp>
          <p:nvSpPr>
            <p:cNvPr id="34" name="AutoShape 73"/>
            <p:cNvSpPr>
              <a:spLocks noChangeArrowheads="1"/>
            </p:cNvSpPr>
            <p:nvPr/>
          </p:nvSpPr>
          <p:spPr bwMode="auto">
            <a:xfrm>
              <a:off x="7198756" y="4559086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" name="Rectangle 76"/>
            <p:cNvSpPr>
              <a:spLocks noChangeArrowheads="1"/>
            </p:cNvSpPr>
            <p:nvPr/>
          </p:nvSpPr>
          <p:spPr bwMode="auto">
            <a:xfrm>
              <a:off x="7623580" y="4511099"/>
              <a:ext cx="1441099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데이터</a:t>
              </a:r>
              <a:r>
                <a:rPr kumimoji="0" lang="en-US" altLang="ko-KR" sz="1000" kern="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/</a:t>
              </a:r>
              <a:r>
                <a:rPr kumimoji="0" lang="ko-KR" altLang="en-US" sz="1000" kern="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시스템공통관리</a:t>
              </a:r>
              <a:r>
                <a:rPr kumimoji="0" lang="en-US" altLang="ko-KR" sz="1000" kern="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sp>
          <p:nvSpPr>
            <p:cNvPr id="36" name="AutoShape 73"/>
            <p:cNvSpPr>
              <a:spLocks noChangeArrowheads="1"/>
            </p:cNvSpPr>
            <p:nvPr/>
          </p:nvSpPr>
          <p:spPr bwMode="auto">
            <a:xfrm>
              <a:off x="2031218" y="5661795"/>
              <a:ext cx="2290748" cy="785751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7" name="Rectangle 76"/>
            <p:cNvSpPr>
              <a:spLocks noChangeArrowheads="1"/>
            </p:cNvSpPr>
            <p:nvPr/>
          </p:nvSpPr>
          <p:spPr bwMode="auto">
            <a:xfrm>
              <a:off x="2738170" y="5622140"/>
              <a:ext cx="876843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Watch List </a:t>
              </a:r>
              <a:r>
                <a:rPr kumimoji="0" lang="ko-KR" altLang="en-US" sz="1000" kern="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</a:p>
          </p:txBody>
        </p:sp>
        <p:pic>
          <p:nvPicPr>
            <p:cNvPr id="38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0444" y="5990045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9209" y="5990045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2174" y="5990045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1984" y="2612120"/>
              <a:ext cx="648000" cy="377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0749" y="2612120"/>
              <a:ext cx="648000" cy="377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3714" y="2612120"/>
              <a:ext cx="648000" cy="377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741" y="261212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506" y="261212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4471" y="261212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741" y="292362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506" y="292362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741" y="3703907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506" y="3703907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4471" y="3703907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741" y="4015411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506" y="4015411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4471" y="4015411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741" y="4774112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506" y="4774112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4471" y="4774112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741" y="5085615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506" y="5085615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4471" y="5085615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1984" y="4015411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3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1984" y="3693967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3714" y="4015411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3714" y="3693967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1984" y="607663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084" y="607663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1192" y="607663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9304" y="607663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7416" y="607663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1984" y="580438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084" y="580438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1192" y="580438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9304" y="580438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7416" y="580438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6" name="그룹 75"/>
            <p:cNvGrpSpPr/>
            <p:nvPr/>
          </p:nvGrpSpPr>
          <p:grpSpPr>
            <a:xfrm>
              <a:off x="2110444" y="5102143"/>
              <a:ext cx="648000" cy="321443"/>
              <a:chOff x="2038436" y="4790933"/>
              <a:chExt cx="648000" cy="324000"/>
            </a:xfrm>
          </p:grpSpPr>
          <p:pic>
            <p:nvPicPr>
              <p:cNvPr id="77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8436" y="4790933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" name="Text Box 57"/>
              <p:cNvSpPr txBox="1">
                <a:spLocks noChangeArrowheads="1"/>
              </p:cNvSpPr>
              <p:nvPr/>
            </p:nvSpPr>
            <p:spPr bwMode="gray">
              <a:xfrm>
                <a:off x="2112195" y="4851544"/>
                <a:ext cx="48731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KYC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수행정보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(CDD/EDD)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79" name="그룹 78"/>
            <p:cNvGrpSpPr/>
            <p:nvPr/>
          </p:nvGrpSpPr>
          <p:grpSpPr>
            <a:xfrm>
              <a:off x="2859209" y="5102143"/>
              <a:ext cx="648000" cy="321443"/>
              <a:chOff x="2787201" y="4790933"/>
              <a:chExt cx="648000" cy="324000"/>
            </a:xfrm>
          </p:grpSpPr>
          <p:pic>
            <p:nvPicPr>
              <p:cNvPr id="80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87201" y="4790933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1" name="Text Box 57"/>
              <p:cNvSpPr txBox="1">
                <a:spLocks noChangeArrowheads="1"/>
              </p:cNvSpPr>
              <p:nvPr/>
            </p:nvSpPr>
            <p:spPr bwMode="gray">
              <a:xfrm>
                <a:off x="2873631" y="4851544"/>
                <a:ext cx="47128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KYC 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수행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변경이력정</a:t>
                </a:r>
                <a:r>
                  <a:rPr lang="ko-KR" altLang="en-US" sz="700" dirty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보</a:t>
                </a:r>
              </a:p>
            </p:txBody>
          </p:sp>
        </p:grpSp>
        <p:grpSp>
          <p:nvGrpSpPr>
            <p:cNvPr id="82" name="그룹 81"/>
            <p:cNvGrpSpPr/>
            <p:nvPr/>
          </p:nvGrpSpPr>
          <p:grpSpPr>
            <a:xfrm>
              <a:off x="2110444" y="4769327"/>
              <a:ext cx="648000" cy="321443"/>
              <a:chOff x="3550166" y="4790933"/>
              <a:chExt cx="648000" cy="324000"/>
            </a:xfrm>
          </p:grpSpPr>
          <p:pic>
            <p:nvPicPr>
              <p:cNvPr id="83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50166" y="4790933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4" name="Text Box 57"/>
              <p:cNvSpPr txBox="1">
                <a:spLocks noChangeArrowheads="1"/>
              </p:cNvSpPr>
              <p:nvPr/>
            </p:nvSpPr>
            <p:spPr bwMode="gray">
              <a:xfrm>
                <a:off x="3784145" y="4905405"/>
                <a:ext cx="157094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고객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sp>
          <p:nvSpPr>
            <p:cNvPr id="85" name="Text Box 57"/>
            <p:cNvSpPr txBox="1">
              <a:spLocks noChangeArrowheads="1"/>
            </p:cNvSpPr>
            <p:nvPr/>
          </p:nvSpPr>
          <p:spPr bwMode="gray">
            <a:xfrm>
              <a:off x="4865127" y="2722821"/>
              <a:ext cx="314189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당일거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래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6" name="Text Box 57"/>
            <p:cNvSpPr txBox="1">
              <a:spLocks noChangeArrowheads="1"/>
            </p:cNvSpPr>
            <p:nvPr/>
          </p:nvSpPr>
          <p:spPr bwMode="gray">
            <a:xfrm>
              <a:off x="6323660" y="2722821"/>
              <a:ext cx="41838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주기별 집계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7" name="Text Box 57"/>
            <p:cNvSpPr txBox="1">
              <a:spLocks noChangeArrowheads="1"/>
            </p:cNvSpPr>
            <p:nvPr/>
          </p:nvSpPr>
          <p:spPr bwMode="gray">
            <a:xfrm>
              <a:off x="5607616" y="2722821"/>
              <a:ext cx="33983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일별 집계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8" name="Text Box 57"/>
            <p:cNvSpPr txBox="1">
              <a:spLocks noChangeArrowheads="1"/>
            </p:cNvSpPr>
            <p:nvPr/>
          </p:nvSpPr>
          <p:spPr bwMode="gray">
            <a:xfrm>
              <a:off x="7407512" y="2667002"/>
              <a:ext cx="381515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LERT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9" name="Text Box 57"/>
            <p:cNvSpPr txBox="1">
              <a:spLocks noChangeArrowheads="1"/>
            </p:cNvSpPr>
            <p:nvPr/>
          </p:nvSpPr>
          <p:spPr bwMode="gray">
            <a:xfrm>
              <a:off x="8194592" y="2667002"/>
              <a:ext cx="314189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LERT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상세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90" name="Text Box 57"/>
            <p:cNvSpPr txBox="1">
              <a:spLocks noChangeArrowheads="1"/>
            </p:cNvSpPr>
            <p:nvPr/>
          </p:nvSpPr>
          <p:spPr bwMode="gray">
            <a:xfrm>
              <a:off x="8895910" y="2667000"/>
              <a:ext cx="41838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고서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91" name="Text Box 57"/>
            <p:cNvSpPr txBox="1">
              <a:spLocks noChangeArrowheads="1"/>
            </p:cNvSpPr>
            <p:nvPr/>
          </p:nvSpPr>
          <p:spPr bwMode="gray">
            <a:xfrm>
              <a:off x="7362638" y="2990774"/>
              <a:ext cx="47128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고결재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92" name="Text Box 57"/>
            <p:cNvSpPr txBox="1">
              <a:spLocks noChangeArrowheads="1"/>
            </p:cNvSpPr>
            <p:nvPr/>
          </p:nvSpPr>
          <p:spPr bwMode="gray">
            <a:xfrm>
              <a:off x="8138486" y="2990772"/>
              <a:ext cx="426400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oFIU 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고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결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과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4711984" y="4769327"/>
              <a:ext cx="648000" cy="321443"/>
              <a:chOff x="4727290" y="4790933"/>
              <a:chExt cx="648000" cy="324000"/>
            </a:xfrm>
          </p:grpSpPr>
          <p:pic>
            <p:nvPicPr>
              <p:cNvPr id="94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290" y="4790933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5" name="Text Box 57"/>
              <p:cNvSpPr txBox="1">
                <a:spLocks noChangeArrowheads="1"/>
              </p:cNvSpPr>
              <p:nvPr/>
            </p:nvSpPr>
            <p:spPr bwMode="gray">
              <a:xfrm>
                <a:off x="4832699" y="4851544"/>
                <a:ext cx="402354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Initial 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모델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집</a:t>
                </a:r>
                <a:r>
                  <a:rPr lang="ko-KR" altLang="en-US" sz="700" dirty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계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 정보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96" name="그룹 95"/>
            <p:cNvGrpSpPr/>
            <p:nvPr/>
          </p:nvGrpSpPr>
          <p:grpSpPr>
            <a:xfrm>
              <a:off x="4711984" y="5102143"/>
              <a:ext cx="648000" cy="321443"/>
              <a:chOff x="4727290" y="5126396"/>
              <a:chExt cx="648000" cy="324000"/>
            </a:xfrm>
          </p:grpSpPr>
          <p:pic>
            <p:nvPicPr>
              <p:cNvPr id="97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290" y="5126396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8" name="Text Box 57"/>
              <p:cNvSpPr txBox="1">
                <a:spLocks noChangeArrowheads="1"/>
              </p:cNvSpPr>
              <p:nvPr/>
            </p:nvSpPr>
            <p:spPr bwMode="gray">
              <a:xfrm>
                <a:off x="4766772" y="5177893"/>
                <a:ext cx="541815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Behavior 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모델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집</a:t>
                </a:r>
                <a:r>
                  <a:rPr lang="ko-KR" altLang="en-US" sz="700" dirty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계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 정보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99" name="그룹 98"/>
            <p:cNvGrpSpPr/>
            <p:nvPr/>
          </p:nvGrpSpPr>
          <p:grpSpPr>
            <a:xfrm>
              <a:off x="6223714" y="4769327"/>
              <a:ext cx="648000" cy="321443"/>
              <a:chOff x="6239020" y="4790933"/>
              <a:chExt cx="648000" cy="324000"/>
            </a:xfrm>
          </p:grpSpPr>
          <p:pic>
            <p:nvPicPr>
              <p:cNvPr id="100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39020" y="4790933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1" name="Text Box 57"/>
              <p:cNvSpPr txBox="1">
                <a:spLocks noChangeArrowheads="1"/>
              </p:cNvSpPr>
              <p:nvPr/>
            </p:nvSpPr>
            <p:spPr bwMode="gray">
              <a:xfrm>
                <a:off x="6340842" y="4851544"/>
                <a:ext cx="402354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Initial 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모델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평가 결과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102" name="그룹 101"/>
            <p:cNvGrpSpPr/>
            <p:nvPr/>
          </p:nvGrpSpPr>
          <p:grpSpPr>
            <a:xfrm>
              <a:off x="6223714" y="5102143"/>
              <a:ext cx="648000" cy="321443"/>
              <a:chOff x="6239020" y="5126396"/>
              <a:chExt cx="648000" cy="324000"/>
            </a:xfrm>
          </p:grpSpPr>
          <p:pic>
            <p:nvPicPr>
              <p:cNvPr id="103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39020" y="5126396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4" name="Text Box 57"/>
              <p:cNvSpPr txBox="1">
                <a:spLocks noChangeArrowheads="1"/>
              </p:cNvSpPr>
              <p:nvPr/>
            </p:nvSpPr>
            <p:spPr bwMode="gray">
              <a:xfrm>
                <a:off x="6267287" y="5177893"/>
                <a:ext cx="541815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Behavior 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모델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평가 결과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sp>
          <p:nvSpPr>
            <p:cNvPr id="105" name="Rectangle 76"/>
            <p:cNvSpPr>
              <a:spLocks noChangeArrowheads="1"/>
            </p:cNvSpPr>
            <p:nvPr/>
          </p:nvSpPr>
          <p:spPr bwMode="auto">
            <a:xfrm>
              <a:off x="5437515" y="4812589"/>
              <a:ext cx="339837" cy="213744"/>
            </a:xfrm>
            <a:prstGeom prst="rect">
              <a:avLst/>
            </a:prstGeom>
            <a:noFill/>
            <a:ln w="222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개인 고객</a:t>
              </a:r>
              <a:endParaRPr lang="en-US" altLang="ko-KR" sz="7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법인 고객</a:t>
              </a:r>
              <a:endParaRPr lang="ko-KR" altLang="en-US" sz="7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06" name="Rectangle 76"/>
            <p:cNvSpPr>
              <a:spLocks noChangeArrowheads="1"/>
            </p:cNvSpPr>
            <p:nvPr/>
          </p:nvSpPr>
          <p:spPr bwMode="auto">
            <a:xfrm>
              <a:off x="5447285" y="5133204"/>
              <a:ext cx="549831" cy="213744"/>
            </a:xfrm>
            <a:prstGeom prst="rect">
              <a:avLst/>
            </a:prstGeom>
            <a:noFill/>
            <a:ln w="222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상품별행동위험</a:t>
              </a:r>
              <a:endParaRPr lang="en-US" altLang="ko-KR" sz="7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latinLnBrk="0"/>
              <a:r>
                <a:rPr lang="en-US" altLang="ko-KR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AML 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수행 정보</a:t>
              </a:r>
              <a:endParaRPr lang="ko-KR" altLang="en-US" sz="7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07" name="Text Box 57"/>
            <p:cNvSpPr txBox="1">
              <a:spLocks noChangeArrowheads="1"/>
            </p:cNvSpPr>
            <p:nvPr/>
          </p:nvSpPr>
          <p:spPr bwMode="gray">
            <a:xfrm>
              <a:off x="4850635" y="3743198"/>
              <a:ext cx="33983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별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집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계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08" name="Text Box 57"/>
            <p:cNvSpPr txBox="1">
              <a:spLocks noChangeArrowheads="1"/>
            </p:cNvSpPr>
            <p:nvPr/>
          </p:nvSpPr>
          <p:spPr bwMode="gray">
            <a:xfrm>
              <a:off x="4827989" y="4066973"/>
              <a:ext cx="392736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유사그룹별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집계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09" name="Text Box 57"/>
            <p:cNvSpPr txBox="1">
              <a:spLocks noChangeArrowheads="1"/>
            </p:cNvSpPr>
            <p:nvPr/>
          </p:nvSpPr>
          <p:spPr bwMode="gray">
            <a:xfrm>
              <a:off x="6280233" y="3743198"/>
              <a:ext cx="496931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별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패턴 결과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0" name="Text Box 57"/>
            <p:cNvSpPr txBox="1">
              <a:spLocks noChangeArrowheads="1"/>
            </p:cNvSpPr>
            <p:nvPr/>
          </p:nvSpPr>
          <p:spPr bwMode="gray">
            <a:xfrm>
              <a:off x="6276414" y="4066973"/>
              <a:ext cx="496931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유사그룹별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패턴 결과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1" name="Rectangle 76"/>
            <p:cNvSpPr>
              <a:spLocks noChangeArrowheads="1"/>
            </p:cNvSpPr>
            <p:nvPr/>
          </p:nvSpPr>
          <p:spPr bwMode="auto">
            <a:xfrm>
              <a:off x="5423868" y="3722528"/>
              <a:ext cx="339837" cy="213744"/>
            </a:xfrm>
            <a:prstGeom prst="rect">
              <a:avLst/>
            </a:prstGeom>
            <a:noFill/>
            <a:ln w="222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상품별</a:t>
              </a:r>
              <a:endParaRPr lang="en-US" altLang="ko-KR" sz="7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 유형</a:t>
              </a:r>
              <a:endParaRPr lang="ko-KR" altLang="en-US" sz="7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12" name="Rectangle 76"/>
            <p:cNvSpPr>
              <a:spLocks noChangeArrowheads="1"/>
            </p:cNvSpPr>
            <p:nvPr/>
          </p:nvSpPr>
          <p:spPr bwMode="auto">
            <a:xfrm>
              <a:off x="5423868" y="4034071"/>
              <a:ext cx="339837" cy="213744"/>
            </a:xfrm>
            <a:prstGeom prst="rect">
              <a:avLst/>
            </a:prstGeom>
            <a:noFill/>
            <a:ln w="222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상품별</a:t>
              </a:r>
              <a:endParaRPr lang="en-US" altLang="ko-KR" sz="7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latinLnBrk="0"/>
              <a:r>
                <a:rPr lang="ko-KR" altLang="en-US" sz="7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 유형</a:t>
              </a:r>
              <a:endParaRPr lang="ko-KR" altLang="en-US" sz="7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13" name="Text Box 57"/>
            <p:cNvSpPr txBox="1">
              <a:spLocks noChangeArrowheads="1"/>
            </p:cNvSpPr>
            <p:nvPr/>
          </p:nvSpPr>
          <p:spPr bwMode="gray">
            <a:xfrm>
              <a:off x="7412321" y="3741867"/>
              <a:ext cx="37189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고 현황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4" name="Text Box 57"/>
            <p:cNvSpPr txBox="1">
              <a:spLocks noChangeArrowheads="1"/>
            </p:cNvSpPr>
            <p:nvPr/>
          </p:nvSpPr>
          <p:spPr bwMode="gray">
            <a:xfrm>
              <a:off x="8181772" y="3741869"/>
              <a:ext cx="33983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YC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수행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집계 현황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5" name="Text Box 57"/>
            <p:cNvSpPr txBox="1">
              <a:spLocks noChangeArrowheads="1"/>
            </p:cNvSpPr>
            <p:nvPr/>
          </p:nvSpPr>
          <p:spPr bwMode="gray">
            <a:xfrm>
              <a:off x="8877483" y="3741866"/>
              <a:ext cx="45525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룰 대상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LERT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현황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6" name="Text Box 57"/>
            <p:cNvSpPr txBox="1">
              <a:spLocks noChangeArrowheads="1"/>
            </p:cNvSpPr>
            <p:nvPr/>
          </p:nvSpPr>
          <p:spPr bwMode="gray">
            <a:xfrm>
              <a:off x="7428354" y="4065641"/>
              <a:ext cx="33983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RBA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계 현황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7" name="Text Box 57"/>
            <p:cNvSpPr txBox="1">
              <a:spLocks noChangeArrowheads="1"/>
            </p:cNvSpPr>
            <p:nvPr/>
          </p:nvSpPr>
          <p:spPr bwMode="gray">
            <a:xfrm>
              <a:off x="8116048" y="4065639"/>
              <a:ext cx="47128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이상거래패턴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계 현황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8" name="Text Box 57"/>
            <p:cNvSpPr txBox="1">
              <a:spLocks noChangeArrowheads="1"/>
            </p:cNvSpPr>
            <p:nvPr/>
          </p:nvSpPr>
          <p:spPr bwMode="gray">
            <a:xfrm>
              <a:off x="8935186" y="4065641"/>
              <a:ext cx="33983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평가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계 현황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19" name="Text Box 57"/>
            <p:cNvSpPr txBox="1">
              <a:spLocks noChangeArrowheads="1"/>
            </p:cNvSpPr>
            <p:nvPr/>
          </p:nvSpPr>
          <p:spPr bwMode="gray">
            <a:xfrm>
              <a:off x="7419193" y="4824838"/>
              <a:ext cx="34304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ML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합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내역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20" name="Text Box 57"/>
            <p:cNvSpPr txBox="1">
              <a:spLocks noChangeArrowheads="1"/>
            </p:cNvSpPr>
            <p:nvPr/>
          </p:nvSpPr>
          <p:spPr bwMode="gray">
            <a:xfrm>
              <a:off x="8102398" y="4824841"/>
              <a:ext cx="51135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합계좌</a:t>
              </a:r>
              <a:r>
                <a:rPr lang="en-US" altLang="ko-KR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계약</a:t>
              </a:r>
              <a:endParaRPr lang="en-US" altLang="ko-KR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</a:t>
              </a:r>
            </a:p>
          </p:txBody>
        </p:sp>
        <p:sp>
          <p:nvSpPr>
            <p:cNvPr id="121" name="Text Box 57"/>
            <p:cNvSpPr txBox="1">
              <a:spLocks noChangeArrowheads="1"/>
            </p:cNvSpPr>
            <p:nvPr/>
          </p:nvSpPr>
          <p:spPr bwMode="gray">
            <a:xfrm>
              <a:off x="8856504" y="4824837"/>
              <a:ext cx="51135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사용자</a:t>
              </a:r>
              <a:r>
                <a:rPr lang="en-US" altLang="ko-KR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담당자</a:t>
              </a:r>
              <a:endParaRPr lang="en-US" altLang="ko-KR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관리 정보</a:t>
              </a:r>
            </a:p>
          </p:txBody>
        </p:sp>
        <p:sp>
          <p:nvSpPr>
            <p:cNvPr id="122" name="Text Box 57"/>
            <p:cNvSpPr txBox="1">
              <a:spLocks noChangeArrowheads="1"/>
            </p:cNvSpPr>
            <p:nvPr/>
          </p:nvSpPr>
          <p:spPr bwMode="gray">
            <a:xfrm>
              <a:off x="7413585" y="5148613"/>
              <a:ext cx="35426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권한</a:t>
              </a:r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메뉴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관리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23" name="Text Box 57"/>
            <p:cNvSpPr txBox="1">
              <a:spLocks noChangeArrowheads="1"/>
            </p:cNvSpPr>
            <p:nvPr/>
          </p:nvSpPr>
          <p:spPr bwMode="gray">
            <a:xfrm>
              <a:off x="8188849" y="5148610"/>
              <a:ext cx="33983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배분 관리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</a:t>
              </a:r>
            </a:p>
          </p:txBody>
        </p:sp>
        <p:sp>
          <p:nvSpPr>
            <p:cNvPr id="124" name="Text Box 57"/>
            <p:cNvSpPr txBox="1">
              <a:spLocks noChangeArrowheads="1"/>
            </p:cNvSpPr>
            <p:nvPr/>
          </p:nvSpPr>
          <p:spPr bwMode="gray">
            <a:xfrm>
              <a:off x="8949576" y="5148612"/>
              <a:ext cx="339837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배치 수행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</a:t>
              </a:r>
            </a:p>
          </p:txBody>
        </p:sp>
        <p:grpSp>
          <p:nvGrpSpPr>
            <p:cNvPr id="125" name="그룹 124"/>
            <p:cNvGrpSpPr/>
            <p:nvPr/>
          </p:nvGrpSpPr>
          <p:grpSpPr>
            <a:xfrm>
              <a:off x="2110444" y="3703907"/>
              <a:ext cx="648000" cy="321443"/>
              <a:chOff x="2038436" y="3717040"/>
              <a:chExt cx="648000" cy="324000"/>
            </a:xfrm>
          </p:grpSpPr>
          <p:pic>
            <p:nvPicPr>
              <p:cNvPr id="126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8436" y="3717040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7" name="Text Box 57"/>
              <p:cNvSpPr txBox="1">
                <a:spLocks noChangeArrowheads="1"/>
              </p:cNvSpPr>
              <p:nvPr/>
            </p:nvSpPr>
            <p:spPr bwMode="gray">
              <a:xfrm>
                <a:off x="2078608" y="3751987"/>
                <a:ext cx="548228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자금세탁 위험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지표 산출 정보 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128" name="그룹 127"/>
            <p:cNvGrpSpPr/>
            <p:nvPr/>
          </p:nvGrpSpPr>
          <p:grpSpPr>
            <a:xfrm>
              <a:off x="2859209" y="3703907"/>
              <a:ext cx="648000" cy="321443"/>
              <a:chOff x="2787201" y="3717040"/>
              <a:chExt cx="648000" cy="324000"/>
            </a:xfrm>
          </p:grpSpPr>
          <p:pic>
            <p:nvPicPr>
              <p:cNvPr id="129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87201" y="3717040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0" name="Text Box 57"/>
              <p:cNvSpPr txBox="1">
                <a:spLocks noChangeArrowheads="1"/>
              </p:cNvSpPr>
              <p:nvPr/>
            </p:nvSpPr>
            <p:spPr bwMode="gray">
              <a:xfrm>
                <a:off x="2841132" y="3751987"/>
                <a:ext cx="522580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KoFIU</a:t>
                </a: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지표 산출 정보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131" name="그룹 130"/>
            <p:cNvGrpSpPr/>
            <p:nvPr/>
          </p:nvGrpSpPr>
          <p:grpSpPr>
            <a:xfrm>
              <a:off x="2110444" y="4015411"/>
              <a:ext cx="648000" cy="321443"/>
              <a:chOff x="2038436" y="4031021"/>
              <a:chExt cx="648000" cy="324000"/>
            </a:xfrm>
          </p:grpSpPr>
          <p:pic>
            <p:nvPicPr>
              <p:cNvPr id="132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8436" y="4031021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3" name="Text Box 57"/>
              <p:cNvSpPr txBox="1">
                <a:spLocks noChangeArrowheads="1"/>
              </p:cNvSpPr>
              <p:nvPr/>
            </p:nvSpPr>
            <p:spPr bwMode="gray">
              <a:xfrm>
                <a:off x="2143529" y="4078334"/>
                <a:ext cx="418384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위험 분류별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기초 정보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134" name="그룹 133"/>
            <p:cNvGrpSpPr/>
            <p:nvPr/>
          </p:nvGrpSpPr>
          <p:grpSpPr>
            <a:xfrm>
              <a:off x="2859209" y="4015411"/>
              <a:ext cx="648000" cy="321443"/>
              <a:chOff x="2787201" y="4031021"/>
              <a:chExt cx="648000" cy="324000"/>
            </a:xfrm>
          </p:grpSpPr>
          <p:pic>
            <p:nvPicPr>
              <p:cNvPr id="135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87201" y="4031021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6" name="Text Box 57"/>
              <p:cNvSpPr txBox="1">
                <a:spLocks noChangeArrowheads="1"/>
              </p:cNvSpPr>
              <p:nvPr/>
            </p:nvSpPr>
            <p:spPr bwMode="gray">
              <a:xfrm>
                <a:off x="2893225" y="4078332"/>
                <a:ext cx="418384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주제 영역별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기초 정보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137" name="그룹 136"/>
            <p:cNvGrpSpPr/>
            <p:nvPr/>
          </p:nvGrpSpPr>
          <p:grpSpPr>
            <a:xfrm>
              <a:off x="3622174" y="3703907"/>
              <a:ext cx="648000" cy="321443"/>
              <a:chOff x="3550166" y="3717040"/>
              <a:chExt cx="648000" cy="324000"/>
            </a:xfrm>
          </p:grpSpPr>
          <p:pic>
            <p:nvPicPr>
              <p:cNvPr id="138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50166" y="3717040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9" name="Text Box 57"/>
              <p:cNvSpPr txBox="1">
                <a:spLocks noChangeArrowheads="1"/>
              </p:cNvSpPr>
              <p:nvPr/>
            </p:nvSpPr>
            <p:spPr bwMode="gray">
              <a:xfrm>
                <a:off x="3619600" y="3758125"/>
                <a:ext cx="496931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RBA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기반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위험관리 정보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140" name="그룹 139"/>
            <p:cNvGrpSpPr/>
            <p:nvPr/>
          </p:nvGrpSpPr>
          <p:grpSpPr>
            <a:xfrm>
              <a:off x="3622174" y="4015411"/>
              <a:ext cx="648000" cy="321443"/>
              <a:chOff x="3550166" y="4031021"/>
              <a:chExt cx="648000" cy="324000"/>
            </a:xfrm>
          </p:grpSpPr>
          <p:pic>
            <p:nvPicPr>
              <p:cNvPr id="141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50166" y="4031021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2" name="Text Box 57"/>
              <p:cNvSpPr txBox="1">
                <a:spLocks noChangeArrowheads="1"/>
              </p:cNvSpPr>
              <p:nvPr/>
            </p:nvSpPr>
            <p:spPr bwMode="gray">
              <a:xfrm>
                <a:off x="3612384" y="4084474"/>
                <a:ext cx="511357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위험평가</a:t>
                </a:r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/</a:t>
                </a:r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지표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결과 정보</a:t>
                </a:r>
                <a:endPara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sp>
          <p:nvSpPr>
            <p:cNvPr id="143" name="Text Box 57"/>
            <p:cNvSpPr txBox="1">
              <a:spLocks noChangeArrowheads="1"/>
            </p:cNvSpPr>
            <p:nvPr/>
          </p:nvSpPr>
          <p:spPr bwMode="gray">
            <a:xfrm>
              <a:off x="4813035" y="5848846"/>
              <a:ext cx="41838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RBA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지표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임계치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44" name="Text Box 57"/>
            <p:cNvSpPr txBox="1">
              <a:spLocks noChangeArrowheads="1"/>
            </p:cNvSpPr>
            <p:nvPr/>
          </p:nvSpPr>
          <p:spPr bwMode="gray">
            <a:xfrm>
              <a:off x="7776899" y="5848849"/>
              <a:ext cx="47128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이상거래패턴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가중치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45" name="Text Box 57"/>
            <p:cNvSpPr txBox="1">
              <a:spLocks noChangeArrowheads="1"/>
            </p:cNvSpPr>
            <p:nvPr/>
          </p:nvSpPr>
          <p:spPr bwMode="gray">
            <a:xfrm>
              <a:off x="5770676" y="5848845"/>
              <a:ext cx="496931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 스코어링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가중치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46" name="Text Box 57"/>
            <p:cNvSpPr txBox="1">
              <a:spLocks noChangeArrowheads="1"/>
            </p:cNvSpPr>
            <p:nvPr/>
          </p:nvSpPr>
          <p:spPr bwMode="gray">
            <a:xfrm>
              <a:off x="4813038" y="6141607"/>
              <a:ext cx="41838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RBA 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지표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가중치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47" name="Text Box 57"/>
            <p:cNvSpPr txBox="1">
              <a:spLocks noChangeArrowheads="1"/>
            </p:cNvSpPr>
            <p:nvPr/>
          </p:nvSpPr>
          <p:spPr bwMode="gray">
            <a:xfrm>
              <a:off x="7776900" y="6141604"/>
              <a:ext cx="47128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이상거래패턴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변수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값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48" name="Text Box 57"/>
            <p:cNvSpPr txBox="1">
              <a:spLocks noChangeArrowheads="1"/>
            </p:cNvSpPr>
            <p:nvPr/>
          </p:nvSpPr>
          <p:spPr bwMode="gray">
            <a:xfrm>
              <a:off x="5770676" y="6141605"/>
              <a:ext cx="496931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 스코어링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등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급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49" name="Text Box 57"/>
            <p:cNvSpPr txBox="1">
              <a:spLocks noChangeArrowheads="1"/>
            </p:cNvSpPr>
            <p:nvPr/>
          </p:nvSpPr>
          <p:spPr bwMode="gray">
            <a:xfrm>
              <a:off x="6802503" y="5848845"/>
              <a:ext cx="41838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룰 시나리오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변수값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50" name="Text Box 57"/>
            <p:cNvSpPr txBox="1">
              <a:spLocks noChangeArrowheads="1"/>
            </p:cNvSpPr>
            <p:nvPr/>
          </p:nvSpPr>
          <p:spPr bwMode="gray">
            <a:xfrm>
              <a:off x="6802504" y="6141605"/>
              <a:ext cx="41838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룰 시나리오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임계치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51" name="Text Box 57"/>
            <p:cNvSpPr txBox="1">
              <a:spLocks noChangeArrowheads="1"/>
            </p:cNvSpPr>
            <p:nvPr/>
          </p:nvSpPr>
          <p:spPr bwMode="gray">
            <a:xfrm>
              <a:off x="8764911" y="5848849"/>
              <a:ext cx="496931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평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가</a:t>
              </a:r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모델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가중치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52" name="Text Box 57"/>
            <p:cNvSpPr txBox="1">
              <a:spLocks noChangeArrowheads="1"/>
            </p:cNvSpPr>
            <p:nvPr/>
          </p:nvSpPr>
          <p:spPr bwMode="gray">
            <a:xfrm>
              <a:off x="8777734" y="6141604"/>
              <a:ext cx="47128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평가모델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등급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53" name="Text Box 57"/>
            <p:cNvSpPr txBox="1">
              <a:spLocks noChangeArrowheads="1"/>
            </p:cNvSpPr>
            <p:nvPr/>
          </p:nvSpPr>
          <p:spPr bwMode="gray">
            <a:xfrm>
              <a:off x="2208310" y="6039918"/>
              <a:ext cx="43922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Watch List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국가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54" name="Text Box 57"/>
            <p:cNvSpPr txBox="1">
              <a:spLocks noChangeArrowheads="1"/>
            </p:cNvSpPr>
            <p:nvPr/>
          </p:nvSpPr>
          <p:spPr bwMode="gray">
            <a:xfrm>
              <a:off x="2960895" y="6039918"/>
              <a:ext cx="43922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Watch List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 정보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55" name="Text Box 57"/>
            <p:cNvSpPr txBox="1">
              <a:spLocks noChangeArrowheads="1"/>
            </p:cNvSpPr>
            <p:nvPr/>
          </p:nvSpPr>
          <p:spPr bwMode="gray">
            <a:xfrm>
              <a:off x="3714313" y="6039916"/>
              <a:ext cx="439223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en-US" altLang="ko-KR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Watch List</a:t>
              </a: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업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종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정보</a:t>
              </a:r>
            </a:p>
          </p:txBody>
        </p:sp>
        <p:sp>
          <p:nvSpPr>
            <p:cNvPr id="156" name="AutoShape 362" descr="TCP-52"/>
            <p:cNvSpPr>
              <a:spLocks noChangeArrowheads="1"/>
            </p:cNvSpPr>
            <p:nvPr/>
          </p:nvSpPr>
          <p:spPr bwMode="auto">
            <a:xfrm rot="5400000">
              <a:off x="13664" y="3665382"/>
              <a:ext cx="3357299" cy="179102"/>
            </a:xfrm>
            <a:prstGeom prst="roundRect">
              <a:avLst>
                <a:gd name="adj" fmla="val 50000"/>
              </a:avLst>
            </a:prstGeom>
            <a:solidFill>
              <a:srgbClr val="B5BFC7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ko-KR" altLang="ko-KR" sz="2400" dirty="0">
                <a:latin typeface="Times New Roman" panose="02020603050405020304" pitchFamily="18" charset="0"/>
                <a:ea typeface="KoPub돋움체 Light" panose="00000300000000000000"/>
              </a:endParaRPr>
            </a:p>
          </p:txBody>
        </p:sp>
        <p:sp>
          <p:nvSpPr>
            <p:cNvPr id="157" name="F5273"/>
            <p:cNvSpPr txBox="1">
              <a:spLocks noChangeAspect="1" noChangeArrowheads="1"/>
            </p:cNvSpPr>
            <p:nvPr/>
          </p:nvSpPr>
          <p:spPr bwMode="auto">
            <a:xfrm rot="5400000">
              <a:off x="1154775" y="3769927"/>
              <a:ext cx="107508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 lIns="0" tIns="0" rIns="0" bIns="0" anchor="ctr">
              <a:spAutoFit/>
              <a:scene3d>
                <a:camera prst="orthographicFront"/>
                <a:lightRig rig="harsh" dir="tl"/>
              </a:scene3d>
              <a:sp3d contourW="38100" prstMaterial="flat">
                <a:bevelT w="0" h="0" prst="artDeco"/>
                <a:extrusionClr>
                  <a:schemeClr val="bg1"/>
                </a:extrusionClr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algn="ctr" latinLnBrk="0"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80000"/>
                <a:tabLst>
                  <a:tab pos="5648325" algn="l"/>
                </a:tabLst>
                <a:defRPr sz="1300" b="1">
                  <a:solidFill>
                    <a:srgbClr val="000000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defRPr>
              </a:lvl1pPr>
            </a:lstStyle>
            <a:p>
              <a:pPr defTabSz="1018896" fontAlgn="auto"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0" lang="en-US" altLang="ko-KR" sz="1200" b="0" kern="0" dirty="0" smtClean="0">
                  <a:ln w="0"/>
                  <a:solidFill>
                    <a:prstClr val="black"/>
                  </a:solidFill>
                  <a:latin typeface="나눔바른고딕" pitchFamily="50" charset="-127"/>
                  <a:ea typeface="KoPub돋움체 Light" panose="00000300000000000000"/>
                </a:rPr>
                <a:t>CDC </a:t>
              </a:r>
              <a:r>
                <a:rPr kumimoji="0" lang="en-US" altLang="ko-KR" sz="1200" b="0" kern="0" dirty="0">
                  <a:ln w="0"/>
                  <a:solidFill>
                    <a:prstClr val="black"/>
                  </a:solidFill>
                  <a:latin typeface="나눔바른고딕" pitchFamily="50" charset="-127"/>
                  <a:ea typeface="KoPub돋움체 Light" panose="00000300000000000000"/>
                </a:rPr>
                <a:t>/ </a:t>
              </a:r>
              <a:r>
                <a:rPr kumimoji="0" lang="en-US" altLang="ko-KR" sz="1200" b="0" kern="0" dirty="0" smtClean="0">
                  <a:ln w="0"/>
                  <a:solidFill>
                    <a:prstClr val="black"/>
                  </a:solidFill>
                  <a:latin typeface="나눔바른고딕" pitchFamily="50" charset="-127"/>
                  <a:ea typeface="KoPub돋움체 Light" panose="00000300000000000000"/>
                </a:rPr>
                <a:t>ETL / EAI</a:t>
              </a:r>
              <a:endParaRPr kumimoji="0" lang="en-US" altLang="ko-KR" sz="1200" b="0" kern="0" dirty="0">
                <a:ln w="0"/>
                <a:solidFill>
                  <a:prstClr val="black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58" name="AutoShape 362" descr="TCP-52"/>
            <p:cNvSpPr>
              <a:spLocks noChangeArrowheads="1"/>
            </p:cNvSpPr>
            <p:nvPr/>
          </p:nvSpPr>
          <p:spPr bwMode="auto">
            <a:xfrm rot="5400000">
              <a:off x="1192287" y="5892079"/>
              <a:ext cx="1000046" cy="180000"/>
            </a:xfrm>
            <a:prstGeom prst="roundRect">
              <a:avLst>
                <a:gd name="adj" fmla="val 50000"/>
              </a:avLst>
            </a:prstGeom>
            <a:solidFill>
              <a:srgbClr val="B5BFC7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ko-KR" altLang="ko-KR" sz="2400" dirty="0">
                <a:latin typeface="Times New Roman" panose="02020603050405020304" pitchFamily="18" charset="0"/>
                <a:ea typeface="KoPub돋움체 Light" panose="00000300000000000000"/>
              </a:endParaRPr>
            </a:p>
          </p:txBody>
        </p:sp>
        <p:sp>
          <p:nvSpPr>
            <p:cNvPr id="159" name="F5273"/>
            <p:cNvSpPr txBox="1">
              <a:spLocks noChangeAspect="1" noChangeArrowheads="1"/>
            </p:cNvSpPr>
            <p:nvPr/>
          </p:nvSpPr>
          <p:spPr bwMode="auto">
            <a:xfrm rot="5400000">
              <a:off x="1491926" y="5889746"/>
              <a:ext cx="40077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 lIns="0" tIns="0" rIns="0" bIns="0" anchor="ctr">
              <a:spAutoFit/>
              <a:scene3d>
                <a:camera prst="orthographicFront"/>
                <a:lightRig rig="harsh" dir="tl"/>
              </a:scene3d>
              <a:sp3d contourW="38100" prstMaterial="flat">
                <a:bevelT w="0" h="0" prst="artDeco"/>
                <a:extrusionClr>
                  <a:schemeClr val="bg1"/>
                </a:extrusionClr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algn="ctr" latinLnBrk="0"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80000"/>
                <a:tabLst>
                  <a:tab pos="5648325" algn="l"/>
                </a:tabLst>
                <a:defRPr sz="1300" b="1">
                  <a:solidFill>
                    <a:srgbClr val="000000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defRPr>
              </a:lvl1pPr>
            </a:lstStyle>
            <a:p>
              <a:pPr defTabSz="1018896" fontAlgn="auto"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0" lang="ko-KR" altLang="en-US" sz="1200" b="0" kern="0" dirty="0" smtClean="0">
                  <a:ln w="0"/>
                  <a:solidFill>
                    <a:prstClr val="black"/>
                  </a:solidFill>
                  <a:latin typeface="나눔바른고딕" pitchFamily="50" charset="-127"/>
                  <a:ea typeface="KoPub돋움체 Light" panose="00000300000000000000"/>
                </a:rPr>
                <a:t>대외계</a:t>
              </a:r>
              <a:endParaRPr kumimoji="0" lang="en-US" altLang="ko-KR" sz="1200" b="0" kern="0" dirty="0">
                <a:ln w="0"/>
                <a:solidFill>
                  <a:prstClr val="black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60" name="AutoShape 12"/>
            <p:cNvSpPr>
              <a:spLocks noChangeArrowheads="1"/>
            </p:cNvSpPr>
            <p:nvPr/>
          </p:nvSpPr>
          <p:spPr bwMode="gray">
            <a:xfrm>
              <a:off x="231472" y="6061114"/>
              <a:ext cx="1277083" cy="428226"/>
            </a:xfrm>
            <a:prstGeom prst="roundRect">
              <a:avLst>
                <a:gd name="adj" fmla="val 2190"/>
              </a:avLst>
            </a:prstGeom>
            <a:solidFill>
              <a:srgbClr val="FFFFFF"/>
            </a:solidFill>
            <a:ln w="9525" algn="ctr">
              <a:solidFill>
                <a:srgbClr val="47B2E7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61" name="Text Box 119"/>
            <p:cNvSpPr txBox="1">
              <a:spLocks noChangeArrowheads="1"/>
            </p:cNvSpPr>
            <p:nvPr/>
          </p:nvSpPr>
          <p:spPr bwMode="auto">
            <a:xfrm>
              <a:off x="717483" y="6219297"/>
              <a:ext cx="580288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Dow Jones</a:t>
              </a:r>
              <a:endParaRPr kumimoji="0" lang="ko-KR" altLang="ko-KR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62" name="AutoShape 12"/>
            <p:cNvSpPr>
              <a:spLocks noChangeArrowheads="1"/>
            </p:cNvSpPr>
            <p:nvPr/>
          </p:nvSpPr>
          <p:spPr bwMode="gray">
            <a:xfrm>
              <a:off x="231787" y="5481079"/>
              <a:ext cx="1277083" cy="529941"/>
            </a:xfrm>
            <a:prstGeom prst="roundRect">
              <a:avLst>
                <a:gd name="adj" fmla="val 2190"/>
              </a:avLst>
            </a:prstGeom>
            <a:solidFill>
              <a:srgbClr val="FFFFFF"/>
            </a:solidFill>
            <a:ln w="9525" algn="ctr">
              <a:solidFill>
                <a:srgbClr val="47B2E7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63" name="Text Box 119"/>
            <p:cNvSpPr txBox="1">
              <a:spLocks noChangeArrowheads="1"/>
            </p:cNvSpPr>
            <p:nvPr/>
          </p:nvSpPr>
          <p:spPr bwMode="auto">
            <a:xfrm>
              <a:off x="287266" y="5521980"/>
              <a:ext cx="403957" cy="1374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대외기관</a:t>
              </a:r>
              <a:endParaRPr kumimoji="0" lang="ko-KR" altLang="ko-KR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pic>
          <p:nvPicPr>
            <p:cNvPr id="164" name="Picture 58" descr="Architecture_25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167" y="5719923"/>
              <a:ext cx="287999" cy="2857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5" name="Text Box 119"/>
            <p:cNvSpPr txBox="1">
              <a:spLocks noChangeArrowheads="1"/>
            </p:cNvSpPr>
            <p:nvPr/>
          </p:nvSpPr>
          <p:spPr bwMode="auto">
            <a:xfrm>
              <a:off x="648512" y="5707266"/>
              <a:ext cx="844414" cy="2748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defTabSz="102870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금융정보분석원</a:t>
              </a:r>
              <a:r>
                <a:rPr kumimoji="0" lang="en-US" altLang="ko-KR" sz="900" kern="0" dirty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/>
              </a:r>
              <a:br>
                <a:rPr kumimoji="0" lang="en-US" altLang="ko-KR" sz="900" kern="0" dirty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</a:br>
              <a:r>
                <a:rPr kumimoji="0" lang="ko-KR" altLang="en-US" sz="900" kern="0" dirty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은행연합회</a:t>
              </a:r>
            </a:p>
          </p:txBody>
        </p:sp>
        <p:pic>
          <p:nvPicPr>
            <p:cNvPr id="166" name="Picture 60" descr="Company (3)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852" y="6130014"/>
              <a:ext cx="288000" cy="2857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7" name="AutoShape 73"/>
            <p:cNvSpPr>
              <a:spLocks noChangeArrowheads="1"/>
            </p:cNvSpPr>
            <p:nvPr/>
          </p:nvSpPr>
          <p:spPr bwMode="auto">
            <a:xfrm>
              <a:off x="2034480" y="2400603"/>
              <a:ext cx="2290748" cy="892899"/>
            </a:xfrm>
            <a:prstGeom prst="roundRect">
              <a:avLst>
                <a:gd name="adj" fmla="val 1819"/>
              </a:avLst>
            </a:prstGeom>
            <a:solidFill>
              <a:srgbClr val="FFFFFF"/>
            </a:solidFill>
            <a:ln w="6350" algn="ctr">
              <a:solidFill>
                <a:srgbClr val="96969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68" name="Rectangle 76"/>
            <p:cNvSpPr>
              <a:spLocks noChangeArrowheads="1"/>
            </p:cNvSpPr>
            <p:nvPr/>
          </p:nvSpPr>
          <p:spPr bwMode="auto">
            <a:xfrm>
              <a:off x="2833605" y="2366672"/>
              <a:ext cx="692497" cy="153888"/>
            </a:xfrm>
            <a:prstGeom prst="rect">
              <a:avLst/>
            </a:prstGeom>
            <a:solidFill>
              <a:srgbClr val="22A8F0"/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Staging </a:t>
              </a:r>
              <a:r>
                <a:rPr kumimoji="0" lang="ko-KR" altLang="en-US" sz="1000" kern="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역</a:t>
              </a:r>
              <a:endParaRPr kumimoji="0" lang="ko-KR" altLang="en-US" sz="1000" kern="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pic>
          <p:nvPicPr>
            <p:cNvPr id="169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0444" y="261212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0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9209" y="261212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1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2174" y="2612120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2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0444" y="292362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3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9209" y="292362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" name="Picture 176" descr="20120214145736 (92)"/>
            <p:cNvPicPr preferRelativeResize="0"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2174" y="2923624"/>
              <a:ext cx="648000" cy="321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5" name="Text Box 57"/>
            <p:cNvSpPr txBox="1">
              <a:spLocks noChangeArrowheads="1"/>
            </p:cNvSpPr>
            <p:nvPr/>
          </p:nvSpPr>
          <p:spPr bwMode="gray">
            <a:xfrm>
              <a:off x="2270763" y="2724172"/>
              <a:ext cx="314189" cy="106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수신거래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76" name="Text Box 57"/>
            <p:cNvSpPr txBox="1">
              <a:spLocks noChangeArrowheads="1"/>
            </p:cNvSpPr>
            <p:nvPr/>
          </p:nvSpPr>
          <p:spPr bwMode="gray">
            <a:xfrm>
              <a:off x="3024183" y="2670736"/>
              <a:ext cx="314189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여신거래</a:t>
              </a:r>
              <a:endParaRPr lang="en-US" altLang="ko-KR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외환거래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77" name="Text Box 57"/>
            <p:cNvSpPr txBox="1">
              <a:spLocks noChangeArrowheads="1"/>
            </p:cNvSpPr>
            <p:nvPr/>
          </p:nvSpPr>
          <p:spPr bwMode="gray">
            <a:xfrm>
              <a:off x="3777599" y="2670736"/>
              <a:ext cx="314189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방카거래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카드거래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78" name="Text Box 57"/>
            <p:cNvSpPr txBox="1">
              <a:spLocks noChangeArrowheads="1"/>
            </p:cNvSpPr>
            <p:nvPr/>
          </p:nvSpPr>
          <p:spPr bwMode="gray">
            <a:xfrm>
              <a:off x="2250729" y="2994508"/>
              <a:ext cx="354264" cy="213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공통</a:t>
              </a:r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상품</a:t>
              </a:r>
              <a:endParaRPr lang="en-US" altLang="ko-KR" sz="7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코드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79" name="Text Box 57"/>
            <p:cNvSpPr txBox="1">
              <a:spLocks noChangeArrowheads="1"/>
            </p:cNvSpPr>
            <p:nvPr/>
          </p:nvSpPr>
          <p:spPr bwMode="gray">
            <a:xfrm>
              <a:off x="2905559" y="3047943"/>
              <a:ext cx="551433" cy="106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</a:t>
              </a:r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계좌</a:t>
              </a:r>
              <a:r>
                <a: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계약</a:t>
              </a:r>
              <a:endParaRPr lang="ko-KR" altLang="en-US" sz="7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80" name="Text Box 57"/>
            <p:cNvSpPr txBox="1">
              <a:spLocks noChangeArrowheads="1"/>
            </p:cNvSpPr>
            <p:nvPr/>
          </p:nvSpPr>
          <p:spPr bwMode="gray">
            <a:xfrm>
              <a:off x="3777599" y="3047944"/>
              <a:ext cx="314189" cy="106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로</a:t>
              </a:r>
              <a:r>
                <a:rPr lang="ko-KR" altLang="en-US" sz="7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그</a:t>
              </a:r>
            </a:p>
          </p:txBody>
        </p:sp>
        <p:grpSp>
          <p:nvGrpSpPr>
            <p:cNvPr id="181" name="그룹 180"/>
            <p:cNvGrpSpPr/>
            <p:nvPr/>
          </p:nvGrpSpPr>
          <p:grpSpPr>
            <a:xfrm>
              <a:off x="2850167" y="4769327"/>
              <a:ext cx="648000" cy="321443"/>
              <a:chOff x="3550166" y="4790933"/>
              <a:chExt cx="648000" cy="324000"/>
            </a:xfrm>
          </p:grpSpPr>
          <p:pic>
            <p:nvPicPr>
              <p:cNvPr id="182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50166" y="4790933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3" name="Text Box 57"/>
              <p:cNvSpPr txBox="1">
                <a:spLocks noChangeArrowheads="1"/>
              </p:cNvSpPr>
              <p:nvPr/>
            </p:nvSpPr>
            <p:spPr bwMode="gray">
              <a:xfrm>
                <a:off x="3642279" y="4905405"/>
                <a:ext cx="440826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고객 </a:t>
                </a:r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Profile</a:t>
                </a:r>
              </a:p>
            </p:txBody>
          </p:sp>
        </p:grpSp>
        <p:grpSp>
          <p:nvGrpSpPr>
            <p:cNvPr id="184" name="그룹 183"/>
            <p:cNvGrpSpPr/>
            <p:nvPr/>
          </p:nvGrpSpPr>
          <p:grpSpPr>
            <a:xfrm>
              <a:off x="3622174" y="4769327"/>
              <a:ext cx="648000" cy="321443"/>
              <a:chOff x="3550166" y="4790933"/>
              <a:chExt cx="648000" cy="324000"/>
            </a:xfrm>
          </p:grpSpPr>
          <p:pic>
            <p:nvPicPr>
              <p:cNvPr id="185" name="Picture 176" descr="20120214145736 (92)"/>
              <p:cNvPicPr preferRelativeResize="0"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50166" y="4790933"/>
                <a:ext cx="648000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6" name="Text Box 57"/>
              <p:cNvSpPr txBox="1">
                <a:spLocks noChangeArrowheads="1"/>
              </p:cNvSpPr>
              <p:nvPr/>
            </p:nvSpPr>
            <p:spPr bwMode="gray">
              <a:xfrm>
                <a:off x="3666325" y="4851544"/>
                <a:ext cx="392736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63625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6362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latinLnBrk="0" hangingPunct="1"/>
                <a:r>
                  <a:rPr lang="en-US" altLang="ko-KR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KYC</a:t>
                </a:r>
              </a:p>
              <a:p>
                <a:pPr algn="ctr" eaLnBrk="1" latinLnBrk="0" hangingPunct="1"/>
                <a:r>
                  <a:rPr lang="ko-KR" altLang="en-US" sz="700" dirty="0" smtClean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책임자승</a:t>
                </a:r>
                <a:r>
                  <a:rPr lang="ko-KR" altLang="en-US" sz="700" dirty="0"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인</a:t>
                </a:r>
                <a:endParaRPr lang="en-US" altLang="ko-KR" sz="7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sp>
          <p:nvSpPr>
            <p:cNvPr id="188" name="AutoShape 12"/>
            <p:cNvSpPr>
              <a:spLocks noChangeArrowheads="1"/>
            </p:cNvSpPr>
            <p:nvPr/>
          </p:nvSpPr>
          <p:spPr bwMode="gray">
            <a:xfrm>
              <a:off x="233417" y="3137867"/>
              <a:ext cx="1277083" cy="662442"/>
            </a:xfrm>
            <a:prstGeom prst="roundRect">
              <a:avLst>
                <a:gd name="adj" fmla="val 2190"/>
              </a:avLst>
            </a:prstGeom>
            <a:solidFill>
              <a:srgbClr val="FFFFFF"/>
            </a:solidFill>
            <a:ln w="9525" algn="ctr">
              <a:solidFill>
                <a:srgbClr val="47B2E7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89" name="Text Box 82"/>
            <p:cNvSpPr txBox="1">
              <a:spLocks noChangeArrowheads="1"/>
            </p:cNvSpPr>
            <p:nvPr/>
          </p:nvSpPr>
          <p:spPr bwMode="auto">
            <a:xfrm>
              <a:off x="286465" y="3159998"/>
              <a:ext cx="30296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5363" latinLnBrk="0"/>
              <a:r>
                <a:rPr lang="ko-KR" altLang="en-US" sz="90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계정계</a:t>
              </a:r>
              <a:endParaRPr lang="en-US" altLang="ko-KR" sz="9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  <a:p>
              <a:pPr algn="ctr" defTabSz="995363" latinLnBrk="0"/>
              <a:r>
                <a:rPr lang="en-US" altLang="ko-KR" sz="90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BCV)</a:t>
              </a:r>
              <a:endParaRPr lang="ko-KR" altLang="en-US" sz="9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197" name="AutoShape 87"/>
            <p:cNvSpPr>
              <a:spLocks noChangeAspect="1" noChangeArrowheads="1"/>
            </p:cNvSpPr>
            <p:nvPr/>
          </p:nvSpPr>
          <p:spPr bwMode="auto">
            <a:xfrm>
              <a:off x="708286" y="3224317"/>
              <a:ext cx="327345" cy="5357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98" name="Freeform 88"/>
            <p:cNvSpPr>
              <a:spLocks/>
            </p:cNvSpPr>
            <p:nvPr/>
          </p:nvSpPr>
          <p:spPr bwMode="auto">
            <a:xfrm>
              <a:off x="708286" y="3224317"/>
              <a:ext cx="327345" cy="535739"/>
            </a:xfrm>
            <a:custGeom>
              <a:avLst/>
              <a:gdLst>
                <a:gd name="T0" fmla="*/ 0 w 10950"/>
                <a:gd name="T1" fmla="*/ 0 h 16320"/>
                <a:gd name="T2" fmla="*/ 0 w 10950"/>
                <a:gd name="T3" fmla="*/ 0 h 16320"/>
                <a:gd name="T4" fmla="*/ 0 w 10950"/>
                <a:gd name="T5" fmla="*/ 0 h 16320"/>
                <a:gd name="T6" fmla="*/ 0 w 10950"/>
                <a:gd name="T7" fmla="*/ 0 h 16320"/>
                <a:gd name="T8" fmla="*/ 0 w 10950"/>
                <a:gd name="T9" fmla="*/ 0 h 16320"/>
                <a:gd name="T10" fmla="*/ 0 w 10950"/>
                <a:gd name="T11" fmla="*/ 0 h 16320"/>
                <a:gd name="T12" fmla="*/ 0 w 10950"/>
                <a:gd name="T13" fmla="*/ 0 h 16320"/>
                <a:gd name="T14" fmla="*/ 0 w 10950"/>
                <a:gd name="T15" fmla="*/ 0 h 16320"/>
                <a:gd name="T16" fmla="*/ 0 w 10950"/>
                <a:gd name="T17" fmla="*/ 0 h 16320"/>
                <a:gd name="T18" fmla="*/ 0 w 10950"/>
                <a:gd name="T19" fmla="*/ 0 h 16320"/>
                <a:gd name="T20" fmla="*/ 0 w 10950"/>
                <a:gd name="T21" fmla="*/ 0 h 16320"/>
                <a:gd name="T22" fmla="*/ 0 w 10950"/>
                <a:gd name="T23" fmla="*/ 0 h 16320"/>
                <a:gd name="T24" fmla="*/ 0 w 10950"/>
                <a:gd name="T25" fmla="*/ 0 h 16320"/>
                <a:gd name="T26" fmla="*/ 0 w 10950"/>
                <a:gd name="T27" fmla="*/ 0 h 16320"/>
                <a:gd name="T28" fmla="*/ 0 w 10950"/>
                <a:gd name="T29" fmla="*/ 0 h 16320"/>
                <a:gd name="T30" fmla="*/ 0 w 10950"/>
                <a:gd name="T31" fmla="*/ 0 h 16320"/>
                <a:gd name="T32" fmla="*/ 0 w 10950"/>
                <a:gd name="T33" fmla="*/ 0 h 16320"/>
                <a:gd name="T34" fmla="*/ 0 w 10950"/>
                <a:gd name="T35" fmla="*/ 0 h 16320"/>
                <a:gd name="T36" fmla="*/ 0 w 10950"/>
                <a:gd name="T37" fmla="*/ 0 h 16320"/>
                <a:gd name="T38" fmla="*/ 0 w 10950"/>
                <a:gd name="T39" fmla="*/ 0 h 16320"/>
                <a:gd name="T40" fmla="*/ 0 w 10950"/>
                <a:gd name="T41" fmla="*/ 0 h 16320"/>
                <a:gd name="T42" fmla="*/ 0 w 10950"/>
                <a:gd name="T43" fmla="*/ 0 h 16320"/>
                <a:gd name="T44" fmla="*/ 0 w 10950"/>
                <a:gd name="T45" fmla="*/ 0 h 16320"/>
                <a:gd name="T46" fmla="*/ 0 w 10950"/>
                <a:gd name="T47" fmla="*/ 0 h 16320"/>
                <a:gd name="T48" fmla="*/ 0 w 10950"/>
                <a:gd name="T49" fmla="*/ 0 h 16320"/>
                <a:gd name="T50" fmla="*/ 0 w 10950"/>
                <a:gd name="T51" fmla="*/ 0 h 16320"/>
                <a:gd name="T52" fmla="*/ 0 w 10950"/>
                <a:gd name="T53" fmla="*/ 0 h 16320"/>
                <a:gd name="T54" fmla="*/ 0 w 10950"/>
                <a:gd name="T55" fmla="*/ 0 h 16320"/>
                <a:gd name="T56" fmla="*/ 0 w 10950"/>
                <a:gd name="T57" fmla="*/ 0 h 16320"/>
                <a:gd name="T58" fmla="*/ 0 w 10950"/>
                <a:gd name="T59" fmla="*/ 0 h 16320"/>
                <a:gd name="T60" fmla="*/ 0 w 10950"/>
                <a:gd name="T61" fmla="*/ 0 h 16320"/>
                <a:gd name="T62" fmla="*/ 0 w 10950"/>
                <a:gd name="T63" fmla="*/ 0 h 16320"/>
                <a:gd name="T64" fmla="*/ 0 w 10950"/>
                <a:gd name="T65" fmla="*/ 0 h 16320"/>
                <a:gd name="T66" fmla="*/ 0 w 10950"/>
                <a:gd name="T67" fmla="*/ 0 h 16320"/>
                <a:gd name="T68" fmla="*/ 0 w 10950"/>
                <a:gd name="T69" fmla="*/ 0 h 16320"/>
                <a:gd name="T70" fmla="*/ 0 w 10950"/>
                <a:gd name="T71" fmla="*/ 0 h 16320"/>
                <a:gd name="T72" fmla="*/ 0 w 10950"/>
                <a:gd name="T73" fmla="*/ 0 h 16320"/>
                <a:gd name="T74" fmla="*/ 0 w 10950"/>
                <a:gd name="T75" fmla="*/ 0 h 16320"/>
                <a:gd name="T76" fmla="*/ 0 w 10950"/>
                <a:gd name="T77" fmla="*/ 0 h 16320"/>
                <a:gd name="T78" fmla="*/ 0 w 10950"/>
                <a:gd name="T79" fmla="*/ 0 h 16320"/>
                <a:gd name="T80" fmla="*/ 0 w 10950"/>
                <a:gd name="T81" fmla="*/ 0 h 16320"/>
                <a:gd name="T82" fmla="*/ 0 w 10950"/>
                <a:gd name="T83" fmla="*/ 0 h 16320"/>
                <a:gd name="T84" fmla="*/ 0 w 10950"/>
                <a:gd name="T85" fmla="*/ 0 h 16320"/>
                <a:gd name="T86" fmla="*/ 0 w 10950"/>
                <a:gd name="T87" fmla="*/ 0 h 16320"/>
                <a:gd name="T88" fmla="*/ 0 w 10950"/>
                <a:gd name="T89" fmla="*/ 0 h 16320"/>
                <a:gd name="T90" fmla="*/ 0 w 10950"/>
                <a:gd name="T91" fmla="*/ 0 h 16320"/>
                <a:gd name="T92" fmla="*/ 0 w 10950"/>
                <a:gd name="T93" fmla="*/ 0 h 16320"/>
                <a:gd name="T94" fmla="*/ 0 w 10950"/>
                <a:gd name="T95" fmla="*/ 0 h 16320"/>
                <a:gd name="T96" fmla="*/ 0 w 10950"/>
                <a:gd name="T97" fmla="*/ 0 h 16320"/>
                <a:gd name="T98" fmla="*/ 0 w 10950"/>
                <a:gd name="T99" fmla="*/ 0 h 16320"/>
                <a:gd name="T100" fmla="*/ 0 w 10950"/>
                <a:gd name="T101" fmla="*/ 0 h 16320"/>
                <a:gd name="T102" fmla="*/ 0 w 10950"/>
                <a:gd name="T103" fmla="*/ 0 h 16320"/>
                <a:gd name="T104" fmla="*/ 0 w 10950"/>
                <a:gd name="T105" fmla="*/ 0 h 16320"/>
                <a:gd name="T106" fmla="*/ 0 w 10950"/>
                <a:gd name="T107" fmla="*/ 0 h 16320"/>
                <a:gd name="T108" fmla="*/ 0 w 10950"/>
                <a:gd name="T109" fmla="*/ 0 h 163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50"/>
                <a:gd name="T166" fmla="*/ 0 h 16320"/>
                <a:gd name="T167" fmla="*/ 10950 w 10950"/>
                <a:gd name="T168" fmla="*/ 16320 h 1632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50" h="16320">
                  <a:moveTo>
                    <a:pt x="154" y="2649"/>
                  </a:moveTo>
                  <a:lnTo>
                    <a:pt x="4466" y="72"/>
                  </a:lnTo>
                  <a:lnTo>
                    <a:pt x="4477" y="65"/>
                  </a:lnTo>
                  <a:lnTo>
                    <a:pt x="4508" y="48"/>
                  </a:lnTo>
                  <a:lnTo>
                    <a:pt x="4531" y="38"/>
                  </a:lnTo>
                  <a:lnTo>
                    <a:pt x="4558" y="27"/>
                  </a:lnTo>
                  <a:lnTo>
                    <a:pt x="4573" y="21"/>
                  </a:lnTo>
                  <a:lnTo>
                    <a:pt x="4589" y="17"/>
                  </a:lnTo>
                  <a:lnTo>
                    <a:pt x="4606" y="12"/>
                  </a:lnTo>
                  <a:lnTo>
                    <a:pt x="4624" y="8"/>
                  </a:lnTo>
                  <a:lnTo>
                    <a:pt x="4643" y="5"/>
                  </a:lnTo>
                  <a:lnTo>
                    <a:pt x="4662" y="3"/>
                  </a:lnTo>
                  <a:lnTo>
                    <a:pt x="4682" y="1"/>
                  </a:lnTo>
                  <a:lnTo>
                    <a:pt x="4703" y="0"/>
                  </a:lnTo>
                  <a:lnTo>
                    <a:pt x="4725" y="0"/>
                  </a:lnTo>
                  <a:lnTo>
                    <a:pt x="4748" y="1"/>
                  </a:lnTo>
                  <a:lnTo>
                    <a:pt x="4771" y="4"/>
                  </a:lnTo>
                  <a:lnTo>
                    <a:pt x="4794" y="8"/>
                  </a:lnTo>
                  <a:lnTo>
                    <a:pt x="4819" y="13"/>
                  </a:lnTo>
                  <a:lnTo>
                    <a:pt x="4843" y="20"/>
                  </a:lnTo>
                  <a:lnTo>
                    <a:pt x="4869" y="29"/>
                  </a:lnTo>
                  <a:lnTo>
                    <a:pt x="4894" y="39"/>
                  </a:lnTo>
                  <a:lnTo>
                    <a:pt x="4921" y="51"/>
                  </a:lnTo>
                  <a:lnTo>
                    <a:pt x="4947" y="64"/>
                  </a:lnTo>
                  <a:lnTo>
                    <a:pt x="4974" y="81"/>
                  </a:lnTo>
                  <a:lnTo>
                    <a:pt x="5002" y="99"/>
                  </a:lnTo>
                  <a:lnTo>
                    <a:pt x="10615" y="3377"/>
                  </a:lnTo>
                  <a:lnTo>
                    <a:pt x="10629" y="3382"/>
                  </a:lnTo>
                  <a:lnTo>
                    <a:pt x="10665" y="3398"/>
                  </a:lnTo>
                  <a:lnTo>
                    <a:pt x="10689" y="3411"/>
                  </a:lnTo>
                  <a:lnTo>
                    <a:pt x="10717" y="3426"/>
                  </a:lnTo>
                  <a:lnTo>
                    <a:pt x="10731" y="3435"/>
                  </a:lnTo>
                  <a:lnTo>
                    <a:pt x="10746" y="3446"/>
                  </a:lnTo>
                  <a:lnTo>
                    <a:pt x="10761" y="3457"/>
                  </a:lnTo>
                  <a:lnTo>
                    <a:pt x="10776" y="3469"/>
                  </a:lnTo>
                  <a:lnTo>
                    <a:pt x="10791" y="3482"/>
                  </a:lnTo>
                  <a:lnTo>
                    <a:pt x="10807" y="3497"/>
                  </a:lnTo>
                  <a:lnTo>
                    <a:pt x="10821" y="3512"/>
                  </a:lnTo>
                  <a:lnTo>
                    <a:pt x="10836" y="3528"/>
                  </a:lnTo>
                  <a:lnTo>
                    <a:pt x="10850" y="3546"/>
                  </a:lnTo>
                  <a:lnTo>
                    <a:pt x="10864" y="3564"/>
                  </a:lnTo>
                  <a:lnTo>
                    <a:pt x="10877" y="3584"/>
                  </a:lnTo>
                  <a:lnTo>
                    <a:pt x="10890" y="3605"/>
                  </a:lnTo>
                  <a:lnTo>
                    <a:pt x="10901" y="3627"/>
                  </a:lnTo>
                  <a:lnTo>
                    <a:pt x="10911" y="3651"/>
                  </a:lnTo>
                  <a:lnTo>
                    <a:pt x="10921" y="3675"/>
                  </a:lnTo>
                  <a:lnTo>
                    <a:pt x="10929" y="3702"/>
                  </a:lnTo>
                  <a:lnTo>
                    <a:pt x="10936" y="3729"/>
                  </a:lnTo>
                  <a:lnTo>
                    <a:pt x="10941" y="3758"/>
                  </a:lnTo>
                  <a:lnTo>
                    <a:pt x="10945" y="3788"/>
                  </a:lnTo>
                  <a:lnTo>
                    <a:pt x="10947" y="3819"/>
                  </a:lnTo>
                  <a:lnTo>
                    <a:pt x="10947" y="13186"/>
                  </a:lnTo>
                  <a:lnTo>
                    <a:pt x="10948" y="13202"/>
                  </a:lnTo>
                  <a:lnTo>
                    <a:pt x="10950" y="13246"/>
                  </a:lnTo>
                  <a:lnTo>
                    <a:pt x="10949" y="13275"/>
                  </a:lnTo>
                  <a:lnTo>
                    <a:pt x="10947" y="13311"/>
                  </a:lnTo>
                  <a:lnTo>
                    <a:pt x="10945" y="13329"/>
                  </a:lnTo>
                  <a:lnTo>
                    <a:pt x="10942" y="13349"/>
                  </a:lnTo>
                  <a:lnTo>
                    <a:pt x="10938" y="13369"/>
                  </a:lnTo>
                  <a:lnTo>
                    <a:pt x="10934" y="13391"/>
                  </a:lnTo>
                  <a:lnTo>
                    <a:pt x="10929" y="13412"/>
                  </a:lnTo>
                  <a:lnTo>
                    <a:pt x="10923" y="13434"/>
                  </a:lnTo>
                  <a:lnTo>
                    <a:pt x="10915" y="13457"/>
                  </a:lnTo>
                  <a:lnTo>
                    <a:pt x="10907" y="13479"/>
                  </a:lnTo>
                  <a:lnTo>
                    <a:pt x="10897" y="13502"/>
                  </a:lnTo>
                  <a:lnTo>
                    <a:pt x="10886" y="13525"/>
                  </a:lnTo>
                  <a:lnTo>
                    <a:pt x="10874" y="13548"/>
                  </a:lnTo>
                  <a:lnTo>
                    <a:pt x="10861" y="13570"/>
                  </a:lnTo>
                  <a:lnTo>
                    <a:pt x="10845" y="13593"/>
                  </a:lnTo>
                  <a:lnTo>
                    <a:pt x="10829" y="13614"/>
                  </a:lnTo>
                  <a:lnTo>
                    <a:pt x="10810" y="13635"/>
                  </a:lnTo>
                  <a:lnTo>
                    <a:pt x="10790" y="13657"/>
                  </a:lnTo>
                  <a:lnTo>
                    <a:pt x="10769" y="13677"/>
                  </a:lnTo>
                  <a:lnTo>
                    <a:pt x="10745" y="13697"/>
                  </a:lnTo>
                  <a:lnTo>
                    <a:pt x="10719" y="13715"/>
                  </a:lnTo>
                  <a:lnTo>
                    <a:pt x="10692" y="13732"/>
                  </a:lnTo>
                  <a:lnTo>
                    <a:pt x="6559" y="16230"/>
                  </a:lnTo>
                  <a:lnTo>
                    <a:pt x="6550" y="16237"/>
                  </a:lnTo>
                  <a:lnTo>
                    <a:pt x="6525" y="16256"/>
                  </a:lnTo>
                  <a:lnTo>
                    <a:pt x="6507" y="16268"/>
                  </a:lnTo>
                  <a:lnTo>
                    <a:pt x="6486" y="16280"/>
                  </a:lnTo>
                  <a:lnTo>
                    <a:pt x="6474" y="16286"/>
                  </a:lnTo>
                  <a:lnTo>
                    <a:pt x="6461" y="16291"/>
                  </a:lnTo>
                  <a:lnTo>
                    <a:pt x="6447" y="16298"/>
                  </a:lnTo>
                  <a:lnTo>
                    <a:pt x="6433" y="16303"/>
                  </a:lnTo>
                  <a:lnTo>
                    <a:pt x="6418" y="16307"/>
                  </a:lnTo>
                  <a:lnTo>
                    <a:pt x="6402" y="16311"/>
                  </a:lnTo>
                  <a:lnTo>
                    <a:pt x="6386" y="16315"/>
                  </a:lnTo>
                  <a:lnTo>
                    <a:pt x="6369" y="16317"/>
                  </a:lnTo>
                  <a:lnTo>
                    <a:pt x="6351" y="16319"/>
                  </a:lnTo>
                  <a:lnTo>
                    <a:pt x="6333" y="16320"/>
                  </a:lnTo>
                  <a:lnTo>
                    <a:pt x="6315" y="16320"/>
                  </a:lnTo>
                  <a:lnTo>
                    <a:pt x="6295" y="16319"/>
                  </a:lnTo>
                  <a:lnTo>
                    <a:pt x="6275" y="16316"/>
                  </a:lnTo>
                  <a:lnTo>
                    <a:pt x="6255" y="16313"/>
                  </a:lnTo>
                  <a:lnTo>
                    <a:pt x="6235" y="16307"/>
                  </a:lnTo>
                  <a:lnTo>
                    <a:pt x="6213" y="16301"/>
                  </a:lnTo>
                  <a:lnTo>
                    <a:pt x="6192" y="16292"/>
                  </a:lnTo>
                  <a:lnTo>
                    <a:pt x="6170" y="16282"/>
                  </a:lnTo>
                  <a:lnTo>
                    <a:pt x="6148" y="16270"/>
                  </a:lnTo>
                  <a:lnTo>
                    <a:pt x="6125" y="16256"/>
                  </a:lnTo>
                  <a:lnTo>
                    <a:pt x="2904" y="14418"/>
                  </a:lnTo>
                  <a:lnTo>
                    <a:pt x="2896" y="14415"/>
                  </a:lnTo>
                  <a:lnTo>
                    <a:pt x="2877" y="14401"/>
                  </a:lnTo>
                  <a:lnTo>
                    <a:pt x="2864" y="14391"/>
                  </a:lnTo>
                  <a:lnTo>
                    <a:pt x="2850" y="14378"/>
                  </a:lnTo>
                  <a:lnTo>
                    <a:pt x="2835" y="14363"/>
                  </a:lnTo>
                  <a:lnTo>
                    <a:pt x="2820" y="14343"/>
                  </a:lnTo>
                  <a:lnTo>
                    <a:pt x="2812" y="14332"/>
                  </a:lnTo>
                  <a:lnTo>
                    <a:pt x="2805" y="14320"/>
                  </a:lnTo>
                  <a:lnTo>
                    <a:pt x="2798" y="14308"/>
                  </a:lnTo>
                  <a:lnTo>
                    <a:pt x="2791" y="14293"/>
                  </a:lnTo>
                  <a:lnTo>
                    <a:pt x="2784" y="14279"/>
                  </a:lnTo>
                  <a:lnTo>
                    <a:pt x="2778" y="14263"/>
                  </a:lnTo>
                  <a:lnTo>
                    <a:pt x="2773" y="14246"/>
                  </a:lnTo>
                  <a:lnTo>
                    <a:pt x="2768" y="14228"/>
                  </a:lnTo>
                  <a:lnTo>
                    <a:pt x="2763" y="14210"/>
                  </a:lnTo>
                  <a:lnTo>
                    <a:pt x="2760" y="14189"/>
                  </a:lnTo>
                  <a:lnTo>
                    <a:pt x="2757" y="14168"/>
                  </a:lnTo>
                  <a:lnTo>
                    <a:pt x="2755" y="14146"/>
                  </a:lnTo>
                  <a:lnTo>
                    <a:pt x="2754" y="14123"/>
                  </a:lnTo>
                  <a:lnTo>
                    <a:pt x="2754" y="14097"/>
                  </a:lnTo>
                  <a:lnTo>
                    <a:pt x="2755" y="14072"/>
                  </a:lnTo>
                  <a:lnTo>
                    <a:pt x="2757" y="14044"/>
                  </a:lnTo>
                  <a:lnTo>
                    <a:pt x="2757" y="13668"/>
                  </a:lnTo>
                  <a:lnTo>
                    <a:pt x="2742" y="13662"/>
                  </a:lnTo>
                  <a:lnTo>
                    <a:pt x="2702" y="13647"/>
                  </a:lnTo>
                  <a:lnTo>
                    <a:pt x="2673" y="13638"/>
                  </a:lnTo>
                  <a:lnTo>
                    <a:pt x="2641" y="13630"/>
                  </a:lnTo>
                  <a:lnTo>
                    <a:pt x="2623" y="13626"/>
                  </a:lnTo>
                  <a:lnTo>
                    <a:pt x="2604" y="13623"/>
                  </a:lnTo>
                  <a:lnTo>
                    <a:pt x="2585" y="13621"/>
                  </a:lnTo>
                  <a:lnTo>
                    <a:pt x="2565" y="13619"/>
                  </a:lnTo>
                  <a:lnTo>
                    <a:pt x="2544" y="13619"/>
                  </a:lnTo>
                  <a:lnTo>
                    <a:pt x="2523" y="13619"/>
                  </a:lnTo>
                  <a:lnTo>
                    <a:pt x="2501" y="13620"/>
                  </a:lnTo>
                  <a:lnTo>
                    <a:pt x="2479" y="13622"/>
                  </a:lnTo>
                  <a:lnTo>
                    <a:pt x="2457" y="13626"/>
                  </a:lnTo>
                  <a:lnTo>
                    <a:pt x="2435" y="13631"/>
                  </a:lnTo>
                  <a:lnTo>
                    <a:pt x="2412" y="13637"/>
                  </a:lnTo>
                  <a:lnTo>
                    <a:pt x="2390" y="13646"/>
                  </a:lnTo>
                  <a:lnTo>
                    <a:pt x="2368" y="13656"/>
                  </a:lnTo>
                  <a:lnTo>
                    <a:pt x="2345" y="13668"/>
                  </a:lnTo>
                  <a:lnTo>
                    <a:pt x="2324" y="13681"/>
                  </a:lnTo>
                  <a:lnTo>
                    <a:pt x="2302" y="13698"/>
                  </a:lnTo>
                  <a:lnTo>
                    <a:pt x="2281" y="13716"/>
                  </a:lnTo>
                  <a:lnTo>
                    <a:pt x="2260" y="13736"/>
                  </a:lnTo>
                  <a:lnTo>
                    <a:pt x="2240" y="13759"/>
                  </a:lnTo>
                  <a:lnTo>
                    <a:pt x="2221" y="13784"/>
                  </a:lnTo>
                  <a:lnTo>
                    <a:pt x="2214" y="13793"/>
                  </a:lnTo>
                  <a:lnTo>
                    <a:pt x="2192" y="13817"/>
                  </a:lnTo>
                  <a:lnTo>
                    <a:pt x="2177" y="13831"/>
                  </a:lnTo>
                  <a:lnTo>
                    <a:pt x="2158" y="13847"/>
                  </a:lnTo>
                  <a:lnTo>
                    <a:pt x="2147" y="13854"/>
                  </a:lnTo>
                  <a:lnTo>
                    <a:pt x="2135" y="13862"/>
                  </a:lnTo>
                  <a:lnTo>
                    <a:pt x="2123" y="13869"/>
                  </a:lnTo>
                  <a:lnTo>
                    <a:pt x="2110" y="13875"/>
                  </a:lnTo>
                  <a:lnTo>
                    <a:pt x="2097" y="13881"/>
                  </a:lnTo>
                  <a:lnTo>
                    <a:pt x="2082" y="13887"/>
                  </a:lnTo>
                  <a:lnTo>
                    <a:pt x="2067" y="13892"/>
                  </a:lnTo>
                  <a:lnTo>
                    <a:pt x="2051" y="13896"/>
                  </a:lnTo>
                  <a:lnTo>
                    <a:pt x="2035" y="13900"/>
                  </a:lnTo>
                  <a:lnTo>
                    <a:pt x="2018" y="13902"/>
                  </a:lnTo>
                  <a:lnTo>
                    <a:pt x="2000" y="13902"/>
                  </a:lnTo>
                  <a:lnTo>
                    <a:pt x="1982" y="13902"/>
                  </a:lnTo>
                  <a:lnTo>
                    <a:pt x="1963" y="13900"/>
                  </a:lnTo>
                  <a:lnTo>
                    <a:pt x="1943" y="13896"/>
                  </a:lnTo>
                  <a:lnTo>
                    <a:pt x="1923" y="13890"/>
                  </a:lnTo>
                  <a:lnTo>
                    <a:pt x="1902" y="13884"/>
                  </a:lnTo>
                  <a:lnTo>
                    <a:pt x="1880" y="13875"/>
                  </a:lnTo>
                  <a:lnTo>
                    <a:pt x="1859" y="13864"/>
                  </a:lnTo>
                  <a:lnTo>
                    <a:pt x="1836" y="13852"/>
                  </a:lnTo>
                  <a:lnTo>
                    <a:pt x="1812" y="13836"/>
                  </a:lnTo>
                  <a:lnTo>
                    <a:pt x="281" y="12895"/>
                  </a:lnTo>
                  <a:lnTo>
                    <a:pt x="270" y="12891"/>
                  </a:lnTo>
                  <a:lnTo>
                    <a:pt x="239" y="12878"/>
                  </a:lnTo>
                  <a:lnTo>
                    <a:pt x="218" y="12866"/>
                  </a:lnTo>
                  <a:lnTo>
                    <a:pt x="194" y="12853"/>
                  </a:lnTo>
                  <a:lnTo>
                    <a:pt x="170" y="12838"/>
                  </a:lnTo>
                  <a:lnTo>
                    <a:pt x="144" y="12818"/>
                  </a:lnTo>
                  <a:lnTo>
                    <a:pt x="131" y="12807"/>
                  </a:lnTo>
                  <a:lnTo>
                    <a:pt x="118" y="12796"/>
                  </a:lnTo>
                  <a:lnTo>
                    <a:pt x="105" y="12784"/>
                  </a:lnTo>
                  <a:lnTo>
                    <a:pt x="93" y="12771"/>
                  </a:lnTo>
                  <a:lnTo>
                    <a:pt x="81" y="12757"/>
                  </a:lnTo>
                  <a:lnTo>
                    <a:pt x="69" y="12743"/>
                  </a:lnTo>
                  <a:lnTo>
                    <a:pt x="58" y="12727"/>
                  </a:lnTo>
                  <a:lnTo>
                    <a:pt x="48" y="12710"/>
                  </a:lnTo>
                  <a:lnTo>
                    <a:pt x="38" y="12694"/>
                  </a:lnTo>
                  <a:lnTo>
                    <a:pt x="30" y="12676"/>
                  </a:lnTo>
                  <a:lnTo>
                    <a:pt x="22" y="12656"/>
                  </a:lnTo>
                  <a:lnTo>
                    <a:pt x="15" y="12637"/>
                  </a:lnTo>
                  <a:lnTo>
                    <a:pt x="10" y="12615"/>
                  </a:lnTo>
                  <a:lnTo>
                    <a:pt x="6" y="12594"/>
                  </a:lnTo>
                  <a:lnTo>
                    <a:pt x="3" y="12570"/>
                  </a:lnTo>
                  <a:lnTo>
                    <a:pt x="2" y="12547"/>
                  </a:lnTo>
                  <a:lnTo>
                    <a:pt x="1" y="12525"/>
                  </a:lnTo>
                  <a:lnTo>
                    <a:pt x="1" y="12495"/>
                  </a:lnTo>
                  <a:lnTo>
                    <a:pt x="1" y="12468"/>
                  </a:lnTo>
                  <a:lnTo>
                    <a:pt x="1" y="12457"/>
                  </a:lnTo>
                  <a:lnTo>
                    <a:pt x="1" y="2909"/>
                  </a:lnTo>
                  <a:lnTo>
                    <a:pt x="0" y="2901"/>
                  </a:lnTo>
                  <a:lnTo>
                    <a:pt x="0" y="2879"/>
                  </a:lnTo>
                  <a:lnTo>
                    <a:pt x="1" y="2864"/>
                  </a:lnTo>
                  <a:lnTo>
                    <a:pt x="3" y="2847"/>
                  </a:lnTo>
                  <a:lnTo>
                    <a:pt x="6" y="2828"/>
                  </a:lnTo>
                  <a:lnTo>
                    <a:pt x="11" y="2808"/>
                  </a:lnTo>
                  <a:lnTo>
                    <a:pt x="14" y="2798"/>
                  </a:lnTo>
                  <a:lnTo>
                    <a:pt x="18" y="2787"/>
                  </a:lnTo>
                  <a:lnTo>
                    <a:pt x="22" y="2776"/>
                  </a:lnTo>
                  <a:lnTo>
                    <a:pt x="27" y="2765"/>
                  </a:lnTo>
                  <a:lnTo>
                    <a:pt x="33" y="2754"/>
                  </a:lnTo>
                  <a:lnTo>
                    <a:pt x="40" y="2744"/>
                  </a:lnTo>
                  <a:lnTo>
                    <a:pt x="47" y="2733"/>
                  </a:lnTo>
                  <a:lnTo>
                    <a:pt x="55" y="2722"/>
                  </a:lnTo>
                  <a:lnTo>
                    <a:pt x="64" y="2712"/>
                  </a:lnTo>
                  <a:lnTo>
                    <a:pt x="74" y="2702"/>
                  </a:lnTo>
                  <a:lnTo>
                    <a:pt x="85" y="2692"/>
                  </a:lnTo>
                  <a:lnTo>
                    <a:pt x="96" y="2683"/>
                  </a:lnTo>
                  <a:lnTo>
                    <a:pt x="109" y="2673"/>
                  </a:lnTo>
                  <a:lnTo>
                    <a:pt x="123" y="2664"/>
                  </a:lnTo>
                  <a:lnTo>
                    <a:pt x="138" y="2656"/>
                  </a:lnTo>
                  <a:lnTo>
                    <a:pt x="154" y="2649"/>
                  </a:lnTo>
                  <a:close/>
                </a:path>
              </a:pathLst>
            </a:custGeom>
            <a:solidFill>
              <a:srgbClr val="8E8D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199" name="Freeform 89"/>
            <p:cNvSpPr>
              <a:spLocks/>
            </p:cNvSpPr>
            <p:nvPr/>
          </p:nvSpPr>
          <p:spPr bwMode="auto">
            <a:xfrm>
              <a:off x="747149" y="3333140"/>
              <a:ext cx="35873" cy="338185"/>
            </a:xfrm>
            <a:custGeom>
              <a:avLst/>
              <a:gdLst>
                <a:gd name="T0" fmla="*/ 0 w 1157"/>
                <a:gd name="T1" fmla="*/ 0 h 10318"/>
                <a:gd name="T2" fmla="*/ 0 w 1157"/>
                <a:gd name="T3" fmla="*/ 0 h 10318"/>
                <a:gd name="T4" fmla="*/ 0 w 1157"/>
                <a:gd name="T5" fmla="*/ 0 h 10318"/>
                <a:gd name="T6" fmla="*/ 0 w 1157"/>
                <a:gd name="T7" fmla="*/ 0 h 10318"/>
                <a:gd name="T8" fmla="*/ 0 w 1157"/>
                <a:gd name="T9" fmla="*/ 0 h 10318"/>
                <a:gd name="T10" fmla="*/ 0 w 1157"/>
                <a:gd name="T11" fmla="*/ 0 h 10318"/>
                <a:gd name="T12" fmla="*/ 0 w 1157"/>
                <a:gd name="T13" fmla="*/ 0 h 10318"/>
                <a:gd name="T14" fmla="*/ 0 w 1157"/>
                <a:gd name="T15" fmla="*/ 0 h 10318"/>
                <a:gd name="T16" fmla="*/ 0 w 1157"/>
                <a:gd name="T17" fmla="*/ 0 h 10318"/>
                <a:gd name="T18" fmla="*/ 0 w 1157"/>
                <a:gd name="T19" fmla="*/ 0 h 10318"/>
                <a:gd name="T20" fmla="*/ 0 w 1157"/>
                <a:gd name="T21" fmla="*/ 0 h 10318"/>
                <a:gd name="T22" fmla="*/ 0 w 1157"/>
                <a:gd name="T23" fmla="*/ 0 h 10318"/>
                <a:gd name="T24" fmla="*/ 0 w 1157"/>
                <a:gd name="T25" fmla="*/ 0 h 10318"/>
                <a:gd name="T26" fmla="*/ 0 w 1157"/>
                <a:gd name="T27" fmla="*/ 0 h 10318"/>
                <a:gd name="T28" fmla="*/ 0 w 1157"/>
                <a:gd name="T29" fmla="*/ 0 h 10318"/>
                <a:gd name="T30" fmla="*/ 0 w 1157"/>
                <a:gd name="T31" fmla="*/ 0 h 10318"/>
                <a:gd name="T32" fmla="*/ 0 w 1157"/>
                <a:gd name="T33" fmla="*/ 0 h 10318"/>
                <a:gd name="T34" fmla="*/ 0 w 1157"/>
                <a:gd name="T35" fmla="*/ 0 h 10318"/>
                <a:gd name="T36" fmla="*/ 0 w 1157"/>
                <a:gd name="T37" fmla="*/ 0 h 10318"/>
                <a:gd name="T38" fmla="*/ 0 w 1157"/>
                <a:gd name="T39" fmla="*/ 0 h 10318"/>
                <a:gd name="T40" fmla="*/ 0 w 1157"/>
                <a:gd name="T41" fmla="*/ 0 h 10318"/>
                <a:gd name="T42" fmla="*/ 0 w 1157"/>
                <a:gd name="T43" fmla="*/ 0 h 10318"/>
                <a:gd name="T44" fmla="*/ 0 w 1157"/>
                <a:gd name="T45" fmla="*/ 0 h 10318"/>
                <a:gd name="T46" fmla="*/ 0 w 1157"/>
                <a:gd name="T47" fmla="*/ 0 h 10318"/>
                <a:gd name="T48" fmla="*/ 0 w 1157"/>
                <a:gd name="T49" fmla="*/ 0 h 10318"/>
                <a:gd name="T50" fmla="*/ 0 w 1157"/>
                <a:gd name="T51" fmla="*/ 0 h 10318"/>
                <a:gd name="T52" fmla="*/ 0 w 1157"/>
                <a:gd name="T53" fmla="*/ 0 h 10318"/>
                <a:gd name="T54" fmla="*/ 0 w 1157"/>
                <a:gd name="T55" fmla="*/ 0 h 10318"/>
                <a:gd name="T56" fmla="*/ 0 w 1157"/>
                <a:gd name="T57" fmla="*/ 0 h 10318"/>
                <a:gd name="T58" fmla="*/ 0 w 1157"/>
                <a:gd name="T59" fmla="*/ 0 h 1031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57"/>
                <a:gd name="T91" fmla="*/ 0 h 10318"/>
                <a:gd name="T92" fmla="*/ 1157 w 1157"/>
                <a:gd name="T93" fmla="*/ 10318 h 1031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57" h="10318">
                  <a:moveTo>
                    <a:pt x="0" y="677"/>
                  </a:moveTo>
                  <a:lnTo>
                    <a:pt x="754" y="10318"/>
                  </a:lnTo>
                  <a:lnTo>
                    <a:pt x="757" y="10310"/>
                  </a:lnTo>
                  <a:lnTo>
                    <a:pt x="762" y="10299"/>
                  </a:lnTo>
                  <a:lnTo>
                    <a:pt x="768" y="10285"/>
                  </a:lnTo>
                  <a:lnTo>
                    <a:pt x="777" y="10271"/>
                  </a:lnTo>
                  <a:lnTo>
                    <a:pt x="788" y="10256"/>
                  </a:lnTo>
                  <a:lnTo>
                    <a:pt x="802" y="10239"/>
                  </a:lnTo>
                  <a:lnTo>
                    <a:pt x="810" y="10230"/>
                  </a:lnTo>
                  <a:lnTo>
                    <a:pt x="818" y="10221"/>
                  </a:lnTo>
                  <a:lnTo>
                    <a:pt x="828" y="10212"/>
                  </a:lnTo>
                  <a:lnTo>
                    <a:pt x="839" y="10204"/>
                  </a:lnTo>
                  <a:lnTo>
                    <a:pt x="850" y="10195"/>
                  </a:lnTo>
                  <a:lnTo>
                    <a:pt x="862" y="10187"/>
                  </a:lnTo>
                  <a:lnTo>
                    <a:pt x="876" y="10177"/>
                  </a:lnTo>
                  <a:lnTo>
                    <a:pt x="890" y="10169"/>
                  </a:lnTo>
                  <a:lnTo>
                    <a:pt x="906" y="10160"/>
                  </a:lnTo>
                  <a:lnTo>
                    <a:pt x="922" y="10152"/>
                  </a:lnTo>
                  <a:lnTo>
                    <a:pt x="940" y="10144"/>
                  </a:lnTo>
                  <a:lnTo>
                    <a:pt x="959" y="10137"/>
                  </a:lnTo>
                  <a:lnTo>
                    <a:pt x="979" y="10129"/>
                  </a:lnTo>
                  <a:lnTo>
                    <a:pt x="1001" y="10122"/>
                  </a:lnTo>
                  <a:lnTo>
                    <a:pt x="1023" y="10115"/>
                  </a:lnTo>
                  <a:lnTo>
                    <a:pt x="1047" y="10109"/>
                  </a:lnTo>
                  <a:lnTo>
                    <a:pt x="1073" y="10104"/>
                  </a:lnTo>
                  <a:lnTo>
                    <a:pt x="1099" y="10099"/>
                  </a:lnTo>
                  <a:lnTo>
                    <a:pt x="1127" y="10094"/>
                  </a:lnTo>
                  <a:lnTo>
                    <a:pt x="1157" y="10090"/>
                  </a:lnTo>
                  <a:lnTo>
                    <a:pt x="1157" y="0"/>
                  </a:lnTo>
                  <a:lnTo>
                    <a:pt x="0" y="677"/>
                  </a:lnTo>
                  <a:close/>
                </a:path>
              </a:pathLst>
            </a:custGeom>
            <a:solidFill>
              <a:srgbClr val="B5B5B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0" name="Freeform 90"/>
            <p:cNvSpPr>
              <a:spLocks/>
            </p:cNvSpPr>
            <p:nvPr/>
          </p:nvSpPr>
          <p:spPr bwMode="auto">
            <a:xfrm>
              <a:off x="769570" y="3671325"/>
              <a:ext cx="1495" cy="1675"/>
            </a:xfrm>
            <a:custGeom>
              <a:avLst/>
              <a:gdLst>
                <a:gd name="T0" fmla="*/ 0 w 3"/>
                <a:gd name="T1" fmla="*/ 0 h 11"/>
                <a:gd name="T2" fmla="*/ 0 w 3"/>
                <a:gd name="T3" fmla="*/ 0 h 11"/>
                <a:gd name="T4" fmla="*/ 0 w 3"/>
                <a:gd name="T5" fmla="*/ 0 h 11"/>
                <a:gd name="T6" fmla="*/ 0 w 3"/>
                <a:gd name="T7" fmla="*/ 0 h 11"/>
                <a:gd name="T8" fmla="*/ 0 w 3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1"/>
                <a:gd name="T17" fmla="*/ 3 w 3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1">
                  <a:moveTo>
                    <a:pt x="3" y="5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1" name="Freeform 91"/>
            <p:cNvSpPr>
              <a:spLocks/>
            </p:cNvSpPr>
            <p:nvPr/>
          </p:nvSpPr>
          <p:spPr bwMode="auto">
            <a:xfrm>
              <a:off x="783022" y="3326443"/>
              <a:ext cx="43347" cy="344882"/>
            </a:xfrm>
            <a:custGeom>
              <a:avLst/>
              <a:gdLst>
                <a:gd name="T0" fmla="*/ 0 w 1458"/>
                <a:gd name="T1" fmla="*/ 0 h 10522"/>
                <a:gd name="T2" fmla="*/ 0 w 1458"/>
                <a:gd name="T3" fmla="*/ 0 h 10522"/>
                <a:gd name="T4" fmla="*/ 0 w 1458"/>
                <a:gd name="T5" fmla="*/ 0 h 10522"/>
                <a:gd name="T6" fmla="*/ 0 w 1458"/>
                <a:gd name="T7" fmla="*/ 0 h 10522"/>
                <a:gd name="T8" fmla="*/ 0 w 1458"/>
                <a:gd name="T9" fmla="*/ 0 h 10522"/>
                <a:gd name="T10" fmla="*/ 0 w 1458"/>
                <a:gd name="T11" fmla="*/ 0 h 10522"/>
                <a:gd name="T12" fmla="*/ 0 w 1458"/>
                <a:gd name="T13" fmla="*/ 0 h 10522"/>
                <a:gd name="T14" fmla="*/ 0 w 1458"/>
                <a:gd name="T15" fmla="*/ 0 h 10522"/>
                <a:gd name="T16" fmla="*/ 0 w 1458"/>
                <a:gd name="T17" fmla="*/ 0 h 10522"/>
                <a:gd name="T18" fmla="*/ 0 w 1458"/>
                <a:gd name="T19" fmla="*/ 0 h 10522"/>
                <a:gd name="T20" fmla="*/ 0 w 1458"/>
                <a:gd name="T21" fmla="*/ 0 h 10522"/>
                <a:gd name="T22" fmla="*/ 0 w 1458"/>
                <a:gd name="T23" fmla="*/ 0 h 10522"/>
                <a:gd name="T24" fmla="*/ 0 w 1458"/>
                <a:gd name="T25" fmla="*/ 0 h 10522"/>
                <a:gd name="T26" fmla="*/ 0 w 1458"/>
                <a:gd name="T27" fmla="*/ 0 h 10522"/>
                <a:gd name="T28" fmla="*/ 0 w 1458"/>
                <a:gd name="T29" fmla="*/ 0 h 10522"/>
                <a:gd name="T30" fmla="*/ 0 w 1458"/>
                <a:gd name="T31" fmla="*/ 0 h 10522"/>
                <a:gd name="T32" fmla="*/ 0 w 1458"/>
                <a:gd name="T33" fmla="*/ 0 h 10522"/>
                <a:gd name="T34" fmla="*/ 0 w 1458"/>
                <a:gd name="T35" fmla="*/ 0 h 10522"/>
                <a:gd name="T36" fmla="*/ 0 w 1458"/>
                <a:gd name="T37" fmla="*/ 0 h 10522"/>
                <a:gd name="T38" fmla="*/ 0 w 1458"/>
                <a:gd name="T39" fmla="*/ 0 h 10522"/>
                <a:gd name="T40" fmla="*/ 0 w 1458"/>
                <a:gd name="T41" fmla="*/ 0 h 10522"/>
                <a:gd name="T42" fmla="*/ 0 w 1458"/>
                <a:gd name="T43" fmla="*/ 0 h 10522"/>
                <a:gd name="T44" fmla="*/ 0 w 1458"/>
                <a:gd name="T45" fmla="*/ 0 h 10522"/>
                <a:gd name="T46" fmla="*/ 0 w 1458"/>
                <a:gd name="T47" fmla="*/ 0 h 10522"/>
                <a:gd name="T48" fmla="*/ 0 w 1458"/>
                <a:gd name="T49" fmla="*/ 0 h 10522"/>
                <a:gd name="T50" fmla="*/ 0 w 1458"/>
                <a:gd name="T51" fmla="*/ 0 h 10522"/>
                <a:gd name="T52" fmla="*/ 0 w 1458"/>
                <a:gd name="T53" fmla="*/ 0 h 10522"/>
                <a:gd name="T54" fmla="*/ 0 w 1458"/>
                <a:gd name="T55" fmla="*/ 0 h 10522"/>
                <a:gd name="T56" fmla="*/ 0 w 1458"/>
                <a:gd name="T57" fmla="*/ 0 h 10522"/>
                <a:gd name="T58" fmla="*/ 0 w 1458"/>
                <a:gd name="T59" fmla="*/ 0 h 10522"/>
                <a:gd name="T60" fmla="*/ 0 w 1458"/>
                <a:gd name="T61" fmla="*/ 0 h 10522"/>
                <a:gd name="T62" fmla="*/ 0 w 1458"/>
                <a:gd name="T63" fmla="*/ 0 h 10522"/>
                <a:gd name="T64" fmla="*/ 0 w 1458"/>
                <a:gd name="T65" fmla="*/ 0 h 10522"/>
                <a:gd name="T66" fmla="*/ 0 w 1458"/>
                <a:gd name="T67" fmla="*/ 0 h 10522"/>
                <a:gd name="T68" fmla="*/ 0 w 1458"/>
                <a:gd name="T69" fmla="*/ 0 h 1052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58"/>
                <a:gd name="T106" fmla="*/ 0 h 10522"/>
                <a:gd name="T107" fmla="*/ 1458 w 1458"/>
                <a:gd name="T108" fmla="*/ 10522 h 1052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58" h="10522">
                  <a:moveTo>
                    <a:pt x="362" y="0"/>
                  </a:moveTo>
                  <a:lnTo>
                    <a:pt x="0" y="212"/>
                  </a:lnTo>
                  <a:lnTo>
                    <a:pt x="0" y="10302"/>
                  </a:lnTo>
                  <a:lnTo>
                    <a:pt x="19" y="10300"/>
                  </a:lnTo>
                  <a:lnTo>
                    <a:pt x="38" y="10299"/>
                  </a:lnTo>
                  <a:lnTo>
                    <a:pt x="58" y="10297"/>
                  </a:lnTo>
                  <a:lnTo>
                    <a:pt x="78" y="10296"/>
                  </a:lnTo>
                  <a:lnTo>
                    <a:pt x="99" y="10295"/>
                  </a:lnTo>
                  <a:lnTo>
                    <a:pt x="120" y="10293"/>
                  </a:lnTo>
                  <a:lnTo>
                    <a:pt x="143" y="10292"/>
                  </a:lnTo>
                  <a:lnTo>
                    <a:pt x="165" y="10292"/>
                  </a:lnTo>
                  <a:lnTo>
                    <a:pt x="178" y="10291"/>
                  </a:lnTo>
                  <a:lnTo>
                    <a:pt x="212" y="10292"/>
                  </a:lnTo>
                  <a:lnTo>
                    <a:pt x="236" y="10293"/>
                  </a:lnTo>
                  <a:lnTo>
                    <a:pt x="265" y="10298"/>
                  </a:lnTo>
                  <a:lnTo>
                    <a:pt x="296" y="10303"/>
                  </a:lnTo>
                  <a:lnTo>
                    <a:pt x="330" y="10311"/>
                  </a:lnTo>
                  <a:lnTo>
                    <a:pt x="348" y="10316"/>
                  </a:lnTo>
                  <a:lnTo>
                    <a:pt x="367" y="10322"/>
                  </a:lnTo>
                  <a:lnTo>
                    <a:pt x="386" y="10328"/>
                  </a:lnTo>
                  <a:lnTo>
                    <a:pt x="405" y="10336"/>
                  </a:lnTo>
                  <a:lnTo>
                    <a:pt x="425" y="10344"/>
                  </a:lnTo>
                  <a:lnTo>
                    <a:pt x="445" y="10355"/>
                  </a:lnTo>
                  <a:lnTo>
                    <a:pt x="465" y="10365"/>
                  </a:lnTo>
                  <a:lnTo>
                    <a:pt x="485" y="10377"/>
                  </a:lnTo>
                  <a:lnTo>
                    <a:pt x="506" y="10390"/>
                  </a:lnTo>
                  <a:lnTo>
                    <a:pt x="526" y="10405"/>
                  </a:lnTo>
                  <a:lnTo>
                    <a:pt x="546" y="10421"/>
                  </a:lnTo>
                  <a:lnTo>
                    <a:pt x="566" y="10438"/>
                  </a:lnTo>
                  <a:lnTo>
                    <a:pt x="586" y="10457"/>
                  </a:lnTo>
                  <a:lnTo>
                    <a:pt x="605" y="10477"/>
                  </a:lnTo>
                  <a:lnTo>
                    <a:pt x="624" y="10499"/>
                  </a:lnTo>
                  <a:lnTo>
                    <a:pt x="643" y="10522"/>
                  </a:lnTo>
                  <a:lnTo>
                    <a:pt x="1458" y="631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2" name="Freeform 92"/>
            <p:cNvSpPr>
              <a:spLocks/>
            </p:cNvSpPr>
            <p:nvPr/>
          </p:nvSpPr>
          <p:spPr bwMode="auto">
            <a:xfrm>
              <a:off x="895127" y="3344859"/>
              <a:ext cx="133031" cy="406827"/>
            </a:xfrm>
            <a:custGeom>
              <a:avLst/>
              <a:gdLst>
                <a:gd name="T0" fmla="*/ 0 w 4414"/>
                <a:gd name="T1" fmla="*/ 0 h 12417"/>
                <a:gd name="T2" fmla="*/ 0 w 4414"/>
                <a:gd name="T3" fmla="*/ 0 h 12417"/>
                <a:gd name="T4" fmla="*/ 0 w 4414"/>
                <a:gd name="T5" fmla="*/ 0 h 12417"/>
                <a:gd name="T6" fmla="*/ 0 w 4414"/>
                <a:gd name="T7" fmla="*/ 0 h 12417"/>
                <a:gd name="T8" fmla="*/ 0 w 4414"/>
                <a:gd name="T9" fmla="*/ 0 h 124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14"/>
                <a:gd name="T16" fmla="*/ 0 h 12417"/>
                <a:gd name="T17" fmla="*/ 4414 w 4414"/>
                <a:gd name="T18" fmla="*/ 12417 h 124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14" h="12417">
                  <a:moveTo>
                    <a:pt x="0" y="2752"/>
                  </a:moveTo>
                  <a:lnTo>
                    <a:pt x="4414" y="0"/>
                  </a:lnTo>
                  <a:lnTo>
                    <a:pt x="4414" y="9747"/>
                  </a:lnTo>
                  <a:lnTo>
                    <a:pt x="60" y="12417"/>
                  </a:lnTo>
                  <a:lnTo>
                    <a:pt x="0" y="2752"/>
                  </a:lnTo>
                  <a:close/>
                </a:path>
              </a:pathLst>
            </a:custGeom>
            <a:solidFill>
              <a:srgbClr val="B9B9B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3" name="Freeform 93"/>
            <p:cNvSpPr>
              <a:spLocks/>
            </p:cNvSpPr>
            <p:nvPr/>
          </p:nvSpPr>
          <p:spPr bwMode="auto">
            <a:xfrm>
              <a:off x="796475" y="3368297"/>
              <a:ext cx="101641" cy="383389"/>
            </a:xfrm>
            <a:custGeom>
              <a:avLst/>
              <a:gdLst>
                <a:gd name="T0" fmla="*/ 0 w 3381"/>
                <a:gd name="T1" fmla="*/ 0 h 11718"/>
                <a:gd name="T2" fmla="*/ 0 w 3381"/>
                <a:gd name="T3" fmla="*/ 0 h 11718"/>
                <a:gd name="T4" fmla="*/ 0 w 3381"/>
                <a:gd name="T5" fmla="*/ 0 h 11718"/>
                <a:gd name="T6" fmla="*/ 0 w 3381"/>
                <a:gd name="T7" fmla="*/ 0 h 11718"/>
                <a:gd name="T8" fmla="*/ 0 w 3381"/>
                <a:gd name="T9" fmla="*/ 0 h 117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81"/>
                <a:gd name="T16" fmla="*/ 0 h 11718"/>
                <a:gd name="T17" fmla="*/ 3381 w 3381"/>
                <a:gd name="T18" fmla="*/ 11718 h 117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81" h="11718">
                  <a:moveTo>
                    <a:pt x="3381" y="2029"/>
                  </a:moveTo>
                  <a:lnTo>
                    <a:pt x="0" y="0"/>
                  </a:lnTo>
                  <a:lnTo>
                    <a:pt x="0" y="9779"/>
                  </a:lnTo>
                  <a:lnTo>
                    <a:pt x="3381" y="11718"/>
                  </a:lnTo>
                  <a:lnTo>
                    <a:pt x="3381" y="2029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4" name="Freeform 94"/>
            <p:cNvSpPr>
              <a:spLocks/>
            </p:cNvSpPr>
            <p:nvPr/>
          </p:nvSpPr>
          <p:spPr bwMode="auto">
            <a:xfrm>
              <a:off x="805443" y="3391736"/>
              <a:ext cx="80715" cy="130586"/>
            </a:xfrm>
            <a:custGeom>
              <a:avLst/>
              <a:gdLst>
                <a:gd name="T0" fmla="*/ 0 w 2733"/>
                <a:gd name="T1" fmla="*/ 0 h 3953"/>
                <a:gd name="T2" fmla="*/ 0 w 2733"/>
                <a:gd name="T3" fmla="*/ 0 h 3953"/>
                <a:gd name="T4" fmla="*/ 0 w 2733"/>
                <a:gd name="T5" fmla="*/ 0 h 3953"/>
                <a:gd name="T6" fmla="*/ 0 w 2733"/>
                <a:gd name="T7" fmla="*/ 0 h 3953"/>
                <a:gd name="T8" fmla="*/ 0 w 2733"/>
                <a:gd name="T9" fmla="*/ 0 h 39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33"/>
                <a:gd name="T16" fmla="*/ 0 h 3953"/>
                <a:gd name="T17" fmla="*/ 2733 w 2733"/>
                <a:gd name="T18" fmla="*/ 3953 h 39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33" h="3953">
                  <a:moveTo>
                    <a:pt x="0" y="0"/>
                  </a:moveTo>
                  <a:lnTo>
                    <a:pt x="0" y="2385"/>
                  </a:lnTo>
                  <a:lnTo>
                    <a:pt x="2733" y="3953"/>
                  </a:lnTo>
                  <a:lnTo>
                    <a:pt x="2733" y="15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5" name="Freeform 95"/>
            <p:cNvSpPr>
              <a:spLocks/>
            </p:cNvSpPr>
            <p:nvPr/>
          </p:nvSpPr>
          <p:spPr bwMode="auto">
            <a:xfrm>
              <a:off x="715760" y="3316398"/>
              <a:ext cx="53810" cy="354927"/>
            </a:xfrm>
            <a:custGeom>
              <a:avLst/>
              <a:gdLst>
                <a:gd name="T0" fmla="*/ 0 w 1839"/>
                <a:gd name="T1" fmla="*/ 0 h 10814"/>
                <a:gd name="T2" fmla="*/ 0 w 1839"/>
                <a:gd name="T3" fmla="*/ 0 h 10814"/>
                <a:gd name="T4" fmla="*/ 0 w 1839"/>
                <a:gd name="T5" fmla="*/ 0 h 10814"/>
                <a:gd name="T6" fmla="*/ 0 w 1839"/>
                <a:gd name="T7" fmla="*/ 0 h 10814"/>
                <a:gd name="T8" fmla="*/ 0 w 1839"/>
                <a:gd name="T9" fmla="*/ 0 h 10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39"/>
                <a:gd name="T16" fmla="*/ 0 h 10814"/>
                <a:gd name="T17" fmla="*/ 1839 w 1839"/>
                <a:gd name="T18" fmla="*/ 10814 h 10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39" h="10814">
                  <a:moveTo>
                    <a:pt x="5" y="0"/>
                  </a:moveTo>
                  <a:lnTo>
                    <a:pt x="0" y="9760"/>
                  </a:lnTo>
                  <a:lnTo>
                    <a:pt x="1839" y="10814"/>
                  </a:lnTo>
                  <a:lnTo>
                    <a:pt x="1839" y="101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6" name="Freeform 96"/>
            <p:cNvSpPr>
              <a:spLocks/>
            </p:cNvSpPr>
            <p:nvPr/>
          </p:nvSpPr>
          <p:spPr bwMode="auto">
            <a:xfrm>
              <a:off x="724728" y="3341510"/>
              <a:ext cx="40358" cy="108823"/>
            </a:xfrm>
            <a:custGeom>
              <a:avLst/>
              <a:gdLst>
                <a:gd name="T0" fmla="*/ 0 w 1368"/>
                <a:gd name="T1" fmla="*/ 0 h 3287"/>
                <a:gd name="T2" fmla="*/ 0 w 1368"/>
                <a:gd name="T3" fmla="*/ 0 h 3287"/>
                <a:gd name="T4" fmla="*/ 0 w 1368"/>
                <a:gd name="T5" fmla="*/ 0 h 3287"/>
                <a:gd name="T6" fmla="*/ 0 w 1368"/>
                <a:gd name="T7" fmla="*/ 0 h 3287"/>
                <a:gd name="T8" fmla="*/ 0 w 1368"/>
                <a:gd name="T9" fmla="*/ 0 h 32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8"/>
                <a:gd name="T16" fmla="*/ 0 h 3287"/>
                <a:gd name="T17" fmla="*/ 1368 w 1368"/>
                <a:gd name="T18" fmla="*/ 3287 h 328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8" h="3287">
                  <a:moveTo>
                    <a:pt x="0" y="0"/>
                  </a:moveTo>
                  <a:lnTo>
                    <a:pt x="0" y="2516"/>
                  </a:lnTo>
                  <a:lnTo>
                    <a:pt x="1368" y="3287"/>
                  </a:lnTo>
                  <a:lnTo>
                    <a:pt x="1368" y="7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7" name="Freeform 97"/>
            <p:cNvSpPr>
              <a:spLocks/>
            </p:cNvSpPr>
            <p:nvPr/>
          </p:nvSpPr>
          <p:spPr bwMode="auto">
            <a:xfrm>
              <a:off x="803948" y="3487165"/>
              <a:ext cx="80715" cy="78687"/>
            </a:xfrm>
            <a:custGeom>
              <a:avLst/>
              <a:gdLst>
                <a:gd name="T0" fmla="*/ 0 w 2688"/>
                <a:gd name="T1" fmla="*/ 0 h 2433"/>
                <a:gd name="T2" fmla="*/ 0 w 2688"/>
                <a:gd name="T3" fmla="*/ 0 h 2433"/>
                <a:gd name="T4" fmla="*/ 0 w 2688"/>
                <a:gd name="T5" fmla="*/ 0 h 2433"/>
                <a:gd name="T6" fmla="*/ 0 w 2688"/>
                <a:gd name="T7" fmla="*/ 0 h 2433"/>
                <a:gd name="T8" fmla="*/ 0 w 2688"/>
                <a:gd name="T9" fmla="*/ 0 h 2433"/>
                <a:gd name="T10" fmla="*/ 0 w 2688"/>
                <a:gd name="T11" fmla="*/ 0 h 2433"/>
                <a:gd name="T12" fmla="*/ 0 w 2688"/>
                <a:gd name="T13" fmla="*/ 0 h 2433"/>
                <a:gd name="T14" fmla="*/ 0 w 2688"/>
                <a:gd name="T15" fmla="*/ 0 h 2433"/>
                <a:gd name="T16" fmla="*/ 0 w 2688"/>
                <a:gd name="T17" fmla="*/ 0 h 2433"/>
                <a:gd name="T18" fmla="*/ 0 w 2688"/>
                <a:gd name="T19" fmla="*/ 0 h 2433"/>
                <a:gd name="T20" fmla="*/ 0 w 2688"/>
                <a:gd name="T21" fmla="*/ 0 h 2433"/>
                <a:gd name="T22" fmla="*/ 0 w 2688"/>
                <a:gd name="T23" fmla="*/ 0 h 2433"/>
                <a:gd name="T24" fmla="*/ 0 w 2688"/>
                <a:gd name="T25" fmla="*/ 0 h 2433"/>
                <a:gd name="T26" fmla="*/ 0 w 2688"/>
                <a:gd name="T27" fmla="*/ 0 h 2433"/>
                <a:gd name="T28" fmla="*/ 0 w 2688"/>
                <a:gd name="T29" fmla="*/ 0 h 2433"/>
                <a:gd name="T30" fmla="*/ 0 w 2688"/>
                <a:gd name="T31" fmla="*/ 0 h 2433"/>
                <a:gd name="T32" fmla="*/ 0 w 2688"/>
                <a:gd name="T33" fmla="*/ 0 h 2433"/>
                <a:gd name="T34" fmla="*/ 0 w 2688"/>
                <a:gd name="T35" fmla="*/ 0 h 2433"/>
                <a:gd name="T36" fmla="*/ 0 w 2688"/>
                <a:gd name="T37" fmla="*/ 0 h 2433"/>
                <a:gd name="T38" fmla="*/ 0 w 2688"/>
                <a:gd name="T39" fmla="*/ 0 h 2433"/>
                <a:gd name="T40" fmla="*/ 0 w 2688"/>
                <a:gd name="T41" fmla="*/ 0 h 2433"/>
                <a:gd name="T42" fmla="*/ 0 w 2688"/>
                <a:gd name="T43" fmla="*/ 0 h 2433"/>
                <a:gd name="T44" fmla="*/ 0 w 2688"/>
                <a:gd name="T45" fmla="*/ 0 h 2433"/>
                <a:gd name="T46" fmla="*/ 0 w 2688"/>
                <a:gd name="T47" fmla="*/ 0 h 2433"/>
                <a:gd name="T48" fmla="*/ 0 w 2688"/>
                <a:gd name="T49" fmla="*/ 0 h 2433"/>
                <a:gd name="T50" fmla="*/ 0 w 2688"/>
                <a:gd name="T51" fmla="*/ 0 h 2433"/>
                <a:gd name="T52" fmla="*/ 0 w 2688"/>
                <a:gd name="T53" fmla="*/ 0 h 2433"/>
                <a:gd name="T54" fmla="*/ 0 w 2688"/>
                <a:gd name="T55" fmla="*/ 0 h 2433"/>
                <a:gd name="T56" fmla="*/ 0 w 2688"/>
                <a:gd name="T57" fmla="*/ 0 h 2433"/>
                <a:gd name="T58" fmla="*/ 0 w 2688"/>
                <a:gd name="T59" fmla="*/ 0 h 2433"/>
                <a:gd name="T60" fmla="*/ 0 w 2688"/>
                <a:gd name="T61" fmla="*/ 0 h 2433"/>
                <a:gd name="T62" fmla="*/ 0 w 2688"/>
                <a:gd name="T63" fmla="*/ 0 h 2433"/>
                <a:gd name="T64" fmla="*/ 0 w 2688"/>
                <a:gd name="T65" fmla="*/ 0 h 2433"/>
                <a:gd name="T66" fmla="*/ 0 w 2688"/>
                <a:gd name="T67" fmla="*/ 0 h 2433"/>
                <a:gd name="T68" fmla="*/ 0 w 2688"/>
                <a:gd name="T69" fmla="*/ 0 h 2433"/>
                <a:gd name="T70" fmla="*/ 0 w 2688"/>
                <a:gd name="T71" fmla="*/ 0 h 2433"/>
                <a:gd name="T72" fmla="*/ 0 w 2688"/>
                <a:gd name="T73" fmla="*/ 0 h 2433"/>
                <a:gd name="T74" fmla="*/ 0 w 2688"/>
                <a:gd name="T75" fmla="*/ 0 h 2433"/>
                <a:gd name="T76" fmla="*/ 0 w 2688"/>
                <a:gd name="T77" fmla="*/ 0 h 2433"/>
                <a:gd name="T78" fmla="*/ 0 w 2688"/>
                <a:gd name="T79" fmla="*/ 0 h 2433"/>
                <a:gd name="T80" fmla="*/ 0 w 2688"/>
                <a:gd name="T81" fmla="*/ 0 h 2433"/>
                <a:gd name="T82" fmla="*/ 0 w 2688"/>
                <a:gd name="T83" fmla="*/ 0 h 2433"/>
                <a:gd name="T84" fmla="*/ 0 w 2688"/>
                <a:gd name="T85" fmla="*/ 0 h 2433"/>
                <a:gd name="T86" fmla="*/ 0 w 2688"/>
                <a:gd name="T87" fmla="*/ 0 h 2433"/>
                <a:gd name="T88" fmla="*/ 0 w 2688"/>
                <a:gd name="T89" fmla="*/ 0 h 2433"/>
                <a:gd name="T90" fmla="*/ 0 w 2688"/>
                <a:gd name="T91" fmla="*/ 0 h 2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88"/>
                <a:gd name="T139" fmla="*/ 0 h 2433"/>
                <a:gd name="T140" fmla="*/ 2688 w 2688"/>
                <a:gd name="T141" fmla="*/ 2433 h 2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88" h="2433">
                  <a:moveTo>
                    <a:pt x="2688" y="2312"/>
                  </a:moveTo>
                  <a:lnTo>
                    <a:pt x="2688" y="2322"/>
                  </a:lnTo>
                  <a:lnTo>
                    <a:pt x="2687" y="2332"/>
                  </a:lnTo>
                  <a:lnTo>
                    <a:pt x="2686" y="2342"/>
                  </a:lnTo>
                  <a:lnTo>
                    <a:pt x="2684" y="2351"/>
                  </a:lnTo>
                  <a:lnTo>
                    <a:pt x="2682" y="2359"/>
                  </a:lnTo>
                  <a:lnTo>
                    <a:pt x="2679" y="2367"/>
                  </a:lnTo>
                  <a:lnTo>
                    <a:pt x="2676" y="2375"/>
                  </a:lnTo>
                  <a:lnTo>
                    <a:pt x="2673" y="2382"/>
                  </a:lnTo>
                  <a:lnTo>
                    <a:pt x="2669" y="2390"/>
                  </a:lnTo>
                  <a:lnTo>
                    <a:pt x="2664" y="2396"/>
                  </a:lnTo>
                  <a:lnTo>
                    <a:pt x="2660" y="2402"/>
                  </a:lnTo>
                  <a:lnTo>
                    <a:pt x="2655" y="2407"/>
                  </a:lnTo>
                  <a:lnTo>
                    <a:pt x="2649" y="2412"/>
                  </a:lnTo>
                  <a:lnTo>
                    <a:pt x="2643" y="2416"/>
                  </a:lnTo>
                  <a:lnTo>
                    <a:pt x="2637" y="2420"/>
                  </a:lnTo>
                  <a:lnTo>
                    <a:pt x="2631" y="2424"/>
                  </a:lnTo>
                  <a:lnTo>
                    <a:pt x="2624" y="2426"/>
                  </a:lnTo>
                  <a:lnTo>
                    <a:pt x="2617" y="2429"/>
                  </a:lnTo>
                  <a:lnTo>
                    <a:pt x="2609" y="2431"/>
                  </a:lnTo>
                  <a:lnTo>
                    <a:pt x="2602" y="2432"/>
                  </a:lnTo>
                  <a:lnTo>
                    <a:pt x="2594" y="2433"/>
                  </a:lnTo>
                  <a:lnTo>
                    <a:pt x="2586" y="2433"/>
                  </a:lnTo>
                  <a:lnTo>
                    <a:pt x="2577" y="2433"/>
                  </a:lnTo>
                  <a:lnTo>
                    <a:pt x="2569" y="2433"/>
                  </a:lnTo>
                  <a:lnTo>
                    <a:pt x="2551" y="2429"/>
                  </a:lnTo>
                  <a:lnTo>
                    <a:pt x="2532" y="2424"/>
                  </a:lnTo>
                  <a:lnTo>
                    <a:pt x="2513" y="2417"/>
                  </a:lnTo>
                  <a:lnTo>
                    <a:pt x="2493" y="2407"/>
                  </a:lnTo>
                  <a:lnTo>
                    <a:pt x="196" y="1138"/>
                  </a:lnTo>
                  <a:lnTo>
                    <a:pt x="176" y="1127"/>
                  </a:lnTo>
                  <a:lnTo>
                    <a:pt x="156" y="1113"/>
                  </a:lnTo>
                  <a:lnTo>
                    <a:pt x="138" y="1097"/>
                  </a:lnTo>
                  <a:lnTo>
                    <a:pt x="120" y="1081"/>
                  </a:lnTo>
                  <a:lnTo>
                    <a:pt x="103" y="1063"/>
                  </a:lnTo>
                  <a:lnTo>
                    <a:pt x="86" y="1043"/>
                  </a:lnTo>
                  <a:lnTo>
                    <a:pt x="71" y="1024"/>
                  </a:lnTo>
                  <a:lnTo>
                    <a:pt x="58" y="1002"/>
                  </a:lnTo>
                  <a:lnTo>
                    <a:pt x="45" y="981"/>
                  </a:lnTo>
                  <a:lnTo>
                    <a:pt x="34" y="960"/>
                  </a:lnTo>
                  <a:lnTo>
                    <a:pt x="24" y="937"/>
                  </a:lnTo>
                  <a:lnTo>
                    <a:pt x="16" y="915"/>
                  </a:lnTo>
                  <a:lnTo>
                    <a:pt x="9" y="892"/>
                  </a:lnTo>
                  <a:lnTo>
                    <a:pt x="4" y="871"/>
                  </a:lnTo>
                  <a:lnTo>
                    <a:pt x="1" y="848"/>
                  </a:lnTo>
                  <a:lnTo>
                    <a:pt x="0" y="827"/>
                  </a:lnTo>
                  <a:lnTo>
                    <a:pt x="0" y="122"/>
                  </a:lnTo>
                  <a:lnTo>
                    <a:pt x="1" y="112"/>
                  </a:lnTo>
                  <a:lnTo>
                    <a:pt x="1" y="102"/>
                  </a:lnTo>
                  <a:lnTo>
                    <a:pt x="3" y="93"/>
                  </a:lnTo>
                  <a:lnTo>
                    <a:pt x="4" y="83"/>
                  </a:lnTo>
                  <a:lnTo>
                    <a:pt x="6" y="74"/>
                  </a:lnTo>
                  <a:lnTo>
                    <a:pt x="9" y="66"/>
                  </a:lnTo>
                  <a:lnTo>
                    <a:pt x="12" y="59"/>
                  </a:lnTo>
                  <a:lnTo>
                    <a:pt x="16" y="52"/>
                  </a:lnTo>
                  <a:lnTo>
                    <a:pt x="20" y="45"/>
                  </a:lnTo>
                  <a:lnTo>
                    <a:pt x="24" y="38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9" y="22"/>
                  </a:lnTo>
                  <a:lnTo>
                    <a:pt x="45" y="17"/>
                  </a:lnTo>
                  <a:lnTo>
                    <a:pt x="51" y="13"/>
                  </a:lnTo>
                  <a:lnTo>
                    <a:pt x="58" y="10"/>
                  </a:lnTo>
                  <a:lnTo>
                    <a:pt x="64" y="7"/>
                  </a:lnTo>
                  <a:lnTo>
                    <a:pt x="71" y="5"/>
                  </a:lnTo>
                  <a:lnTo>
                    <a:pt x="79" y="3"/>
                  </a:lnTo>
                  <a:lnTo>
                    <a:pt x="86" y="1"/>
                  </a:lnTo>
                  <a:lnTo>
                    <a:pt x="94" y="1"/>
                  </a:lnTo>
                  <a:lnTo>
                    <a:pt x="103" y="0"/>
                  </a:lnTo>
                  <a:lnTo>
                    <a:pt x="111" y="0"/>
                  </a:lnTo>
                  <a:lnTo>
                    <a:pt x="120" y="1"/>
                  </a:lnTo>
                  <a:lnTo>
                    <a:pt x="138" y="4"/>
                  </a:lnTo>
                  <a:lnTo>
                    <a:pt x="156" y="9"/>
                  </a:lnTo>
                  <a:lnTo>
                    <a:pt x="176" y="17"/>
                  </a:lnTo>
                  <a:lnTo>
                    <a:pt x="196" y="26"/>
                  </a:lnTo>
                  <a:lnTo>
                    <a:pt x="2493" y="1295"/>
                  </a:lnTo>
                  <a:lnTo>
                    <a:pt x="2513" y="1307"/>
                  </a:lnTo>
                  <a:lnTo>
                    <a:pt x="2532" y="1321"/>
                  </a:lnTo>
                  <a:lnTo>
                    <a:pt x="2551" y="1336"/>
                  </a:lnTo>
                  <a:lnTo>
                    <a:pt x="2569" y="1353"/>
                  </a:lnTo>
                  <a:lnTo>
                    <a:pt x="2586" y="1372"/>
                  </a:lnTo>
                  <a:lnTo>
                    <a:pt x="2602" y="1390"/>
                  </a:lnTo>
                  <a:lnTo>
                    <a:pt x="2617" y="1410"/>
                  </a:lnTo>
                  <a:lnTo>
                    <a:pt x="2631" y="1431"/>
                  </a:lnTo>
                  <a:lnTo>
                    <a:pt x="2643" y="1452"/>
                  </a:lnTo>
                  <a:lnTo>
                    <a:pt x="2655" y="1475"/>
                  </a:lnTo>
                  <a:lnTo>
                    <a:pt x="2664" y="1496"/>
                  </a:lnTo>
                  <a:lnTo>
                    <a:pt x="2673" y="1518"/>
                  </a:lnTo>
                  <a:lnTo>
                    <a:pt x="2679" y="1541"/>
                  </a:lnTo>
                  <a:lnTo>
                    <a:pt x="2684" y="1563"/>
                  </a:lnTo>
                  <a:lnTo>
                    <a:pt x="2687" y="1585"/>
                  </a:lnTo>
                  <a:lnTo>
                    <a:pt x="2688" y="1606"/>
                  </a:lnTo>
                  <a:lnTo>
                    <a:pt x="2688" y="2312"/>
                  </a:lnTo>
                  <a:close/>
                </a:path>
              </a:pathLst>
            </a:custGeom>
            <a:solidFill>
              <a:srgbClr val="EDA74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8" name="Freeform 98"/>
            <p:cNvSpPr>
              <a:spLocks/>
            </p:cNvSpPr>
            <p:nvPr/>
          </p:nvSpPr>
          <p:spPr bwMode="auto">
            <a:xfrm>
              <a:off x="724728" y="3344859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2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2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09" name="Freeform 99"/>
            <p:cNvSpPr>
              <a:spLocks/>
            </p:cNvSpPr>
            <p:nvPr/>
          </p:nvSpPr>
          <p:spPr bwMode="auto">
            <a:xfrm>
              <a:off x="724728" y="3358252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0" name="Freeform 100"/>
            <p:cNvSpPr>
              <a:spLocks/>
            </p:cNvSpPr>
            <p:nvPr/>
          </p:nvSpPr>
          <p:spPr bwMode="auto">
            <a:xfrm>
              <a:off x="724728" y="3371646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7"/>
                  </a:lnTo>
                  <a:lnTo>
                    <a:pt x="1366" y="831"/>
                  </a:lnTo>
                  <a:lnTo>
                    <a:pt x="1371" y="824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6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6"/>
                  </a:lnTo>
                  <a:lnTo>
                    <a:pt x="1359" y="730"/>
                  </a:lnTo>
                  <a:lnTo>
                    <a:pt x="1354" y="725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1" name="Freeform 101"/>
            <p:cNvSpPr>
              <a:spLocks/>
            </p:cNvSpPr>
            <p:nvPr/>
          </p:nvSpPr>
          <p:spPr bwMode="auto">
            <a:xfrm>
              <a:off x="724728" y="3386714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4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2" name="Freeform 102"/>
            <p:cNvSpPr>
              <a:spLocks/>
            </p:cNvSpPr>
            <p:nvPr/>
          </p:nvSpPr>
          <p:spPr bwMode="auto">
            <a:xfrm>
              <a:off x="724728" y="3400107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4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4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6"/>
                  </a:lnTo>
                  <a:lnTo>
                    <a:pt x="1344" y="852"/>
                  </a:lnTo>
                  <a:lnTo>
                    <a:pt x="1350" y="848"/>
                  </a:lnTo>
                  <a:lnTo>
                    <a:pt x="1356" y="843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1"/>
                  </a:lnTo>
                  <a:lnTo>
                    <a:pt x="1380" y="794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3" name="Freeform 103"/>
            <p:cNvSpPr>
              <a:spLocks/>
            </p:cNvSpPr>
            <p:nvPr/>
          </p:nvSpPr>
          <p:spPr bwMode="auto">
            <a:xfrm>
              <a:off x="724728" y="3413501"/>
              <a:ext cx="40358" cy="28462"/>
            </a:xfrm>
            <a:custGeom>
              <a:avLst/>
              <a:gdLst>
                <a:gd name="T0" fmla="*/ 0 w 1380"/>
                <a:gd name="T1" fmla="*/ 0 h 863"/>
                <a:gd name="T2" fmla="*/ 0 w 1380"/>
                <a:gd name="T3" fmla="*/ 0 h 863"/>
                <a:gd name="T4" fmla="*/ 0 w 1380"/>
                <a:gd name="T5" fmla="*/ 0 h 863"/>
                <a:gd name="T6" fmla="*/ 0 w 1380"/>
                <a:gd name="T7" fmla="*/ 0 h 863"/>
                <a:gd name="T8" fmla="*/ 0 w 1380"/>
                <a:gd name="T9" fmla="*/ 0 h 863"/>
                <a:gd name="T10" fmla="*/ 0 w 1380"/>
                <a:gd name="T11" fmla="*/ 0 h 863"/>
                <a:gd name="T12" fmla="*/ 0 w 1380"/>
                <a:gd name="T13" fmla="*/ 0 h 863"/>
                <a:gd name="T14" fmla="*/ 0 w 1380"/>
                <a:gd name="T15" fmla="*/ 0 h 863"/>
                <a:gd name="T16" fmla="*/ 0 w 1380"/>
                <a:gd name="T17" fmla="*/ 0 h 863"/>
                <a:gd name="T18" fmla="*/ 0 w 1380"/>
                <a:gd name="T19" fmla="*/ 0 h 863"/>
                <a:gd name="T20" fmla="*/ 0 w 1380"/>
                <a:gd name="T21" fmla="*/ 0 h 863"/>
                <a:gd name="T22" fmla="*/ 0 w 1380"/>
                <a:gd name="T23" fmla="*/ 0 h 863"/>
                <a:gd name="T24" fmla="*/ 0 w 1380"/>
                <a:gd name="T25" fmla="*/ 0 h 863"/>
                <a:gd name="T26" fmla="*/ 0 w 1380"/>
                <a:gd name="T27" fmla="*/ 0 h 863"/>
                <a:gd name="T28" fmla="*/ 0 w 1380"/>
                <a:gd name="T29" fmla="*/ 0 h 863"/>
                <a:gd name="T30" fmla="*/ 0 w 1380"/>
                <a:gd name="T31" fmla="*/ 0 h 863"/>
                <a:gd name="T32" fmla="*/ 0 w 1380"/>
                <a:gd name="T33" fmla="*/ 0 h 863"/>
                <a:gd name="T34" fmla="*/ 0 w 1380"/>
                <a:gd name="T35" fmla="*/ 0 h 863"/>
                <a:gd name="T36" fmla="*/ 0 w 1380"/>
                <a:gd name="T37" fmla="*/ 0 h 863"/>
                <a:gd name="T38" fmla="*/ 0 w 1380"/>
                <a:gd name="T39" fmla="*/ 0 h 863"/>
                <a:gd name="T40" fmla="*/ 0 w 1380"/>
                <a:gd name="T41" fmla="*/ 0 h 863"/>
                <a:gd name="T42" fmla="*/ 0 w 1380"/>
                <a:gd name="T43" fmla="*/ 0 h 863"/>
                <a:gd name="T44" fmla="*/ 0 w 1380"/>
                <a:gd name="T45" fmla="*/ 0 h 863"/>
                <a:gd name="T46" fmla="*/ 0 w 1380"/>
                <a:gd name="T47" fmla="*/ 0 h 863"/>
                <a:gd name="T48" fmla="*/ 0 w 1380"/>
                <a:gd name="T49" fmla="*/ 0 h 863"/>
                <a:gd name="T50" fmla="*/ 0 w 1380"/>
                <a:gd name="T51" fmla="*/ 0 h 863"/>
                <a:gd name="T52" fmla="*/ 0 w 1380"/>
                <a:gd name="T53" fmla="*/ 0 h 863"/>
                <a:gd name="T54" fmla="*/ 0 w 1380"/>
                <a:gd name="T55" fmla="*/ 0 h 863"/>
                <a:gd name="T56" fmla="*/ 0 w 1380"/>
                <a:gd name="T57" fmla="*/ 0 h 863"/>
                <a:gd name="T58" fmla="*/ 0 w 1380"/>
                <a:gd name="T59" fmla="*/ 0 h 863"/>
                <a:gd name="T60" fmla="*/ 0 w 1380"/>
                <a:gd name="T61" fmla="*/ 0 h 863"/>
                <a:gd name="T62" fmla="*/ 0 w 1380"/>
                <a:gd name="T63" fmla="*/ 0 h 863"/>
                <a:gd name="T64" fmla="*/ 0 w 1380"/>
                <a:gd name="T65" fmla="*/ 0 h 86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3"/>
                <a:gd name="T101" fmla="*/ 1380 w 1380"/>
                <a:gd name="T102" fmla="*/ 863 h 86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3">
                  <a:moveTo>
                    <a:pt x="10" y="40"/>
                  </a:moveTo>
                  <a:lnTo>
                    <a:pt x="6" y="47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3"/>
                  </a:lnTo>
                  <a:lnTo>
                    <a:pt x="3" y="100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4"/>
                  </a:lnTo>
                  <a:lnTo>
                    <a:pt x="40" y="148"/>
                  </a:lnTo>
                  <a:lnTo>
                    <a:pt x="1263" y="853"/>
                  </a:lnTo>
                  <a:lnTo>
                    <a:pt x="1270" y="856"/>
                  </a:lnTo>
                  <a:lnTo>
                    <a:pt x="1278" y="859"/>
                  </a:lnTo>
                  <a:lnTo>
                    <a:pt x="1286" y="861"/>
                  </a:lnTo>
                  <a:lnTo>
                    <a:pt x="1294" y="862"/>
                  </a:lnTo>
                  <a:lnTo>
                    <a:pt x="1301" y="863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0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2"/>
                  </a:lnTo>
                  <a:lnTo>
                    <a:pt x="1374" y="815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69"/>
                  </a:lnTo>
                  <a:lnTo>
                    <a:pt x="1378" y="762"/>
                  </a:lnTo>
                  <a:lnTo>
                    <a:pt x="1375" y="755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8"/>
                  </a:lnTo>
                  <a:lnTo>
                    <a:pt x="1341" y="714"/>
                  </a:lnTo>
                  <a:lnTo>
                    <a:pt x="116" y="10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7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2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0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4" name="Freeform 104"/>
            <p:cNvSpPr>
              <a:spLocks/>
            </p:cNvSpPr>
            <p:nvPr/>
          </p:nvSpPr>
          <p:spPr bwMode="auto">
            <a:xfrm>
              <a:off x="805443" y="3391736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7"/>
                  </a:lnTo>
                  <a:lnTo>
                    <a:pt x="1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10"/>
                  </a:lnTo>
                  <a:lnTo>
                    <a:pt x="8" y="117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3"/>
                  </a:lnTo>
                  <a:lnTo>
                    <a:pt x="2754" y="1596"/>
                  </a:lnTo>
                  <a:lnTo>
                    <a:pt x="2758" y="1589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1"/>
                  </a:lnTo>
                  <a:lnTo>
                    <a:pt x="2763" y="1543"/>
                  </a:lnTo>
                  <a:lnTo>
                    <a:pt x="2761" y="1536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7"/>
                  </a:lnTo>
                  <a:lnTo>
                    <a:pt x="2731" y="1492"/>
                  </a:lnTo>
                  <a:lnTo>
                    <a:pt x="2724" y="1488"/>
                  </a:lnTo>
                  <a:lnTo>
                    <a:pt x="116" y="11"/>
                  </a:lnTo>
                  <a:lnTo>
                    <a:pt x="108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7"/>
                  </a:lnTo>
                  <a:lnTo>
                    <a:pt x="42" y="10"/>
                  </a:lnTo>
                  <a:lnTo>
                    <a:pt x="36" y="14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5" name="Freeform 105"/>
            <p:cNvSpPr>
              <a:spLocks/>
            </p:cNvSpPr>
            <p:nvPr/>
          </p:nvSpPr>
          <p:spPr bwMode="auto">
            <a:xfrm>
              <a:off x="805443" y="3406804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6" name="Freeform 106"/>
            <p:cNvSpPr>
              <a:spLocks/>
            </p:cNvSpPr>
            <p:nvPr/>
          </p:nvSpPr>
          <p:spPr bwMode="auto">
            <a:xfrm>
              <a:off x="805443" y="3420198"/>
              <a:ext cx="82210" cy="53574"/>
            </a:xfrm>
            <a:custGeom>
              <a:avLst/>
              <a:gdLst>
                <a:gd name="T0" fmla="*/ 0 w 2764"/>
                <a:gd name="T1" fmla="*/ 0 h 1637"/>
                <a:gd name="T2" fmla="*/ 0 w 2764"/>
                <a:gd name="T3" fmla="*/ 0 h 1637"/>
                <a:gd name="T4" fmla="*/ 0 w 2764"/>
                <a:gd name="T5" fmla="*/ 0 h 1637"/>
                <a:gd name="T6" fmla="*/ 0 w 2764"/>
                <a:gd name="T7" fmla="*/ 0 h 1637"/>
                <a:gd name="T8" fmla="*/ 0 w 2764"/>
                <a:gd name="T9" fmla="*/ 0 h 1637"/>
                <a:gd name="T10" fmla="*/ 0 w 2764"/>
                <a:gd name="T11" fmla="*/ 0 h 1637"/>
                <a:gd name="T12" fmla="*/ 0 w 2764"/>
                <a:gd name="T13" fmla="*/ 0 h 1637"/>
                <a:gd name="T14" fmla="*/ 0 w 2764"/>
                <a:gd name="T15" fmla="*/ 0 h 1637"/>
                <a:gd name="T16" fmla="*/ 0 w 2764"/>
                <a:gd name="T17" fmla="*/ 0 h 1637"/>
                <a:gd name="T18" fmla="*/ 0 w 2764"/>
                <a:gd name="T19" fmla="*/ 0 h 1637"/>
                <a:gd name="T20" fmla="*/ 0 w 2764"/>
                <a:gd name="T21" fmla="*/ 0 h 1637"/>
                <a:gd name="T22" fmla="*/ 0 w 2764"/>
                <a:gd name="T23" fmla="*/ 0 h 1637"/>
                <a:gd name="T24" fmla="*/ 0 w 2764"/>
                <a:gd name="T25" fmla="*/ 0 h 1637"/>
                <a:gd name="T26" fmla="*/ 0 w 2764"/>
                <a:gd name="T27" fmla="*/ 0 h 1637"/>
                <a:gd name="T28" fmla="*/ 0 w 2764"/>
                <a:gd name="T29" fmla="*/ 0 h 1637"/>
                <a:gd name="T30" fmla="*/ 0 w 2764"/>
                <a:gd name="T31" fmla="*/ 0 h 1637"/>
                <a:gd name="T32" fmla="*/ 0 w 2764"/>
                <a:gd name="T33" fmla="*/ 0 h 1637"/>
                <a:gd name="T34" fmla="*/ 0 w 2764"/>
                <a:gd name="T35" fmla="*/ 0 h 1637"/>
                <a:gd name="T36" fmla="*/ 0 w 2764"/>
                <a:gd name="T37" fmla="*/ 0 h 1637"/>
                <a:gd name="T38" fmla="*/ 0 w 2764"/>
                <a:gd name="T39" fmla="*/ 0 h 1637"/>
                <a:gd name="T40" fmla="*/ 0 w 2764"/>
                <a:gd name="T41" fmla="*/ 0 h 1637"/>
                <a:gd name="T42" fmla="*/ 0 w 2764"/>
                <a:gd name="T43" fmla="*/ 0 h 1637"/>
                <a:gd name="T44" fmla="*/ 0 w 2764"/>
                <a:gd name="T45" fmla="*/ 0 h 1637"/>
                <a:gd name="T46" fmla="*/ 0 w 2764"/>
                <a:gd name="T47" fmla="*/ 0 h 1637"/>
                <a:gd name="T48" fmla="*/ 0 w 2764"/>
                <a:gd name="T49" fmla="*/ 0 h 1637"/>
                <a:gd name="T50" fmla="*/ 0 w 2764"/>
                <a:gd name="T51" fmla="*/ 0 h 1637"/>
                <a:gd name="T52" fmla="*/ 0 w 2764"/>
                <a:gd name="T53" fmla="*/ 0 h 1637"/>
                <a:gd name="T54" fmla="*/ 0 w 2764"/>
                <a:gd name="T55" fmla="*/ 0 h 1637"/>
                <a:gd name="T56" fmla="*/ 0 w 2764"/>
                <a:gd name="T57" fmla="*/ 0 h 1637"/>
                <a:gd name="T58" fmla="*/ 0 w 2764"/>
                <a:gd name="T59" fmla="*/ 0 h 1637"/>
                <a:gd name="T60" fmla="*/ 0 w 2764"/>
                <a:gd name="T61" fmla="*/ 0 h 1637"/>
                <a:gd name="T62" fmla="*/ 0 w 2764"/>
                <a:gd name="T63" fmla="*/ 0 h 1637"/>
                <a:gd name="T64" fmla="*/ 0 w 2764"/>
                <a:gd name="T65" fmla="*/ 0 h 163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7"/>
                <a:gd name="T101" fmla="*/ 2764 w 2764"/>
                <a:gd name="T102" fmla="*/ 1637 h 163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7">
                  <a:moveTo>
                    <a:pt x="9" y="42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30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7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6"/>
                  </a:lnTo>
                  <a:lnTo>
                    <a:pt x="2731" y="1491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2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7" name="Freeform 107"/>
            <p:cNvSpPr>
              <a:spLocks/>
            </p:cNvSpPr>
            <p:nvPr/>
          </p:nvSpPr>
          <p:spPr bwMode="auto">
            <a:xfrm>
              <a:off x="805443" y="3433591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4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2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6"/>
                  </a:lnTo>
                  <a:lnTo>
                    <a:pt x="2758" y="1588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8" name="Freeform 108"/>
            <p:cNvSpPr>
              <a:spLocks/>
            </p:cNvSpPr>
            <p:nvPr/>
          </p:nvSpPr>
          <p:spPr bwMode="auto">
            <a:xfrm>
              <a:off x="805443" y="3448658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8"/>
                  </a:lnTo>
                  <a:lnTo>
                    <a:pt x="21" y="133"/>
                  </a:lnTo>
                  <a:lnTo>
                    <a:pt x="27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8"/>
                  </a:lnTo>
                  <a:lnTo>
                    <a:pt x="2740" y="1613"/>
                  </a:lnTo>
                  <a:lnTo>
                    <a:pt x="2745" y="1607"/>
                  </a:lnTo>
                  <a:lnTo>
                    <a:pt x="2750" y="1601"/>
                  </a:lnTo>
                  <a:lnTo>
                    <a:pt x="2754" y="1594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4"/>
                  </a:lnTo>
                  <a:lnTo>
                    <a:pt x="2764" y="1556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3"/>
                  </a:lnTo>
                  <a:lnTo>
                    <a:pt x="2747" y="1507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7"/>
                  </a:lnTo>
                  <a:lnTo>
                    <a:pt x="14" y="33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19" name="Freeform 109"/>
            <p:cNvSpPr>
              <a:spLocks/>
            </p:cNvSpPr>
            <p:nvPr/>
          </p:nvSpPr>
          <p:spPr bwMode="auto">
            <a:xfrm>
              <a:off x="805443" y="3462052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9"/>
                  </a:lnTo>
                  <a:lnTo>
                    <a:pt x="2750" y="1601"/>
                  </a:lnTo>
                  <a:lnTo>
                    <a:pt x="2754" y="1595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8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8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0" name="Freeform 110"/>
            <p:cNvSpPr>
              <a:spLocks/>
            </p:cNvSpPr>
            <p:nvPr/>
          </p:nvSpPr>
          <p:spPr bwMode="auto">
            <a:xfrm>
              <a:off x="796475" y="3637842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1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7"/>
                  </a:lnTo>
                  <a:lnTo>
                    <a:pt x="3412" y="2001"/>
                  </a:lnTo>
                  <a:lnTo>
                    <a:pt x="3416" y="1995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7"/>
                  </a:lnTo>
                  <a:lnTo>
                    <a:pt x="3426" y="1949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6"/>
                  </a:lnTo>
                  <a:lnTo>
                    <a:pt x="3405" y="1901"/>
                  </a:lnTo>
                  <a:lnTo>
                    <a:pt x="3399" y="1895"/>
                  </a:lnTo>
                  <a:lnTo>
                    <a:pt x="3393" y="1890"/>
                  </a:lnTo>
                  <a:lnTo>
                    <a:pt x="3386" y="1886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1" name="Freeform 111"/>
            <p:cNvSpPr>
              <a:spLocks/>
            </p:cNvSpPr>
            <p:nvPr/>
          </p:nvSpPr>
          <p:spPr bwMode="auto">
            <a:xfrm>
              <a:off x="796475" y="3651235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2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8"/>
                  </a:lnTo>
                  <a:lnTo>
                    <a:pt x="3412" y="2002"/>
                  </a:lnTo>
                  <a:lnTo>
                    <a:pt x="3416" y="1994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8"/>
                  </a:lnTo>
                  <a:lnTo>
                    <a:pt x="3426" y="1950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8"/>
                  </a:lnTo>
                  <a:lnTo>
                    <a:pt x="3405" y="1902"/>
                  </a:lnTo>
                  <a:lnTo>
                    <a:pt x="3399" y="1896"/>
                  </a:lnTo>
                  <a:lnTo>
                    <a:pt x="3393" y="1891"/>
                  </a:lnTo>
                  <a:lnTo>
                    <a:pt x="3386" y="1886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7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2" name="Freeform 112"/>
            <p:cNvSpPr>
              <a:spLocks/>
            </p:cNvSpPr>
            <p:nvPr/>
          </p:nvSpPr>
          <p:spPr bwMode="auto">
            <a:xfrm>
              <a:off x="817401" y="3505580"/>
              <a:ext cx="14947" cy="18417"/>
            </a:xfrm>
            <a:custGeom>
              <a:avLst/>
              <a:gdLst>
                <a:gd name="T0" fmla="*/ 0 w 505"/>
                <a:gd name="T1" fmla="*/ 0 h 593"/>
                <a:gd name="T2" fmla="*/ 0 w 505"/>
                <a:gd name="T3" fmla="*/ 0 h 593"/>
                <a:gd name="T4" fmla="*/ 0 w 505"/>
                <a:gd name="T5" fmla="*/ 0 h 593"/>
                <a:gd name="T6" fmla="*/ 0 w 505"/>
                <a:gd name="T7" fmla="*/ 0 h 593"/>
                <a:gd name="T8" fmla="*/ 0 w 505"/>
                <a:gd name="T9" fmla="*/ 0 h 593"/>
                <a:gd name="T10" fmla="*/ 0 w 505"/>
                <a:gd name="T11" fmla="*/ 0 h 593"/>
                <a:gd name="T12" fmla="*/ 0 w 505"/>
                <a:gd name="T13" fmla="*/ 0 h 593"/>
                <a:gd name="T14" fmla="*/ 0 w 505"/>
                <a:gd name="T15" fmla="*/ 0 h 593"/>
                <a:gd name="T16" fmla="*/ 0 w 505"/>
                <a:gd name="T17" fmla="*/ 0 h 593"/>
                <a:gd name="T18" fmla="*/ 0 w 505"/>
                <a:gd name="T19" fmla="*/ 0 h 593"/>
                <a:gd name="T20" fmla="*/ 0 w 505"/>
                <a:gd name="T21" fmla="*/ 0 h 593"/>
                <a:gd name="T22" fmla="*/ 0 w 505"/>
                <a:gd name="T23" fmla="*/ 0 h 593"/>
                <a:gd name="T24" fmla="*/ 0 w 505"/>
                <a:gd name="T25" fmla="*/ 0 h 593"/>
                <a:gd name="T26" fmla="*/ 0 w 505"/>
                <a:gd name="T27" fmla="*/ 0 h 593"/>
                <a:gd name="T28" fmla="*/ 0 w 505"/>
                <a:gd name="T29" fmla="*/ 0 h 593"/>
                <a:gd name="T30" fmla="*/ 0 w 505"/>
                <a:gd name="T31" fmla="*/ 0 h 593"/>
                <a:gd name="T32" fmla="*/ 0 w 505"/>
                <a:gd name="T33" fmla="*/ 0 h 593"/>
                <a:gd name="T34" fmla="*/ 0 w 505"/>
                <a:gd name="T35" fmla="*/ 0 h 593"/>
                <a:gd name="T36" fmla="*/ 0 w 505"/>
                <a:gd name="T37" fmla="*/ 0 h 593"/>
                <a:gd name="T38" fmla="*/ 0 w 505"/>
                <a:gd name="T39" fmla="*/ 0 h 593"/>
                <a:gd name="T40" fmla="*/ 0 w 505"/>
                <a:gd name="T41" fmla="*/ 0 h 593"/>
                <a:gd name="T42" fmla="*/ 0 w 505"/>
                <a:gd name="T43" fmla="*/ 0 h 593"/>
                <a:gd name="T44" fmla="*/ 0 w 505"/>
                <a:gd name="T45" fmla="*/ 0 h 593"/>
                <a:gd name="T46" fmla="*/ 0 w 505"/>
                <a:gd name="T47" fmla="*/ 0 h 593"/>
                <a:gd name="T48" fmla="*/ 0 w 505"/>
                <a:gd name="T49" fmla="*/ 0 h 593"/>
                <a:gd name="T50" fmla="*/ 0 w 505"/>
                <a:gd name="T51" fmla="*/ 0 h 593"/>
                <a:gd name="T52" fmla="*/ 0 w 505"/>
                <a:gd name="T53" fmla="*/ 0 h 593"/>
                <a:gd name="T54" fmla="*/ 0 w 505"/>
                <a:gd name="T55" fmla="*/ 0 h 593"/>
                <a:gd name="T56" fmla="*/ 0 w 505"/>
                <a:gd name="T57" fmla="*/ 0 h 593"/>
                <a:gd name="T58" fmla="*/ 0 w 505"/>
                <a:gd name="T59" fmla="*/ 0 h 593"/>
                <a:gd name="T60" fmla="*/ 0 w 505"/>
                <a:gd name="T61" fmla="*/ 0 h 593"/>
                <a:gd name="T62" fmla="*/ 0 w 505"/>
                <a:gd name="T63" fmla="*/ 0 h 593"/>
                <a:gd name="T64" fmla="*/ 0 w 505"/>
                <a:gd name="T65" fmla="*/ 0 h 593"/>
                <a:gd name="T66" fmla="*/ 0 w 505"/>
                <a:gd name="T67" fmla="*/ 0 h 593"/>
                <a:gd name="T68" fmla="*/ 0 w 505"/>
                <a:gd name="T69" fmla="*/ 0 h 593"/>
                <a:gd name="T70" fmla="*/ 0 w 505"/>
                <a:gd name="T71" fmla="*/ 0 h 593"/>
                <a:gd name="T72" fmla="*/ 0 w 505"/>
                <a:gd name="T73" fmla="*/ 0 h 593"/>
                <a:gd name="T74" fmla="*/ 0 w 505"/>
                <a:gd name="T75" fmla="*/ 0 h 593"/>
                <a:gd name="T76" fmla="*/ 0 w 505"/>
                <a:gd name="T77" fmla="*/ 0 h 593"/>
                <a:gd name="T78" fmla="*/ 0 w 505"/>
                <a:gd name="T79" fmla="*/ 0 h 593"/>
                <a:gd name="T80" fmla="*/ 0 w 505"/>
                <a:gd name="T81" fmla="*/ 0 h 593"/>
                <a:gd name="T82" fmla="*/ 0 w 505"/>
                <a:gd name="T83" fmla="*/ 0 h 593"/>
                <a:gd name="T84" fmla="*/ 0 w 505"/>
                <a:gd name="T85" fmla="*/ 0 h 5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593"/>
                <a:gd name="T131" fmla="*/ 505 w 505"/>
                <a:gd name="T132" fmla="*/ 593 h 5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593">
                  <a:moveTo>
                    <a:pt x="505" y="320"/>
                  </a:moveTo>
                  <a:lnTo>
                    <a:pt x="505" y="335"/>
                  </a:lnTo>
                  <a:lnTo>
                    <a:pt x="505" y="350"/>
                  </a:lnTo>
                  <a:lnTo>
                    <a:pt x="504" y="365"/>
                  </a:lnTo>
                  <a:lnTo>
                    <a:pt x="503" y="379"/>
                  </a:lnTo>
                  <a:lnTo>
                    <a:pt x="501" y="394"/>
                  </a:lnTo>
                  <a:lnTo>
                    <a:pt x="498" y="407"/>
                  </a:lnTo>
                  <a:lnTo>
                    <a:pt x="495" y="420"/>
                  </a:lnTo>
                  <a:lnTo>
                    <a:pt x="491" y="433"/>
                  </a:lnTo>
                  <a:lnTo>
                    <a:pt x="487" y="446"/>
                  </a:lnTo>
                  <a:lnTo>
                    <a:pt x="482" y="458"/>
                  </a:lnTo>
                  <a:lnTo>
                    <a:pt x="476" y="470"/>
                  </a:lnTo>
                  <a:lnTo>
                    <a:pt x="470" y="481"/>
                  </a:lnTo>
                  <a:lnTo>
                    <a:pt x="464" y="492"/>
                  </a:lnTo>
                  <a:lnTo>
                    <a:pt x="457" y="503"/>
                  </a:lnTo>
                  <a:lnTo>
                    <a:pt x="450" y="513"/>
                  </a:lnTo>
                  <a:lnTo>
                    <a:pt x="442" y="522"/>
                  </a:lnTo>
                  <a:lnTo>
                    <a:pt x="434" y="531"/>
                  </a:lnTo>
                  <a:lnTo>
                    <a:pt x="425" y="539"/>
                  </a:lnTo>
                  <a:lnTo>
                    <a:pt x="416" y="548"/>
                  </a:lnTo>
                  <a:lnTo>
                    <a:pt x="406" y="555"/>
                  </a:lnTo>
                  <a:lnTo>
                    <a:pt x="397" y="562"/>
                  </a:lnTo>
                  <a:lnTo>
                    <a:pt x="386" y="568"/>
                  </a:lnTo>
                  <a:lnTo>
                    <a:pt x="376" y="573"/>
                  </a:lnTo>
                  <a:lnTo>
                    <a:pt x="365" y="578"/>
                  </a:lnTo>
                  <a:lnTo>
                    <a:pt x="354" y="582"/>
                  </a:lnTo>
                  <a:lnTo>
                    <a:pt x="342" y="586"/>
                  </a:lnTo>
                  <a:lnTo>
                    <a:pt x="331" y="588"/>
                  </a:lnTo>
                  <a:lnTo>
                    <a:pt x="319" y="590"/>
                  </a:lnTo>
                  <a:lnTo>
                    <a:pt x="306" y="592"/>
                  </a:lnTo>
                  <a:lnTo>
                    <a:pt x="294" y="593"/>
                  </a:lnTo>
                  <a:lnTo>
                    <a:pt x="281" y="593"/>
                  </a:lnTo>
                  <a:lnTo>
                    <a:pt x="268" y="592"/>
                  </a:lnTo>
                  <a:lnTo>
                    <a:pt x="255" y="590"/>
                  </a:lnTo>
                  <a:lnTo>
                    <a:pt x="242" y="588"/>
                  </a:lnTo>
                  <a:lnTo>
                    <a:pt x="229" y="585"/>
                  </a:lnTo>
                  <a:lnTo>
                    <a:pt x="217" y="581"/>
                  </a:lnTo>
                  <a:lnTo>
                    <a:pt x="204" y="577"/>
                  </a:lnTo>
                  <a:lnTo>
                    <a:pt x="192" y="572"/>
                  </a:lnTo>
                  <a:lnTo>
                    <a:pt x="180" y="566"/>
                  </a:lnTo>
                  <a:lnTo>
                    <a:pt x="169" y="560"/>
                  </a:lnTo>
                  <a:lnTo>
                    <a:pt x="157" y="553"/>
                  </a:lnTo>
                  <a:lnTo>
                    <a:pt x="146" y="546"/>
                  </a:lnTo>
                  <a:lnTo>
                    <a:pt x="135" y="537"/>
                  </a:lnTo>
                  <a:lnTo>
                    <a:pt x="124" y="528"/>
                  </a:lnTo>
                  <a:lnTo>
                    <a:pt x="114" y="519"/>
                  </a:lnTo>
                  <a:lnTo>
                    <a:pt x="104" y="510"/>
                  </a:lnTo>
                  <a:lnTo>
                    <a:pt x="94" y="500"/>
                  </a:lnTo>
                  <a:lnTo>
                    <a:pt x="85" y="488"/>
                  </a:lnTo>
                  <a:lnTo>
                    <a:pt x="76" y="478"/>
                  </a:lnTo>
                  <a:lnTo>
                    <a:pt x="68" y="466"/>
                  </a:lnTo>
                  <a:lnTo>
                    <a:pt x="60" y="455"/>
                  </a:lnTo>
                  <a:lnTo>
                    <a:pt x="52" y="443"/>
                  </a:lnTo>
                  <a:lnTo>
                    <a:pt x="45" y="429"/>
                  </a:lnTo>
                  <a:lnTo>
                    <a:pt x="38" y="417"/>
                  </a:lnTo>
                  <a:lnTo>
                    <a:pt x="32" y="404"/>
                  </a:lnTo>
                  <a:lnTo>
                    <a:pt x="26" y="389"/>
                  </a:lnTo>
                  <a:lnTo>
                    <a:pt x="21" y="376"/>
                  </a:lnTo>
                  <a:lnTo>
                    <a:pt x="16" y="362"/>
                  </a:lnTo>
                  <a:lnTo>
                    <a:pt x="12" y="348"/>
                  </a:lnTo>
                  <a:lnTo>
                    <a:pt x="8" y="333"/>
                  </a:lnTo>
                  <a:lnTo>
                    <a:pt x="5" y="318"/>
                  </a:lnTo>
                  <a:lnTo>
                    <a:pt x="3" y="304"/>
                  </a:lnTo>
                  <a:lnTo>
                    <a:pt x="1" y="288"/>
                  </a:lnTo>
                  <a:lnTo>
                    <a:pt x="0" y="273"/>
                  </a:lnTo>
                  <a:lnTo>
                    <a:pt x="0" y="258"/>
                  </a:lnTo>
                  <a:lnTo>
                    <a:pt x="0" y="243"/>
                  </a:lnTo>
                  <a:lnTo>
                    <a:pt x="1" y="228"/>
                  </a:lnTo>
                  <a:lnTo>
                    <a:pt x="2" y="214"/>
                  </a:lnTo>
                  <a:lnTo>
                    <a:pt x="4" y="200"/>
                  </a:lnTo>
                  <a:lnTo>
                    <a:pt x="7" y="186"/>
                  </a:lnTo>
                  <a:lnTo>
                    <a:pt x="10" y="173"/>
                  </a:lnTo>
                  <a:lnTo>
                    <a:pt x="14" y="160"/>
                  </a:lnTo>
                  <a:lnTo>
                    <a:pt x="18" y="147"/>
                  </a:lnTo>
                  <a:lnTo>
                    <a:pt x="23" y="134"/>
                  </a:lnTo>
                  <a:lnTo>
                    <a:pt x="29" y="123"/>
                  </a:lnTo>
                  <a:lnTo>
                    <a:pt x="35" y="112"/>
                  </a:lnTo>
                  <a:lnTo>
                    <a:pt x="41" y="101"/>
                  </a:lnTo>
                  <a:lnTo>
                    <a:pt x="48" y="91"/>
                  </a:lnTo>
                  <a:lnTo>
                    <a:pt x="55" y="80"/>
                  </a:lnTo>
                  <a:lnTo>
                    <a:pt x="63" y="71"/>
                  </a:lnTo>
                  <a:lnTo>
                    <a:pt x="71" y="62"/>
                  </a:lnTo>
                  <a:lnTo>
                    <a:pt x="80" y="54"/>
                  </a:lnTo>
                  <a:lnTo>
                    <a:pt x="89" y="46"/>
                  </a:lnTo>
                  <a:lnTo>
                    <a:pt x="99" y="39"/>
                  </a:lnTo>
                  <a:lnTo>
                    <a:pt x="108" y="31"/>
                  </a:lnTo>
                  <a:lnTo>
                    <a:pt x="119" y="25"/>
                  </a:lnTo>
                  <a:lnTo>
                    <a:pt x="129" y="20"/>
                  </a:lnTo>
                  <a:lnTo>
                    <a:pt x="140" y="15"/>
                  </a:lnTo>
                  <a:lnTo>
                    <a:pt x="151" y="11"/>
                  </a:lnTo>
                  <a:lnTo>
                    <a:pt x="163" y="7"/>
                  </a:lnTo>
                  <a:lnTo>
                    <a:pt x="174" y="4"/>
                  </a:lnTo>
                  <a:lnTo>
                    <a:pt x="187" y="2"/>
                  </a:lnTo>
                  <a:lnTo>
                    <a:pt x="199" y="1"/>
                  </a:lnTo>
                  <a:lnTo>
                    <a:pt x="211" y="0"/>
                  </a:lnTo>
                  <a:lnTo>
                    <a:pt x="224" y="0"/>
                  </a:lnTo>
                  <a:lnTo>
                    <a:pt x="237" y="1"/>
                  </a:lnTo>
                  <a:lnTo>
                    <a:pt x="250" y="2"/>
                  </a:lnTo>
                  <a:lnTo>
                    <a:pt x="263" y="5"/>
                  </a:lnTo>
                  <a:lnTo>
                    <a:pt x="276" y="8"/>
                  </a:lnTo>
                  <a:lnTo>
                    <a:pt x="288" y="11"/>
                  </a:lnTo>
                  <a:lnTo>
                    <a:pt x="301" y="16"/>
                  </a:lnTo>
                  <a:lnTo>
                    <a:pt x="313" y="21"/>
                  </a:lnTo>
                  <a:lnTo>
                    <a:pt x="325" y="27"/>
                  </a:lnTo>
                  <a:lnTo>
                    <a:pt x="337" y="33"/>
                  </a:lnTo>
                  <a:lnTo>
                    <a:pt x="348" y="41"/>
                  </a:lnTo>
                  <a:lnTo>
                    <a:pt x="359" y="48"/>
                  </a:lnTo>
                  <a:lnTo>
                    <a:pt x="370" y="56"/>
                  </a:lnTo>
                  <a:lnTo>
                    <a:pt x="381" y="64"/>
                  </a:lnTo>
                  <a:lnTo>
                    <a:pt x="391" y="73"/>
                  </a:lnTo>
                  <a:lnTo>
                    <a:pt x="401" y="83"/>
                  </a:lnTo>
                  <a:lnTo>
                    <a:pt x="411" y="94"/>
                  </a:lnTo>
                  <a:lnTo>
                    <a:pt x="420" y="104"/>
                  </a:lnTo>
                  <a:lnTo>
                    <a:pt x="429" y="115"/>
                  </a:lnTo>
                  <a:lnTo>
                    <a:pt x="437" y="126"/>
                  </a:lnTo>
                  <a:lnTo>
                    <a:pt x="445" y="139"/>
                  </a:lnTo>
                  <a:lnTo>
                    <a:pt x="453" y="151"/>
                  </a:lnTo>
                  <a:lnTo>
                    <a:pt x="460" y="163"/>
                  </a:lnTo>
                  <a:lnTo>
                    <a:pt x="467" y="176"/>
                  </a:lnTo>
                  <a:lnTo>
                    <a:pt x="473" y="190"/>
                  </a:lnTo>
                  <a:lnTo>
                    <a:pt x="479" y="203"/>
                  </a:lnTo>
                  <a:lnTo>
                    <a:pt x="484" y="217"/>
                  </a:lnTo>
                  <a:lnTo>
                    <a:pt x="489" y="231"/>
                  </a:lnTo>
                  <a:lnTo>
                    <a:pt x="493" y="246"/>
                  </a:lnTo>
                  <a:lnTo>
                    <a:pt x="497" y="260"/>
                  </a:lnTo>
                  <a:lnTo>
                    <a:pt x="499" y="275"/>
                  </a:lnTo>
                  <a:lnTo>
                    <a:pt x="502" y="290"/>
                  </a:lnTo>
                  <a:lnTo>
                    <a:pt x="504" y="305"/>
                  </a:lnTo>
                  <a:lnTo>
                    <a:pt x="505" y="3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3" name="Freeform 113"/>
            <p:cNvSpPr>
              <a:spLocks/>
            </p:cNvSpPr>
            <p:nvPr/>
          </p:nvSpPr>
          <p:spPr bwMode="auto">
            <a:xfrm>
              <a:off x="844306" y="3522322"/>
              <a:ext cx="14947" cy="20090"/>
            </a:xfrm>
            <a:custGeom>
              <a:avLst/>
              <a:gdLst>
                <a:gd name="T0" fmla="*/ 0 w 523"/>
                <a:gd name="T1" fmla="*/ 0 h 611"/>
                <a:gd name="T2" fmla="*/ 0 w 523"/>
                <a:gd name="T3" fmla="*/ 0 h 611"/>
                <a:gd name="T4" fmla="*/ 0 w 523"/>
                <a:gd name="T5" fmla="*/ 0 h 611"/>
                <a:gd name="T6" fmla="*/ 0 w 523"/>
                <a:gd name="T7" fmla="*/ 0 h 611"/>
                <a:gd name="T8" fmla="*/ 0 w 523"/>
                <a:gd name="T9" fmla="*/ 0 h 611"/>
                <a:gd name="T10" fmla="*/ 0 w 523"/>
                <a:gd name="T11" fmla="*/ 0 h 611"/>
                <a:gd name="T12" fmla="*/ 0 w 523"/>
                <a:gd name="T13" fmla="*/ 0 h 611"/>
                <a:gd name="T14" fmla="*/ 0 w 523"/>
                <a:gd name="T15" fmla="*/ 0 h 611"/>
                <a:gd name="T16" fmla="*/ 0 w 523"/>
                <a:gd name="T17" fmla="*/ 0 h 611"/>
                <a:gd name="T18" fmla="*/ 0 w 523"/>
                <a:gd name="T19" fmla="*/ 0 h 611"/>
                <a:gd name="T20" fmla="*/ 0 w 523"/>
                <a:gd name="T21" fmla="*/ 0 h 611"/>
                <a:gd name="T22" fmla="*/ 0 w 523"/>
                <a:gd name="T23" fmla="*/ 0 h 611"/>
                <a:gd name="T24" fmla="*/ 0 w 523"/>
                <a:gd name="T25" fmla="*/ 0 h 611"/>
                <a:gd name="T26" fmla="*/ 0 w 523"/>
                <a:gd name="T27" fmla="*/ 0 h 611"/>
                <a:gd name="T28" fmla="*/ 0 w 523"/>
                <a:gd name="T29" fmla="*/ 0 h 611"/>
                <a:gd name="T30" fmla="*/ 0 w 523"/>
                <a:gd name="T31" fmla="*/ 0 h 611"/>
                <a:gd name="T32" fmla="*/ 0 w 523"/>
                <a:gd name="T33" fmla="*/ 0 h 611"/>
                <a:gd name="T34" fmla="*/ 0 w 523"/>
                <a:gd name="T35" fmla="*/ 0 h 611"/>
                <a:gd name="T36" fmla="*/ 0 w 523"/>
                <a:gd name="T37" fmla="*/ 0 h 611"/>
                <a:gd name="T38" fmla="*/ 0 w 523"/>
                <a:gd name="T39" fmla="*/ 0 h 611"/>
                <a:gd name="T40" fmla="*/ 0 w 523"/>
                <a:gd name="T41" fmla="*/ 0 h 611"/>
                <a:gd name="T42" fmla="*/ 0 w 523"/>
                <a:gd name="T43" fmla="*/ 0 h 611"/>
                <a:gd name="T44" fmla="*/ 0 w 523"/>
                <a:gd name="T45" fmla="*/ 0 h 611"/>
                <a:gd name="T46" fmla="*/ 0 w 523"/>
                <a:gd name="T47" fmla="*/ 0 h 611"/>
                <a:gd name="T48" fmla="*/ 0 w 523"/>
                <a:gd name="T49" fmla="*/ 0 h 611"/>
                <a:gd name="T50" fmla="*/ 0 w 523"/>
                <a:gd name="T51" fmla="*/ 0 h 611"/>
                <a:gd name="T52" fmla="*/ 0 w 523"/>
                <a:gd name="T53" fmla="*/ 0 h 611"/>
                <a:gd name="T54" fmla="*/ 0 w 523"/>
                <a:gd name="T55" fmla="*/ 0 h 611"/>
                <a:gd name="T56" fmla="*/ 0 w 523"/>
                <a:gd name="T57" fmla="*/ 0 h 611"/>
                <a:gd name="T58" fmla="*/ 0 w 523"/>
                <a:gd name="T59" fmla="*/ 0 h 611"/>
                <a:gd name="T60" fmla="*/ 0 w 523"/>
                <a:gd name="T61" fmla="*/ 0 h 611"/>
                <a:gd name="T62" fmla="*/ 0 w 523"/>
                <a:gd name="T63" fmla="*/ 0 h 611"/>
                <a:gd name="T64" fmla="*/ 0 w 523"/>
                <a:gd name="T65" fmla="*/ 0 h 611"/>
                <a:gd name="T66" fmla="*/ 0 w 523"/>
                <a:gd name="T67" fmla="*/ 0 h 611"/>
                <a:gd name="T68" fmla="*/ 0 w 523"/>
                <a:gd name="T69" fmla="*/ 0 h 611"/>
                <a:gd name="T70" fmla="*/ 0 w 523"/>
                <a:gd name="T71" fmla="*/ 0 h 611"/>
                <a:gd name="T72" fmla="*/ 0 w 523"/>
                <a:gd name="T73" fmla="*/ 0 h 611"/>
                <a:gd name="T74" fmla="*/ 0 w 523"/>
                <a:gd name="T75" fmla="*/ 0 h 611"/>
                <a:gd name="T76" fmla="*/ 0 w 523"/>
                <a:gd name="T77" fmla="*/ 0 h 611"/>
                <a:gd name="T78" fmla="*/ 0 w 523"/>
                <a:gd name="T79" fmla="*/ 0 h 611"/>
                <a:gd name="T80" fmla="*/ 0 w 523"/>
                <a:gd name="T81" fmla="*/ 0 h 611"/>
                <a:gd name="T82" fmla="*/ 0 w 523"/>
                <a:gd name="T83" fmla="*/ 0 h 611"/>
                <a:gd name="T84" fmla="*/ 0 w 523"/>
                <a:gd name="T85" fmla="*/ 0 h 6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3"/>
                <a:gd name="T130" fmla="*/ 0 h 611"/>
                <a:gd name="T131" fmla="*/ 523 w 523"/>
                <a:gd name="T132" fmla="*/ 611 h 6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3" h="611">
                  <a:moveTo>
                    <a:pt x="522" y="329"/>
                  </a:moveTo>
                  <a:lnTo>
                    <a:pt x="523" y="345"/>
                  </a:lnTo>
                  <a:lnTo>
                    <a:pt x="523" y="361"/>
                  </a:lnTo>
                  <a:lnTo>
                    <a:pt x="522" y="376"/>
                  </a:lnTo>
                  <a:lnTo>
                    <a:pt x="520" y="390"/>
                  </a:lnTo>
                  <a:lnTo>
                    <a:pt x="518" y="405"/>
                  </a:lnTo>
                  <a:lnTo>
                    <a:pt x="515" y="419"/>
                  </a:lnTo>
                  <a:lnTo>
                    <a:pt x="512" y="433"/>
                  </a:lnTo>
                  <a:lnTo>
                    <a:pt x="508" y="446"/>
                  </a:lnTo>
                  <a:lnTo>
                    <a:pt x="504" y="460"/>
                  </a:lnTo>
                  <a:lnTo>
                    <a:pt x="498" y="472"/>
                  </a:lnTo>
                  <a:lnTo>
                    <a:pt x="493" y="484"/>
                  </a:lnTo>
                  <a:lnTo>
                    <a:pt x="487" y="495"/>
                  </a:lnTo>
                  <a:lnTo>
                    <a:pt x="480" y="507"/>
                  </a:lnTo>
                  <a:lnTo>
                    <a:pt x="473" y="518"/>
                  </a:lnTo>
                  <a:lnTo>
                    <a:pt x="465" y="528"/>
                  </a:lnTo>
                  <a:lnTo>
                    <a:pt x="457" y="538"/>
                  </a:lnTo>
                  <a:lnTo>
                    <a:pt x="449" y="547"/>
                  </a:lnTo>
                  <a:lnTo>
                    <a:pt x="440" y="556"/>
                  </a:lnTo>
                  <a:lnTo>
                    <a:pt x="430" y="564"/>
                  </a:lnTo>
                  <a:lnTo>
                    <a:pt x="421" y="572"/>
                  </a:lnTo>
                  <a:lnTo>
                    <a:pt x="410" y="578"/>
                  </a:lnTo>
                  <a:lnTo>
                    <a:pt x="400" y="585"/>
                  </a:lnTo>
                  <a:lnTo>
                    <a:pt x="389" y="590"/>
                  </a:lnTo>
                  <a:lnTo>
                    <a:pt x="378" y="595"/>
                  </a:lnTo>
                  <a:lnTo>
                    <a:pt x="366" y="599"/>
                  </a:lnTo>
                  <a:lnTo>
                    <a:pt x="354" y="604"/>
                  </a:lnTo>
                  <a:lnTo>
                    <a:pt x="342" y="607"/>
                  </a:lnTo>
                  <a:lnTo>
                    <a:pt x="330" y="609"/>
                  </a:lnTo>
                  <a:lnTo>
                    <a:pt x="317" y="610"/>
                  </a:lnTo>
                  <a:lnTo>
                    <a:pt x="304" y="611"/>
                  </a:lnTo>
                  <a:lnTo>
                    <a:pt x="291" y="611"/>
                  </a:lnTo>
                  <a:lnTo>
                    <a:pt x="277" y="610"/>
                  </a:lnTo>
                  <a:lnTo>
                    <a:pt x="264" y="609"/>
                  </a:lnTo>
                  <a:lnTo>
                    <a:pt x="251" y="606"/>
                  </a:lnTo>
                  <a:lnTo>
                    <a:pt x="237" y="603"/>
                  </a:lnTo>
                  <a:lnTo>
                    <a:pt x="224" y="598"/>
                  </a:lnTo>
                  <a:lnTo>
                    <a:pt x="212" y="594"/>
                  </a:lnTo>
                  <a:lnTo>
                    <a:pt x="199" y="589"/>
                  </a:lnTo>
                  <a:lnTo>
                    <a:pt x="187" y="583"/>
                  </a:lnTo>
                  <a:lnTo>
                    <a:pt x="174" y="576"/>
                  </a:lnTo>
                  <a:lnTo>
                    <a:pt x="163" y="569"/>
                  </a:lnTo>
                  <a:lnTo>
                    <a:pt x="151" y="562"/>
                  </a:lnTo>
                  <a:lnTo>
                    <a:pt x="140" y="554"/>
                  </a:lnTo>
                  <a:lnTo>
                    <a:pt x="129" y="544"/>
                  </a:lnTo>
                  <a:lnTo>
                    <a:pt x="118" y="535"/>
                  </a:lnTo>
                  <a:lnTo>
                    <a:pt x="108" y="525"/>
                  </a:lnTo>
                  <a:lnTo>
                    <a:pt x="98" y="515"/>
                  </a:lnTo>
                  <a:lnTo>
                    <a:pt x="88" y="504"/>
                  </a:lnTo>
                  <a:lnTo>
                    <a:pt x="79" y="492"/>
                  </a:lnTo>
                  <a:lnTo>
                    <a:pt x="70" y="480"/>
                  </a:lnTo>
                  <a:lnTo>
                    <a:pt x="62" y="468"/>
                  </a:lnTo>
                  <a:lnTo>
                    <a:pt x="54" y="456"/>
                  </a:lnTo>
                  <a:lnTo>
                    <a:pt x="46" y="442"/>
                  </a:lnTo>
                  <a:lnTo>
                    <a:pt x="39" y="429"/>
                  </a:lnTo>
                  <a:lnTo>
                    <a:pt x="33" y="416"/>
                  </a:lnTo>
                  <a:lnTo>
                    <a:pt x="27" y="402"/>
                  </a:lnTo>
                  <a:lnTo>
                    <a:pt x="22" y="387"/>
                  </a:lnTo>
                  <a:lnTo>
                    <a:pt x="17" y="373"/>
                  </a:lnTo>
                  <a:lnTo>
                    <a:pt x="12" y="358"/>
                  </a:lnTo>
                  <a:lnTo>
                    <a:pt x="9" y="343"/>
                  </a:lnTo>
                  <a:lnTo>
                    <a:pt x="6" y="328"/>
                  </a:lnTo>
                  <a:lnTo>
                    <a:pt x="3" y="313"/>
                  </a:lnTo>
                  <a:lnTo>
                    <a:pt x="1" y="297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0" y="250"/>
                  </a:lnTo>
                  <a:lnTo>
                    <a:pt x="1" y="235"/>
                  </a:lnTo>
                  <a:lnTo>
                    <a:pt x="2" y="220"/>
                  </a:lnTo>
                  <a:lnTo>
                    <a:pt x="4" y="206"/>
                  </a:lnTo>
                  <a:lnTo>
                    <a:pt x="7" y="191"/>
                  </a:lnTo>
                  <a:lnTo>
                    <a:pt x="11" y="178"/>
                  </a:lnTo>
                  <a:lnTo>
                    <a:pt x="15" y="165"/>
                  </a:lnTo>
                  <a:lnTo>
                    <a:pt x="19" y="152"/>
                  </a:lnTo>
                  <a:lnTo>
                    <a:pt x="24" y="139"/>
                  </a:lnTo>
                  <a:lnTo>
                    <a:pt x="30" y="127"/>
                  </a:lnTo>
                  <a:lnTo>
                    <a:pt x="36" y="115"/>
                  </a:lnTo>
                  <a:lnTo>
                    <a:pt x="43" y="104"/>
                  </a:lnTo>
                  <a:lnTo>
                    <a:pt x="50" y="93"/>
                  </a:lnTo>
                  <a:lnTo>
                    <a:pt x="57" y="82"/>
                  </a:lnTo>
                  <a:lnTo>
                    <a:pt x="65" y="73"/>
                  </a:lnTo>
                  <a:lnTo>
                    <a:pt x="74" y="64"/>
                  </a:lnTo>
                  <a:lnTo>
                    <a:pt x="83" y="55"/>
                  </a:lnTo>
                  <a:lnTo>
                    <a:pt x="92" y="47"/>
                  </a:lnTo>
                  <a:lnTo>
                    <a:pt x="102" y="39"/>
                  </a:lnTo>
                  <a:lnTo>
                    <a:pt x="112" y="32"/>
                  </a:lnTo>
                  <a:lnTo>
                    <a:pt x="123" y="26"/>
                  </a:lnTo>
                  <a:lnTo>
                    <a:pt x="134" y="20"/>
                  </a:lnTo>
                  <a:lnTo>
                    <a:pt x="145" y="15"/>
                  </a:lnTo>
                  <a:lnTo>
                    <a:pt x="157" y="11"/>
                  </a:lnTo>
                  <a:lnTo>
                    <a:pt x="168" y="7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6" y="1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45" y="1"/>
                  </a:lnTo>
                  <a:lnTo>
                    <a:pt x="259" y="3"/>
                  </a:lnTo>
                  <a:lnTo>
                    <a:pt x="272" y="5"/>
                  </a:lnTo>
                  <a:lnTo>
                    <a:pt x="285" y="8"/>
                  </a:lnTo>
                  <a:lnTo>
                    <a:pt x="298" y="12"/>
                  </a:lnTo>
                  <a:lnTo>
                    <a:pt x="311" y="16"/>
                  </a:lnTo>
                  <a:lnTo>
                    <a:pt x="324" y="22"/>
                  </a:lnTo>
                  <a:lnTo>
                    <a:pt x="336" y="27"/>
                  </a:lnTo>
                  <a:lnTo>
                    <a:pt x="348" y="34"/>
                  </a:lnTo>
                  <a:lnTo>
                    <a:pt x="360" y="42"/>
                  </a:lnTo>
                  <a:lnTo>
                    <a:pt x="372" y="50"/>
                  </a:lnTo>
                  <a:lnTo>
                    <a:pt x="383" y="58"/>
                  </a:lnTo>
                  <a:lnTo>
                    <a:pt x="394" y="66"/>
                  </a:lnTo>
                  <a:lnTo>
                    <a:pt x="405" y="76"/>
                  </a:lnTo>
                  <a:lnTo>
                    <a:pt x="415" y="85"/>
                  </a:lnTo>
                  <a:lnTo>
                    <a:pt x="425" y="97"/>
                  </a:lnTo>
                  <a:lnTo>
                    <a:pt x="435" y="107"/>
                  </a:lnTo>
                  <a:lnTo>
                    <a:pt x="444" y="119"/>
                  </a:lnTo>
                  <a:lnTo>
                    <a:pt x="453" y="130"/>
                  </a:lnTo>
                  <a:lnTo>
                    <a:pt x="461" y="143"/>
                  </a:lnTo>
                  <a:lnTo>
                    <a:pt x="469" y="155"/>
                  </a:lnTo>
                  <a:lnTo>
                    <a:pt x="476" y="168"/>
                  </a:lnTo>
                  <a:lnTo>
                    <a:pt x="483" y="181"/>
                  </a:lnTo>
                  <a:lnTo>
                    <a:pt x="490" y="196"/>
                  </a:lnTo>
                  <a:lnTo>
                    <a:pt x="496" y="209"/>
                  </a:lnTo>
                  <a:lnTo>
                    <a:pt x="501" y="223"/>
                  </a:lnTo>
                  <a:lnTo>
                    <a:pt x="506" y="238"/>
                  </a:lnTo>
                  <a:lnTo>
                    <a:pt x="510" y="253"/>
                  </a:lnTo>
                  <a:lnTo>
                    <a:pt x="514" y="268"/>
                  </a:lnTo>
                  <a:lnTo>
                    <a:pt x="517" y="283"/>
                  </a:lnTo>
                  <a:lnTo>
                    <a:pt x="519" y="299"/>
                  </a:lnTo>
                  <a:lnTo>
                    <a:pt x="521" y="314"/>
                  </a:lnTo>
                  <a:lnTo>
                    <a:pt x="522" y="3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4" name="Freeform 114"/>
            <p:cNvSpPr>
              <a:spLocks/>
            </p:cNvSpPr>
            <p:nvPr/>
          </p:nvSpPr>
          <p:spPr bwMode="auto">
            <a:xfrm>
              <a:off x="815906" y="3505580"/>
              <a:ext cx="14947" cy="16742"/>
            </a:xfrm>
            <a:custGeom>
              <a:avLst/>
              <a:gdLst>
                <a:gd name="T0" fmla="*/ 0 w 464"/>
                <a:gd name="T1" fmla="*/ 0 h 542"/>
                <a:gd name="T2" fmla="*/ 0 w 464"/>
                <a:gd name="T3" fmla="*/ 0 h 542"/>
                <a:gd name="T4" fmla="*/ 0 w 464"/>
                <a:gd name="T5" fmla="*/ 0 h 542"/>
                <a:gd name="T6" fmla="*/ 0 w 464"/>
                <a:gd name="T7" fmla="*/ 0 h 542"/>
                <a:gd name="T8" fmla="*/ 0 w 464"/>
                <a:gd name="T9" fmla="*/ 0 h 542"/>
                <a:gd name="T10" fmla="*/ 0 w 464"/>
                <a:gd name="T11" fmla="*/ 0 h 542"/>
                <a:gd name="T12" fmla="*/ 0 w 464"/>
                <a:gd name="T13" fmla="*/ 0 h 542"/>
                <a:gd name="T14" fmla="*/ 0 w 464"/>
                <a:gd name="T15" fmla="*/ 0 h 542"/>
                <a:gd name="T16" fmla="*/ 0 w 464"/>
                <a:gd name="T17" fmla="*/ 0 h 542"/>
                <a:gd name="T18" fmla="*/ 0 w 464"/>
                <a:gd name="T19" fmla="*/ 0 h 542"/>
                <a:gd name="T20" fmla="*/ 0 w 464"/>
                <a:gd name="T21" fmla="*/ 0 h 542"/>
                <a:gd name="T22" fmla="*/ 0 w 464"/>
                <a:gd name="T23" fmla="*/ 0 h 542"/>
                <a:gd name="T24" fmla="*/ 0 w 464"/>
                <a:gd name="T25" fmla="*/ 0 h 542"/>
                <a:gd name="T26" fmla="*/ 0 w 464"/>
                <a:gd name="T27" fmla="*/ 0 h 542"/>
                <a:gd name="T28" fmla="*/ 0 w 464"/>
                <a:gd name="T29" fmla="*/ 0 h 542"/>
                <a:gd name="T30" fmla="*/ 0 w 464"/>
                <a:gd name="T31" fmla="*/ 0 h 542"/>
                <a:gd name="T32" fmla="*/ 0 w 464"/>
                <a:gd name="T33" fmla="*/ 0 h 542"/>
                <a:gd name="T34" fmla="*/ 0 w 464"/>
                <a:gd name="T35" fmla="*/ 0 h 542"/>
                <a:gd name="T36" fmla="*/ 0 w 464"/>
                <a:gd name="T37" fmla="*/ 0 h 542"/>
                <a:gd name="T38" fmla="*/ 0 w 464"/>
                <a:gd name="T39" fmla="*/ 0 h 542"/>
                <a:gd name="T40" fmla="*/ 0 w 464"/>
                <a:gd name="T41" fmla="*/ 0 h 542"/>
                <a:gd name="T42" fmla="*/ 0 w 464"/>
                <a:gd name="T43" fmla="*/ 0 h 542"/>
                <a:gd name="T44" fmla="*/ 0 w 464"/>
                <a:gd name="T45" fmla="*/ 0 h 542"/>
                <a:gd name="T46" fmla="*/ 0 w 464"/>
                <a:gd name="T47" fmla="*/ 0 h 542"/>
                <a:gd name="T48" fmla="*/ 0 w 464"/>
                <a:gd name="T49" fmla="*/ 0 h 542"/>
                <a:gd name="T50" fmla="*/ 0 w 464"/>
                <a:gd name="T51" fmla="*/ 0 h 542"/>
                <a:gd name="T52" fmla="*/ 0 w 464"/>
                <a:gd name="T53" fmla="*/ 0 h 542"/>
                <a:gd name="T54" fmla="*/ 0 w 464"/>
                <a:gd name="T55" fmla="*/ 0 h 542"/>
                <a:gd name="T56" fmla="*/ 0 w 464"/>
                <a:gd name="T57" fmla="*/ 0 h 542"/>
                <a:gd name="T58" fmla="*/ 0 w 464"/>
                <a:gd name="T59" fmla="*/ 0 h 542"/>
                <a:gd name="T60" fmla="*/ 0 w 464"/>
                <a:gd name="T61" fmla="*/ 0 h 542"/>
                <a:gd name="T62" fmla="*/ 0 w 464"/>
                <a:gd name="T63" fmla="*/ 0 h 542"/>
                <a:gd name="T64" fmla="*/ 0 w 464"/>
                <a:gd name="T65" fmla="*/ 0 h 542"/>
                <a:gd name="T66" fmla="*/ 0 w 464"/>
                <a:gd name="T67" fmla="*/ 0 h 542"/>
                <a:gd name="T68" fmla="*/ 0 w 464"/>
                <a:gd name="T69" fmla="*/ 0 h 542"/>
                <a:gd name="T70" fmla="*/ 0 w 464"/>
                <a:gd name="T71" fmla="*/ 0 h 542"/>
                <a:gd name="T72" fmla="*/ 0 w 464"/>
                <a:gd name="T73" fmla="*/ 0 h 542"/>
                <a:gd name="T74" fmla="*/ 0 w 464"/>
                <a:gd name="T75" fmla="*/ 0 h 542"/>
                <a:gd name="T76" fmla="*/ 0 w 464"/>
                <a:gd name="T77" fmla="*/ 0 h 542"/>
                <a:gd name="T78" fmla="*/ 0 w 464"/>
                <a:gd name="T79" fmla="*/ 0 h 542"/>
                <a:gd name="T80" fmla="*/ 0 w 464"/>
                <a:gd name="T81" fmla="*/ 0 h 542"/>
                <a:gd name="T82" fmla="*/ 0 w 464"/>
                <a:gd name="T83" fmla="*/ 0 h 542"/>
                <a:gd name="T84" fmla="*/ 0 w 464"/>
                <a:gd name="T85" fmla="*/ 0 h 542"/>
                <a:gd name="T86" fmla="*/ 0 w 464"/>
                <a:gd name="T87" fmla="*/ 0 h 542"/>
                <a:gd name="T88" fmla="*/ 0 w 464"/>
                <a:gd name="T89" fmla="*/ 0 h 542"/>
                <a:gd name="T90" fmla="*/ 0 w 464"/>
                <a:gd name="T91" fmla="*/ 0 h 542"/>
                <a:gd name="T92" fmla="*/ 0 w 464"/>
                <a:gd name="T93" fmla="*/ 0 h 542"/>
                <a:gd name="T94" fmla="*/ 0 w 464"/>
                <a:gd name="T95" fmla="*/ 0 h 542"/>
                <a:gd name="T96" fmla="*/ 0 w 464"/>
                <a:gd name="T97" fmla="*/ 0 h 542"/>
                <a:gd name="T98" fmla="*/ 0 w 464"/>
                <a:gd name="T99" fmla="*/ 0 h 542"/>
                <a:gd name="T100" fmla="*/ 0 w 464"/>
                <a:gd name="T101" fmla="*/ 0 h 542"/>
                <a:gd name="T102" fmla="*/ 0 w 464"/>
                <a:gd name="T103" fmla="*/ 0 h 542"/>
                <a:gd name="T104" fmla="*/ 0 w 464"/>
                <a:gd name="T105" fmla="*/ 0 h 542"/>
                <a:gd name="T106" fmla="*/ 0 w 464"/>
                <a:gd name="T107" fmla="*/ 0 h 542"/>
                <a:gd name="T108" fmla="*/ 0 w 464"/>
                <a:gd name="T109" fmla="*/ 0 h 542"/>
                <a:gd name="T110" fmla="*/ 0 w 464"/>
                <a:gd name="T111" fmla="*/ 0 h 542"/>
                <a:gd name="T112" fmla="*/ 0 w 464"/>
                <a:gd name="T113" fmla="*/ 0 h 542"/>
                <a:gd name="T114" fmla="*/ 0 w 464"/>
                <a:gd name="T115" fmla="*/ 0 h 542"/>
                <a:gd name="T116" fmla="*/ 0 w 464"/>
                <a:gd name="T117" fmla="*/ 0 h 542"/>
                <a:gd name="T118" fmla="*/ 0 w 464"/>
                <a:gd name="T119" fmla="*/ 0 h 542"/>
                <a:gd name="T120" fmla="*/ 0 w 464"/>
                <a:gd name="T121" fmla="*/ 0 h 542"/>
                <a:gd name="T122" fmla="*/ 0 w 464"/>
                <a:gd name="T123" fmla="*/ 0 h 542"/>
                <a:gd name="T124" fmla="*/ 0 w 464"/>
                <a:gd name="T125" fmla="*/ 0 h 54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2"/>
                <a:gd name="T191" fmla="*/ 464 w 464"/>
                <a:gd name="T192" fmla="*/ 542 h 54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2">
                  <a:moveTo>
                    <a:pt x="464" y="292"/>
                  </a:moveTo>
                  <a:lnTo>
                    <a:pt x="464" y="307"/>
                  </a:lnTo>
                  <a:lnTo>
                    <a:pt x="464" y="320"/>
                  </a:lnTo>
                  <a:lnTo>
                    <a:pt x="463" y="333"/>
                  </a:lnTo>
                  <a:lnTo>
                    <a:pt x="462" y="346"/>
                  </a:lnTo>
                  <a:lnTo>
                    <a:pt x="460" y="360"/>
                  </a:lnTo>
                  <a:lnTo>
                    <a:pt x="457" y="372"/>
                  </a:lnTo>
                  <a:lnTo>
                    <a:pt x="454" y="384"/>
                  </a:lnTo>
                  <a:lnTo>
                    <a:pt x="451" y="396"/>
                  </a:lnTo>
                  <a:lnTo>
                    <a:pt x="447" y="408"/>
                  </a:lnTo>
                  <a:lnTo>
                    <a:pt x="442" y="419"/>
                  </a:lnTo>
                  <a:lnTo>
                    <a:pt x="437" y="429"/>
                  </a:lnTo>
                  <a:lnTo>
                    <a:pt x="432" y="440"/>
                  </a:lnTo>
                  <a:lnTo>
                    <a:pt x="426" y="449"/>
                  </a:lnTo>
                  <a:lnTo>
                    <a:pt x="420" y="460"/>
                  </a:lnTo>
                  <a:lnTo>
                    <a:pt x="413" y="469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3"/>
                  </a:lnTo>
                  <a:lnTo>
                    <a:pt x="382" y="500"/>
                  </a:lnTo>
                  <a:lnTo>
                    <a:pt x="373" y="507"/>
                  </a:lnTo>
                  <a:lnTo>
                    <a:pt x="364" y="514"/>
                  </a:lnTo>
                  <a:lnTo>
                    <a:pt x="355" y="519"/>
                  </a:lnTo>
                  <a:lnTo>
                    <a:pt x="345" y="524"/>
                  </a:lnTo>
                  <a:lnTo>
                    <a:pt x="335" y="528"/>
                  </a:lnTo>
                  <a:lnTo>
                    <a:pt x="325" y="532"/>
                  </a:lnTo>
                  <a:lnTo>
                    <a:pt x="314" y="535"/>
                  </a:lnTo>
                  <a:lnTo>
                    <a:pt x="304" y="538"/>
                  </a:lnTo>
                  <a:lnTo>
                    <a:pt x="293" y="540"/>
                  </a:lnTo>
                  <a:lnTo>
                    <a:pt x="281" y="541"/>
                  </a:lnTo>
                  <a:lnTo>
                    <a:pt x="270" y="542"/>
                  </a:lnTo>
                  <a:lnTo>
                    <a:pt x="258" y="542"/>
                  </a:lnTo>
                  <a:lnTo>
                    <a:pt x="246" y="541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5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3"/>
                  </a:lnTo>
                  <a:lnTo>
                    <a:pt x="166" y="518"/>
                  </a:lnTo>
                  <a:lnTo>
                    <a:pt x="155" y="512"/>
                  </a:lnTo>
                  <a:lnTo>
                    <a:pt x="144" y="506"/>
                  </a:lnTo>
                  <a:lnTo>
                    <a:pt x="134" y="498"/>
                  </a:lnTo>
                  <a:lnTo>
                    <a:pt x="124" y="491"/>
                  </a:lnTo>
                  <a:lnTo>
                    <a:pt x="114" y="483"/>
                  </a:lnTo>
                  <a:lnTo>
                    <a:pt x="105" y="475"/>
                  </a:lnTo>
                  <a:lnTo>
                    <a:pt x="96" y="466"/>
                  </a:lnTo>
                  <a:lnTo>
                    <a:pt x="87" y="457"/>
                  </a:lnTo>
                  <a:lnTo>
                    <a:pt x="78" y="446"/>
                  </a:lnTo>
                  <a:lnTo>
                    <a:pt x="70" y="437"/>
                  </a:lnTo>
                  <a:lnTo>
                    <a:pt x="62" y="426"/>
                  </a:lnTo>
                  <a:lnTo>
                    <a:pt x="55" y="416"/>
                  </a:lnTo>
                  <a:lnTo>
                    <a:pt x="48" y="405"/>
                  </a:lnTo>
                  <a:lnTo>
                    <a:pt x="41" y="392"/>
                  </a:lnTo>
                  <a:lnTo>
                    <a:pt x="35" y="381"/>
                  </a:lnTo>
                  <a:lnTo>
                    <a:pt x="29" y="369"/>
                  </a:lnTo>
                  <a:lnTo>
                    <a:pt x="24" y="357"/>
                  </a:lnTo>
                  <a:lnTo>
                    <a:pt x="19" y="343"/>
                  </a:lnTo>
                  <a:lnTo>
                    <a:pt x="15" y="331"/>
                  </a:lnTo>
                  <a:lnTo>
                    <a:pt x="11" y="318"/>
                  </a:lnTo>
                  <a:lnTo>
                    <a:pt x="8" y="305"/>
                  </a:lnTo>
                  <a:lnTo>
                    <a:pt x="5" y="291"/>
                  </a:lnTo>
                  <a:lnTo>
                    <a:pt x="3" y="277"/>
                  </a:lnTo>
                  <a:lnTo>
                    <a:pt x="1" y="264"/>
                  </a:lnTo>
                  <a:lnTo>
                    <a:pt x="0" y="250"/>
                  </a:lnTo>
                  <a:lnTo>
                    <a:pt x="0" y="236"/>
                  </a:lnTo>
                  <a:lnTo>
                    <a:pt x="0" y="222"/>
                  </a:lnTo>
                  <a:lnTo>
                    <a:pt x="1" y="209"/>
                  </a:lnTo>
                  <a:lnTo>
                    <a:pt x="2" y="196"/>
                  </a:lnTo>
                  <a:lnTo>
                    <a:pt x="4" y="183"/>
                  </a:lnTo>
                  <a:lnTo>
                    <a:pt x="7" y="170"/>
                  </a:lnTo>
                  <a:lnTo>
                    <a:pt x="10" y="158"/>
                  </a:lnTo>
                  <a:lnTo>
                    <a:pt x="13" y="147"/>
                  </a:lnTo>
                  <a:lnTo>
                    <a:pt x="17" y="134"/>
                  </a:lnTo>
                  <a:lnTo>
                    <a:pt x="22" y="123"/>
                  </a:lnTo>
                  <a:lnTo>
                    <a:pt x="27" y="113"/>
                  </a:lnTo>
                  <a:lnTo>
                    <a:pt x="32" y="103"/>
                  </a:lnTo>
                  <a:lnTo>
                    <a:pt x="38" y="92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5"/>
                  </a:lnTo>
                  <a:lnTo>
                    <a:pt x="66" y="57"/>
                  </a:lnTo>
                  <a:lnTo>
                    <a:pt x="74" y="49"/>
                  </a:lnTo>
                  <a:lnTo>
                    <a:pt x="82" y="41"/>
                  </a:lnTo>
                  <a:lnTo>
                    <a:pt x="91" y="35"/>
                  </a:lnTo>
                  <a:lnTo>
                    <a:pt x="100" y="29"/>
                  </a:lnTo>
                  <a:lnTo>
                    <a:pt x="109" y="23"/>
                  </a:lnTo>
                  <a:lnTo>
                    <a:pt x="119" y="18"/>
                  </a:lnTo>
                  <a:lnTo>
                    <a:pt x="129" y="14"/>
                  </a:lnTo>
                  <a:lnTo>
                    <a:pt x="139" y="10"/>
                  </a:lnTo>
                  <a:lnTo>
                    <a:pt x="150" y="7"/>
                  </a:lnTo>
                  <a:lnTo>
                    <a:pt x="160" y="4"/>
                  </a:lnTo>
                  <a:lnTo>
                    <a:pt x="172" y="2"/>
                  </a:lnTo>
                  <a:lnTo>
                    <a:pt x="183" y="1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1"/>
                  </a:lnTo>
                  <a:lnTo>
                    <a:pt x="230" y="3"/>
                  </a:lnTo>
                  <a:lnTo>
                    <a:pt x="242" y="5"/>
                  </a:lnTo>
                  <a:lnTo>
                    <a:pt x="253" y="7"/>
                  </a:lnTo>
                  <a:lnTo>
                    <a:pt x="265" y="11"/>
                  </a:lnTo>
                  <a:lnTo>
                    <a:pt x="276" y="15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30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2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6"/>
                  </a:lnTo>
                  <a:lnTo>
                    <a:pt x="377" y="85"/>
                  </a:lnTo>
                  <a:lnTo>
                    <a:pt x="386" y="96"/>
                  </a:lnTo>
                  <a:lnTo>
                    <a:pt x="402" y="116"/>
                  </a:lnTo>
                  <a:lnTo>
                    <a:pt x="416" y="138"/>
                  </a:lnTo>
                  <a:lnTo>
                    <a:pt x="423" y="150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9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2"/>
                  </a:lnTo>
                  <a:lnTo>
                    <a:pt x="461" y="265"/>
                  </a:lnTo>
                  <a:lnTo>
                    <a:pt x="462" y="278"/>
                  </a:lnTo>
                  <a:lnTo>
                    <a:pt x="464" y="292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5" name="Freeform 115"/>
            <p:cNvSpPr>
              <a:spLocks/>
            </p:cNvSpPr>
            <p:nvPr/>
          </p:nvSpPr>
          <p:spPr bwMode="auto">
            <a:xfrm>
              <a:off x="844306" y="3522322"/>
              <a:ext cx="13453" cy="16742"/>
            </a:xfrm>
            <a:custGeom>
              <a:avLst/>
              <a:gdLst>
                <a:gd name="T0" fmla="*/ 0 w 464"/>
                <a:gd name="T1" fmla="*/ 0 h 541"/>
                <a:gd name="T2" fmla="*/ 0 w 464"/>
                <a:gd name="T3" fmla="*/ 0 h 541"/>
                <a:gd name="T4" fmla="*/ 0 w 464"/>
                <a:gd name="T5" fmla="*/ 0 h 541"/>
                <a:gd name="T6" fmla="*/ 0 w 464"/>
                <a:gd name="T7" fmla="*/ 0 h 541"/>
                <a:gd name="T8" fmla="*/ 0 w 464"/>
                <a:gd name="T9" fmla="*/ 0 h 541"/>
                <a:gd name="T10" fmla="*/ 0 w 464"/>
                <a:gd name="T11" fmla="*/ 0 h 541"/>
                <a:gd name="T12" fmla="*/ 0 w 464"/>
                <a:gd name="T13" fmla="*/ 0 h 541"/>
                <a:gd name="T14" fmla="*/ 0 w 464"/>
                <a:gd name="T15" fmla="*/ 0 h 541"/>
                <a:gd name="T16" fmla="*/ 0 w 464"/>
                <a:gd name="T17" fmla="*/ 0 h 541"/>
                <a:gd name="T18" fmla="*/ 0 w 464"/>
                <a:gd name="T19" fmla="*/ 0 h 541"/>
                <a:gd name="T20" fmla="*/ 0 w 464"/>
                <a:gd name="T21" fmla="*/ 0 h 541"/>
                <a:gd name="T22" fmla="*/ 0 w 464"/>
                <a:gd name="T23" fmla="*/ 0 h 541"/>
                <a:gd name="T24" fmla="*/ 0 w 464"/>
                <a:gd name="T25" fmla="*/ 0 h 541"/>
                <a:gd name="T26" fmla="*/ 0 w 464"/>
                <a:gd name="T27" fmla="*/ 0 h 541"/>
                <a:gd name="T28" fmla="*/ 0 w 464"/>
                <a:gd name="T29" fmla="*/ 0 h 541"/>
                <a:gd name="T30" fmla="*/ 0 w 464"/>
                <a:gd name="T31" fmla="*/ 0 h 541"/>
                <a:gd name="T32" fmla="*/ 0 w 464"/>
                <a:gd name="T33" fmla="*/ 0 h 541"/>
                <a:gd name="T34" fmla="*/ 0 w 464"/>
                <a:gd name="T35" fmla="*/ 0 h 541"/>
                <a:gd name="T36" fmla="*/ 0 w 464"/>
                <a:gd name="T37" fmla="*/ 0 h 541"/>
                <a:gd name="T38" fmla="*/ 0 w 464"/>
                <a:gd name="T39" fmla="*/ 0 h 541"/>
                <a:gd name="T40" fmla="*/ 0 w 464"/>
                <a:gd name="T41" fmla="*/ 0 h 541"/>
                <a:gd name="T42" fmla="*/ 0 w 464"/>
                <a:gd name="T43" fmla="*/ 0 h 541"/>
                <a:gd name="T44" fmla="*/ 0 w 464"/>
                <a:gd name="T45" fmla="*/ 0 h 541"/>
                <a:gd name="T46" fmla="*/ 0 w 464"/>
                <a:gd name="T47" fmla="*/ 0 h 541"/>
                <a:gd name="T48" fmla="*/ 0 w 464"/>
                <a:gd name="T49" fmla="*/ 0 h 541"/>
                <a:gd name="T50" fmla="*/ 0 w 464"/>
                <a:gd name="T51" fmla="*/ 0 h 541"/>
                <a:gd name="T52" fmla="*/ 0 w 464"/>
                <a:gd name="T53" fmla="*/ 0 h 541"/>
                <a:gd name="T54" fmla="*/ 0 w 464"/>
                <a:gd name="T55" fmla="*/ 0 h 541"/>
                <a:gd name="T56" fmla="*/ 0 w 464"/>
                <a:gd name="T57" fmla="*/ 0 h 541"/>
                <a:gd name="T58" fmla="*/ 0 w 464"/>
                <a:gd name="T59" fmla="*/ 0 h 541"/>
                <a:gd name="T60" fmla="*/ 0 w 464"/>
                <a:gd name="T61" fmla="*/ 0 h 541"/>
                <a:gd name="T62" fmla="*/ 0 w 464"/>
                <a:gd name="T63" fmla="*/ 0 h 541"/>
                <a:gd name="T64" fmla="*/ 0 w 464"/>
                <a:gd name="T65" fmla="*/ 0 h 541"/>
                <a:gd name="T66" fmla="*/ 0 w 464"/>
                <a:gd name="T67" fmla="*/ 0 h 541"/>
                <a:gd name="T68" fmla="*/ 0 w 464"/>
                <a:gd name="T69" fmla="*/ 0 h 541"/>
                <a:gd name="T70" fmla="*/ 0 w 464"/>
                <a:gd name="T71" fmla="*/ 0 h 541"/>
                <a:gd name="T72" fmla="*/ 0 w 464"/>
                <a:gd name="T73" fmla="*/ 0 h 541"/>
                <a:gd name="T74" fmla="*/ 0 w 464"/>
                <a:gd name="T75" fmla="*/ 0 h 541"/>
                <a:gd name="T76" fmla="*/ 0 w 464"/>
                <a:gd name="T77" fmla="*/ 0 h 541"/>
                <a:gd name="T78" fmla="*/ 0 w 464"/>
                <a:gd name="T79" fmla="*/ 0 h 541"/>
                <a:gd name="T80" fmla="*/ 0 w 464"/>
                <a:gd name="T81" fmla="*/ 0 h 541"/>
                <a:gd name="T82" fmla="*/ 0 w 464"/>
                <a:gd name="T83" fmla="*/ 0 h 541"/>
                <a:gd name="T84" fmla="*/ 0 w 464"/>
                <a:gd name="T85" fmla="*/ 0 h 541"/>
                <a:gd name="T86" fmla="*/ 0 w 464"/>
                <a:gd name="T87" fmla="*/ 0 h 541"/>
                <a:gd name="T88" fmla="*/ 0 w 464"/>
                <a:gd name="T89" fmla="*/ 0 h 541"/>
                <a:gd name="T90" fmla="*/ 0 w 464"/>
                <a:gd name="T91" fmla="*/ 0 h 541"/>
                <a:gd name="T92" fmla="*/ 0 w 464"/>
                <a:gd name="T93" fmla="*/ 0 h 541"/>
                <a:gd name="T94" fmla="*/ 0 w 464"/>
                <a:gd name="T95" fmla="*/ 0 h 541"/>
                <a:gd name="T96" fmla="*/ 0 w 464"/>
                <a:gd name="T97" fmla="*/ 0 h 541"/>
                <a:gd name="T98" fmla="*/ 0 w 464"/>
                <a:gd name="T99" fmla="*/ 0 h 541"/>
                <a:gd name="T100" fmla="*/ 0 w 464"/>
                <a:gd name="T101" fmla="*/ 0 h 541"/>
                <a:gd name="T102" fmla="*/ 0 w 464"/>
                <a:gd name="T103" fmla="*/ 0 h 541"/>
                <a:gd name="T104" fmla="*/ 0 w 464"/>
                <a:gd name="T105" fmla="*/ 0 h 541"/>
                <a:gd name="T106" fmla="*/ 0 w 464"/>
                <a:gd name="T107" fmla="*/ 0 h 541"/>
                <a:gd name="T108" fmla="*/ 0 w 464"/>
                <a:gd name="T109" fmla="*/ 0 h 541"/>
                <a:gd name="T110" fmla="*/ 0 w 464"/>
                <a:gd name="T111" fmla="*/ 0 h 541"/>
                <a:gd name="T112" fmla="*/ 0 w 464"/>
                <a:gd name="T113" fmla="*/ 0 h 541"/>
                <a:gd name="T114" fmla="*/ 0 w 464"/>
                <a:gd name="T115" fmla="*/ 0 h 541"/>
                <a:gd name="T116" fmla="*/ 0 w 464"/>
                <a:gd name="T117" fmla="*/ 0 h 541"/>
                <a:gd name="T118" fmla="*/ 0 w 464"/>
                <a:gd name="T119" fmla="*/ 0 h 541"/>
                <a:gd name="T120" fmla="*/ 0 w 464"/>
                <a:gd name="T121" fmla="*/ 0 h 541"/>
                <a:gd name="T122" fmla="*/ 0 w 464"/>
                <a:gd name="T123" fmla="*/ 0 h 541"/>
                <a:gd name="T124" fmla="*/ 0 w 464"/>
                <a:gd name="T125" fmla="*/ 0 h 54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1"/>
                <a:gd name="T191" fmla="*/ 464 w 464"/>
                <a:gd name="T192" fmla="*/ 541 h 54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1">
                  <a:moveTo>
                    <a:pt x="464" y="291"/>
                  </a:moveTo>
                  <a:lnTo>
                    <a:pt x="464" y="306"/>
                  </a:lnTo>
                  <a:lnTo>
                    <a:pt x="464" y="319"/>
                  </a:lnTo>
                  <a:lnTo>
                    <a:pt x="463" y="333"/>
                  </a:lnTo>
                  <a:lnTo>
                    <a:pt x="462" y="345"/>
                  </a:lnTo>
                  <a:lnTo>
                    <a:pt x="460" y="359"/>
                  </a:lnTo>
                  <a:lnTo>
                    <a:pt x="457" y="371"/>
                  </a:lnTo>
                  <a:lnTo>
                    <a:pt x="454" y="383"/>
                  </a:lnTo>
                  <a:lnTo>
                    <a:pt x="451" y="395"/>
                  </a:lnTo>
                  <a:lnTo>
                    <a:pt x="447" y="407"/>
                  </a:lnTo>
                  <a:lnTo>
                    <a:pt x="442" y="418"/>
                  </a:lnTo>
                  <a:lnTo>
                    <a:pt x="437" y="429"/>
                  </a:lnTo>
                  <a:lnTo>
                    <a:pt x="432" y="439"/>
                  </a:lnTo>
                  <a:lnTo>
                    <a:pt x="426" y="450"/>
                  </a:lnTo>
                  <a:lnTo>
                    <a:pt x="420" y="459"/>
                  </a:lnTo>
                  <a:lnTo>
                    <a:pt x="413" y="468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2"/>
                  </a:lnTo>
                  <a:lnTo>
                    <a:pt x="382" y="499"/>
                  </a:lnTo>
                  <a:lnTo>
                    <a:pt x="373" y="507"/>
                  </a:lnTo>
                  <a:lnTo>
                    <a:pt x="364" y="513"/>
                  </a:lnTo>
                  <a:lnTo>
                    <a:pt x="355" y="518"/>
                  </a:lnTo>
                  <a:lnTo>
                    <a:pt x="345" y="523"/>
                  </a:lnTo>
                  <a:lnTo>
                    <a:pt x="335" y="528"/>
                  </a:lnTo>
                  <a:lnTo>
                    <a:pt x="325" y="531"/>
                  </a:lnTo>
                  <a:lnTo>
                    <a:pt x="314" y="535"/>
                  </a:lnTo>
                  <a:lnTo>
                    <a:pt x="304" y="537"/>
                  </a:lnTo>
                  <a:lnTo>
                    <a:pt x="293" y="539"/>
                  </a:lnTo>
                  <a:lnTo>
                    <a:pt x="281" y="540"/>
                  </a:lnTo>
                  <a:lnTo>
                    <a:pt x="270" y="541"/>
                  </a:lnTo>
                  <a:lnTo>
                    <a:pt x="258" y="541"/>
                  </a:lnTo>
                  <a:lnTo>
                    <a:pt x="246" y="540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4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2"/>
                  </a:lnTo>
                  <a:lnTo>
                    <a:pt x="166" y="517"/>
                  </a:lnTo>
                  <a:lnTo>
                    <a:pt x="155" y="511"/>
                  </a:lnTo>
                  <a:lnTo>
                    <a:pt x="144" y="505"/>
                  </a:lnTo>
                  <a:lnTo>
                    <a:pt x="134" y="497"/>
                  </a:lnTo>
                  <a:lnTo>
                    <a:pt x="124" y="490"/>
                  </a:lnTo>
                  <a:lnTo>
                    <a:pt x="114" y="482"/>
                  </a:lnTo>
                  <a:lnTo>
                    <a:pt x="105" y="474"/>
                  </a:lnTo>
                  <a:lnTo>
                    <a:pt x="96" y="465"/>
                  </a:lnTo>
                  <a:lnTo>
                    <a:pt x="87" y="456"/>
                  </a:lnTo>
                  <a:lnTo>
                    <a:pt x="78" y="446"/>
                  </a:lnTo>
                  <a:lnTo>
                    <a:pt x="70" y="436"/>
                  </a:lnTo>
                  <a:lnTo>
                    <a:pt x="62" y="426"/>
                  </a:lnTo>
                  <a:lnTo>
                    <a:pt x="55" y="415"/>
                  </a:lnTo>
                  <a:lnTo>
                    <a:pt x="48" y="404"/>
                  </a:lnTo>
                  <a:lnTo>
                    <a:pt x="41" y="392"/>
                  </a:lnTo>
                  <a:lnTo>
                    <a:pt x="35" y="380"/>
                  </a:lnTo>
                  <a:lnTo>
                    <a:pt x="30" y="368"/>
                  </a:lnTo>
                  <a:lnTo>
                    <a:pt x="24" y="356"/>
                  </a:lnTo>
                  <a:lnTo>
                    <a:pt x="19" y="343"/>
                  </a:lnTo>
                  <a:lnTo>
                    <a:pt x="15" y="330"/>
                  </a:lnTo>
                  <a:lnTo>
                    <a:pt x="11" y="317"/>
                  </a:lnTo>
                  <a:lnTo>
                    <a:pt x="8" y="304"/>
                  </a:lnTo>
                  <a:lnTo>
                    <a:pt x="5" y="290"/>
                  </a:lnTo>
                  <a:lnTo>
                    <a:pt x="3" y="276"/>
                  </a:lnTo>
                  <a:lnTo>
                    <a:pt x="1" y="263"/>
                  </a:lnTo>
                  <a:lnTo>
                    <a:pt x="1" y="249"/>
                  </a:lnTo>
                  <a:lnTo>
                    <a:pt x="0" y="235"/>
                  </a:lnTo>
                  <a:lnTo>
                    <a:pt x="0" y="221"/>
                  </a:lnTo>
                  <a:lnTo>
                    <a:pt x="1" y="208"/>
                  </a:lnTo>
                  <a:lnTo>
                    <a:pt x="2" y="195"/>
                  </a:lnTo>
                  <a:lnTo>
                    <a:pt x="4" y="182"/>
                  </a:lnTo>
                  <a:lnTo>
                    <a:pt x="7" y="169"/>
                  </a:lnTo>
                  <a:lnTo>
                    <a:pt x="10" y="157"/>
                  </a:lnTo>
                  <a:lnTo>
                    <a:pt x="13" y="146"/>
                  </a:lnTo>
                  <a:lnTo>
                    <a:pt x="17" y="133"/>
                  </a:lnTo>
                  <a:lnTo>
                    <a:pt x="22" y="123"/>
                  </a:lnTo>
                  <a:lnTo>
                    <a:pt x="27" y="112"/>
                  </a:lnTo>
                  <a:lnTo>
                    <a:pt x="32" y="102"/>
                  </a:lnTo>
                  <a:lnTo>
                    <a:pt x="38" y="91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4"/>
                  </a:lnTo>
                  <a:lnTo>
                    <a:pt x="66" y="56"/>
                  </a:lnTo>
                  <a:lnTo>
                    <a:pt x="74" y="49"/>
                  </a:lnTo>
                  <a:lnTo>
                    <a:pt x="82" y="40"/>
                  </a:lnTo>
                  <a:lnTo>
                    <a:pt x="91" y="34"/>
                  </a:lnTo>
                  <a:lnTo>
                    <a:pt x="100" y="28"/>
                  </a:lnTo>
                  <a:lnTo>
                    <a:pt x="109" y="22"/>
                  </a:lnTo>
                  <a:lnTo>
                    <a:pt x="119" y="17"/>
                  </a:lnTo>
                  <a:lnTo>
                    <a:pt x="129" y="13"/>
                  </a:lnTo>
                  <a:lnTo>
                    <a:pt x="139" y="9"/>
                  </a:lnTo>
                  <a:lnTo>
                    <a:pt x="150" y="6"/>
                  </a:lnTo>
                  <a:lnTo>
                    <a:pt x="160" y="4"/>
                  </a:lnTo>
                  <a:lnTo>
                    <a:pt x="171" y="1"/>
                  </a:lnTo>
                  <a:lnTo>
                    <a:pt x="183" y="0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30" y="2"/>
                  </a:lnTo>
                  <a:lnTo>
                    <a:pt x="242" y="4"/>
                  </a:lnTo>
                  <a:lnTo>
                    <a:pt x="253" y="7"/>
                  </a:lnTo>
                  <a:lnTo>
                    <a:pt x="265" y="10"/>
                  </a:lnTo>
                  <a:lnTo>
                    <a:pt x="276" y="14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29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1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5"/>
                  </a:lnTo>
                  <a:lnTo>
                    <a:pt x="377" y="85"/>
                  </a:lnTo>
                  <a:lnTo>
                    <a:pt x="386" y="95"/>
                  </a:lnTo>
                  <a:lnTo>
                    <a:pt x="402" y="115"/>
                  </a:lnTo>
                  <a:lnTo>
                    <a:pt x="416" y="137"/>
                  </a:lnTo>
                  <a:lnTo>
                    <a:pt x="423" y="149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8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1"/>
                  </a:lnTo>
                  <a:lnTo>
                    <a:pt x="461" y="264"/>
                  </a:lnTo>
                  <a:lnTo>
                    <a:pt x="463" y="278"/>
                  </a:lnTo>
                  <a:lnTo>
                    <a:pt x="464" y="291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6" name="Freeform 116"/>
            <p:cNvSpPr>
              <a:spLocks/>
            </p:cNvSpPr>
            <p:nvPr/>
          </p:nvSpPr>
          <p:spPr bwMode="auto">
            <a:xfrm>
              <a:off x="715760" y="3232689"/>
              <a:ext cx="312398" cy="200902"/>
            </a:xfrm>
            <a:custGeom>
              <a:avLst/>
              <a:gdLst>
                <a:gd name="T0" fmla="*/ 0 w 10451"/>
                <a:gd name="T1" fmla="*/ 0 h 6136"/>
                <a:gd name="T2" fmla="*/ 0 w 10451"/>
                <a:gd name="T3" fmla="*/ 0 h 6136"/>
                <a:gd name="T4" fmla="*/ 0 w 10451"/>
                <a:gd name="T5" fmla="*/ 0 h 6136"/>
                <a:gd name="T6" fmla="*/ 0 w 10451"/>
                <a:gd name="T7" fmla="*/ 0 h 6136"/>
                <a:gd name="T8" fmla="*/ 0 w 10451"/>
                <a:gd name="T9" fmla="*/ 0 h 6136"/>
                <a:gd name="T10" fmla="*/ 0 w 10451"/>
                <a:gd name="T11" fmla="*/ 0 h 6136"/>
                <a:gd name="T12" fmla="*/ 0 w 10451"/>
                <a:gd name="T13" fmla="*/ 0 h 6136"/>
                <a:gd name="T14" fmla="*/ 0 w 10451"/>
                <a:gd name="T15" fmla="*/ 0 h 6136"/>
                <a:gd name="T16" fmla="*/ 0 w 10451"/>
                <a:gd name="T17" fmla="*/ 0 h 6136"/>
                <a:gd name="T18" fmla="*/ 0 w 10451"/>
                <a:gd name="T19" fmla="*/ 0 h 6136"/>
                <a:gd name="T20" fmla="*/ 0 w 10451"/>
                <a:gd name="T21" fmla="*/ 0 h 6136"/>
                <a:gd name="T22" fmla="*/ 0 w 10451"/>
                <a:gd name="T23" fmla="*/ 0 h 6136"/>
                <a:gd name="T24" fmla="*/ 0 w 10451"/>
                <a:gd name="T25" fmla="*/ 0 h 6136"/>
                <a:gd name="T26" fmla="*/ 0 w 10451"/>
                <a:gd name="T27" fmla="*/ 0 h 6136"/>
                <a:gd name="T28" fmla="*/ 0 w 10451"/>
                <a:gd name="T29" fmla="*/ 0 h 6136"/>
                <a:gd name="T30" fmla="*/ 0 w 10451"/>
                <a:gd name="T31" fmla="*/ 0 h 6136"/>
                <a:gd name="T32" fmla="*/ 0 w 10451"/>
                <a:gd name="T33" fmla="*/ 0 h 6136"/>
                <a:gd name="T34" fmla="*/ 0 w 10451"/>
                <a:gd name="T35" fmla="*/ 0 h 6136"/>
                <a:gd name="T36" fmla="*/ 0 w 10451"/>
                <a:gd name="T37" fmla="*/ 0 h 6136"/>
                <a:gd name="T38" fmla="*/ 0 w 10451"/>
                <a:gd name="T39" fmla="*/ 0 h 6136"/>
                <a:gd name="T40" fmla="*/ 0 w 10451"/>
                <a:gd name="T41" fmla="*/ 0 h 6136"/>
                <a:gd name="T42" fmla="*/ 0 w 10451"/>
                <a:gd name="T43" fmla="*/ 0 h 6136"/>
                <a:gd name="T44" fmla="*/ 0 w 10451"/>
                <a:gd name="T45" fmla="*/ 0 h 6136"/>
                <a:gd name="T46" fmla="*/ 0 w 10451"/>
                <a:gd name="T47" fmla="*/ 0 h 6136"/>
                <a:gd name="T48" fmla="*/ 0 w 10451"/>
                <a:gd name="T49" fmla="*/ 0 h 6136"/>
                <a:gd name="T50" fmla="*/ 0 w 10451"/>
                <a:gd name="T51" fmla="*/ 0 h 6136"/>
                <a:gd name="T52" fmla="*/ 0 w 10451"/>
                <a:gd name="T53" fmla="*/ 0 h 6136"/>
                <a:gd name="T54" fmla="*/ 0 w 10451"/>
                <a:gd name="T55" fmla="*/ 0 h 6136"/>
                <a:gd name="T56" fmla="*/ 0 w 10451"/>
                <a:gd name="T57" fmla="*/ 0 h 6136"/>
                <a:gd name="T58" fmla="*/ 0 w 10451"/>
                <a:gd name="T59" fmla="*/ 0 h 6136"/>
                <a:gd name="T60" fmla="*/ 0 w 10451"/>
                <a:gd name="T61" fmla="*/ 0 h 6136"/>
                <a:gd name="T62" fmla="*/ 0 w 10451"/>
                <a:gd name="T63" fmla="*/ 0 h 6136"/>
                <a:gd name="T64" fmla="*/ 0 w 10451"/>
                <a:gd name="T65" fmla="*/ 0 h 6136"/>
                <a:gd name="T66" fmla="*/ 0 w 10451"/>
                <a:gd name="T67" fmla="*/ 0 h 6136"/>
                <a:gd name="T68" fmla="*/ 0 w 10451"/>
                <a:gd name="T69" fmla="*/ 0 h 6136"/>
                <a:gd name="T70" fmla="*/ 0 w 10451"/>
                <a:gd name="T71" fmla="*/ 0 h 6136"/>
                <a:gd name="T72" fmla="*/ 0 w 10451"/>
                <a:gd name="T73" fmla="*/ 0 h 6136"/>
                <a:gd name="T74" fmla="*/ 0 w 10451"/>
                <a:gd name="T75" fmla="*/ 0 h 6136"/>
                <a:gd name="T76" fmla="*/ 0 w 10451"/>
                <a:gd name="T77" fmla="*/ 0 h 6136"/>
                <a:gd name="T78" fmla="*/ 0 w 10451"/>
                <a:gd name="T79" fmla="*/ 0 h 6136"/>
                <a:gd name="T80" fmla="*/ 0 w 10451"/>
                <a:gd name="T81" fmla="*/ 0 h 6136"/>
                <a:gd name="T82" fmla="*/ 0 w 10451"/>
                <a:gd name="T83" fmla="*/ 0 h 6136"/>
                <a:gd name="T84" fmla="*/ 0 w 10451"/>
                <a:gd name="T85" fmla="*/ 0 h 6136"/>
                <a:gd name="T86" fmla="*/ 0 w 10451"/>
                <a:gd name="T87" fmla="*/ 0 h 6136"/>
                <a:gd name="T88" fmla="*/ 0 w 10451"/>
                <a:gd name="T89" fmla="*/ 0 h 6136"/>
                <a:gd name="T90" fmla="*/ 0 w 10451"/>
                <a:gd name="T91" fmla="*/ 0 h 6136"/>
                <a:gd name="T92" fmla="*/ 0 w 10451"/>
                <a:gd name="T93" fmla="*/ 0 h 6136"/>
                <a:gd name="T94" fmla="*/ 0 w 10451"/>
                <a:gd name="T95" fmla="*/ 0 h 6136"/>
                <a:gd name="T96" fmla="*/ 0 w 10451"/>
                <a:gd name="T97" fmla="*/ 0 h 6136"/>
                <a:gd name="T98" fmla="*/ 0 w 10451"/>
                <a:gd name="T99" fmla="*/ 0 h 6136"/>
                <a:gd name="T100" fmla="*/ 0 w 10451"/>
                <a:gd name="T101" fmla="*/ 0 h 6136"/>
                <a:gd name="T102" fmla="*/ 0 w 10451"/>
                <a:gd name="T103" fmla="*/ 0 h 6136"/>
                <a:gd name="T104" fmla="*/ 0 w 10451"/>
                <a:gd name="T105" fmla="*/ 0 h 6136"/>
                <a:gd name="T106" fmla="*/ 0 w 10451"/>
                <a:gd name="T107" fmla="*/ 0 h 6136"/>
                <a:gd name="T108" fmla="*/ 0 w 10451"/>
                <a:gd name="T109" fmla="*/ 0 h 6136"/>
                <a:gd name="T110" fmla="*/ 0 w 10451"/>
                <a:gd name="T111" fmla="*/ 0 h 6136"/>
                <a:gd name="T112" fmla="*/ 0 w 10451"/>
                <a:gd name="T113" fmla="*/ 0 h 6136"/>
                <a:gd name="T114" fmla="*/ 0 w 10451"/>
                <a:gd name="T115" fmla="*/ 0 h 6136"/>
                <a:gd name="T116" fmla="*/ 0 w 10451"/>
                <a:gd name="T117" fmla="*/ 0 h 6136"/>
                <a:gd name="T118" fmla="*/ 0 w 10451"/>
                <a:gd name="T119" fmla="*/ 0 h 6136"/>
                <a:gd name="T120" fmla="*/ 0 w 10451"/>
                <a:gd name="T121" fmla="*/ 0 h 6136"/>
                <a:gd name="T122" fmla="*/ 0 w 10451"/>
                <a:gd name="T123" fmla="*/ 0 h 6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51"/>
                <a:gd name="T187" fmla="*/ 0 h 6136"/>
                <a:gd name="T188" fmla="*/ 10451 w 10451"/>
                <a:gd name="T189" fmla="*/ 6136 h 6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51" h="6136">
                  <a:moveTo>
                    <a:pt x="0" y="2565"/>
                  </a:moveTo>
                  <a:lnTo>
                    <a:pt x="4484" y="0"/>
                  </a:lnTo>
                  <a:lnTo>
                    <a:pt x="10451" y="3430"/>
                  </a:lnTo>
                  <a:lnTo>
                    <a:pt x="6099" y="6136"/>
                  </a:lnTo>
                  <a:lnTo>
                    <a:pt x="2735" y="4102"/>
                  </a:lnTo>
                  <a:lnTo>
                    <a:pt x="2742" y="4098"/>
                  </a:lnTo>
                  <a:lnTo>
                    <a:pt x="2763" y="4087"/>
                  </a:lnTo>
                  <a:lnTo>
                    <a:pt x="2793" y="4070"/>
                  </a:lnTo>
                  <a:lnTo>
                    <a:pt x="2830" y="4045"/>
                  </a:lnTo>
                  <a:lnTo>
                    <a:pt x="2851" y="4031"/>
                  </a:lnTo>
                  <a:lnTo>
                    <a:pt x="2872" y="4016"/>
                  </a:lnTo>
                  <a:lnTo>
                    <a:pt x="2894" y="3998"/>
                  </a:lnTo>
                  <a:lnTo>
                    <a:pt x="2917" y="3980"/>
                  </a:lnTo>
                  <a:lnTo>
                    <a:pt x="2939" y="3962"/>
                  </a:lnTo>
                  <a:lnTo>
                    <a:pt x="2960" y="3941"/>
                  </a:lnTo>
                  <a:lnTo>
                    <a:pt x="2981" y="3920"/>
                  </a:lnTo>
                  <a:lnTo>
                    <a:pt x="3001" y="3897"/>
                  </a:lnTo>
                  <a:lnTo>
                    <a:pt x="3019" y="3874"/>
                  </a:lnTo>
                  <a:lnTo>
                    <a:pt x="3035" y="3851"/>
                  </a:lnTo>
                  <a:lnTo>
                    <a:pt x="3049" y="3825"/>
                  </a:lnTo>
                  <a:lnTo>
                    <a:pt x="3061" y="3801"/>
                  </a:lnTo>
                  <a:lnTo>
                    <a:pt x="3069" y="3774"/>
                  </a:lnTo>
                  <a:lnTo>
                    <a:pt x="3075" y="3747"/>
                  </a:lnTo>
                  <a:lnTo>
                    <a:pt x="3077" y="3721"/>
                  </a:lnTo>
                  <a:lnTo>
                    <a:pt x="3075" y="3693"/>
                  </a:lnTo>
                  <a:lnTo>
                    <a:pt x="3069" y="3666"/>
                  </a:lnTo>
                  <a:lnTo>
                    <a:pt x="3059" y="3638"/>
                  </a:lnTo>
                  <a:lnTo>
                    <a:pt x="3043" y="3610"/>
                  </a:lnTo>
                  <a:lnTo>
                    <a:pt x="3023" y="3581"/>
                  </a:lnTo>
                  <a:lnTo>
                    <a:pt x="2997" y="3554"/>
                  </a:lnTo>
                  <a:lnTo>
                    <a:pt x="2965" y="3525"/>
                  </a:lnTo>
                  <a:lnTo>
                    <a:pt x="2927" y="3497"/>
                  </a:lnTo>
                  <a:lnTo>
                    <a:pt x="2882" y="3469"/>
                  </a:lnTo>
                  <a:lnTo>
                    <a:pt x="2877" y="3465"/>
                  </a:lnTo>
                  <a:lnTo>
                    <a:pt x="2861" y="3456"/>
                  </a:lnTo>
                  <a:lnTo>
                    <a:pt x="2836" y="3440"/>
                  </a:lnTo>
                  <a:lnTo>
                    <a:pt x="2801" y="3424"/>
                  </a:lnTo>
                  <a:lnTo>
                    <a:pt x="2780" y="3415"/>
                  </a:lnTo>
                  <a:lnTo>
                    <a:pt x="2757" y="3406"/>
                  </a:lnTo>
                  <a:lnTo>
                    <a:pt x="2732" y="3397"/>
                  </a:lnTo>
                  <a:lnTo>
                    <a:pt x="2705" y="3388"/>
                  </a:lnTo>
                  <a:lnTo>
                    <a:pt x="2676" y="3381"/>
                  </a:lnTo>
                  <a:lnTo>
                    <a:pt x="2645" y="3374"/>
                  </a:lnTo>
                  <a:lnTo>
                    <a:pt x="2612" y="3368"/>
                  </a:lnTo>
                  <a:lnTo>
                    <a:pt x="2577" y="3363"/>
                  </a:lnTo>
                  <a:lnTo>
                    <a:pt x="2540" y="3361"/>
                  </a:lnTo>
                  <a:lnTo>
                    <a:pt x="2502" y="3359"/>
                  </a:lnTo>
                  <a:lnTo>
                    <a:pt x="2462" y="3360"/>
                  </a:lnTo>
                  <a:lnTo>
                    <a:pt x="2420" y="3362"/>
                  </a:lnTo>
                  <a:lnTo>
                    <a:pt x="2377" y="3367"/>
                  </a:lnTo>
                  <a:lnTo>
                    <a:pt x="2332" y="3375"/>
                  </a:lnTo>
                  <a:lnTo>
                    <a:pt x="2286" y="3385"/>
                  </a:lnTo>
                  <a:lnTo>
                    <a:pt x="2239" y="3400"/>
                  </a:lnTo>
                  <a:lnTo>
                    <a:pt x="2190" y="3416"/>
                  </a:lnTo>
                  <a:lnTo>
                    <a:pt x="2140" y="3436"/>
                  </a:lnTo>
                  <a:lnTo>
                    <a:pt x="2089" y="3460"/>
                  </a:lnTo>
                  <a:lnTo>
                    <a:pt x="2037" y="3488"/>
                  </a:lnTo>
                  <a:lnTo>
                    <a:pt x="1983" y="3520"/>
                  </a:lnTo>
                  <a:lnTo>
                    <a:pt x="1929" y="3556"/>
                  </a:lnTo>
                  <a:lnTo>
                    <a:pt x="1873" y="3598"/>
                  </a:lnTo>
                  <a:lnTo>
                    <a:pt x="1817" y="3642"/>
                  </a:lnTo>
                  <a:lnTo>
                    <a:pt x="0" y="2565"/>
                  </a:lnTo>
                  <a:close/>
                </a:path>
              </a:pathLst>
            </a:custGeom>
            <a:solidFill>
              <a:srgbClr val="EBEB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7" name="Freeform 117"/>
            <p:cNvSpPr>
              <a:spLocks/>
            </p:cNvSpPr>
            <p:nvPr/>
          </p:nvSpPr>
          <p:spPr bwMode="auto">
            <a:xfrm>
              <a:off x="797970" y="3341510"/>
              <a:ext cx="230188" cy="92081"/>
            </a:xfrm>
            <a:custGeom>
              <a:avLst/>
              <a:gdLst>
                <a:gd name="T0" fmla="*/ 0 w 7716"/>
                <a:gd name="T1" fmla="*/ 0 h 2814"/>
                <a:gd name="T2" fmla="*/ 0 w 7716"/>
                <a:gd name="T3" fmla="*/ 0 h 2814"/>
                <a:gd name="T4" fmla="*/ 0 w 7716"/>
                <a:gd name="T5" fmla="*/ 0 h 2814"/>
                <a:gd name="T6" fmla="*/ 0 w 7716"/>
                <a:gd name="T7" fmla="*/ 0 h 2814"/>
                <a:gd name="T8" fmla="*/ 0 w 7716"/>
                <a:gd name="T9" fmla="*/ 0 h 2814"/>
                <a:gd name="T10" fmla="*/ 0 w 7716"/>
                <a:gd name="T11" fmla="*/ 0 h 2814"/>
                <a:gd name="T12" fmla="*/ 0 w 7716"/>
                <a:gd name="T13" fmla="*/ 0 h 28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16"/>
                <a:gd name="T22" fmla="*/ 0 h 2814"/>
                <a:gd name="T23" fmla="*/ 7716 w 7716"/>
                <a:gd name="T24" fmla="*/ 2814 h 28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16" h="2814">
                  <a:moveTo>
                    <a:pt x="0" y="780"/>
                  </a:moveTo>
                  <a:lnTo>
                    <a:pt x="3364" y="2814"/>
                  </a:lnTo>
                  <a:lnTo>
                    <a:pt x="7716" y="108"/>
                  </a:lnTo>
                  <a:lnTo>
                    <a:pt x="7527" y="0"/>
                  </a:lnTo>
                  <a:lnTo>
                    <a:pt x="3362" y="2429"/>
                  </a:lnTo>
                  <a:lnTo>
                    <a:pt x="183" y="692"/>
                  </a:lnTo>
                  <a:lnTo>
                    <a:pt x="0" y="7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28" name="Freeform 118"/>
            <p:cNvSpPr>
              <a:spLocks/>
            </p:cNvSpPr>
            <p:nvPr/>
          </p:nvSpPr>
          <p:spPr bwMode="auto">
            <a:xfrm>
              <a:off x="898116" y="3346533"/>
              <a:ext cx="128546" cy="219319"/>
            </a:xfrm>
            <a:custGeom>
              <a:avLst/>
              <a:gdLst>
                <a:gd name="T0" fmla="*/ 0 w 4309"/>
                <a:gd name="T1" fmla="*/ 0 h 6670"/>
                <a:gd name="T2" fmla="*/ 0 w 4309"/>
                <a:gd name="T3" fmla="*/ 0 h 6670"/>
                <a:gd name="T4" fmla="*/ 0 w 4309"/>
                <a:gd name="T5" fmla="*/ 0 h 6670"/>
                <a:gd name="T6" fmla="*/ 0 w 4309"/>
                <a:gd name="T7" fmla="*/ 0 h 6670"/>
                <a:gd name="T8" fmla="*/ 0 w 4309"/>
                <a:gd name="T9" fmla="*/ 0 h 6670"/>
                <a:gd name="T10" fmla="*/ 0 w 4309"/>
                <a:gd name="T11" fmla="*/ 0 h 6670"/>
                <a:gd name="T12" fmla="*/ 0 w 4309"/>
                <a:gd name="T13" fmla="*/ 0 h 6670"/>
                <a:gd name="T14" fmla="*/ 0 w 4309"/>
                <a:gd name="T15" fmla="*/ 0 h 6670"/>
                <a:gd name="T16" fmla="*/ 0 w 4309"/>
                <a:gd name="T17" fmla="*/ 0 h 6670"/>
                <a:gd name="T18" fmla="*/ 0 w 4309"/>
                <a:gd name="T19" fmla="*/ 0 h 6670"/>
                <a:gd name="T20" fmla="*/ 0 w 4309"/>
                <a:gd name="T21" fmla="*/ 0 h 6670"/>
                <a:gd name="T22" fmla="*/ 0 w 4309"/>
                <a:gd name="T23" fmla="*/ 0 h 6670"/>
                <a:gd name="T24" fmla="*/ 0 w 4309"/>
                <a:gd name="T25" fmla="*/ 0 h 6670"/>
                <a:gd name="T26" fmla="*/ 0 w 4309"/>
                <a:gd name="T27" fmla="*/ 0 h 6670"/>
                <a:gd name="T28" fmla="*/ 0 w 4309"/>
                <a:gd name="T29" fmla="*/ 0 h 6670"/>
                <a:gd name="T30" fmla="*/ 0 w 4309"/>
                <a:gd name="T31" fmla="*/ 0 h 6670"/>
                <a:gd name="T32" fmla="*/ 0 w 4309"/>
                <a:gd name="T33" fmla="*/ 0 h 6670"/>
                <a:gd name="T34" fmla="*/ 0 w 4309"/>
                <a:gd name="T35" fmla="*/ 0 h 6670"/>
                <a:gd name="T36" fmla="*/ 0 w 4309"/>
                <a:gd name="T37" fmla="*/ 0 h 6670"/>
                <a:gd name="T38" fmla="*/ 0 w 4309"/>
                <a:gd name="T39" fmla="*/ 0 h 6670"/>
                <a:gd name="T40" fmla="*/ 0 w 4309"/>
                <a:gd name="T41" fmla="*/ 0 h 6670"/>
                <a:gd name="T42" fmla="*/ 0 w 4309"/>
                <a:gd name="T43" fmla="*/ 0 h 6670"/>
                <a:gd name="T44" fmla="*/ 0 w 4309"/>
                <a:gd name="T45" fmla="*/ 0 h 6670"/>
                <a:gd name="T46" fmla="*/ 0 w 4309"/>
                <a:gd name="T47" fmla="*/ 0 h 6670"/>
                <a:gd name="T48" fmla="*/ 0 w 4309"/>
                <a:gd name="T49" fmla="*/ 0 h 6670"/>
                <a:gd name="T50" fmla="*/ 0 w 4309"/>
                <a:gd name="T51" fmla="*/ 0 h 6670"/>
                <a:gd name="T52" fmla="*/ 0 w 4309"/>
                <a:gd name="T53" fmla="*/ 0 h 6670"/>
                <a:gd name="T54" fmla="*/ 0 w 4309"/>
                <a:gd name="T55" fmla="*/ 0 h 6670"/>
                <a:gd name="T56" fmla="*/ 0 w 4309"/>
                <a:gd name="T57" fmla="*/ 0 h 6670"/>
                <a:gd name="T58" fmla="*/ 0 w 4309"/>
                <a:gd name="T59" fmla="*/ 0 h 6670"/>
                <a:gd name="T60" fmla="*/ 0 w 4309"/>
                <a:gd name="T61" fmla="*/ 0 h 6670"/>
                <a:gd name="T62" fmla="*/ 0 w 4309"/>
                <a:gd name="T63" fmla="*/ 0 h 6670"/>
                <a:gd name="T64" fmla="*/ 0 w 4309"/>
                <a:gd name="T65" fmla="*/ 0 h 6670"/>
                <a:gd name="T66" fmla="*/ 0 w 4309"/>
                <a:gd name="T67" fmla="*/ 0 h 6670"/>
                <a:gd name="T68" fmla="*/ 0 w 4309"/>
                <a:gd name="T69" fmla="*/ 0 h 6670"/>
                <a:gd name="T70" fmla="*/ 0 w 4309"/>
                <a:gd name="T71" fmla="*/ 0 h 6670"/>
                <a:gd name="T72" fmla="*/ 0 w 4309"/>
                <a:gd name="T73" fmla="*/ 0 h 6670"/>
                <a:gd name="T74" fmla="*/ 0 w 4309"/>
                <a:gd name="T75" fmla="*/ 0 h 6670"/>
                <a:gd name="T76" fmla="*/ 0 w 4309"/>
                <a:gd name="T77" fmla="*/ 0 h 6670"/>
                <a:gd name="T78" fmla="*/ 0 w 4309"/>
                <a:gd name="T79" fmla="*/ 0 h 6670"/>
                <a:gd name="T80" fmla="*/ 0 w 4309"/>
                <a:gd name="T81" fmla="*/ 0 h 6670"/>
                <a:gd name="T82" fmla="*/ 0 w 4309"/>
                <a:gd name="T83" fmla="*/ 0 h 6670"/>
                <a:gd name="T84" fmla="*/ 0 w 4309"/>
                <a:gd name="T85" fmla="*/ 0 h 6670"/>
                <a:gd name="T86" fmla="*/ 0 w 4309"/>
                <a:gd name="T87" fmla="*/ 0 h 6670"/>
                <a:gd name="T88" fmla="*/ 0 w 4309"/>
                <a:gd name="T89" fmla="*/ 0 h 6670"/>
                <a:gd name="T90" fmla="*/ 0 w 4309"/>
                <a:gd name="T91" fmla="*/ 0 h 6670"/>
                <a:gd name="T92" fmla="*/ 0 w 4309"/>
                <a:gd name="T93" fmla="*/ 0 h 6670"/>
                <a:gd name="T94" fmla="*/ 0 w 4309"/>
                <a:gd name="T95" fmla="*/ 0 h 6670"/>
                <a:gd name="T96" fmla="*/ 0 w 4309"/>
                <a:gd name="T97" fmla="*/ 0 h 6670"/>
                <a:gd name="T98" fmla="*/ 0 w 4309"/>
                <a:gd name="T99" fmla="*/ 0 h 6670"/>
                <a:gd name="T100" fmla="*/ 0 w 4309"/>
                <a:gd name="T101" fmla="*/ 0 h 6670"/>
                <a:gd name="T102" fmla="*/ 0 w 4309"/>
                <a:gd name="T103" fmla="*/ 0 h 6670"/>
                <a:gd name="T104" fmla="*/ 0 w 4309"/>
                <a:gd name="T105" fmla="*/ 0 h 6670"/>
                <a:gd name="T106" fmla="*/ 0 w 4309"/>
                <a:gd name="T107" fmla="*/ 0 h 6670"/>
                <a:gd name="T108" fmla="*/ 0 w 4309"/>
                <a:gd name="T109" fmla="*/ 0 h 6670"/>
                <a:gd name="T110" fmla="*/ 0 w 4309"/>
                <a:gd name="T111" fmla="*/ 0 h 6670"/>
                <a:gd name="T112" fmla="*/ 0 w 4309"/>
                <a:gd name="T113" fmla="*/ 0 h 6670"/>
                <a:gd name="T114" fmla="*/ 0 w 4309"/>
                <a:gd name="T115" fmla="*/ 0 h 6670"/>
                <a:gd name="T116" fmla="*/ 0 w 4309"/>
                <a:gd name="T117" fmla="*/ 0 h 6670"/>
                <a:gd name="T118" fmla="*/ 0 w 4309"/>
                <a:gd name="T119" fmla="*/ 0 h 6670"/>
                <a:gd name="T120" fmla="*/ 0 w 4309"/>
                <a:gd name="T121" fmla="*/ 0 h 66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9"/>
                <a:gd name="T184" fmla="*/ 0 h 6670"/>
                <a:gd name="T185" fmla="*/ 4309 w 4309"/>
                <a:gd name="T186" fmla="*/ 6670 h 667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9" h="6670">
                  <a:moveTo>
                    <a:pt x="4309" y="0"/>
                  </a:moveTo>
                  <a:lnTo>
                    <a:pt x="0" y="2672"/>
                  </a:lnTo>
                  <a:lnTo>
                    <a:pt x="24" y="6670"/>
                  </a:lnTo>
                  <a:lnTo>
                    <a:pt x="25" y="6644"/>
                  </a:lnTo>
                  <a:lnTo>
                    <a:pt x="30" y="6573"/>
                  </a:lnTo>
                  <a:lnTo>
                    <a:pt x="39" y="6460"/>
                  </a:lnTo>
                  <a:lnTo>
                    <a:pt x="53" y="6310"/>
                  </a:lnTo>
                  <a:lnTo>
                    <a:pt x="62" y="6222"/>
                  </a:lnTo>
                  <a:lnTo>
                    <a:pt x="72" y="6127"/>
                  </a:lnTo>
                  <a:lnTo>
                    <a:pt x="84" y="6026"/>
                  </a:lnTo>
                  <a:lnTo>
                    <a:pt x="98" y="5919"/>
                  </a:lnTo>
                  <a:lnTo>
                    <a:pt x="114" y="5806"/>
                  </a:lnTo>
                  <a:lnTo>
                    <a:pt x="131" y="5687"/>
                  </a:lnTo>
                  <a:lnTo>
                    <a:pt x="151" y="5565"/>
                  </a:lnTo>
                  <a:lnTo>
                    <a:pt x="172" y="5439"/>
                  </a:lnTo>
                  <a:lnTo>
                    <a:pt x="196" y="5310"/>
                  </a:lnTo>
                  <a:lnTo>
                    <a:pt x="222" y="5178"/>
                  </a:lnTo>
                  <a:lnTo>
                    <a:pt x="250" y="5045"/>
                  </a:lnTo>
                  <a:lnTo>
                    <a:pt x="281" y="4910"/>
                  </a:lnTo>
                  <a:lnTo>
                    <a:pt x="314" y="4775"/>
                  </a:lnTo>
                  <a:lnTo>
                    <a:pt x="350" y="4640"/>
                  </a:lnTo>
                  <a:lnTo>
                    <a:pt x="389" y="4504"/>
                  </a:lnTo>
                  <a:lnTo>
                    <a:pt x="431" y="4371"/>
                  </a:lnTo>
                  <a:lnTo>
                    <a:pt x="475" y="4239"/>
                  </a:lnTo>
                  <a:lnTo>
                    <a:pt x="523" y="4110"/>
                  </a:lnTo>
                  <a:lnTo>
                    <a:pt x="573" y="3984"/>
                  </a:lnTo>
                  <a:lnTo>
                    <a:pt x="627" y="3861"/>
                  </a:lnTo>
                  <a:lnTo>
                    <a:pt x="684" y="3742"/>
                  </a:lnTo>
                  <a:lnTo>
                    <a:pt x="745" y="3629"/>
                  </a:lnTo>
                  <a:lnTo>
                    <a:pt x="809" y="3521"/>
                  </a:lnTo>
                  <a:lnTo>
                    <a:pt x="876" y="3419"/>
                  </a:lnTo>
                  <a:lnTo>
                    <a:pt x="889" y="3398"/>
                  </a:lnTo>
                  <a:lnTo>
                    <a:pt x="925" y="3335"/>
                  </a:lnTo>
                  <a:lnTo>
                    <a:pt x="953" y="3289"/>
                  </a:lnTo>
                  <a:lnTo>
                    <a:pt x="987" y="3235"/>
                  </a:lnTo>
                  <a:lnTo>
                    <a:pt x="1028" y="3172"/>
                  </a:lnTo>
                  <a:lnTo>
                    <a:pt x="1075" y="3101"/>
                  </a:lnTo>
                  <a:lnTo>
                    <a:pt x="1128" y="3021"/>
                  </a:lnTo>
                  <a:lnTo>
                    <a:pt x="1189" y="2934"/>
                  </a:lnTo>
                  <a:lnTo>
                    <a:pt x="1255" y="2842"/>
                  </a:lnTo>
                  <a:lnTo>
                    <a:pt x="1329" y="2742"/>
                  </a:lnTo>
                  <a:lnTo>
                    <a:pt x="1409" y="2636"/>
                  </a:lnTo>
                  <a:lnTo>
                    <a:pt x="1497" y="2523"/>
                  </a:lnTo>
                  <a:lnTo>
                    <a:pt x="1591" y="2406"/>
                  </a:lnTo>
                  <a:lnTo>
                    <a:pt x="1692" y="2285"/>
                  </a:lnTo>
                  <a:lnTo>
                    <a:pt x="1800" y="2158"/>
                  </a:lnTo>
                  <a:lnTo>
                    <a:pt x="1915" y="2028"/>
                  </a:lnTo>
                  <a:lnTo>
                    <a:pt x="2037" y="1893"/>
                  </a:lnTo>
                  <a:lnTo>
                    <a:pt x="2167" y="1755"/>
                  </a:lnTo>
                  <a:lnTo>
                    <a:pt x="2304" y="1616"/>
                  </a:lnTo>
                  <a:lnTo>
                    <a:pt x="2448" y="1473"/>
                  </a:lnTo>
                  <a:lnTo>
                    <a:pt x="2600" y="1327"/>
                  </a:lnTo>
                  <a:lnTo>
                    <a:pt x="2759" y="1181"/>
                  </a:lnTo>
                  <a:lnTo>
                    <a:pt x="2926" y="1033"/>
                  </a:lnTo>
                  <a:lnTo>
                    <a:pt x="3101" y="884"/>
                  </a:lnTo>
                  <a:lnTo>
                    <a:pt x="3282" y="735"/>
                  </a:lnTo>
                  <a:lnTo>
                    <a:pt x="3472" y="586"/>
                  </a:lnTo>
                  <a:lnTo>
                    <a:pt x="3669" y="439"/>
                  </a:lnTo>
                  <a:lnTo>
                    <a:pt x="3875" y="291"/>
                  </a:lnTo>
                  <a:lnTo>
                    <a:pt x="4088" y="145"/>
                  </a:lnTo>
                  <a:lnTo>
                    <a:pt x="4309" y="0"/>
                  </a:lnTo>
                  <a:close/>
                </a:path>
              </a:pathLst>
            </a:custGeom>
            <a:solidFill>
              <a:srgbClr val="ABAAA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195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49" y="3572340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6" name="Text Box 57"/>
            <p:cNvSpPr txBox="1">
              <a:spLocks noChangeArrowheads="1"/>
            </p:cNvSpPr>
            <p:nvPr/>
          </p:nvSpPr>
          <p:spPr bwMode="gray">
            <a:xfrm>
              <a:off x="471782" y="3600561"/>
              <a:ext cx="179536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고객</a:t>
              </a:r>
              <a:endParaRPr lang="ko-KR" altLang="en-US" sz="8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193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265" y="3572340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4" name="Text Box 57"/>
            <p:cNvSpPr txBox="1">
              <a:spLocks noChangeArrowheads="1"/>
            </p:cNvSpPr>
            <p:nvPr/>
          </p:nvSpPr>
          <p:spPr bwMode="gray">
            <a:xfrm>
              <a:off x="1007729" y="3600561"/>
              <a:ext cx="359073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거래정보</a:t>
              </a:r>
              <a:endParaRPr lang="ko-KR" altLang="en-US" sz="8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30" name="AutoShape 12"/>
            <p:cNvSpPr>
              <a:spLocks noChangeArrowheads="1"/>
            </p:cNvSpPr>
            <p:nvPr/>
          </p:nvSpPr>
          <p:spPr bwMode="gray">
            <a:xfrm>
              <a:off x="233417" y="2089452"/>
              <a:ext cx="1277083" cy="1003590"/>
            </a:xfrm>
            <a:prstGeom prst="roundRect">
              <a:avLst>
                <a:gd name="adj" fmla="val 2190"/>
              </a:avLst>
            </a:prstGeom>
            <a:solidFill>
              <a:srgbClr val="FFFFFF"/>
            </a:solidFill>
            <a:ln w="9525" algn="ctr">
              <a:solidFill>
                <a:srgbClr val="47B2E7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31" name="Text Box 82"/>
            <p:cNvSpPr txBox="1">
              <a:spLocks noChangeArrowheads="1"/>
            </p:cNvSpPr>
            <p:nvPr/>
          </p:nvSpPr>
          <p:spPr bwMode="auto">
            <a:xfrm>
              <a:off x="286465" y="2181380"/>
              <a:ext cx="302968" cy="1374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5363" latinLnBrk="0"/>
              <a:r>
                <a:rPr lang="ko-KR" altLang="en-US" sz="90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계정계</a:t>
              </a:r>
              <a:endParaRPr lang="en-US" altLang="ko-KR" sz="9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46" name="AutoShape 87"/>
            <p:cNvSpPr>
              <a:spLocks noChangeAspect="1" noChangeArrowheads="1"/>
            </p:cNvSpPr>
            <p:nvPr/>
          </p:nvSpPr>
          <p:spPr bwMode="auto">
            <a:xfrm>
              <a:off x="708286" y="2175903"/>
              <a:ext cx="327345" cy="5357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47" name="Freeform 88"/>
            <p:cNvSpPr>
              <a:spLocks/>
            </p:cNvSpPr>
            <p:nvPr/>
          </p:nvSpPr>
          <p:spPr bwMode="auto">
            <a:xfrm>
              <a:off x="708286" y="2175903"/>
              <a:ext cx="327345" cy="535739"/>
            </a:xfrm>
            <a:custGeom>
              <a:avLst/>
              <a:gdLst>
                <a:gd name="T0" fmla="*/ 0 w 10950"/>
                <a:gd name="T1" fmla="*/ 0 h 16320"/>
                <a:gd name="T2" fmla="*/ 0 w 10950"/>
                <a:gd name="T3" fmla="*/ 0 h 16320"/>
                <a:gd name="T4" fmla="*/ 0 w 10950"/>
                <a:gd name="T5" fmla="*/ 0 h 16320"/>
                <a:gd name="T6" fmla="*/ 0 w 10950"/>
                <a:gd name="T7" fmla="*/ 0 h 16320"/>
                <a:gd name="T8" fmla="*/ 0 w 10950"/>
                <a:gd name="T9" fmla="*/ 0 h 16320"/>
                <a:gd name="T10" fmla="*/ 0 w 10950"/>
                <a:gd name="T11" fmla="*/ 0 h 16320"/>
                <a:gd name="T12" fmla="*/ 0 w 10950"/>
                <a:gd name="T13" fmla="*/ 0 h 16320"/>
                <a:gd name="T14" fmla="*/ 0 w 10950"/>
                <a:gd name="T15" fmla="*/ 0 h 16320"/>
                <a:gd name="T16" fmla="*/ 0 w 10950"/>
                <a:gd name="T17" fmla="*/ 0 h 16320"/>
                <a:gd name="T18" fmla="*/ 0 w 10950"/>
                <a:gd name="T19" fmla="*/ 0 h 16320"/>
                <a:gd name="T20" fmla="*/ 0 w 10950"/>
                <a:gd name="T21" fmla="*/ 0 h 16320"/>
                <a:gd name="T22" fmla="*/ 0 w 10950"/>
                <a:gd name="T23" fmla="*/ 0 h 16320"/>
                <a:gd name="T24" fmla="*/ 0 w 10950"/>
                <a:gd name="T25" fmla="*/ 0 h 16320"/>
                <a:gd name="T26" fmla="*/ 0 w 10950"/>
                <a:gd name="T27" fmla="*/ 0 h 16320"/>
                <a:gd name="T28" fmla="*/ 0 w 10950"/>
                <a:gd name="T29" fmla="*/ 0 h 16320"/>
                <a:gd name="T30" fmla="*/ 0 w 10950"/>
                <a:gd name="T31" fmla="*/ 0 h 16320"/>
                <a:gd name="T32" fmla="*/ 0 w 10950"/>
                <a:gd name="T33" fmla="*/ 0 h 16320"/>
                <a:gd name="T34" fmla="*/ 0 w 10950"/>
                <a:gd name="T35" fmla="*/ 0 h 16320"/>
                <a:gd name="T36" fmla="*/ 0 w 10950"/>
                <a:gd name="T37" fmla="*/ 0 h 16320"/>
                <a:gd name="T38" fmla="*/ 0 w 10950"/>
                <a:gd name="T39" fmla="*/ 0 h 16320"/>
                <a:gd name="T40" fmla="*/ 0 w 10950"/>
                <a:gd name="T41" fmla="*/ 0 h 16320"/>
                <a:gd name="T42" fmla="*/ 0 w 10950"/>
                <a:gd name="T43" fmla="*/ 0 h 16320"/>
                <a:gd name="T44" fmla="*/ 0 w 10950"/>
                <a:gd name="T45" fmla="*/ 0 h 16320"/>
                <a:gd name="T46" fmla="*/ 0 w 10950"/>
                <a:gd name="T47" fmla="*/ 0 h 16320"/>
                <a:gd name="T48" fmla="*/ 0 w 10950"/>
                <a:gd name="T49" fmla="*/ 0 h 16320"/>
                <a:gd name="T50" fmla="*/ 0 w 10950"/>
                <a:gd name="T51" fmla="*/ 0 h 16320"/>
                <a:gd name="T52" fmla="*/ 0 w 10950"/>
                <a:gd name="T53" fmla="*/ 0 h 16320"/>
                <a:gd name="T54" fmla="*/ 0 w 10950"/>
                <a:gd name="T55" fmla="*/ 0 h 16320"/>
                <a:gd name="T56" fmla="*/ 0 w 10950"/>
                <a:gd name="T57" fmla="*/ 0 h 16320"/>
                <a:gd name="T58" fmla="*/ 0 w 10950"/>
                <a:gd name="T59" fmla="*/ 0 h 16320"/>
                <a:gd name="T60" fmla="*/ 0 w 10950"/>
                <a:gd name="T61" fmla="*/ 0 h 16320"/>
                <a:gd name="T62" fmla="*/ 0 w 10950"/>
                <a:gd name="T63" fmla="*/ 0 h 16320"/>
                <a:gd name="T64" fmla="*/ 0 w 10950"/>
                <a:gd name="T65" fmla="*/ 0 h 16320"/>
                <a:gd name="T66" fmla="*/ 0 w 10950"/>
                <a:gd name="T67" fmla="*/ 0 h 16320"/>
                <a:gd name="T68" fmla="*/ 0 w 10950"/>
                <a:gd name="T69" fmla="*/ 0 h 16320"/>
                <a:gd name="T70" fmla="*/ 0 w 10950"/>
                <a:gd name="T71" fmla="*/ 0 h 16320"/>
                <a:gd name="T72" fmla="*/ 0 w 10950"/>
                <a:gd name="T73" fmla="*/ 0 h 16320"/>
                <a:gd name="T74" fmla="*/ 0 w 10950"/>
                <a:gd name="T75" fmla="*/ 0 h 16320"/>
                <a:gd name="T76" fmla="*/ 0 w 10950"/>
                <a:gd name="T77" fmla="*/ 0 h 16320"/>
                <a:gd name="T78" fmla="*/ 0 w 10950"/>
                <a:gd name="T79" fmla="*/ 0 h 16320"/>
                <a:gd name="T80" fmla="*/ 0 w 10950"/>
                <a:gd name="T81" fmla="*/ 0 h 16320"/>
                <a:gd name="T82" fmla="*/ 0 w 10950"/>
                <a:gd name="T83" fmla="*/ 0 h 16320"/>
                <a:gd name="T84" fmla="*/ 0 w 10950"/>
                <a:gd name="T85" fmla="*/ 0 h 16320"/>
                <a:gd name="T86" fmla="*/ 0 w 10950"/>
                <a:gd name="T87" fmla="*/ 0 h 16320"/>
                <a:gd name="T88" fmla="*/ 0 w 10950"/>
                <a:gd name="T89" fmla="*/ 0 h 16320"/>
                <a:gd name="T90" fmla="*/ 0 w 10950"/>
                <a:gd name="T91" fmla="*/ 0 h 16320"/>
                <a:gd name="T92" fmla="*/ 0 w 10950"/>
                <a:gd name="T93" fmla="*/ 0 h 16320"/>
                <a:gd name="T94" fmla="*/ 0 w 10950"/>
                <a:gd name="T95" fmla="*/ 0 h 16320"/>
                <a:gd name="T96" fmla="*/ 0 w 10950"/>
                <a:gd name="T97" fmla="*/ 0 h 16320"/>
                <a:gd name="T98" fmla="*/ 0 w 10950"/>
                <a:gd name="T99" fmla="*/ 0 h 16320"/>
                <a:gd name="T100" fmla="*/ 0 w 10950"/>
                <a:gd name="T101" fmla="*/ 0 h 16320"/>
                <a:gd name="T102" fmla="*/ 0 w 10950"/>
                <a:gd name="T103" fmla="*/ 0 h 16320"/>
                <a:gd name="T104" fmla="*/ 0 w 10950"/>
                <a:gd name="T105" fmla="*/ 0 h 16320"/>
                <a:gd name="T106" fmla="*/ 0 w 10950"/>
                <a:gd name="T107" fmla="*/ 0 h 16320"/>
                <a:gd name="T108" fmla="*/ 0 w 10950"/>
                <a:gd name="T109" fmla="*/ 0 h 163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50"/>
                <a:gd name="T166" fmla="*/ 0 h 16320"/>
                <a:gd name="T167" fmla="*/ 10950 w 10950"/>
                <a:gd name="T168" fmla="*/ 16320 h 1632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50" h="16320">
                  <a:moveTo>
                    <a:pt x="154" y="2649"/>
                  </a:moveTo>
                  <a:lnTo>
                    <a:pt x="4466" y="72"/>
                  </a:lnTo>
                  <a:lnTo>
                    <a:pt x="4477" y="65"/>
                  </a:lnTo>
                  <a:lnTo>
                    <a:pt x="4508" y="48"/>
                  </a:lnTo>
                  <a:lnTo>
                    <a:pt x="4531" y="38"/>
                  </a:lnTo>
                  <a:lnTo>
                    <a:pt x="4558" y="27"/>
                  </a:lnTo>
                  <a:lnTo>
                    <a:pt x="4573" y="21"/>
                  </a:lnTo>
                  <a:lnTo>
                    <a:pt x="4589" y="17"/>
                  </a:lnTo>
                  <a:lnTo>
                    <a:pt x="4606" y="12"/>
                  </a:lnTo>
                  <a:lnTo>
                    <a:pt x="4624" y="8"/>
                  </a:lnTo>
                  <a:lnTo>
                    <a:pt x="4643" y="5"/>
                  </a:lnTo>
                  <a:lnTo>
                    <a:pt x="4662" y="3"/>
                  </a:lnTo>
                  <a:lnTo>
                    <a:pt x="4682" y="1"/>
                  </a:lnTo>
                  <a:lnTo>
                    <a:pt x="4703" y="0"/>
                  </a:lnTo>
                  <a:lnTo>
                    <a:pt x="4725" y="0"/>
                  </a:lnTo>
                  <a:lnTo>
                    <a:pt x="4748" y="1"/>
                  </a:lnTo>
                  <a:lnTo>
                    <a:pt x="4771" y="4"/>
                  </a:lnTo>
                  <a:lnTo>
                    <a:pt x="4794" y="8"/>
                  </a:lnTo>
                  <a:lnTo>
                    <a:pt x="4819" y="13"/>
                  </a:lnTo>
                  <a:lnTo>
                    <a:pt x="4843" y="20"/>
                  </a:lnTo>
                  <a:lnTo>
                    <a:pt x="4869" y="29"/>
                  </a:lnTo>
                  <a:lnTo>
                    <a:pt x="4894" y="39"/>
                  </a:lnTo>
                  <a:lnTo>
                    <a:pt x="4921" y="51"/>
                  </a:lnTo>
                  <a:lnTo>
                    <a:pt x="4947" y="64"/>
                  </a:lnTo>
                  <a:lnTo>
                    <a:pt x="4974" y="81"/>
                  </a:lnTo>
                  <a:lnTo>
                    <a:pt x="5002" y="99"/>
                  </a:lnTo>
                  <a:lnTo>
                    <a:pt x="10615" y="3377"/>
                  </a:lnTo>
                  <a:lnTo>
                    <a:pt x="10629" y="3382"/>
                  </a:lnTo>
                  <a:lnTo>
                    <a:pt x="10665" y="3398"/>
                  </a:lnTo>
                  <a:lnTo>
                    <a:pt x="10689" y="3411"/>
                  </a:lnTo>
                  <a:lnTo>
                    <a:pt x="10717" y="3426"/>
                  </a:lnTo>
                  <a:lnTo>
                    <a:pt x="10731" y="3435"/>
                  </a:lnTo>
                  <a:lnTo>
                    <a:pt x="10746" y="3446"/>
                  </a:lnTo>
                  <a:lnTo>
                    <a:pt x="10761" y="3457"/>
                  </a:lnTo>
                  <a:lnTo>
                    <a:pt x="10776" y="3469"/>
                  </a:lnTo>
                  <a:lnTo>
                    <a:pt x="10791" y="3482"/>
                  </a:lnTo>
                  <a:lnTo>
                    <a:pt x="10807" y="3497"/>
                  </a:lnTo>
                  <a:lnTo>
                    <a:pt x="10821" y="3512"/>
                  </a:lnTo>
                  <a:lnTo>
                    <a:pt x="10836" y="3528"/>
                  </a:lnTo>
                  <a:lnTo>
                    <a:pt x="10850" y="3546"/>
                  </a:lnTo>
                  <a:lnTo>
                    <a:pt x="10864" y="3564"/>
                  </a:lnTo>
                  <a:lnTo>
                    <a:pt x="10877" y="3584"/>
                  </a:lnTo>
                  <a:lnTo>
                    <a:pt x="10890" y="3605"/>
                  </a:lnTo>
                  <a:lnTo>
                    <a:pt x="10901" y="3627"/>
                  </a:lnTo>
                  <a:lnTo>
                    <a:pt x="10911" y="3651"/>
                  </a:lnTo>
                  <a:lnTo>
                    <a:pt x="10921" y="3675"/>
                  </a:lnTo>
                  <a:lnTo>
                    <a:pt x="10929" y="3702"/>
                  </a:lnTo>
                  <a:lnTo>
                    <a:pt x="10936" y="3729"/>
                  </a:lnTo>
                  <a:lnTo>
                    <a:pt x="10941" y="3758"/>
                  </a:lnTo>
                  <a:lnTo>
                    <a:pt x="10945" y="3788"/>
                  </a:lnTo>
                  <a:lnTo>
                    <a:pt x="10947" y="3819"/>
                  </a:lnTo>
                  <a:lnTo>
                    <a:pt x="10947" y="13186"/>
                  </a:lnTo>
                  <a:lnTo>
                    <a:pt x="10948" y="13202"/>
                  </a:lnTo>
                  <a:lnTo>
                    <a:pt x="10950" y="13246"/>
                  </a:lnTo>
                  <a:lnTo>
                    <a:pt x="10949" y="13275"/>
                  </a:lnTo>
                  <a:lnTo>
                    <a:pt x="10947" y="13311"/>
                  </a:lnTo>
                  <a:lnTo>
                    <a:pt x="10945" y="13329"/>
                  </a:lnTo>
                  <a:lnTo>
                    <a:pt x="10942" y="13349"/>
                  </a:lnTo>
                  <a:lnTo>
                    <a:pt x="10938" y="13369"/>
                  </a:lnTo>
                  <a:lnTo>
                    <a:pt x="10934" y="13391"/>
                  </a:lnTo>
                  <a:lnTo>
                    <a:pt x="10929" y="13412"/>
                  </a:lnTo>
                  <a:lnTo>
                    <a:pt x="10923" y="13434"/>
                  </a:lnTo>
                  <a:lnTo>
                    <a:pt x="10915" y="13457"/>
                  </a:lnTo>
                  <a:lnTo>
                    <a:pt x="10907" y="13479"/>
                  </a:lnTo>
                  <a:lnTo>
                    <a:pt x="10897" y="13502"/>
                  </a:lnTo>
                  <a:lnTo>
                    <a:pt x="10886" y="13525"/>
                  </a:lnTo>
                  <a:lnTo>
                    <a:pt x="10874" y="13548"/>
                  </a:lnTo>
                  <a:lnTo>
                    <a:pt x="10861" y="13570"/>
                  </a:lnTo>
                  <a:lnTo>
                    <a:pt x="10845" y="13593"/>
                  </a:lnTo>
                  <a:lnTo>
                    <a:pt x="10829" y="13614"/>
                  </a:lnTo>
                  <a:lnTo>
                    <a:pt x="10810" y="13635"/>
                  </a:lnTo>
                  <a:lnTo>
                    <a:pt x="10790" y="13657"/>
                  </a:lnTo>
                  <a:lnTo>
                    <a:pt x="10769" y="13677"/>
                  </a:lnTo>
                  <a:lnTo>
                    <a:pt x="10745" y="13697"/>
                  </a:lnTo>
                  <a:lnTo>
                    <a:pt x="10719" y="13715"/>
                  </a:lnTo>
                  <a:lnTo>
                    <a:pt x="10692" y="13732"/>
                  </a:lnTo>
                  <a:lnTo>
                    <a:pt x="6559" y="16230"/>
                  </a:lnTo>
                  <a:lnTo>
                    <a:pt x="6550" y="16237"/>
                  </a:lnTo>
                  <a:lnTo>
                    <a:pt x="6525" y="16256"/>
                  </a:lnTo>
                  <a:lnTo>
                    <a:pt x="6507" y="16268"/>
                  </a:lnTo>
                  <a:lnTo>
                    <a:pt x="6486" y="16280"/>
                  </a:lnTo>
                  <a:lnTo>
                    <a:pt x="6474" y="16286"/>
                  </a:lnTo>
                  <a:lnTo>
                    <a:pt x="6461" y="16291"/>
                  </a:lnTo>
                  <a:lnTo>
                    <a:pt x="6447" y="16298"/>
                  </a:lnTo>
                  <a:lnTo>
                    <a:pt x="6433" y="16303"/>
                  </a:lnTo>
                  <a:lnTo>
                    <a:pt x="6418" y="16307"/>
                  </a:lnTo>
                  <a:lnTo>
                    <a:pt x="6402" y="16311"/>
                  </a:lnTo>
                  <a:lnTo>
                    <a:pt x="6386" y="16315"/>
                  </a:lnTo>
                  <a:lnTo>
                    <a:pt x="6369" y="16317"/>
                  </a:lnTo>
                  <a:lnTo>
                    <a:pt x="6351" y="16319"/>
                  </a:lnTo>
                  <a:lnTo>
                    <a:pt x="6333" y="16320"/>
                  </a:lnTo>
                  <a:lnTo>
                    <a:pt x="6315" y="16320"/>
                  </a:lnTo>
                  <a:lnTo>
                    <a:pt x="6295" y="16319"/>
                  </a:lnTo>
                  <a:lnTo>
                    <a:pt x="6275" y="16316"/>
                  </a:lnTo>
                  <a:lnTo>
                    <a:pt x="6255" y="16313"/>
                  </a:lnTo>
                  <a:lnTo>
                    <a:pt x="6235" y="16307"/>
                  </a:lnTo>
                  <a:lnTo>
                    <a:pt x="6213" y="16301"/>
                  </a:lnTo>
                  <a:lnTo>
                    <a:pt x="6192" y="16292"/>
                  </a:lnTo>
                  <a:lnTo>
                    <a:pt x="6170" y="16282"/>
                  </a:lnTo>
                  <a:lnTo>
                    <a:pt x="6148" y="16270"/>
                  </a:lnTo>
                  <a:lnTo>
                    <a:pt x="6125" y="16256"/>
                  </a:lnTo>
                  <a:lnTo>
                    <a:pt x="2904" y="14418"/>
                  </a:lnTo>
                  <a:lnTo>
                    <a:pt x="2896" y="14415"/>
                  </a:lnTo>
                  <a:lnTo>
                    <a:pt x="2877" y="14401"/>
                  </a:lnTo>
                  <a:lnTo>
                    <a:pt x="2864" y="14391"/>
                  </a:lnTo>
                  <a:lnTo>
                    <a:pt x="2850" y="14378"/>
                  </a:lnTo>
                  <a:lnTo>
                    <a:pt x="2835" y="14363"/>
                  </a:lnTo>
                  <a:lnTo>
                    <a:pt x="2820" y="14343"/>
                  </a:lnTo>
                  <a:lnTo>
                    <a:pt x="2812" y="14332"/>
                  </a:lnTo>
                  <a:lnTo>
                    <a:pt x="2805" y="14320"/>
                  </a:lnTo>
                  <a:lnTo>
                    <a:pt x="2798" y="14308"/>
                  </a:lnTo>
                  <a:lnTo>
                    <a:pt x="2791" y="14293"/>
                  </a:lnTo>
                  <a:lnTo>
                    <a:pt x="2784" y="14279"/>
                  </a:lnTo>
                  <a:lnTo>
                    <a:pt x="2778" y="14263"/>
                  </a:lnTo>
                  <a:lnTo>
                    <a:pt x="2773" y="14246"/>
                  </a:lnTo>
                  <a:lnTo>
                    <a:pt x="2768" y="14228"/>
                  </a:lnTo>
                  <a:lnTo>
                    <a:pt x="2763" y="14210"/>
                  </a:lnTo>
                  <a:lnTo>
                    <a:pt x="2760" y="14189"/>
                  </a:lnTo>
                  <a:lnTo>
                    <a:pt x="2757" y="14168"/>
                  </a:lnTo>
                  <a:lnTo>
                    <a:pt x="2755" y="14146"/>
                  </a:lnTo>
                  <a:lnTo>
                    <a:pt x="2754" y="14123"/>
                  </a:lnTo>
                  <a:lnTo>
                    <a:pt x="2754" y="14097"/>
                  </a:lnTo>
                  <a:lnTo>
                    <a:pt x="2755" y="14072"/>
                  </a:lnTo>
                  <a:lnTo>
                    <a:pt x="2757" y="14044"/>
                  </a:lnTo>
                  <a:lnTo>
                    <a:pt x="2757" y="13668"/>
                  </a:lnTo>
                  <a:lnTo>
                    <a:pt x="2742" y="13662"/>
                  </a:lnTo>
                  <a:lnTo>
                    <a:pt x="2702" y="13647"/>
                  </a:lnTo>
                  <a:lnTo>
                    <a:pt x="2673" y="13638"/>
                  </a:lnTo>
                  <a:lnTo>
                    <a:pt x="2641" y="13630"/>
                  </a:lnTo>
                  <a:lnTo>
                    <a:pt x="2623" y="13626"/>
                  </a:lnTo>
                  <a:lnTo>
                    <a:pt x="2604" y="13623"/>
                  </a:lnTo>
                  <a:lnTo>
                    <a:pt x="2585" y="13621"/>
                  </a:lnTo>
                  <a:lnTo>
                    <a:pt x="2565" y="13619"/>
                  </a:lnTo>
                  <a:lnTo>
                    <a:pt x="2544" y="13619"/>
                  </a:lnTo>
                  <a:lnTo>
                    <a:pt x="2523" y="13619"/>
                  </a:lnTo>
                  <a:lnTo>
                    <a:pt x="2501" y="13620"/>
                  </a:lnTo>
                  <a:lnTo>
                    <a:pt x="2479" y="13622"/>
                  </a:lnTo>
                  <a:lnTo>
                    <a:pt x="2457" y="13626"/>
                  </a:lnTo>
                  <a:lnTo>
                    <a:pt x="2435" y="13631"/>
                  </a:lnTo>
                  <a:lnTo>
                    <a:pt x="2412" y="13637"/>
                  </a:lnTo>
                  <a:lnTo>
                    <a:pt x="2390" y="13646"/>
                  </a:lnTo>
                  <a:lnTo>
                    <a:pt x="2368" y="13656"/>
                  </a:lnTo>
                  <a:lnTo>
                    <a:pt x="2345" y="13668"/>
                  </a:lnTo>
                  <a:lnTo>
                    <a:pt x="2324" y="13681"/>
                  </a:lnTo>
                  <a:lnTo>
                    <a:pt x="2302" y="13698"/>
                  </a:lnTo>
                  <a:lnTo>
                    <a:pt x="2281" y="13716"/>
                  </a:lnTo>
                  <a:lnTo>
                    <a:pt x="2260" y="13736"/>
                  </a:lnTo>
                  <a:lnTo>
                    <a:pt x="2240" y="13759"/>
                  </a:lnTo>
                  <a:lnTo>
                    <a:pt x="2221" y="13784"/>
                  </a:lnTo>
                  <a:lnTo>
                    <a:pt x="2214" y="13793"/>
                  </a:lnTo>
                  <a:lnTo>
                    <a:pt x="2192" y="13817"/>
                  </a:lnTo>
                  <a:lnTo>
                    <a:pt x="2177" y="13831"/>
                  </a:lnTo>
                  <a:lnTo>
                    <a:pt x="2158" y="13847"/>
                  </a:lnTo>
                  <a:lnTo>
                    <a:pt x="2147" y="13854"/>
                  </a:lnTo>
                  <a:lnTo>
                    <a:pt x="2135" y="13862"/>
                  </a:lnTo>
                  <a:lnTo>
                    <a:pt x="2123" y="13869"/>
                  </a:lnTo>
                  <a:lnTo>
                    <a:pt x="2110" y="13875"/>
                  </a:lnTo>
                  <a:lnTo>
                    <a:pt x="2097" y="13881"/>
                  </a:lnTo>
                  <a:lnTo>
                    <a:pt x="2082" y="13887"/>
                  </a:lnTo>
                  <a:lnTo>
                    <a:pt x="2067" y="13892"/>
                  </a:lnTo>
                  <a:lnTo>
                    <a:pt x="2051" y="13896"/>
                  </a:lnTo>
                  <a:lnTo>
                    <a:pt x="2035" y="13900"/>
                  </a:lnTo>
                  <a:lnTo>
                    <a:pt x="2018" y="13902"/>
                  </a:lnTo>
                  <a:lnTo>
                    <a:pt x="2000" y="13902"/>
                  </a:lnTo>
                  <a:lnTo>
                    <a:pt x="1982" y="13902"/>
                  </a:lnTo>
                  <a:lnTo>
                    <a:pt x="1963" y="13900"/>
                  </a:lnTo>
                  <a:lnTo>
                    <a:pt x="1943" y="13896"/>
                  </a:lnTo>
                  <a:lnTo>
                    <a:pt x="1923" y="13890"/>
                  </a:lnTo>
                  <a:lnTo>
                    <a:pt x="1902" y="13884"/>
                  </a:lnTo>
                  <a:lnTo>
                    <a:pt x="1880" y="13875"/>
                  </a:lnTo>
                  <a:lnTo>
                    <a:pt x="1859" y="13864"/>
                  </a:lnTo>
                  <a:lnTo>
                    <a:pt x="1836" y="13852"/>
                  </a:lnTo>
                  <a:lnTo>
                    <a:pt x="1812" y="13836"/>
                  </a:lnTo>
                  <a:lnTo>
                    <a:pt x="281" y="12895"/>
                  </a:lnTo>
                  <a:lnTo>
                    <a:pt x="270" y="12891"/>
                  </a:lnTo>
                  <a:lnTo>
                    <a:pt x="239" y="12878"/>
                  </a:lnTo>
                  <a:lnTo>
                    <a:pt x="218" y="12866"/>
                  </a:lnTo>
                  <a:lnTo>
                    <a:pt x="194" y="12853"/>
                  </a:lnTo>
                  <a:lnTo>
                    <a:pt x="170" y="12838"/>
                  </a:lnTo>
                  <a:lnTo>
                    <a:pt x="144" y="12818"/>
                  </a:lnTo>
                  <a:lnTo>
                    <a:pt x="131" y="12807"/>
                  </a:lnTo>
                  <a:lnTo>
                    <a:pt x="118" y="12796"/>
                  </a:lnTo>
                  <a:lnTo>
                    <a:pt x="105" y="12784"/>
                  </a:lnTo>
                  <a:lnTo>
                    <a:pt x="93" y="12771"/>
                  </a:lnTo>
                  <a:lnTo>
                    <a:pt x="81" y="12757"/>
                  </a:lnTo>
                  <a:lnTo>
                    <a:pt x="69" y="12743"/>
                  </a:lnTo>
                  <a:lnTo>
                    <a:pt x="58" y="12727"/>
                  </a:lnTo>
                  <a:lnTo>
                    <a:pt x="48" y="12710"/>
                  </a:lnTo>
                  <a:lnTo>
                    <a:pt x="38" y="12694"/>
                  </a:lnTo>
                  <a:lnTo>
                    <a:pt x="30" y="12676"/>
                  </a:lnTo>
                  <a:lnTo>
                    <a:pt x="22" y="12656"/>
                  </a:lnTo>
                  <a:lnTo>
                    <a:pt x="15" y="12637"/>
                  </a:lnTo>
                  <a:lnTo>
                    <a:pt x="10" y="12615"/>
                  </a:lnTo>
                  <a:lnTo>
                    <a:pt x="6" y="12594"/>
                  </a:lnTo>
                  <a:lnTo>
                    <a:pt x="3" y="12570"/>
                  </a:lnTo>
                  <a:lnTo>
                    <a:pt x="2" y="12547"/>
                  </a:lnTo>
                  <a:lnTo>
                    <a:pt x="1" y="12525"/>
                  </a:lnTo>
                  <a:lnTo>
                    <a:pt x="1" y="12495"/>
                  </a:lnTo>
                  <a:lnTo>
                    <a:pt x="1" y="12468"/>
                  </a:lnTo>
                  <a:lnTo>
                    <a:pt x="1" y="12457"/>
                  </a:lnTo>
                  <a:lnTo>
                    <a:pt x="1" y="2909"/>
                  </a:lnTo>
                  <a:lnTo>
                    <a:pt x="0" y="2901"/>
                  </a:lnTo>
                  <a:lnTo>
                    <a:pt x="0" y="2879"/>
                  </a:lnTo>
                  <a:lnTo>
                    <a:pt x="1" y="2864"/>
                  </a:lnTo>
                  <a:lnTo>
                    <a:pt x="3" y="2847"/>
                  </a:lnTo>
                  <a:lnTo>
                    <a:pt x="6" y="2828"/>
                  </a:lnTo>
                  <a:lnTo>
                    <a:pt x="11" y="2808"/>
                  </a:lnTo>
                  <a:lnTo>
                    <a:pt x="14" y="2798"/>
                  </a:lnTo>
                  <a:lnTo>
                    <a:pt x="18" y="2787"/>
                  </a:lnTo>
                  <a:lnTo>
                    <a:pt x="22" y="2776"/>
                  </a:lnTo>
                  <a:lnTo>
                    <a:pt x="27" y="2765"/>
                  </a:lnTo>
                  <a:lnTo>
                    <a:pt x="33" y="2754"/>
                  </a:lnTo>
                  <a:lnTo>
                    <a:pt x="40" y="2744"/>
                  </a:lnTo>
                  <a:lnTo>
                    <a:pt x="47" y="2733"/>
                  </a:lnTo>
                  <a:lnTo>
                    <a:pt x="55" y="2722"/>
                  </a:lnTo>
                  <a:lnTo>
                    <a:pt x="64" y="2712"/>
                  </a:lnTo>
                  <a:lnTo>
                    <a:pt x="74" y="2702"/>
                  </a:lnTo>
                  <a:lnTo>
                    <a:pt x="85" y="2692"/>
                  </a:lnTo>
                  <a:lnTo>
                    <a:pt x="96" y="2683"/>
                  </a:lnTo>
                  <a:lnTo>
                    <a:pt x="109" y="2673"/>
                  </a:lnTo>
                  <a:lnTo>
                    <a:pt x="123" y="2664"/>
                  </a:lnTo>
                  <a:lnTo>
                    <a:pt x="138" y="2656"/>
                  </a:lnTo>
                  <a:lnTo>
                    <a:pt x="154" y="2649"/>
                  </a:lnTo>
                  <a:close/>
                </a:path>
              </a:pathLst>
            </a:custGeom>
            <a:solidFill>
              <a:srgbClr val="8E8D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48" name="Freeform 89"/>
            <p:cNvSpPr>
              <a:spLocks/>
            </p:cNvSpPr>
            <p:nvPr/>
          </p:nvSpPr>
          <p:spPr bwMode="auto">
            <a:xfrm>
              <a:off x="747149" y="2284725"/>
              <a:ext cx="35873" cy="338185"/>
            </a:xfrm>
            <a:custGeom>
              <a:avLst/>
              <a:gdLst>
                <a:gd name="T0" fmla="*/ 0 w 1157"/>
                <a:gd name="T1" fmla="*/ 0 h 10318"/>
                <a:gd name="T2" fmla="*/ 0 w 1157"/>
                <a:gd name="T3" fmla="*/ 0 h 10318"/>
                <a:gd name="T4" fmla="*/ 0 w 1157"/>
                <a:gd name="T5" fmla="*/ 0 h 10318"/>
                <a:gd name="T6" fmla="*/ 0 w 1157"/>
                <a:gd name="T7" fmla="*/ 0 h 10318"/>
                <a:gd name="T8" fmla="*/ 0 w 1157"/>
                <a:gd name="T9" fmla="*/ 0 h 10318"/>
                <a:gd name="T10" fmla="*/ 0 w 1157"/>
                <a:gd name="T11" fmla="*/ 0 h 10318"/>
                <a:gd name="T12" fmla="*/ 0 w 1157"/>
                <a:gd name="T13" fmla="*/ 0 h 10318"/>
                <a:gd name="T14" fmla="*/ 0 w 1157"/>
                <a:gd name="T15" fmla="*/ 0 h 10318"/>
                <a:gd name="T16" fmla="*/ 0 w 1157"/>
                <a:gd name="T17" fmla="*/ 0 h 10318"/>
                <a:gd name="T18" fmla="*/ 0 w 1157"/>
                <a:gd name="T19" fmla="*/ 0 h 10318"/>
                <a:gd name="T20" fmla="*/ 0 w 1157"/>
                <a:gd name="T21" fmla="*/ 0 h 10318"/>
                <a:gd name="T22" fmla="*/ 0 w 1157"/>
                <a:gd name="T23" fmla="*/ 0 h 10318"/>
                <a:gd name="T24" fmla="*/ 0 w 1157"/>
                <a:gd name="T25" fmla="*/ 0 h 10318"/>
                <a:gd name="T26" fmla="*/ 0 w 1157"/>
                <a:gd name="T27" fmla="*/ 0 h 10318"/>
                <a:gd name="T28" fmla="*/ 0 w 1157"/>
                <a:gd name="T29" fmla="*/ 0 h 10318"/>
                <a:gd name="T30" fmla="*/ 0 w 1157"/>
                <a:gd name="T31" fmla="*/ 0 h 10318"/>
                <a:gd name="T32" fmla="*/ 0 w 1157"/>
                <a:gd name="T33" fmla="*/ 0 h 10318"/>
                <a:gd name="T34" fmla="*/ 0 w 1157"/>
                <a:gd name="T35" fmla="*/ 0 h 10318"/>
                <a:gd name="T36" fmla="*/ 0 w 1157"/>
                <a:gd name="T37" fmla="*/ 0 h 10318"/>
                <a:gd name="T38" fmla="*/ 0 w 1157"/>
                <a:gd name="T39" fmla="*/ 0 h 10318"/>
                <a:gd name="T40" fmla="*/ 0 w 1157"/>
                <a:gd name="T41" fmla="*/ 0 h 10318"/>
                <a:gd name="T42" fmla="*/ 0 w 1157"/>
                <a:gd name="T43" fmla="*/ 0 h 10318"/>
                <a:gd name="T44" fmla="*/ 0 w 1157"/>
                <a:gd name="T45" fmla="*/ 0 h 10318"/>
                <a:gd name="T46" fmla="*/ 0 w 1157"/>
                <a:gd name="T47" fmla="*/ 0 h 10318"/>
                <a:gd name="T48" fmla="*/ 0 w 1157"/>
                <a:gd name="T49" fmla="*/ 0 h 10318"/>
                <a:gd name="T50" fmla="*/ 0 w 1157"/>
                <a:gd name="T51" fmla="*/ 0 h 10318"/>
                <a:gd name="T52" fmla="*/ 0 w 1157"/>
                <a:gd name="T53" fmla="*/ 0 h 10318"/>
                <a:gd name="T54" fmla="*/ 0 w 1157"/>
                <a:gd name="T55" fmla="*/ 0 h 10318"/>
                <a:gd name="T56" fmla="*/ 0 w 1157"/>
                <a:gd name="T57" fmla="*/ 0 h 10318"/>
                <a:gd name="T58" fmla="*/ 0 w 1157"/>
                <a:gd name="T59" fmla="*/ 0 h 1031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57"/>
                <a:gd name="T91" fmla="*/ 0 h 10318"/>
                <a:gd name="T92" fmla="*/ 1157 w 1157"/>
                <a:gd name="T93" fmla="*/ 10318 h 1031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57" h="10318">
                  <a:moveTo>
                    <a:pt x="0" y="677"/>
                  </a:moveTo>
                  <a:lnTo>
                    <a:pt x="754" y="10318"/>
                  </a:lnTo>
                  <a:lnTo>
                    <a:pt x="757" y="10310"/>
                  </a:lnTo>
                  <a:lnTo>
                    <a:pt x="762" y="10299"/>
                  </a:lnTo>
                  <a:lnTo>
                    <a:pt x="768" y="10285"/>
                  </a:lnTo>
                  <a:lnTo>
                    <a:pt x="777" y="10271"/>
                  </a:lnTo>
                  <a:lnTo>
                    <a:pt x="788" y="10256"/>
                  </a:lnTo>
                  <a:lnTo>
                    <a:pt x="802" y="10239"/>
                  </a:lnTo>
                  <a:lnTo>
                    <a:pt x="810" y="10230"/>
                  </a:lnTo>
                  <a:lnTo>
                    <a:pt x="818" y="10221"/>
                  </a:lnTo>
                  <a:lnTo>
                    <a:pt x="828" y="10212"/>
                  </a:lnTo>
                  <a:lnTo>
                    <a:pt x="839" y="10204"/>
                  </a:lnTo>
                  <a:lnTo>
                    <a:pt x="850" y="10195"/>
                  </a:lnTo>
                  <a:lnTo>
                    <a:pt x="862" y="10187"/>
                  </a:lnTo>
                  <a:lnTo>
                    <a:pt x="876" y="10177"/>
                  </a:lnTo>
                  <a:lnTo>
                    <a:pt x="890" y="10169"/>
                  </a:lnTo>
                  <a:lnTo>
                    <a:pt x="906" y="10160"/>
                  </a:lnTo>
                  <a:lnTo>
                    <a:pt x="922" y="10152"/>
                  </a:lnTo>
                  <a:lnTo>
                    <a:pt x="940" y="10144"/>
                  </a:lnTo>
                  <a:lnTo>
                    <a:pt x="959" y="10137"/>
                  </a:lnTo>
                  <a:lnTo>
                    <a:pt x="979" y="10129"/>
                  </a:lnTo>
                  <a:lnTo>
                    <a:pt x="1001" y="10122"/>
                  </a:lnTo>
                  <a:lnTo>
                    <a:pt x="1023" y="10115"/>
                  </a:lnTo>
                  <a:lnTo>
                    <a:pt x="1047" y="10109"/>
                  </a:lnTo>
                  <a:lnTo>
                    <a:pt x="1073" y="10104"/>
                  </a:lnTo>
                  <a:lnTo>
                    <a:pt x="1099" y="10099"/>
                  </a:lnTo>
                  <a:lnTo>
                    <a:pt x="1127" y="10094"/>
                  </a:lnTo>
                  <a:lnTo>
                    <a:pt x="1157" y="10090"/>
                  </a:lnTo>
                  <a:lnTo>
                    <a:pt x="1157" y="0"/>
                  </a:lnTo>
                  <a:lnTo>
                    <a:pt x="0" y="677"/>
                  </a:lnTo>
                  <a:close/>
                </a:path>
              </a:pathLst>
            </a:custGeom>
            <a:solidFill>
              <a:srgbClr val="B5B5B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49" name="Freeform 90"/>
            <p:cNvSpPr>
              <a:spLocks/>
            </p:cNvSpPr>
            <p:nvPr/>
          </p:nvSpPr>
          <p:spPr bwMode="auto">
            <a:xfrm>
              <a:off x="769570" y="2622911"/>
              <a:ext cx="1495" cy="1675"/>
            </a:xfrm>
            <a:custGeom>
              <a:avLst/>
              <a:gdLst>
                <a:gd name="T0" fmla="*/ 0 w 3"/>
                <a:gd name="T1" fmla="*/ 0 h 11"/>
                <a:gd name="T2" fmla="*/ 0 w 3"/>
                <a:gd name="T3" fmla="*/ 0 h 11"/>
                <a:gd name="T4" fmla="*/ 0 w 3"/>
                <a:gd name="T5" fmla="*/ 0 h 11"/>
                <a:gd name="T6" fmla="*/ 0 w 3"/>
                <a:gd name="T7" fmla="*/ 0 h 11"/>
                <a:gd name="T8" fmla="*/ 0 w 3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1"/>
                <a:gd name="T17" fmla="*/ 3 w 3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1">
                  <a:moveTo>
                    <a:pt x="3" y="5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0" name="Freeform 91"/>
            <p:cNvSpPr>
              <a:spLocks/>
            </p:cNvSpPr>
            <p:nvPr/>
          </p:nvSpPr>
          <p:spPr bwMode="auto">
            <a:xfrm>
              <a:off x="783022" y="2278028"/>
              <a:ext cx="43347" cy="344882"/>
            </a:xfrm>
            <a:custGeom>
              <a:avLst/>
              <a:gdLst>
                <a:gd name="T0" fmla="*/ 0 w 1458"/>
                <a:gd name="T1" fmla="*/ 0 h 10522"/>
                <a:gd name="T2" fmla="*/ 0 w 1458"/>
                <a:gd name="T3" fmla="*/ 0 h 10522"/>
                <a:gd name="T4" fmla="*/ 0 w 1458"/>
                <a:gd name="T5" fmla="*/ 0 h 10522"/>
                <a:gd name="T6" fmla="*/ 0 w 1458"/>
                <a:gd name="T7" fmla="*/ 0 h 10522"/>
                <a:gd name="T8" fmla="*/ 0 w 1458"/>
                <a:gd name="T9" fmla="*/ 0 h 10522"/>
                <a:gd name="T10" fmla="*/ 0 w 1458"/>
                <a:gd name="T11" fmla="*/ 0 h 10522"/>
                <a:gd name="T12" fmla="*/ 0 w 1458"/>
                <a:gd name="T13" fmla="*/ 0 h 10522"/>
                <a:gd name="T14" fmla="*/ 0 w 1458"/>
                <a:gd name="T15" fmla="*/ 0 h 10522"/>
                <a:gd name="T16" fmla="*/ 0 w 1458"/>
                <a:gd name="T17" fmla="*/ 0 h 10522"/>
                <a:gd name="T18" fmla="*/ 0 w 1458"/>
                <a:gd name="T19" fmla="*/ 0 h 10522"/>
                <a:gd name="T20" fmla="*/ 0 w 1458"/>
                <a:gd name="T21" fmla="*/ 0 h 10522"/>
                <a:gd name="T22" fmla="*/ 0 w 1458"/>
                <a:gd name="T23" fmla="*/ 0 h 10522"/>
                <a:gd name="T24" fmla="*/ 0 w 1458"/>
                <a:gd name="T25" fmla="*/ 0 h 10522"/>
                <a:gd name="T26" fmla="*/ 0 w 1458"/>
                <a:gd name="T27" fmla="*/ 0 h 10522"/>
                <a:gd name="T28" fmla="*/ 0 w 1458"/>
                <a:gd name="T29" fmla="*/ 0 h 10522"/>
                <a:gd name="T30" fmla="*/ 0 w 1458"/>
                <a:gd name="T31" fmla="*/ 0 h 10522"/>
                <a:gd name="T32" fmla="*/ 0 w 1458"/>
                <a:gd name="T33" fmla="*/ 0 h 10522"/>
                <a:gd name="T34" fmla="*/ 0 w 1458"/>
                <a:gd name="T35" fmla="*/ 0 h 10522"/>
                <a:gd name="T36" fmla="*/ 0 w 1458"/>
                <a:gd name="T37" fmla="*/ 0 h 10522"/>
                <a:gd name="T38" fmla="*/ 0 w 1458"/>
                <a:gd name="T39" fmla="*/ 0 h 10522"/>
                <a:gd name="T40" fmla="*/ 0 w 1458"/>
                <a:gd name="T41" fmla="*/ 0 h 10522"/>
                <a:gd name="T42" fmla="*/ 0 w 1458"/>
                <a:gd name="T43" fmla="*/ 0 h 10522"/>
                <a:gd name="T44" fmla="*/ 0 w 1458"/>
                <a:gd name="T45" fmla="*/ 0 h 10522"/>
                <a:gd name="T46" fmla="*/ 0 w 1458"/>
                <a:gd name="T47" fmla="*/ 0 h 10522"/>
                <a:gd name="T48" fmla="*/ 0 w 1458"/>
                <a:gd name="T49" fmla="*/ 0 h 10522"/>
                <a:gd name="T50" fmla="*/ 0 w 1458"/>
                <a:gd name="T51" fmla="*/ 0 h 10522"/>
                <a:gd name="T52" fmla="*/ 0 w 1458"/>
                <a:gd name="T53" fmla="*/ 0 h 10522"/>
                <a:gd name="T54" fmla="*/ 0 w 1458"/>
                <a:gd name="T55" fmla="*/ 0 h 10522"/>
                <a:gd name="T56" fmla="*/ 0 w 1458"/>
                <a:gd name="T57" fmla="*/ 0 h 10522"/>
                <a:gd name="T58" fmla="*/ 0 w 1458"/>
                <a:gd name="T59" fmla="*/ 0 h 10522"/>
                <a:gd name="T60" fmla="*/ 0 w 1458"/>
                <a:gd name="T61" fmla="*/ 0 h 10522"/>
                <a:gd name="T62" fmla="*/ 0 w 1458"/>
                <a:gd name="T63" fmla="*/ 0 h 10522"/>
                <a:gd name="T64" fmla="*/ 0 w 1458"/>
                <a:gd name="T65" fmla="*/ 0 h 10522"/>
                <a:gd name="T66" fmla="*/ 0 w 1458"/>
                <a:gd name="T67" fmla="*/ 0 h 10522"/>
                <a:gd name="T68" fmla="*/ 0 w 1458"/>
                <a:gd name="T69" fmla="*/ 0 h 1052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58"/>
                <a:gd name="T106" fmla="*/ 0 h 10522"/>
                <a:gd name="T107" fmla="*/ 1458 w 1458"/>
                <a:gd name="T108" fmla="*/ 10522 h 1052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58" h="10522">
                  <a:moveTo>
                    <a:pt x="362" y="0"/>
                  </a:moveTo>
                  <a:lnTo>
                    <a:pt x="0" y="212"/>
                  </a:lnTo>
                  <a:lnTo>
                    <a:pt x="0" y="10302"/>
                  </a:lnTo>
                  <a:lnTo>
                    <a:pt x="19" y="10300"/>
                  </a:lnTo>
                  <a:lnTo>
                    <a:pt x="38" y="10299"/>
                  </a:lnTo>
                  <a:lnTo>
                    <a:pt x="58" y="10297"/>
                  </a:lnTo>
                  <a:lnTo>
                    <a:pt x="78" y="10296"/>
                  </a:lnTo>
                  <a:lnTo>
                    <a:pt x="99" y="10295"/>
                  </a:lnTo>
                  <a:lnTo>
                    <a:pt x="120" y="10293"/>
                  </a:lnTo>
                  <a:lnTo>
                    <a:pt x="143" y="10292"/>
                  </a:lnTo>
                  <a:lnTo>
                    <a:pt x="165" y="10292"/>
                  </a:lnTo>
                  <a:lnTo>
                    <a:pt x="178" y="10291"/>
                  </a:lnTo>
                  <a:lnTo>
                    <a:pt x="212" y="10292"/>
                  </a:lnTo>
                  <a:lnTo>
                    <a:pt x="236" y="10293"/>
                  </a:lnTo>
                  <a:lnTo>
                    <a:pt x="265" y="10298"/>
                  </a:lnTo>
                  <a:lnTo>
                    <a:pt x="296" y="10303"/>
                  </a:lnTo>
                  <a:lnTo>
                    <a:pt x="330" y="10311"/>
                  </a:lnTo>
                  <a:lnTo>
                    <a:pt x="348" y="10316"/>
                  </a:lnTo>
                  <a:lnTo>
                    <a:pt x="367" y="10322"/>
                  </a:lnTo>
                  <a:lnTo>
                    <a:pt x="386" y="10328"/>
                  </a:lnTo>
                  <a:lnTo>
                    <a:pt x="405" y="10336"/>
                  </a:lnTo>
                  <a:lnTo>
                    <a:pt x="425" y="10344"/>
                  </a:lnTo>
                  <a:lnTo>
                    <a:pt x="445" y="10355"/>
                  </a:lnTo>
                  <a:lnTo>
                    <a:pt x="465" y="10365"/>
                  </a:lnTo>
                  <a:lnTo>
                    <a:pt x="485" y="10377"/>
                  </a:lnTo>
                  <a:lnTo>
                    <a:pt x="506" y="10390"/>
                  </a:lnTo>
                  <a:lnTo>
                    <a:pt x="526" y="10405"/>
                  </a:lnTo>
                  <a:lnTo>
                    <a:pt x="546" y="10421"/>
                  </a:lnTo>
                  <a:lnTo>
                    <a:pt x="566" y="10438"/>
                  </a:lnTo>
                  <a:lnTo>
                    <a:pt x="586" y="10457"/>
                  </a:lnTo>
                  <a:lnTo>
                    <a:pt x="605" y="10477"/>
                  </a:lnTo>
                  <a:lnTo>
                    <a:pt x="624" y="10499"/>
                  </a:lnTo>
                  <a:lnTo>
                    <a:pt x="643" y="10522"/>
                  </a:lnTo>
                  <a:lnTo>
                    <a:pt x="1458" y="631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1" name="Freeform 92"/>
            <p:cNvSpPr>
              <a:spLocks/>
            </p:cNvSpPr>
            <p:nvPr/>
          </p:nvSpPr>
          <p:spPr bwMode="auto">
            <a:xfrm>
              <a:off x="895127" y="2296444"/>
              <a:ext cx="133031" cy="406827"/>
            </a:xfrm>
            <a:custGeom>
              <a:avLst/>
              <a:gdLst>
                <a:gd name="T0" fmla="*/ 0 w 4414"/>
                <a:gd name="T1" fmla="*/ 0 h 12417"/>
                <a:gd name="T2" fmla="*/ 0 w 4414"/>
                <a:gd name="T3" fmla="*/ 0 h 12417"/>
                <a:gd name="T4" fmla="*/ 0 w 4414"/>
                <a:gd name="T5" fmla="*/ 0 h 12417"/>
                <a:gd name="T6" fmla="*/ 0 w 4414"/>
                <a:gd name="T7" fmla="*/ 0 h 12417"/>
                <a:gd name="T8" fmla="*/ 0 w 4414"/>
                <a:gd name="T9" fmla="*/ 0 h 124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14"/>
                <a:gd name="T16" fmla="*/ 0 h 12417"/>
                <a:gd name="T17" fmla="*/ 4414 w 4414"/>
                <a:gd name="T18" fmla="*/ 12417 h 124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14" h="12417">
                  <a:moveTo>
                    <a:pt x="0" y="2752"/>
                  </a:moveTo>
                  <a:lnTo>
                    <a:pt x="4414" y="0"/>
                  </a:lnTo>
                  <a:lnTo>
                    <a:pt x="4414" y="9747"/>
                  </a:lnTo>
                  <a:lnTo>
                    <a:pt x="60" y="12417"/>
                  </a:lnTo>
                  <a:lnTo>
                    <a:pt x="0" y="2752"/>
                  </a:lnTo>
                  <a:close/>
                </a:path>
              </a:pathLst>
            </a:custGeom>
            <a:solidFill>
              <a:srgbClr val="B9B9B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2" name="Freeform 93"/>
            <p:cNvSpPr>
              <a:spLocks/>
            </p:cNvSpPr>
            <p:nvPr/>
          </p:nvSpPr>
          <p:spPr bwMode="auto">
            <a:xfrm>
              <a:off x="796475" y="2319883"/>
              <a:ext cx="101641" cy="383389"/>
            </a:xfrm>
            <a:custGeom>
              <a:avLst/>
              <a:gdLst>
                <a:gd name="T0" fmla="*/ 0 w 3381"/>
                <a:gd name="T1" fmla="*/ 0 h 11718"/>
                <a:gd name="T2" fmla="*/ 0 w 3381"/>
                <a:gd name="T3" fmla="*/ 0 h 11718"/>
                <a:gd name="T4" fmla="*/ 0 w 3381"/>
                <a:gd name="T5" fmla="*/ 0 h 11718"/>
                <a:gd name="T6" fmla="*/ 0 w 3381"/>
                <a:gd name="T7" fmla="*/ 0 h 11718"/>
                <a:gd name="T8" fmla="*/ 0 w 3381"/>
                <a:gd name="T9" fmla="*/ 0 h 117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81"/>
                <a:gd name="T16" fmla="*/ 0 h 11718"/>
                <a:gd name="T17" fmla="*/ 3381 w 3381"/>
                <a:gd name="T18" fmla="*/ 11718 h 117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81" h="11718">
                  <a:moveTo>
                    <a:pt x="3381" y="2029"/>
                  </a:moveTo>
                  <a:lnTo>
                    <a:pt x="0" y="0"/>
                  </a:lnTo>
                  <a:lnTo>
                    <a:pt x="0" y="9779"/>
                  </a:lnTo>
                  <a:lnTo>
                    <a:pt x="3381" y="11718"/>
                  </a:lnTo>
                  <a:lnTo>
                    <a:pt x="3381" y="2029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3" name="Freeform 94"/>
            <p:cNvSpPr>
              <a:spLocks/>
            </p:cNvSpPr>
            <p:nvPr/>
          </p:nvSpPr>
          <p:spPr bwMode="auto">
            <a:xfrm>
              <a:off x="805443" y="2343321"/>
              <a:ext cx="80715" cy="130586"/>
            </a:xfrm>
            <a:custGeom>
              <a:avLst/>
              <a:gdLst>
                <a:gd name="T0" fmla="*/ 0 w 2733"/>
                <a:gd name="T1" fmla="*/ 0 h 3953"/>
                <a:gd name="T2" fmla="*/ 0 w 2733"/>
                <a:gd name="T3" fmla="*/ 0 h 3953"/>
                <a:gd name="T4" fmla="*/ 0 w 2733"/>
                <a:gd name="T5" fmla="*/ 0 h 3953"/>
                <a:gd name="T6" fmla="*/ 0 w 2733"/>
                <a:gd name="T7" fmla="*/ 0 h 3953"/>
                <a:gd name="T8" fmla="*/ 0 w 2733"/>
                <a:gd name="T9" fmla="*/ 0 h 39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33"/>
                <a:gd name="T16" fmla="*/ 0 h 3953"/>
                <a:gd name="T17" fmla="*/ 2733 w 2733"/>
                <a:gd name="T18" fmla="*/ 3953 h 39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33" h="3953">
                  <a:moveTo>
                    <a:pt x="0" y="0"/>
                  </a:moveTo>
                  <a:lnTo>
                    <a:pt x="0" y="2385"/>
                  </a:lnTo>
                  <a:lnTo>
                    <a:pt x="2733" y="3953"/>
                  </a:lnTo>
                  <a:lnTo>
                    <a:pt x="2733" y="15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4" name="Freeform 95"/>
            <p:cNvSpPr>
              <a:spLocks/>
            </p:cNvSpPr>
            <p:nvPr/>
          </p:nvSpPr>
          <p:spPr bwMode="auto">
            <a:xfrm>
              <a:off x="715760" y="2267983"/>
              <a:ext cx="53810" cy="354927"/>
            </a:xfrm>
            <a:custGeom>
              <a:avLst/>
              <a:gdLst>
                <a:gd name="T0" fmla="*/ 0 w 1839"/>
                <a:gd name="T1" fmla="*/ 0 h 10814"/>
                <a:gd name="T2" fmla="*/ 0 w 1839"/>
                <a:gd name="T3" fmla="*/ 0 h 10814"/>
                <a:gd name="T4" fmla="*/ 0 w 1839"/>
                <a:gd name="T5" fmla="*/ 0 h 10814"/>
                <a:gd name="T6" fmla="*/ 0 w 1839"/>
                <a:gd name="T7" fmla="*/ 0 h 10814"/>
                <a:gd name="T8" fmla="*/ 0 w 1839"/>
                <a:gd name="T9" fmla="*/ 0 h 10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39"/>
                <a:gd name="T16" fmla="*/ 0 h 10814"/>
                <a:gd name="T17" fmla="*/ 1839 w 1839"/>
                <a:gd name="T18" fmla="*/ 10814 h 10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39" h="10814">
                  <a:moveTo>
                    <a:pt x="5" y="0"/>
                  </a:moveTo>
                  <a:lnTo>
                    <a:pt x="0" y="9760"/>
                  </a:lnTo>
                  <a:lnTo>
                    <a:pt x="1839" y="10814"/>
                  </a:lnTo>
                  <a:lnTo>
                    <a:pt x="1839" y="101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5" name="Freeform 96"/>
            <p:cNvSpPr>
              <a:spLocks/>
            </p:cNvSpPr>
            <p:nvPr/>
          </p:nvSpPr>
          <p:spPr bwMode="auto">
            <a:xfrm>
              <a:off x="724728" y="2293096"/>
              <a:ext cx="40358" cy="108823"/>
            </a:xfrm>
            <a:custGeom>
              <a:avLst/>
              <a:gdLst>
                <a:gd name="T0" fmla="*/ 0 w 1368"/>
                <a:gd name="T1" fmla="*/ 0 h 3287"/>
                <a:gd name="T2" fmla="*/ 0 w 1368"/>
                <a:gd name="T3" fmla="*/ 0 h 3287"/>
                <a:gd name="T4" fmla="*/ 0 w 1368"/>
                <a:gd name="T5" fmla="*/ 0 h 3287"/>
                <a:gd name="T6" fmla="*/ 0 w 1368"/>
                <a:gd name="T7" fmla="*/ 0 h 3287"/>
                <a:gd name="T8" fmla="*/ 0 w 1368"/>
                <a:gd name="T9" fmla="*/ 0 h 32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8"/>
                <a:gd name="T16" fmla="*/ 0 h 3287"/>
                <a:gd name="T17" fmla="*/ 1368 w 1368"/>
                <a:gd name="T18" fmla="*/ 3287 h 328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8" h="3287">
                  <a:moveTo>
                    <a:pt x="0" y="0"/>
                  </a:moveTo>
                  <a:lnTo>
                    <a:pt x="0" y="2516"/>
                  </a:lnTo>
                  <a:lnTo>
                    <a:pt x="1368" y="3287"/>
                  </a:lnTo>
                  <a:lnTo>
                    <a:pt x="1368" y="7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6" name="Freeform 97"/>
            <p:cNvSpPr>
              <a:spLocks/>
            </p:cNvSpPr>
            <p:nvPr/>
          </p:nvSpPr>
          <p:spPr bwMode="auto">
            <a:xfrm>
              <a:off x="803948" y="2438750"/>
              <a:ext cx="80715" cy="78687"/>
            </a:xfrm>
            <a:custGeom>
              <a:avLst/>
              <a:gdLst>
                <a:gd name="T0" fmla="*/ 0 w 2688"/>
                <a:gd name="T1" fmla="*/ 0 h 2433"/>
                <a:gd name="T2" fmla="*/ 0 w 2688"/>
                <a:gd name="T3" fmla="*/ 0 h 2433"/>
                <a:gd name="T4" fmla="*/ 0 w 2688"/>
                <a:gd name="T5" fmla="*/ 0 h 2433"/>
                <a:gd name="T6" fmla="*/ 0 w 2688"/>
                <a:gd name="T7" fmla="*/ 0 h 2433"/>
                <a:gd name="T8" fmla="*/ 0 w 2688"/>
                <a:gd name="T9" fmla="*/ 0 h 2433"/>
                <a:gd name="T10" fmla="*/ 0 w 2688"/>
                <a:gd name="T11" fmla="*/ 0 h 2433"/>
                <a:gd name="T12" fmla="*/ 0 w 2688"/>
                <a:gd name="T13" fmla="*/ 0 h 2433"/>
                <a:gd name="T14" fmla="*/ 0 w 2688"/>
                <a:gd name="T15" fmla="*/ 0 h 2433"/>
                <a:gd name="T16" fmla="*/ 0 w 2688"/>
                <a:gd name="T17" fmla="*/ 0 h 2433"/>
                <a:gd name="T18" fmla="*/ 0 w 2688"/>
                <a:gd name="T19" fmla="*/ 0 h 2433"/>
                <a:gd name="T20" fmla="*/ 0 w 2688"/>
                <a:gd name="T21" fmla="*/ 0 h 2433"/>
                <a:gd name="T22" fmla="*/ 0 w 2688"/>
                <a:gd name="T23" fmla="*/ 0 h 2433"/>
                <a:gd name="T24" fmla="*/ 0 w 2688"/>
                <a:gd name="T25" fmla="*/ 0 h 2433"/>
                <a:gd name="T26" fmla="*/ 0 w 2688"/>
                <a:gd name="T27" fmla="*/ 0 h 2433"/>
                <a:gd name="T28" fmla="*/ 0 w 2688"/>
                <a:gd name="T29" fmla="*/ 0 h 2433"/>
                <a:gd name="T30" fmla="*/ 0 w 2688"/>
                <a:gd name="T31" fmla="*/ 0 h 2433"/>
                <a:gd name="T32" fmla="*/ 0 w 2688"/>
                <a:gd name="T33" fmla="*/ 0 h 2433"/>
                <a:gd name="T34" fmla="*/ 0 w 2688"/>
                <a:gd name="T35" fmla="*/ 0 h 2433"/>
                <a:gd name="T36" fmla="*/ 0 w 2688"/>
                <a:gd name="T37" fmla="*/ 0 h 2433"/>
                <a:gd name="T38" fmla="*/ 0 w 2688"/>
                <a:gd name="T39" fmla="*/ 0 h 2433"/>
                <a:gd name="T40" fmla="*/ 0 w 2688"/>
                <a:gd name="T41" fmla="*/ 0 h 2433"/>
                <a:gd name="T42" fmla="*/ 0 w 2688"/>
                <a:gd name="T43" fmla="*/ 0 h 2433"/>
                <a:gd name="T44" fmla="*/ 0 w 2688"/>
                <a:gd name="T45" fmla="*/ 0 h 2433"/>
                <a:gd name="T46" fmla="*/ 0 w 2688"/>
                <a:gd name="T47" fmla="*/ 0 h 2433"/>
                <a:gd name="T48" fmla="*/ 0 w 2688"/>
                <a:gd name="T49" fmla="*/ 0 h 2433"/>
                <a:gd name="T50" fmla="*/ 0 w 2688"/>
                <a:gd name="T51" fmla="*/ 0 h 2433"/>
                <a:gd name="T52" fmla="*/ 0 w 2688"/>
                <a:gd name="T53" fmla="*/ 0 h 2433"/>
                <a:gd name="T54" fmla="*/ 0 w 2688"/>
                <a:gd name="T55" fmla="*/ 0 h 2433"/>
                <a:gd name="T56" fmla="*/ 0 w 2688"/>
                <a:gd name="T57" fmla="*/ 0 h 2433"/>
                <a:gd name="T58" fmla="*/ 0 w 2688"/>
                <a:gd name="T59" fmla="*/ 0 h 2433"/>
                <a:gd name="T60" fmla="*/ 0 w 2688"/>
                <a:gd name="T61" fmla="*/ 0 h 2433"/>
                <a:gd name="T62" fmla="*/ 0 w 2688"/>
                <a:gd name="T63" fmla="*/ 0 h 2433"/>
                <a:gd name="T64" fmla="*/ 0 w 2688"/>
                <a:gd name="T65" fmla="*/ 0 h 2433"/>
                <a:gd name="T66" fmla="*/ 0 w 2688"/>
                <a:gd name="T67" fmla="*/ 0 h 2433"/>
                <a:gd name="T68" fmla="*/ 0 w 2688"/>
                <a:gd name="T69" fmla="*/ 0 h 2433"/>
                <a:gd name="T70" fmla="*/ 0 w 2688"/>
                <a:gd name="T71" fmla="*/ 0 h 2433"/>
                <a:gd name="T72" fmla="*/ 0 w 2688"/>
                <a:gd name="T73" fmla="*/ 0 h 2433"/>
                <a:gd name="T74" fmla="*/ 0 w 2688"/>
                <a:gd name="T75" fmla="*/ 0 h 2433"/>
                <a:gd name="T76" fmla="*/ 0 w 2688"/>
                <a:gd name="T77" fmla="*/ 0 h 2433"/>
                <a:gd name="T78" fmla="*/ 0 w 2688"/>
                <a:gd name="T79" fmla="*/ 0 h 2433"/>
                <a:gd name="T80" fmla="*/ 0 w 2688"/>
                <a:gd name="T81" fmla="*/ 0 h 2433"/>
                <a:gd name="T82" fmla="*/ 0 w 2688"/>
                <a:gd name="T83" fmla="*/ 0 h 2433"/>
                <a:gd name="T84" fmla="*/ 0 w 2688"/>
                <a:gd name="T85" fmla="*/ 0 h 2433"/>
                <a:gd name="T86" fmla="*/ 0 w 2688"/>
                <a:gd name="T87" fmla="*/ 0 h 2433"/>
                <a:gd name="T88" fmla="*/ 0 w 2688"/>
                <a:gd name="T89" fmla="*/ 0 h 2433"/>
                <a:gd name="T90" fmla="*/ 0 w 2688"/>
                <a:gd name="T91" fmla="*/ 0 h 2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88"/>
                <a:gd name="T139" fmla="*/ 0 h 2433"/>
                <a:gd name="T140" fmla="*/ 2688 w 2688"/>
                <a:gd name="T141" fmla="*/ 2433 h 2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88" h="2433">
                  <a:moveTo>
                    <a:pt x="2688" y="2312"/>
                  </a:moveTo>
                  <a:lnTo>
                    <a:pt x="2688" y="2322"/>
                  </a:lnTo>
                  <a:lnTo>
                    <a:pt x="2687" y="2332"/>
                  </a:lnTo>
                  <a:lnTo>
                    <a:pt x="2686" y="2342"/>
                  </a:lnTo>
                  <a:lnTo>
                    <a:pt x="2684" y="2351"/>
                  </a:lnTo>
                  <a:lnTo>
                    <a:pt x="2682" y="2359"/>
                  </a:lnTo>
                  <a:lnTo>
                    <a:pt x="2679" y="2367"/>
                  </a:lnTo>
                  <a:lnTo>
                    <a:pt x="2676" y="2375"/>
                  </a:lnTo>
                  <a:lnTo>
                    <a:pt x="2673" y="2382"/>
                  </a:lnTo>
                  <a:lnTo>
                    <a:pt x="2669" y="2390"/>
                  </a:lnTo>
                  <a:lnTo>
                    <a:pt x="2664" y="2396"/>
                  </a:lnTo>
                  <a:lnTo>
                    <a:pt x="2660" y="2402"/>
                  </a:lnTo>
                  <a:lnTo>
                    <a:pt x="2655" y="2407"/>
                  </a:lnTo>
                  <a:lnTo>
                    <a:pt x="2649" y="2412"/>
                  </a:lnTo>
                  <a:lnTo>
                    <a:pt x="2643" y="2416"/>
                  </a:lnTo>
                  <a:lnTo>
                    <a:pt x="2637" y="2420"/>
                  </a:lnTo>
                  <a:lnTo>
                    <a:pt x="2631" y="2424"/>
                  </a:lnTo>
                  <a:lnTo>
                    <a:pt x="2624" y="2426"/>
                  </a:lnTo>
                  <a:lnTo>
                    <a:pt x="2617" y="2429"/>
                  </a:lnTo>
                  <a:lnTo>
                    <a:pt x="2609" y="2431"/>
                  </a:lnTo>
                  <a:lnTo>
                    <a:pt x="2602" y="2432"/>
                  </a:lnTo>
                  <a:lnTo>
                    <a:pt x="2594" y="2433"/>
                  </a:lnTo>
                  <a:lnTo>
                    <a:pt x="2586" y="2433"/>
                  </a:lnTo>
                  <a:lnTo>
                    <a:pt x="2577" y="2433"/>
                  </a:lnTo>
                  <a:lnTo>
                    <a:pt x="2569" y="2433"/>
                  </a:lnTo>
                  <a:lnTo>
                    <a:pt x="2551" y="2429"/>
                  </a:lnTo>
                  <a:lnTo>
                    <a:pt x="2532" y="2424"/>
                  </a:lnTo>
                  <a:lnTo>
                    <a:pt x="2513" y="2417"/>
                  </a:lnTo>
                  <a:lnTo>
                    <a:pt x="2493" y="2407"/>
                  </a:lnTo>
                  <a:lnTo>
                    <a:pt x="196" y="1138"/>
                  </a:lnTo>
                  <a:lnTo>
                    <a:pt x="176" y="1127"/>
                  </a:lnTo>
                  <a:lnTo>
                    <a:pt x="156" y="1113"/>
                  </a:lnTo>
                  <a:lnTo>
                    <a:pt x="138" y="1097"/>
                  </a:lnTo>
                  <a:lnTo>
                    <a:pt x="120" y="1081"/>
                  </a:lnTo>
                  <a:lnTo>
                    <a:pt x="103" y="1063"/>
                  </a:lnTo>
                  <a:lnTo>
                    <a:pt x="86" y="1043"/>
                  </a:lnTo>
                  <a:lnTo>
                    <a:pt x="71" y="1024"/>
                  </a:lnTo>
                  <a:lnTo>
                    <a:pt x="58" y="1002"/>
                  </a:lnTo>
                  <a:lnTo>
                    <a:pt x="45" y="981"/>
                  </a:lnTo>
                  <a:lnTo>
                    <a:pt x="34" y="960"/>
                  </a:lnTo>
                  <a:lnTo>
                    <a:pt x="24" y="937"/>
                  </a:lnTo>
                  <a:lnTo>
                    <a:pt x="16" y="915"/>
                  </a:lnTo>
                  <a:lnTo>
                    <a:pt x="9" y="892"/>
                  </a:lnTo>
                  <a:lnTo>
                    <a:pt x="4" y="871"/>
                  </a:lnTo>
                  <a:lnTo>
                    <a:pt x="1" y="848"/>
                  </a:lnTo>
                  <a:lnTo>
                    <a:pt x="0" y="827"/>
                  </a:lnTo>
                  <a:lnTo>
                    <a:pt x="0" y="122"/>
                  </a:lnTo>
                  <a:lnTo>
                    <a:pt x="1" y="112"/>
                  </a:lnTo>
                  <a:lnTo>
                    <a:pt x="1" y="102"/>
                  </a:lnTo>
                  <a:lnTo>
                    <a:pt x="3" y="93"/>
                  </a:lnTo>
                  <a:lnTo>
                    <a:pt x="4" y="83"/>
                  </a:lnTo>
                  <a:lnTo>
                    <a:pt x="6" y="74"/>
                  </a:lnTo>
                  <a:lnTo>
                    <a:pt x="9" y="66"/>
                  </a:lnTo>
                  <a:lnTo>
                    <a:pt x="12" y="59"/>
                  </a:lnTo>
                  <a:lnTo>
                    <a:pt x="16" y="52"/>
                  </a:lnTo>
                  <a:lnTo>
                    <a:pt x="20" y="45"/>
                  </a:lnTo>
                  <a:lnTo>
                    <a:pt x="24" y="38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9" y="22"/>
                  </a:lnTo>
                  <a:lnTo>
                    <a:pt x="45" y="17"/>
                  </a:lnTo>
                  <a:lnTo>
                    <a:pt x="51" y="13"/>
                  </a:lnTo>
                  <a:lnTo>
                    <a:pt x="58" y="10"/>
                  </a:lnTo>
                  <a:lnTo>
                    <a:pt x="64" y="7"/>
                  </a:lnTo>
                  <a:lnTo>
                    <a:pt x="71" y="5"/>
                  </a:lnTo>
                  <a:lnTo>
                    <a:pt x="79" y="3"/>
                  </a:lnTo>
                  <a:lnTo>
                    <a:pt x="86" y="1"/>
                  </a:lnTo>
                  <a:lnTo>
                    <a:pt x="94" y="1"/>
                  </a:lnTo>
                  <a:lnTo>
                    <a:pt x="103" y="0"/>
                  </a:lnTo>
                  <a:lnTo>
                    <a:pt x="111" y="0"/>
                  </a:lnTo>
                  <a:lnTo>
                    <a:pt x="120" y="1"/>
                  </a:lnTo>
                  <a:lnTo>
                    <a:pt x="138" y="4"/>
                  </a:lnTo>
                  <a:lnTo>
                    <a:pt x="156" y="9"/>
                  </a:lnTo>
                  <a:lnTo>
                    <a:pt x="176" y="17"/>
                  </a:lnTo>
                  <a:lnTo>
                    <a:pt x="196" y="26"/>
                  </a:lnTo>
                  <a:lnTo>
                    <a:pt x="2493" y="1295"/>
                  </a:lnTo>
                  <a:lnTo>
                    <a:pt x="2513" y="1307"/>
                  </a:lnTo>
                  <a:lnTo>
                    <a:pt x="2532" y="1321"/>
                  </a:lnTo>
                  <a:lnTo>
                    <a:pt x="2551" y="1336"/>
                  </a:lnTo>
                  <a:lnTo>
                    <a:pt x="2569" y="1353"/>
                  </a:lnTo>
                  <a:lnTo>
                    <a:pt x="2586" y="1372"/>
                  </a:lnTo>
                  <a:lnTo>
                    <a:pt x="2602" y="1390"/>
                  </a:lnTo>
                  <a:lnTo>
                    <a:pt x="2617" y="1410"/>
                  </a:lnTo>
                  <a:lnTo>
                    <a:pt x="2631" y="1431"/>
                  </a:lnTo>
                  <a:lnTo>
                    <a:pt x="2643" y="1452"/>
                  </a:lnTo>
                  <a:lnTo>
                    <a:pt x="2655" y="1475"/>
                  </a:lnTo>
                  <a:lnTo>
                    <a:pt x="2664" y="1496"/>
                  </a:lnTo>
                  <a:lnTo>
                    <a:pt x="2673" y="1518"/>
                  </a:lnTo>
                  <a:lnTo>
                    <a:pt x="2679" y="1541"/>
                  </a:lnTo>
                  <a:lnTo>
                    <a:pt x="2684" y="1563"/>
                  </a:lnTo>
                  <a:lnTo>
                    <a:pt x="2687" y="1585"/>
                  </a:lnTo>
                  <a:lnTo>
                    <a:pt x="2688" y="1606"/>
                  </a:lnTo>
                  <a:lnTo>
                    <a:pt x="2688" y="2312"/>
                  </a:lnTo>
                  <a:close/>
                </a:path>
              </a:pathLst>
            </a:custGeom>
            <a:solidFill>
              <a:srgbClr val="EDA74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7" name="Freeform 98"/>
            <p:cNvSpPr>
              <a:spLocks/>
            </p:cNvSpPr>
            <p:nvPr/>
          </p:nvSpPr>
          <p:spPr bwMode="auto">
            <a:xfrm>
              <a:off x="724728" y="2296444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2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2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8" name="Freeform 99"/>
            <p:cNvSpPr>
              <a:spLocks/>
            </p:cNvSpPr>
            <p:nvPr/>
          </p:nvSpPr>
          <p:spPr bwMode="auto">
            <a:xfrm>
              <a:off x="724728" y="2309837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59" name="Freeform 100"/>
            <p:cNvSpPr>
              <a:spLocks/>
            </p:cNvSpPr>
            <p:nvPr/>
          </p:nvSpPr>
          <p:spPr bwMode="auto">
            <a:xfrm>
              <a:off x="724728" y="2323231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7"/>
                  </a:lnTo>
                  <a:lnTo>
                    <a:pt x="1366" y="831"/>
                  </a:lnTo>
                  <a:lnTo>
                    <a:pt x="1371" y="824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6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6"/>
                  </a:lnTo>
                  <a:lnTo>
                    <a:pt x="1359" y="730"/>
                  </a:lnTo>
                  <a:lnTo>
                    <a:pt x="1354" y="725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0" name="Freeform 101"/>
            <p:cNvSpPr>
              <a:spLocks/>
            </p:cNvSpPr>
            <p:nvPr/>
          </p:nvSpPr>
          <p:spPr bwMode="auto">
            <a:xfrm>
              <a:off x="724728" y="2338299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4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1" name="Freeform 102"/>
            <p:cNvSpPr>
              <a:spLocks/>
            </p:cNvSpPr>
            <p:nvPr/>
          </p:nvSpPr>
          <p:spPr bwMode="auto">
            <a:xfrm>
              <a:off x="724728" y="2351693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4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4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6"/>
                  </a:lnTo>
                  <a:lnTo>
                    <a:pt x="1344" y="852"/>
                  </a:lnTo>
                  <a:lnTo>
                    <a:pt x="1350" y="848"/>
                  </a:lnTo>
                  <a:lnTo>
                    <a:pt x="1356" y="843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1"/>
                  </a:lnTo>
                  <a:lnTo>
                    <a:pt x="1380" y="794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2" name="Freeform 103"/>
            <p:cNvSpPr>
              <a:spLocks/>
            </p:cNvSpPr>
            <p:nvPr/>
          </p:nvSpPr>
          <p:spPr bwMode="auto">
            <a:xfrm>
              <a:off x="724728" y="2365086"/>
              <a:ext cx="40358" cy="28462"/>
            </a:xfrm>
            <a:custGeom>
              <a:avLst/>
              <a:gdLst>
                <a:gd name="T0" fmla="*/ 0 w 1380"/>
                <a:gd name="T1" fmla="*/ 0 h 863"/>
                <a:gd name="T2" fmla="*/ 0 w 1380"/>
                <a:gd name="T3" fmla="*/ 0 h 863"/>
                <a:gd name="T4" fmla="*/ 0 w 1380"/>
                <a:gd name="T5" fmla="*/ 0 h 863"/>
                <a:gd name="T6" fmla="*/ 0 w 1380"/>
                <a:gd name="T7" fmla="*/ 0 h 863"/>
                <a:gd name="T8" fmla="*/ 0 w 1380"/>
                <a:gd name="T9" fmla="*/ 0 h 863"/>
                <a:gd name="T10" fmla="*/ 0 w 1380"/>
                <a:gd name="T11" fmla="*/ 0 h 863"/>
                <a:gd name="T12" fmla="*/ 0 w 1380"/>
                <a:gd name="T13" fmla="*/ 0 h 863"/>
                <a:gd name="T14" fmla="*/ 0 w 1380"/>
                <a:gd name="T15" fmla="*/ 0 h 863"/>
                <a:gd name="T16" fmla="*/ 0 w 1380"/>
                <a:gd name="T17" fmla="*/ 0 h 863"/>
                <a:gd name="T18" fmla="*/ 0 w 1380"/>
                <a:gd name="T19" fmla="*/ 0 h 863"/>
                <a:gd name="T20" fmla="*/ 0 w 1380"/>
                <a:gd name="T21" fmla="*/ 0 h 863"/>
                <a:gd name="T22" fmla="*/ 0 w 1380"/>
                <a:gd name="T23" fmla="*/ 0 h 863"/>
                <a:gd name="T24" fmla="*/ 0 w 1380"/>
                <a:gd name="T25" fmla="*/ 0 h 863"/>
                <a:gd name="T26" fmla="*/ 0 w 1380"/>
                <a:gd name="T27" fmla="*/ 0 h 863"/>
                <a:gd name="T28" fmla="*/ 0 w 1380"/>
                <a:gd name="T29" fmla="*/ 0 h 863"/>
                <a:gd name="T30" fmla="*/ 0 w 1380"/>
                <a:gd name="T31" fmla="*/ 0 h 863"/>
                <a:gd name="T32" fmla="*/ 0 w 1380"/>
                <a:gd name="T33" fmla="*/ 0 h 863"/>
                <a:gd name="T34" fmla="*/ 0 w 1380"/>
                <a:gd name="T35" fmla="*/ 0 h 863"/>
                <a:gd name="T36" fmla="*/ 0 w 1380"/>
                <a:gd name="T37" fmla="*/ 0 h 863"/>
                <a:gd name="T38" fmla="*/ 0 w 1380"/>
                <a:gd name="T39" fmla="*/ 0 h 863"/>
                <a:gd name="T40" fmla="*/ 0 w 1380"/>
                <a:gd name="T41" fmla="*/ 0 h 863"/>
                <a:gd name="T42" fmla="*/ 0 w 1380"/>
                <a:gd name="T43" fmla="*/ 0 h 863"/>
                <a:gd name="T44" fmla="*/ 0 w 1380"/>
                <a:gd name="T45" fmla="*/ 0 h 863"/>
                <a:gd name="T46" fmla="*/ 0 w 1380"/>
                <a:gd name="T47" fmla="*/ 0 h 863"/>
                <a:gd name="T48" fmla="*/ 0 w 1380"/>
                <a:gd name="T49" fmla="*/ 0 h 863"/>
                <a:gd name="T50" fmla="*/ 0 w 1380"/>
                <a:gd name="T51" fmla="*/ 0 h 863"/>
                <a:gd name="T52" fmla="*/ 0 w 1380"/>
                <a:gd name="T53" fmla="*/ 0 h 863"/>
                <a:gd name="T54" fmla="*/ 0 w 1380"/>
                <a:gd name="T55" fmla="*/ 0 h 863"/>
                <a:gd name="T56" fmla="*/ 0 w 1380"/>
                <a:gd name="T57" fmla="*/ 0 h 863"/>
                <a:gd name="T58" fmla="*/ 0 w 1380"/>
                <a:gd name="T59" fmla="*/ 0 h 863"/>
                <a:gd name="T60" fmla="*/ 0 w 1380"/>
                <a:gd name="T61" fmla="*/ 0 h 863"/>
                <a:gd name="T62" fmla="*/ 0 w 1380"/>
                <a:gd name="T63" fmla="*/ 0 h 863"/>
                <a:gd name="T64" fmla="*/ 0 w 1380"/>
                <a:gd name="T65" fmla="*/ 0 h 86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3"/>
                <a:gd name="T101" fmla="*/ 1380 w 1380"/>
                <a:gd name="T102" fmla="*/ 863 h 86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3">
                  <a:moveTo>
                    <a:pt x="10" y="40"/>
                  </a:moveTo>
                  <a:lnTo>
                    <a:pt x="6" y="47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3"/>
                  </a:lnTo>
                  <a:lnTo>
                    <a:pt x="3" y="100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4"/>
                  </a:lnTo>
                  <a:lnTo>
                    <a:pt x="40" y="148"/>
                  </a:lnTo>
                  <a:lnTo>
                    <a:pt x="1263" y="853"/>
                  </a:lnTo>
                  <a:lnTo>
                    <a:pt x="1270" y="856"/>
                  </a:lnTo>
                  <a:lnTo>
                    <a:pt x="1278" y="859"/>
                  </a:lnTo>
                  <a:lnTo>
                    <a:pt x="1286" y="861"/>
                  </a:lnTo>
                  <a:lnTo>
                    <a:pt x="1294" y="862"/>
                  </a:lnTo>
                  <a:lnTo>
                    <a:pt x="1301" y="863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0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2"/>
                  </a:lnTo>
                  <a:lnTo>
                    <a:pt x="1374" y="815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69"/>
                  </a:lnTo>
                  <a:lnTo>
                    <a:pt x="1378" y="762"/>
                  </a:lnTo>
                  <a:lnTo>
                    <a:pt x="1375" y="755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8"/>
                  </a:lnTo>
                  <a:lnTo>
                    <a:pt x="1341" y="714"/>
                  </a:lnTo>
                  <a:lnTo>
                    <a:pt x="116" y="10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7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2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0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3" name="Freeform 104"/>
            <p:cNvSpPr>
              <a:spLocks/>
            </p:cNvSpPr>
            <p:nvPr/>
          </p:nvSpPr>
          <p:spPr bwMode="auto">
            <a:xfrm>
              <a:off x="805443" y="2343321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7"/>
                  </a:lnTo>
                  <a:lnTo>
                    <a:pt x="1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10"/>
                  </a:lnTo>
                  <a:lnTo>
                    <a:pt x="8" y="117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3"/>
                  </a:lnTo>
                  <a:lnTo>
                    <a:pt x="2754" y="1596"/>
                  </a:lnTo>
                  <a:lnTo>
                    <a:pt x="2758" y="1589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1"/>
                  </a:lnTo>
                  <a:lnTo>
                    <a:pt x="2763" y="1543"/>
                  </a:lnTo>
                  <a:lnTo>
                    <a:pt x="2761" y="1536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7"/>
                  </a:lnTo>
                  <a:lnTo>
                    <a:pt x="2731" y="1492"/>
                  </a:lnTo>
                  <a:lnTo>
                    <a:pt x="2724" y="1488"/>
                  </a:lnTo>
                  <a:lnTo>
                    <a:pt x="116" y="11"/>
                  </a:lnTo>
                  <a:lnTo>
                    <a:pt x="108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7"/>
                  </a:lnTo>
                  <a:lnTo>
                    <a:pt x="42" y="10"/>
                  </a:lnTo>
                  <a:lnTo>
                    <a:pt x="36" y="14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4" name="Freeform 105"/>
            <p:cNvSpPr>
              <a:spLocks/>
            </p:cNvSpPr>
            <p:nvPr/>
          </p:nvSpPr>
          <p:spPr bwMode="auto">
            <a:xfrm>
              <a:off x="805443" y="2358389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5" name="Freeform 106"/>
            <p:cNvSpPr>
              <a:spLocks/>
            </p:cNvSpPr>
            <p:nvPr/>
          </p:nvSpPr>
          <p:spPr bwMode="auto">
            <a:xfrm>
              <a:off x="805443" y="2371783"/>
              <a:ext cx="82210" cy="53574"/>
            </a:xfrm>
            <a:custGeom>
              <a:avLst/>
              <a:gdLst>
                <a:gd name="T0" fmla="*/ 0 w 2764"/>
                <a:gd name="T1" fmla="*/ 0 h 1637"/>
                <a:gd name="T2" fmla="*/ 0 w 2764"/>
                <a:gd name="T3" fmla="*/ 0 h 1637"/>
                <a:gd name="T4" fmla="*/ 0 w 2764"/>
                <a:gd name="T5" fmla="*/ 0 h 1637"/>
                <a:gd name="T6" fmla="*/ 0 w 2764"/>
                <a:gd name="T7" fmla="*/ 0 h 1637"/>
                <a:gd name="T8" fmla="*/ 0 w 2764"/>
                <a:gd name="T9" fmla="*/ 0 h 1637"/>
                <a:gd name="T10" fmla="*/ 0 w 2764"/>
                <a:gd name="T11" fmla="*/ 0 h 1637"/>
                <a:gd name="T12" fmla="*/ 0 w 2764"/>
                <a:gd name="T13" fmla="*/ 0 h 1637"/>
                <a:gd name="T14" fmla="*/ 0 w 2764"/>
                <a:gd name="T15" fmla="*/ 0 h 1637"/>
                <a:gd name="T16" fmla="*/ 0 w 2764"/>
                <a:gd name="T17" fmla="*/ 0 h 1637"/>
                <a:gd name="T18" fmla="*/ 0 w 2764"/>
                <a:gd name="T19" fmla="*/ 0 h 1637"/>
                <a:gd name="T20" fmla="*/ 0 w 2764"/>
                <a:gd name="T21" fmla="*/ 0 h 1637"/>
                <a:gd name="T22" fmla="*/ 0 w 2764"/>
                <a:gd name="T23" fmla="*/ 0 h 1637"/>
                <a:gd name="T24" fmla="*/ 0 w 2764"/>
                <a:gd name="T25" fmla="*/ 0 h 1637"/>
                <a:gd name="T26" fmla="*/ 0 w 2764"/>
                <a:gd name="T27" fmla="*/ 0 h 1637"/>
                <a:gd name="T28" fmla="*/ 0 w 2764"/>
                <a:gd name="T29" fmla="*/ 0 h 1637"/>
                <a:gd name="T30" fmla="*/ 0 w 2764"/>
                <a:gd name="T31" fmla="*/ 0 h 1637"/>
                <a:gd name="T32" fmla="*/ 0 w 2764"/>
                <a:gd name="T33" fmla="*/ 0 h 1637"/>
                <a:gd name="T34" fmla="*/ 0 w 2764"/>
                <a:gd name="T35" fmla="*/ 0 h 1637"/>
                <a:gd name="T36" fmla="*/ 0 w 2764"/>
                <a:gd name="T37" fmla="*/ 0 h 1637"/>
                <a:gd name="T38" fmla="*/ 0 w 2764"/>
                <a:gd name="T39" fmla="*/ 0 h 1637"/>
                <a:gd name="T40" fmla="*/ 0 w 2764"/>
                <a:gd name="T41" fmla="*/ 0 h 1637"/>
                <a:gd name="T42" fmla="*/ 0 w 2764"/>
                <a:gd name="T43" fmla="*/ 0 h 1637"/>
                <a:gd name="T44" fmla="*/ 0 w 2764"/>
                <a:gd name="T45" fmla="*/ 0 h 1637"/>
                <a:gd name="T46" fmla="*/ 0 w 2764"/>
                <a:gd name="T47" fmla="*/ 0 h 1637"/>
                <a:gd name="T48" fmla="*/ 0 w 2764"/>
                <a:gd name="T49" fmla="*/ 0 h 1637"/>
                <a:gd name="T50" fmla="*/ 0 w 2764"/>
                <a:gd name="T51" fmla="*/ 0 h 1637"/>
                <a:gd name="T52" fmla="*/ 0 w 2764"/>
                <a:gd name="T53" fmla="*/ 0 h 1637"/>
                <a:gd name="T54" fmla="*/ 0 w 2764"/>
                <a:gd name="T55" fmla="*/ 0 h 1637"/>
                <a:gd name="T56" fmla="*/ 0 w 2764"/>
                <a:gd name="T57" fmla="*/ 0 h 1637"/>
                <a:gd name="T58" fmla="*/ 0 w 2764"/>
                <a:gd name="T59" fmla="*/ 0 h 1637"/>
                <a:gd name="T60" fmla="*/ 0 w 2764"/>
                <a:gd name="T61" fmla="*/ 0 h 1637"/>
                <a:gd name="T62" fmla="*/ 0 w 2764"/>
                <a:gd name="T63" fmla="*/ 0 h 1637"/>
                <a:gd name="T64" fmla="*/ 0 w 2764"/>
                <a:gd name="T65" fmla="*/ 0 h 163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7"/>
                <a:gd name="T101" fmla="*/ 2764 w 2764"/>
                <a:gd name="T102" fmla="*/ 1637 h 163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7">
                  <a:moveTo>
                    <a:pt x="9" y="42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30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7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6"/>
                  </a:lnTo>
                  <a:lnTo>
                    <a:pt x="2731" y="1491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2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6" name="Freeform 107"/>
            <p:cNvSpPr>
              <a:spLocks/>
            </p:cNvSpPr>
            <p:nvPr/>
          </p:nvSpPr>
          <p:spPr bwMode="auto">
            <a:xfrm>
              <a:off x="805443" y="2385176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4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2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6"/>
                  </a:lnTo>
                  <a:lnTo>
                    <a:pt x="2758" y="1588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7" name="Freeform 108"/>
            <p:cNvSpPr>
              <a:spLocks/>
            </p:cNvSpPr>
            <p:nvPr/>
          </p:nvSpPr>
          <p:spPr bwMode="auto">
            <a:xfrm>
              <a:off x="805443" y="2400243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8"/>
                  </a:lnTo>
                  <a:lnTo>
                    <a:pt x="21" y="133"/>
                  </a:lnTo>
                  <a:lnTo>
                    <a:pt x="27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8"/>
                  </a:lnTo>
                  <a:lnTo>
                    <a:pt x="2740" y="1613"/>
                  </a:lnTo>
                  <a:lnTo>
                    <a:pt x="2745" y="1607"/>
                  </a:lnTo>
                  <a:lnTo>
                    <a:pt x="2750" y="1601"/>
                  </a:lnTo>
                  <a:lnTo>
                    <a:pt x="2754" y="1594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4"/>
                  </a:lnTo>
                  <a:lnTo>
                    <a:pt x="2764" y="1556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3"/>
                  </a:lnTo>
                  <a:lnTo>
                    <a:pt x="2747" y="1507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7"/>
                  </a:lnTo>
                  <a:lnTo>
                    <a:pt x="14" y="33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8" name="Freeform 109"/>
            <p:cNvSpPr>
              <a:spLocks/>
            </p:cNvSpPr>
            <p:nvPr/>
          </p:nvSpPr>
          <p:spPr bwMode="auto">
            <a:xfrm>
              <a:off x="805443" y="2413637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9"/>
                  </a:lnTo>
                  <a:lnTo>
                    <a:pt x="2750" y="1601"/>
                  </a:lnTo>
                  <a:lnTo>
                    <a:pt x="2754" y="1595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8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8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69" name="Freeform 110"/>
            <p:cNvSpPr>
              <a:spLocks/>
            </p:cNvSpPr>
            <p:nvPr/>
          </p:nvSpPr>
          <p:spPr bwMode="auto">
            <a:xfrm>
              <a:off x="796475" y="2589427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1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7"/>
                  </a:lnTo>
                  <a:lnTo>
                    <a:pt x="3412" y="2001"/>
                  </a:lnTo>
                  <a:lnTo>
                    <a:pt x="3416" y="1995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7"/>
                  </a:lnTo>
                  <a:lnTo>
                    <a:pt x="3426" y="1949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6"/>
                  </a:lnTo>
                  <a:lnTo>
                    <a:pt x="3405" y="1901"/>
                  </a:lnTo>
                  <a:lnTo>
                    <a:pt x="3399" y="1895"/>
                  </a:lnTo>
                  <a:lnTo>
                    <a:pt x="3393" y="1890"/>
                  </a:lnTo>
                  <a:lnTo>
                    <a:pt x="3386" y="1886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0" name="Freeform 111"/>
            <p:cNvSpPr>
              <a:spLocks/>
            </p:cNvSpPr>
            <p:nvPr/>
          </p:nvSpPr>
          <p:spPr bwMode="auto">
            <a:xfrm>
              <a:off x="796475" y="2602820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2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8"/>
                  </a:lnTo>
                  <a:lnTo>
                    <a:pt x="3412" y="2002"/>
                  </a:lnTo>
                  <a:lnTo>
                    <a:pt x="3416" y="1994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8"/>
                  </a:lnTo>
                  <a:lnTo>
                    <a:pt x="3426" y="1950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8"/>
                  </a:lnTo>
                  <a:lnTo>
                    <a:pt x="3405" y="1902"/>
                  </a:lnTo>
                  <a:lnTo>
                    <a:pt x="3399" y="1896"/>
                  </a:lnTo>
                  <a:lnTo>
                    <a:pt x="3393" y="1891"/>
                  </a:lnTo>
                  <a:lnTo>
                    <a:pt x="3386" y="1886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7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1" name="Freeform 112"/>
            <p:cNvSpPr>
              <a:spLocks/>
            </p:cNvSpPr>
            <p:nvPr/>
          </p:nvSpPr>
          <p:spPr bwMode="auto">
            <a:xfrm>
              <a:off x="817401" y="2457166"/>
              <a:ext cx="14947" cy="18417"/>
            </a:xfrm>
            <a:custGeom>
              <a:avLst/>
              <a:gdLst>
                <a:gd name="T0" fmla="*/ 0 w 505"/>
                <a:gd name="T1" fmla="*/ 0 h 593"/>
                <a:gd name="T2" fmla="*/ 0 w 505"/>
                <a:gd name="T3" fmla="*/ 0 h 593"/>
                <a:gd name="T4" fmla="*/ 0 w 505"/>
                <a:gd name="T5" fmla="*/ 0 h 593"/>
                <a:gd name="T6" fmla="*/ 0 w 505"/>
                <a:gd name="T7" fmla="*/ 0 h 593"/>
                <a:gd name="T8" fmla="*/ 0 w 505"/>
                <a:gd name="T9" fmla="*/ 0 h 593"/>
                <a:gd name="T10" fmla="*/ 0 w 505"/>
                <a:gd name="T11" fmla="*/ 0 h 593"/>
                <a:gd name="T12" fmla="*/ 0 w 505"/>
                <a:gd name="T13" fmla="*/ 0 h 593"/>
                <a:gd name="T14" fmla="*/ 0 w 505"/>
                <a:gd name="T15" fmla="*/ 0 h 593"/>
                <a:gd name="T16" fmla="*/ 0 w 505"/>
                <a:gd name="T17" fmla="*/ 0 h 593"/>
                <a:gd name="T18" fmla="*/ 0 w 505"/>
                <a:gd name="T19" fmla="*/ 0 h 593"/>
                <a:gd name="T20" fmla="*/ 0 w 505"/>
                <a:gd name="T21" fmla="*/ 0 h 593"/>
                <a:gd name="T22" fmla="*/ 0 w 505"/>
                <a:gd name="T23" fmla="*/ 0 h 593"/>
                <a:gd name="T24" fmla="*/ 0 w 505"/>
                <a:gd name="T25" fmla="*/ 0 h 593"/>
                <a:gd name="T26" fmla="*/ 0 w 505"/>
                <a:gd name="T27" fmla="*/ 0 h 593"/>
                <a:gd name="T28" fmla="*/ 0 w 505"/>
                <a:gd name="T29" fmla="*/ 0 h 593"/>
                <a:gd name="T30" fmla="*/ 0 w 505"/>
                <a:gd name="T31" fmla="*/ 0 h 593"/>
                <a:gd name="T32" fmla="*/ 0 w 505"/>
                <a:gd name="T33" fmla="*/ 0 h 593"/>
                <a:gd name="T34" fmla="*/ 0 w 505"/>
                <a:gd name="T35" fmla="*/ 0 h 593"/>
                <a:gd name="T36" fmla="*/ 0 w 505"/>
                <a:gd name="T37" fmla="*/ 0 h 593"/>
                <a:gd name="T38" fmla="*/ 0 w 505"/>
                <a:gd name="T39" fmla="*/ 0 h 593"/>
                <a:gd name="T40" fmla="*/ 0 w 505"/>
                <a:gd name="T41" fmla="*/ 0 h 593"/>
                <a:gd name="T42" fmla="*/ 0 w 505"/>
                <a:gd name="T43" fmla="*/ 0 h 593"/>
                <a:gd name="T44" fmla="*/ 0 w 505"/>
                <a:gd name="T45" fmla="*/ 0 h 593"/>
                <a:gd name="T46" fmla="*/ 0 w 505"/>
                <a:gd name="T47" fmla="*/ 0 h 593"/>
                <a:gd name="T48" fmla="*/ 0 w 505"/>
                <a:gd name="T49" fmla="*/ 0 h 593"/>
                <a:gd name="T50" fmla="*/ 0 w 505"/>
                <a:gd name="T51" fmla="*/ 0 h 593"/>
                <a:gd name="T52" fmla="*/ 0 w 505"/>
                <a:gd name="T53" fmla="*/ 0 h 593"/>
                <a:gd name="T54" fmla="*/ 0 w 505"/>
                <a:gd name="T55" fmla="*/ 0 h 593"/>
                <a:gd name="T56" fmla="*/ 0 w 505"/>
                <a:gd name="T57" fmla="*/ 0 h 593"/>
                <a:gd name="T58" fmla="*/ 0 w 505"/>
                <a:gd name="T59" fmla="*/ 0 h 593"/>
                <a:gd name="T60" fmla="*/ 0 w 505"/>
                <a:gd name="T61" fmla="*/ 0 h 593"/>
                <a:gd name="T62" fmla="*/ 0 w 505"/>
                <a:gd name="T63" fmla="*/ 0 h 593"/>
                <a:gd name="T64" fmla="*/ 0 w 505"/>
                <a:gd name="T65" fmla="*/ 0 h 593"/>
                <a:gd name="T66" fmla="*/ 0 w 505"/>
                <a:gd name="T67" fmla="*/ 0 h 593"/>
                <a:gd name="T68" fmla="*/ 0 w 505"/>
                <a:gd name="T69" fmla="*/ 0 h 593"/>
                <a:gd name="T70" fmla="*/ 0 w 505"/>
                <a:gd name="T71" fmla="*/ 0 h 593"/>
                <a:gd name="T72" fmla="*/ 0 w 505"/>
                <a:gd name="T73" fmla="*/ 0 h 593"/>
                <a:gd name="T74" fmla="*/ 0 w 505"/>
                <a:gd name="T75" fmla="*/ 0 h 593"/>
                <a:gd name="T76" fmla="*/ 0 w 505"/>
                <a:gd name="T77" fmla="*/ 0 h 593"/>
                <a:gd name="T78" fmla="*/ 0 w 505"/>
                <a:gd name="T79" fmla="*/ 0 h 593"/>
                <a:gd name="T80" fmla="*/ 0 w 505"/>
                <a:gd name="T81" fmla="*/ 0 h 593"/>
                <a:gd name="T82" fmla="*/ 0 w 505"/>
                <a:gd name="T83" fmla="*/ 0 h 593"/>
                <a:gd name="T84" fmla="*/ 0 w 505"/>
                <a:gd name="T85" fmla="*/ 0 h 5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593"/>
                <a:gd name="T131" fmla="*/ 505 w 505"/>
                <a:gd name="T132" fmla="*/ 593 h 5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593">
                  <a:moveTo>
                    <a:pt x="505" y="320"/>
                  </a:moveTo>
                  <a:lnTo>
                    <a:pt x="505" y="335"/>
                  </a:lnTo>
                  <a:lnTo>
                    <a:pt x="505" y="350"/>
                  </a:lnTo>
                  <a:lnTo>
                    <a:pt x="504" y="365"/>
                  </a:lnTo>
                  <a:lnTo>
                    <a:pt x="503" y="379"/>
                  </a:lnTo>
                  <a:lnTo>
                    <a:pt x="501" y="394"/>
                  </a:lnTo>
                  <a:lnTo>
                    <a:pt x="498" y="407"/>
                  </a:lnTo>
                  <a:lnTo>
                    <a:pt x="495" y="420"/>
                  </a:lnTo>
                  <a:lnTo>
                    <a:pt x="491" y="433"/>
                  </a:lnTo>
                  <a:lnTo>
                    <a:pt x="487" y="446"/>
                  </a:lnTo>
                  <a:lnTo>
                    <a:pt x="482" y="458"/>
                  </a:lnTo>
                  <a:lnTo>
                    <a:pt x="476" y="470"/>
                  </a:lnTo>
                  <a:lnTo>
                    <a:pt x="470" y="481"/>
                  </a:lnTo>
                  <a:lnTo>
                    <a:pt x="464" y="492"/>
                  </a:lnTo>
                  <a:lnTo>
                    <a:pt x="457" y="503"/>
                  </a:lnTo>
                  <a:lnTo>
                    <a:pt x="450" y="513"/>
                  </a:lnTo>
                  <a:lnTo>
                    <a:pt x="442" y="522"/>
                  </a:lnTo>
                  <a:lnTo>
                    <a:pt x="434" y="531"/>
                  </a:lnTo>
                  <a:lnTo>
                    <a:pt x="425" y="539"/>
                  </a:lnTo>
                  <a:lnTo>
                    <a:pt x="416" y="548"/>
                  </a:lnTo>
                  <a:lnTo>
                    <a:pt x="406" y="555"/>
                  </a:lnTo>
                  <a:lnTo>
                    <a:pt x="397" y="562"/>
                  </a:lnTo>
                  <a:lnTo>
                    <a:pt x="386" y="568"/>
                  </a:lnTo>
                  <a:lnTo>
                    <a:pt x="376" y="573"/>
                  </a:lnTo>
                  <a:lnTo>
                    <a:pt x="365" y="578"/>
                  </a:lnTo>
                  <a:lnTo>
                    <a:pt x="354" y="582"/>
                  </a:lnTo>
                  <a:lnTo>
                    <a:pt x="342" y="586"/>
                  </a:lnTo>
                  <a:lnTo>
                    <a:pt x="331" y="588"/>
                  </a:lnTo>
                  <a:lnTo>
                    <a:pt x="319" y="590"/>
                  </a:lnTo>
                  <a:lnTo>
                    <a:pt x="306" y="592"/>
                  </a:lnTo>
                  <a:lnTo>
                    <a:pt x="294" y="593"/>
                  </a:lnTo>
                  <a:lnTo>
                    <a:pt x="281" y="593"/>
                  </a:lnTo>
                  <a:lnTo>
                    <a:pt x="268" y="592"/>
                  </a:lnTo>
                  <a:lnTo>
                    <a:pt x="255" y="590"/>
                  </a:lnTo>
                  <a:lnTo>
                    <a:pt x="242" y="588"/>
                  </a:lnTo>
                  <a:lnTo>
                    <a:pt x="229" y="585"/>
                  </a:lnTo>
                  <a:lnTo>
                    <a:pt x="217" y="581"/>
                  </a:lnTo>
                  <a:lnTo>
                    <a:pt x="204" y="577"/>
                  </a:lnTo>
                  <a:lnTo>
                    <a:pt x="192" y="572"/>
                  </a:lnTo>
                  <a:lnTo>
                    <a:pt x="180" y="566"/>
                  </a:lnTo>
                  <a:lnTo>
                    <a:pt x="169" y="560"/>
                  </a:lnTo>
                  <a:lnTo>
                    <a:pt x="157" y="553"/>
                  </a:lnTo>
                  <a:lnTo>
                    <a:pt x="146" y="546"/>
                  </a:lnTo>
                  <a:lnTo>
                    <a:pt x="135" y="537"/>
                  </a:lnTo>
                  <a:lnTo>
                    <a:pt x="124" y="528"/>
                  </a:lnTo>
                  <a:lnTo>
                    <a:pt x="114" y="519"/>
                  </a:lnTo>
                  <a:lnTo>
                    <a:pt x="104" y="510"/>
                  </a:lnTo>
                  <a:lnTo>
                    <a:pt x="94" y="500"/>
                  </a:lnTo>
                  <a:lnTo>
                    <a:pt x="85" y="488"/>
                  </a:lnTo>
                  <a:lnTo>
                    <a:pt x="76" y="478"/>
                  </a:lnTo>
                  <a:lnTo>
                    <a:pt x="68" y="466"/>
                  </a:lnTo>
                  <a:lnTo>
                    <a:pt x="60" y="455"/>
                  </a:lnTo>
                  <a:lnTo>
                    <a:pt x="52" y="443"/>
                  </a:lnTo>
                  <a:lnTo>
                    <a:pt x="45" y="429"/>
                  </a:lnTo>
                  <a:lnTo>
                    <a:pt x="38" y="417"/>
                  </a:lnTo>
                  <a:lnTo>
                    <a:pt x="32" y="404"/>
                  </a:lnTo>
                  <a:lnTo>
                    <a:pt x="26" y="389"/>
                  </a:lnTo>
                  <a:lnTo>
                    <a:pt x="21" y="376"/>
                  </a:lnTo>
                  <a:lnTo>
                    <a:pt x="16" y="362"/>
                  </a:lnTo>
                  <a:lnTo>
                    <a:pt x="12" y="348"/>
                  </a:lnTo>
                  <a:lnTo>
                    <a:pt x="8" y="333"/>
                  </a:lnTo>
                  <a:lnTo>
                    <a:pt x="5" y="318"/>
                  </a:lnTo>
                  <a:lnTo>
                    <a:pt x="3" y="304"/>
                  </a:lnTo>
                  <a:lnTo>
                    <a:pt x="1" y="288"/>
                  </a:lnTo>
                  <a:lnTo>
                    <a:pt x="0" y="273"/>
                  </a:lnTo>
                  <a:lnTo>
                    <a:pt x="0" y="258"/>
                  </a:lnTo>
                  <a:lnTo>
                    <a:pt x="0" y="243"/>
                  </a:lnTo>
                  <a:lnTo>
                    <a:pt x="1" y="228"/>
                  </a:lnTo>
                  <a:lnTo>
                    <a:pt x="2" y="214"/>
                  </a:lnTo>
                  <a:lnTo>
                    <a:pt x="4" y="200"/>
                  </a:lnTo>
                  <a:lnTo>
                    <a:pt x="7" y="186"/>
                  </a:lnTo>
                  <a:lnTo>
                    <a:pt x="10" y="173"/>
                  </a:lnTo>
                  <a:lnTo>
                    <a:pt x="14" y="160"/>
                  </a:lnTo>
                  <a:lnTo>
                    <a:pt x="18" y="147"/>
                  </a:lnTo>
                  <a:lnTo>
                    <a:pt x="23" y="134"/>
                  </a:lnTo>
                  <a:lnTo>
                    <a:pt x="29" y="123"/>
                  </a:lnTo>
                  <a:lnTo>
                    <a:pt x="35" y="112"/>
                  </a:lnTo>
                  <a:lnTo>
                    <a:pt x="41" y="101"/>
                  </a:lnTo>
                  <a:lnTo>
                    <a:pt x="48" y="91"/>
                  </a:lnTo>
                  <a:lnTo>
                    <a:pt x="55" y="80"/>
                  </a:lnTo>
                  <a:lnTo>
                    <a:pt x="63" y="71"/>
                  </a:lnTo>
                  <a:lnTo>
                    <a:pt x="71" y="62"/>
                  </a:lnTo>
                  <a:lnTo>
                    <a:pt x="80" y="54"/>
                  </a:lnTo>
                  <a:lnTo>
                    <a:pt x="89" y="46"/>
                  </a:lnTo>
                  <a:lnTo>
                    <a:pt x="99" y="39"/>
                  </a:lnTo>
                  <a:lnTo>
                    <a:pt x="108" y="31"/>
                  </a:lnTo>
                  <a:lnTo>
                    <a:pt x="119" y="25"/>
                  </a:lnTo>
                  <a:lnTo>
                    <a:pt x="129" y="20"/>
                  </a:lnTo>
                  <a:lnTo>
                    <a:pt x="140" y="15"/>
                  </a:lnTo>
                  <a:lnTo>
                    <a:pt x="151" y="11"/>
                  </a:lnTo>
                  <a:lnTo>
                    <a:pt x="163" y="7"/>
                  </a:lnTo>
                  <a:lnTo>
                    <a:pt x="174" y="4"/>
                  </a:lnTo>
                  <a:lnTo>
                    <a:pt x="187" y="2"/>
                  </a:lnTo>
                  <a:lnTo>
                    <a:pt x="199" y="1"/>
                  </a:lnTo>
                  <a:lnTo>
                    <a:pt x="211" y="0"/>
                  </a:lnTo>
                  <a:lnTo>
                    <a:pt x="224" y="0"/>
                  </a:lnTo>
                  <a:lnTo>
                    <a:pt x="237" y="1"/>
                  </a:lnTo>
                  <a:lnTo>
                    <a:pt x="250" y="2"/>
                  </a:lnTo>
                  <a:lnTo>
                    <a:pt x="263" y="5"/>
                  </a:lnTo>
                  <a:lnTo>
                    <a:pt x="276" y="8"/>
                  </a:lnTo>
                  <a:lnTo>
                    <a:pt x="288" y="11"/>
                  </a:lnTo>
                  <a:lnTo>
                    <a:pt x="301" y="16"/>
                  </a:lnTo>
                  <a:lnTo>
                    <a:pt x="313" y="21"/>
                  </a:lnTo>
                  <a:lnTo>
                    <a:pt x="325" y="27"/>
                  </a:lnTo>
                  <a:lnTo>
                    <a:pt x="337" y="33"/>
                  </a:lnTo>
                  <a:lnTo>
                    <a:pt x="348" y="41"/>
                  </a:lnTo>
                  <a:lnTo>
                    <a:pt x="359" y="48"/>
                  </a:lnTo>
                  <a:lnTo>
                    <a:pt x="370" y="56"/>
                  </a:lnTo>
                  <a:lnTo>
                    <a:pt x="381" y="64"/>
                  </a:lnTo>
                  <a:lnTo>
                    <a:pt x="391" y="73"/>
                  </a:lnTo>
                  <a:lnTo>
                    <a:pt x="401" y="83"/>
                  </a:lnTo>
                  <a:lnTo>
                    <a:pt x="411" y="94"/>
                  </a:lnTo>
                  <a:lnTo>
                    <a:pt x="420" y="104"/>
                  </a:lnTo>
                  <a:lnTo>
                    <a:pt x="429" y="115"/>
                  </a:lnTo>
                  <a:lnTo>
                    <a:pt x="437" y="126"/>
                  </a:lnTo>
                  <a:lnTo>
                    <a:pt x="445" y="139"/>
                  </a:lnTo>
                  <a:lnTo>
                    <a:pt x="453" y="151"/>
                  </a:lnTo>
                  <a:lnTo>
                    <a:pt x="460" y="163"/>
                  </a:lnTo>
                  <a:lnTo>
                    <a:pt x="467" y="176"/>
                  </a:lnTo>
                  <a:lnTo>
                    <a:pt x="473" y="190"/>
                  </a:lnTo>
                  <a:lnTo>
                    <a:pt x="479" y="203"/>
                  </a:lnTo>
                  <a:lnTo>
                    <a:pt x="484" y="217"/>
                  </a:lnTo>
                  <a:lnTo>
                    <a:pt x="489" y="231"/>
                  </a:lnTo>
                  <a:lnTo>
                    <a:pt x="493" y="246"/>
                  </a:lnTo>
                  <a:lnTo>
                    <a:pt x="497" y="260"/>
                  </a:lnTo>
                  <a:lnTo>
                    <a:pt x="499" y="275"/>
                  </a:lnTo>
                  <a:lnTo>
                    <a:pt x="502" y="290"/>
                  </a:lnTo>
                  <a:lnTo>
                    <a:pt x="504" y="305"/>
                  </a:lnTo>
                  <a:lnTo>
                    <a:pt x="505" y="3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2" name="Freeform 113"/>
            <p:cNvSpPr>
              <a:spLocks/>
            </p:cNvSpPr>
            <p:nvPr/>
          </p:nvSpPr>
          <p:spPr bwMode="auto">
            <a:xfrm>
              <a:off x="844306" y="2473908"/>
              <a:ext cx="14947" cy="20090"/>
            </a:xfrm>
            <a:custGeom>
              <a:avLst/>
              <a:gdLst>
                <a:gd name="T0" fmla="*/ 0 w 523"/>
                <a:gd name="T1" fmla="*/ 0 h 611"/>
                <a:gd name="T2" fmla="*/ 0 w 523"/>
                <a:gd name="T3" fmla="*/ 0 h 611"/>
                <a:gd name="T4" fmla="*/ 0 w 523"/>
                <a:gd name="T5" fmla="*/ 0 h 611"/>
                <a:gd name="T6" fmla="*/ 0 w 523"/>
                <a:gd name="T7" fmla="*/ 0 h 611"/>
                <a:gd name="T8" fmla="*/ 0 w 523"/>
                <a:gd name="T9" fmla="*/ 0 h 611"/>
                <a:gd name="T10" fmla="*/ 0 w 523"/>
                <a:gd name="T11" fmla="*/ 0 h 611"/>
                <a:gd name="T12" fmla="*/ 0 w 523"/>
                <a:gd name="T13" fmla="*/ 0 h 611"/>
                <a:gd name="T14" fmla="*/ 0 w 523"/>
                <a:gd name="T15" fmla="*/ 0 h 611"/>
                <a:gd name="T16" fmla="*/ 0 w 523"/>
                <a:gd name="T17" fmla="*/ 0 h 611"/>
                <a:gd name="T18" fmla="*/ 0 w 523"/>
                <a:gd name="T19" fmla="*/ 0 h 611"/>
                <a:gd name="T20" fmla="*/ 0 w 523"/>
                <a:gd name="T21" fmla="*/ 0 h 611"/>
                <a:gd name="T22" fmla="*/ 0 w 523"/>
                <a:gd name="T23" fmla="*/ 0 h 611"/>
                <a:gd name="T24" fmla="*/ 0 w 523"/>
                <a:gd name="T25" fmla="*/ 0 h 611"/>
                <a:gd name="T26" fmla="*/ 0 w 523"/>
                <a:gd name="T27" fmla="*/ 0 h 611"/>
                <a:gd name="T28" fmla="*/ 0 w 523"/>
                <a:gd name="T29" fmla="*/ 0 h 611"/>
                <a:gd name="T30" fmla="*/ 0 w 523"/>
                <a:gd name="T31" fmla="*/ 0 h 611"/>
                <a:gd name="T32" fmla="*/ 0 w 523"/>
                <a:gd name="T33" fmla="*/ 0 h 611"/>
                <a:gd name="T34" fmla="*/ 0 w 523"/>
                <a:gd name="T35" fmla="*/ 0 h 611"/>
                <a:gd name="T36" fmla="*/ 0 w 523"/>
                <a:gd name="T37" fmla="*/ 0 h 611"/>
                <a:gd name="T38" fmla="*/ 0 w 523"/>
                <a:gd name="T39" fmla="*/ 0 h 611"/>
                <a:gd name="T40" fmla="*/ 0 w 523"/>
                <a:gd name="T41" fmla="*/ 0 h 611"/>
                <a:gd name="T42" fmla="*/ 0 w 523"/>
                <a:gd name="T43" fmla="*/ 0 h 611"/>
                <a:gd name="T44" fmla="*/ 0 w 523"/>
                <a:gd name="T45" fmla="*/ 0 h 611"/>
                <a:gd name="T46" fmla="*/ 0 w 523"/>
                <a:gd name="T47" fmla="*/ 0 h 611"/>
                <a:gd name="T48" fmla="*/ 0 w 523"/>
                <a:gd name="T49" fmla="*/ 0 h 611"/>
                <a:gd name="T50" fmla="*/ 0 w 523"/>
                <a:gd name="T51" fmla="*/ 0 h 611"/>
                <a:gd name="T52" fmla="*/ 0 w 523"/>
                <a:gd name="T53" fmla="*/ 0 h 611"/>
                <a:gd name="T54" fmla="*/ 0 w 523"/>
                <a:gd name="T55" fmla="*/ 0 h 611"/>
                <a:gd name="T56" fmla="*/ 0 w 523"/>
                <a:gd name="T57" fmla="*/ 0 h 611"/>
                <a:gd name="T58" fmla="*/ 0 w 523"/>
                <a:gd name="T59" fmla="*/ 0 h 611"/>
                <a:gd name="T60" fmla="*/ 0 w 523"/>
                <a:gd name="T61" fmla="*/ 0 h 611"/>
                <a:gd name="T62" fmla="*/ 0 w 523"/>
                <a:gd name="T63" fmla="*/ 0 h 611"/>
                <a:gd name="T64" fmla="*/ 0 w 523"/>
                <a:gd name="T65" fmla="*/ 0 h 611"/>
                <a:gd name="T66" fmla="*/ 0 w 523"/>
                <a:gd name="T67" fmla="*/ 0 h 611"/>
                <a:gd name="T68" fmla="*/ 0 w 523"/>
                <a:gd name="T69" fmla="*/ 0 h 611"/>
                <a:gd name="T70" fmla="*/ 0 w 523"/>
                <a:gd name="T71" fmla="*/ 0 h 611"/>
                <a:gd name="T72" fmla="*/ 0 w 523"/>
                <a:gd name="T73" fmla="*/ 0 h 611"/>
                <a:gd name="T74" fmla="*/ 0 w 523"/>
                <a:gd name="T75" fmla="*/ 0 h 611"/>
                <a:gd name="T76" fmla="*/ 0 w 523"/>
                <a:gd name="T77" fmla="*/ 0 h 611"/>
                <a:gd name="T78" fmla="*/ 0 w 523"/>
                <a:gd name="T79" fmla="*/ 0 h 611"/>
                <a:gd name="T80" fmla="*/ 0 w 523"/>
                <a:gd name="T81" fmla="*/ 0 h 611"/>
                <a:gd name="T82" fmla="*/ 0 w 523"/>
                <a:gd name="T83" fmla="*/ 0 h 611"/>
                <a:gd name="T84" fmla="*/ 0 w 523"/>
                <a:gd name="T85" fmla="*/ 0 h 6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3"/>
                <a:gd name="T130" fmla="*/ 0 h 611"/>
                <a:gd name="T131" fmla="*/ 523 w 523"/>
                <a:gd name="T132" fmla="*/ 611 h 6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3" h="611">
                  <a:moveTo>
                    <a:pt x="522" y="329"/>
                  </a:moveTo>
                  <a:lnTo>
                    <a:pt x="523" y="345"/>
                  </a:lnTo>
                  <a:lnTo>
                    <a:pt x="523" y="361"/>
                  </a:lnTo>
                  <a:lnTo>
                    <a:pt x="522" y="376"/>
                  </a:lnTo>
                  <a:lnTo>
                    <a:pt x="520" y="390"/>
                  </a:lnTo>
                  <a:lnTo>
                    <a:pt x="518" y="405"/>
                  </a:lnTo>
                  <a:lnTo>
                    <a:pt x="515" y="419"/>
                  </a:lnTo>
                  <a:lnTo>
                    <a:pt x="512" y="433"/>
                  </a:lnTo>
                  <a:lnTo>
                    <a:pt x="508" y="446"/>
                  </a:lnTo>
                  <a:lnTo>
                    <a:pt x="504" y="460"/>
                  </a:lnTo>
                  <a:lnTo>
                    <a:pt x="498" y="472"/>
                  </a:lnTo>
                  <a:lnTo>
                    <a:pt x="493" y="484"/>
                  </a:lnTo>
                  <a:lnTo>
                    <a:pt x="487" y="495"/>
                  </a:lnTo>
                  <a:lnTo>
                    <a:pt x="480" y="507"/>
                  </a:lnTo>
                  <a:lnTo>
                    <a:pt x="473" y="518"/>
                  </a:lnTo>
                  <a:lnTo>
                    <a:pt x="465" y="528"/>
                  </a:lnTo>
                  <a:lnTo>
                    <a:pt x="457" y="538"/>
                  </a:lnTo>
                  <a:lnTo>
                    <a:pt x="449" y="547"/>
                  </a:lnTo>
                  <a:lnTo>
                    <a:pt x="440" y="556"/>
                  </a:lnTo>
                  <a:lnTo>
                    <a:pt x="430" y="564"/>
                  </a:lnTo>
                  <a:lnTo>
                    <a:pt x="421" y="572"/>
                  </a:lnTo>
                  <a:lnTo>
                    <a:pt x="410" y="578"/>
                  </a:lnTo>
                  <a:lnTo>
                    <a:pt x="400" y="585"/>
                  </a:lnTo>
                  <a:lnTo>
                    <a:pt x="389" y="590"/>
                  </a:lnTo>
                  <a:lnTo>
                    <a:pt x="378" y="595"/>
                  </a:lnTo>
                  <a:lnTo>
                    <a:pt x="366" y="599"/>
                  </a:lnTo>
                  <a:lnTo>
                    <a:pt x="354" y="604"/>
                  </a:lnTo>
                  <a:lnTo>
                    <a:pt x="342" y="607"/>
                  </a:lnTo>
                  <a:lnTo>
                    <a:pt x="330" y="609"/>
                  </a:lnTo>
                  <a:lnTo>
                    <a:pt x="317" y="610"/>
                  </a:lnTo>
                  <a:lnTo>
                    <a:pt x="304" y="611"/>
                  </a:lnTo>
                  <a:lnTo>
                    <a:pt x="291" y="611"/>
                  </a:lnTo>
                  <a:lnTo>
                    <a:pt x="277" y="610"/>
                  </a:lnTo>
                  <a:lnTo>
                    <a:pt x="264" y="609"/>
                  </a:lnTo>
                  <a:lnTo>
                    <a:pt x="251" y="606"/>
                  </a:lnTo>
                  <a:lnTo>
                    <a:pt x="237" y="603"/>
                  </a:lnTo>
                  <a:lnTo>
                    <a:pt x="224" y="598"/>
                  </a:lnTo>
                  <a:lnTo>
                    <a:pt x="212" y="594"/>
                  </a:lnTo>
                  <a:lnTo>
                    <a:pt x="199" y="589"/>
                  </a:lnTo>
                  <a:lnTo>
                    <a:pt x="187" y="583"/>
                  </a:lnTo>
                  <a:lnTo>
                    <a:pt x="174" y="576"/>
                  </a:lnTo>
                  <a:lnTo>
                    <a:pt x="163" y="569"/>
                  </a:lnTo>
                  <a:lnTo>
                    <a:pt x="151" y="562"/>
                  </a:lnTo>
                  <a:lnTo>
                    <a:pt x="140" y="554"/>
                  </a:lnTo>
                  <a:lnTo>
                    <a:pt x="129" y="544"/>
                  </a:lnTo>
                  <a:lnTo>
                    <a:pt x="118" y="535"/>
                  </a:lnTo>
                  <a:lnTo>
                    <a:pt x="108" y="525"/>
                  </a:lnTo>
                  <a:lnTo>
                    <a:pt x="98" y="515"/>
                  </a:lnTo>
                  <a:lnTo>
                    <a:pt x="88" y="504"/>
                  </a:lnTo>
                  <a:lnTo>
                    <a:pt x="79" y="492"/>
                  </a:lnTo>
                  <a:lnTo>
                    <a:pt x="70" y="480"/>
                  </a:lnTo>
                  <a:lnTo>
                    <a:pt x="62" y="468"/>
                  </a:lnTo>
                  <a:lnTo>
                    <a:pt x="54" y="456"/>
                  </a:lnTo>
                  <a:lnTo>
                    <a:pt x="46" y="442"/>
                  </a:lnTo>
                  <a:lnTo>
                    <a:pt x="39" y="429"/>
                  </a:lnTo>
                  <a:lnTo>
                    <a:pt x="33" y="416"/>
                  </a:lnTo>
                  <a:lnTo>
                    <a:pt x="27" y="402"/>
                  </a:lnTo>
                  <a:lnTo>
                    <a:pt x="22" y="387"/>
                  </a:lnTo>
                  <a:lnTo>
                    <a:pt x="17" y="373"/>
                  </a:lnTo>
                  <a:lnTo>
                    <a:pt x="12" y="358"/>
                  </a:lnTo>
                  <a:lnTo>
                    <a:pt x="9" y="343"/>
                  </a:lnTo>
                  <a:lnTo>
                    <a:pt x="6" y="328"/>
                  </a:lnTo>
                  <a:lnTo>
                    <a:pt x="3" y="313"/>
                  </a:lnTo>
                  <a:lnTo>
                    <a:pt x="1" y="297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0" y="250"/>
                  </a:lnTo>
                  <a:lnTo>
                    <a:pt x="1" y="235"/>
                  </a:lnTo>
                  <a:lnTo>
                    <a:pt x="2" y="220"/>
                  </a:lnTo>
                  <a:lnTo>
                    <a:pt x="4" y="206"/>
                  </a:lnTo>
                  <a:lnTo>
                    <a:pt x="7" y="191"/>
                  </a:lnTo>
                  <a:lnTo>
                    <a:pt x="11" y="178"/>
                  </a:lnTo>
                  <a:lnTo>
                    <a:pt x="15" y="165"/>
                  </a:lnTo>
                  <a:lnTo>
                    <a:pt x="19" y="152"/>
                  </a:lnTo>
                  <a:lnTo>
                    <a:pt x="24" y="139"/>
                  </a:lnTo>
                  <a:lnTo>
                    <a:pt x="30" y="127"/>
                  </a:lnTo>
                  <a:lnTo>
                    <a:pt x="36" y="115"/>
                  </a:lnTo>
                  <a:lnTo>
                    <a:pt x="43" y="104"/>
                  </a:lnTo>
                  <a:lnTo>
                    <a:pt x="50" y="93"/>
                  </a:lnTo>
                  <a:lnTo>
                    <a:pt x="57" y="82"/>
                  </a:lnTo>
                  <a:lnTo>
                    <a:pt x="65" y="73"/>
                  </a:lnTo>
                  <a:lnTo>
                    <a:pt x="74" y="64"/>
                  </a:lnTo>
                  <a:lnTo>
                    <a:pt x="83" y="55"/>
                  </a:lnTo>
                  <a:lnTo>
                    <a:pt x="92" y="47"/>
                  </a:lnTo>
                  <a:lnTo>
                    <a:pt x="102" y="39"/>
                  </a:lnTo>
                  <a:lnTo>
                    <a:pt x="112" y="32"/>
                  </a:lnTo>
                  <a:lnTo>
                    <a:pt x="123" y="26"/>
                  </a:lnTo>
                  <a:lnTo>
                    <a:pt x="134" y="20"/>
                  </a:lnTo>
                  <a:lnTo>
                    <a:pt x="145" y="15"/>
                  </a:lnTo>
                  <a:lnTo>
                    <a:pt x="157" y="11"/>
                  </a:lnTo>
                  <a:lnTo>
                    <a:pt x="168" y="7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6" y="1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45" y="1"/>
                  </a:lnTo>
                  <a:lnTo>
                    <a:pt x="259" y="3"/>
                  </a:lnTo>
                  <a:lnTo>
                    <a:pt x="272" y="5"/>
                  </a:lnTo>
                  <a:lnTo>
                    <a:pt x="285" y="8"/>
                  </a:lnTo>
                  <a:lnTo>
                    <a:pt x="298" y="12"/>
                  </a:lnTo>
                  <a:lnTo>
                    <a:pt x="311" y="16"/>
                  </a:lnTo>
                  <a:lnTo>
                    <a:pt x="324" y="22"/>
                  </a:lnTo>
                  <a:lnTo>
                    <a:pt x="336" y="27"/>
                  </a:lnTo>
                  <a:lnTo>
                    <a:pt x="348" y="34"/>
                  </a:lnTo>
                  <a:lnTo>
                    <a:pt x="360" y="42"/>
                  </a:lnTo>
                  <a:lnTo>
                    <a:pt x="372" y="50"/>
                  </a:lnTo>
                  <a:lnTo>
                    <a:pt x="383" y="58"/>
                  </a:lnTo>
                  <a:lnTo>
                    <a:pt x="394" y="66"/>
                  </a:lnTo>
                  <a:lnTo>
                    <a:pt x="405" y="76"/>
                  </a:lnTo>
                  <a:lnTo>
                    <a:pt x="415" y="85"/>
                  </a:lnTo>
                  <a:lnTo>
                    <a:pt x="425" y="97"/>
                  </a:lnTo>
                  <a:lnTo>
                    <a:pt x="435" y="107"/>
                  </a:lnTo>
                  <a:lnTo>
                    <a:pt x="444" y="119"/>
                  </a:lnTo>
                  <a:lnTo>
                    <a:pt x="453" y="130"/>
                  </a:lnTo>
                  <a:lnTo>
                    <a:pt x="461" y="143"/>
                  </a:lnTo>
                  <a:lnTo>
                    <a:pt x="469" y="155"/>
                  </a:lnTo>
                  <a:lnTo>
                    <a:pt x="476" y="168"/>
                  </a:lnTo>
                  <a:lnTo>
                    <a:pt x="483" y="181"/>
                  </a:lnTo>
                  <a:lnTo>
                    <a:pt x="490" y="196"/>
                  </a:lnTo>
                  <a:lnTo>
                    <a:pt x="496" y="209"/>
                  </a:lnTo>
                  <a:lnTo>
                    <a:pt x="501" y="223"/>
                  </a:lnTo>
                  <a:lnTo>
                    <a:pt x="506" y="238"/>
                  </a:lnTo>
                  <a:lnTo>
                    <a:pt x="510" y="253"/>
                  </a:lnTo>
                  <a:lnTo>
                    <a:pt x="514" y="268"/>
                  </a:lnTo>
                  <a:lnTo>
                    <a:pt x="517" y="283"/>
                  </a:lnTo>
                  <a:lnTo>
                    <a:pt x="519" y="299"/>
                  </a:lnTo>
                  <a:lnTo>
                    <a:pt x="521" y="314"/>
                  </a:lnTo>
                  <a:lnTo>
                    <a:pt x="522" y="3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3" name="Freeform 114"/>
            <p:cNvSpPr>
              <a:spLocks/>
            </p:cNvSpPr>
            <p:nvPr/>
          </p:nvSpPr>
          <p:spPr bwMode="auto">
            <a:xfrm>
              <a:off x="815906" y="2457166"/>
              <a:ext cx="14947" cy="16742"/>
            </a:xfrm>
            <a:custGeom>
              <a:avLst/>
              <a:gdLst>
                <a:gd name="T0" fmla="*/ 0 w 464"/>
                <a:gd name="T1" fmla="*/ 0 h 542"/>
                <a:gd name="T2" fmla="*/ 0 w 464"/>
                <a:gd name="T3" fmla="*/ 0 h 542"/>
                <a:gd name="T4" fmla="*/ 0 w 464"/>
                <a:gd name="T5" fmla="*/ 0 h 542"/>
                <a:gd name="T6" fmla="*/ 0 w 464"/>
                <a:gd name="T7" fmla="*/ 0 h 542"/>
                <a:gd name="T8" fmla="*/ 0 w 464"/>
                <a:gd name="T9" fmla="*/ 0 h 542"/>
                <a:gd name="T10" fmla="*/ 0 w 464"/>
                <a:gd name="T11" fmla="*/ 0 h 542"/>
                <a:gd name="T12" fmla="*/ 0 w 464"/>
                <a:gd name="T13" fmla="*/ 0 h 542"/>
                <a:gd name="T14" fmla="*/ 0 w 464"/>
                <a:gd name="T15" fmla="*/ 0 h 542"/>
                <a:gd name="T16" fmla="*/ 0 w 464"/>
                <a:gd name="T17" fmla="*/ 0 h 542"/>
                <a:gd name="T18" fmla="*/ 0 w 464"/>
                <a:gd name="T19" fmla="*/ 0 h 542"/>
                <a:gd name="T20" fmla="*/ 0 w 464"/>
                <a:gd name="T21" fmla="*/ 0 h 542"/>
                <a:gd name="T22" fmla="*/ 0 w 464"/>
                <a:gd name="T23" fmla="*/ 0 h 542"/>
                <a:gd name="T24" fmla="*/ 0 w 464"/>
                <a:gd name="T25" fmla="*/ 0 h 542"/>
                <a:gd name="T26" fmla="*/ 0 w 464"/>
                <a:gd name="T27" fmla="*/ 0 h 542"/>
                <a:gd name="T28" fmla="*/ 0 w 464"/>
                <a:gd name="T29" fmla="*/ 0 h 542"/>
                <a:gd name="T30" fmla="*/ 0 w 464"/>
                <a:gd name="T31" fmla="*/ 0 h 542"/>
                <a:gd name="T32" fmla="*/ 0 w 464"/>
                <a:gd name="T33" fmla="*/ 0 h 542"/>
                <a:gd name="T34" fmla="*/ 0 w 464"/>
                <a:gd name="T35" fmla="*/ 0 h 542"/>
                <a:gd name="T36" fmla="*/ 0 w 464"/>
                <a:gd name="T37" fmla="*/ 0 h 542"/>
                <a:gd name="T38" fmla="*/ 0 w 464"/>
                <a:gd name="T39" fmla="*/ 0 h 542"/>
                <a:gd name="T40" fmla="*/ 0 w 464"/>
                <a:gd name="T41" fmla="*/ 0 h 542"/>
                <a:gd name="T42" fmla="*/ 0 w 464"/>
                <a:gd name="T43" fmla="*/ 0 h 542"/>
                <a:gd name="T44" fmla="*/ 0 w 464"/>
                <a:gd name="T45" fmla="*/ 0 h 542"/>
                <a:gd name="T46" fmla="*/ 0 w 464"/>
                <a:gd name="T47" fmla="*/ 0 h 542"/>
                <a:gd name="T48" fmla="*/ 0 w 464"/>
                <a:gd name="T49" fmla="*/ 0 h 542"/>
                <a:gd name="T50" fmla="*/ 0 w 464"/>
                <a:gd name="T51" fmla="*/ 0 h 542"/>
                <a:gd name="T52" fmla="*/ 0 w 464"/>
                <a:gd name="T53" fmla="*/ 0 h 542"/>
                <a:gd name="T54" fmla="*/ 0 w 464"/>
                <a:gd name="T55" fmla="*/ 0 h 542"/>
                <a:gd name="T56" fmla="*/ 0 w 464"/>
                <a:gd name="T57" fmla="*/ 0 h 542"/>
                <a:gd name="T58" fmla="*/ 0 w 464"/>
                <a:gd name="T59" fmla="*/ 0 h 542"/>
                <a:gd name="T60" fmla="*/ 0 w 464"/>
                <a:gd name="T61" fmla="*/ 0 h 542"/>
                <a:gd name="T62" fmla="*/ 0 w 464"/>
                <a:gd name="T63" fmla="*/ 0 h 542"/>
                <a:gd name="T64" fmla="*/ 0 w 464"/>
                <a:gd name="T65" fmla="*/ 0 h 542"/>
                <a:gd name="T66" fmla="*/ 0 w 464"/>
                <a:gd name="T67" fmla="*/ 0 h 542"/>
                <a:gd name="T68" fmla="*/ 0 w 464"/>
                <a:gd name="T69" fmla="*/ 0 h 542"/>
                <a:gd name="T70" fmla="*/ 0 w 464"/>
                <a:gd name="T71" fmla="*/ 0 h 542"/>
                <a:gd name="T72" fmla="*/ 0 w 464"/>
                <a:gd name="T73" fmla="*/ 0 h 542"/>
                <a:gd name="T74" fmla="*/ 0 w 464"/>
                <a:gd name="T75" fmla="*/ 0 h 542"/>
                <a:gd name="T76" fmla="*/ 0 w 464"/>
                <a:gd name="T77" fmla="*/ 0 h 542"/>
                <a:gd name="T78" fmla="*/ 0 w 464"/>
                <a:gd name="T79" fmla="*/ 0 h 542"/>
                <a:gd name="T80" fmla="*/ 0 w 464"/>
                <a:gd name="T81" fmla="*/ 0 h 542"/>
                <a:gd name="T82" fmla="*/ 0 w 464"/>
                <a:gd name="T83" fmla="*/ 0 h 542"/>
                <a:gd name="T84" fmla="*/ 0 w 464"/>
                <a:gd name="T85" fmla="*/ 0 h 542"/>
                <a:gd name="T86" fmla="*/ 0 w 464"/>
                <a:gd name="T87" fmla="*/ 0 h 542"/>
                <a:gd name="T88" fmla="*/ 0 w 464"/>
                <a:gd name="T89" fmla="*/ 0 h 542"/>
                <a:gd name="T90" fmla="*/ 0 w 464"/>
                <a:gd name="T91" fmla="*/ 0 h 542"/>
                <a:gd name="T92" fmla="*/ 0 w 464"/>
                <a:gd name="T93" fmla="*/ 0 h 542"/>
                <a:gd name="T94" fmla="*/ 0 w 464"/>
                <a:gd name="T95" fmla="*/ 0 h 542"/>
                <a:gd name="T96" fmla="*/ 0 w 464"/>
                <a:gd name="T97" fmla="*/ 0 h 542"/>
                <a:gd name="T98" fmla="*/ 0 w 464"/>
                <a:gd name="T99" fmla="*/ 0 h 542"/>
                <a:gd name="T100" fmla="*/ 0 w 464"/>
                <a:gd name="T101" fmla="*/ 0 h 542"/>
                <a:gd name="T102" fmla="*/ 0 w 464"/>
                <a:gd name="T103" fmla="*/ 0 h 542"/>
                <a:gd name="T104" fmla="*/ 0 w 464"/>
                <a:gd name="T105" fmla="*/ 0 h 542"/>
                <a:gd name="T106" fmla="*/ 0 w 464"/>
                <a:gd name="T107" fmla="*/ 0 h 542"/>
                <a:gd name="T108" fmla="*/ 0 w 464"/>
                <a:gd name="T109" fmla="*/ 0 h 542"/>
                <a:gd name="T110" fmla="*/ 0 w 464"/>
                <a:gd name="T111" fmla="*/ 0 h 542"/>
                <a:gd name="T112" fmla="*/ 0 w 464"/>
                <a:gd name="T113" fmla="*/ 0 h 542"/>
                <a:gd name="T114" fmla="*/ 0 w 464"/>
                <a:gd name="T115" fmla="*/ 0 h 542"/>
                <a:gd name="T116" fmla="*/ 0 w 464"/>
                <a:gd name="T117" fmla="*/ 0 h 542"/>
                <a:gd name="T118" fmla="*/ 0 w 464"/>
                <a:gd name="T119" fmla="*/ 0 h 542"/>
                <a:gd name="T120" fmla="*/ 0 w 464"/>
                <a:gd name="T121" fmla="*/ 0 h 542"/>
                <a:gd name="T122" fmla="*/ 0 w 464"/>
                <a:gd name="T123" fmla="*/ 0 h 542"/>
                <a:gd name="T124" fmla="*/ 0 w 464"/>
                <a:gd name="T125" fmla="*/ 0 h 54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2"/>
                <a:gd name="T191" fmla="*/ 464 w 464"/>
                <a:gd name="T192" fmla="*/ 542 h 54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2">
                  <a:moveTo>
                    <a:pt x="464" y="292"/>
                  </a:moveTo>
                  <a:lnTo>
                    <a:pt x="464" y="307"/>
                  </a:lnTo>
                  <a:lnTo>
                    <a:pt x="464" y="320"/>
                  </a:lnTo>
                  <a:lnTo>
                    <a:pt x="463" y="333"/>
                  </a:lnTo>
                  <a:lnTo>
                    <a:pt x="462" y="346"/>
                  </a:lnTo>
                  <a:lnTo>
                    <a:pt x="460" y="360"/>
                  </a:lnTo>
                  <a:lnTo>
                    <a:pt x="457" y="372"/>
                  </a:lnTo>
                  <a:lnTo>
                    <a:pt x="454" y="384"/>
                  </a:lnTo>
                  <a:lnTo>
                    <a:pt x="451" y="396"/>
                  </a:lnTo>
                  <a:lnTo>
                    <a:pt x="447" y="408"/>
                  </a:lnTo>
                  <a:lnTo>
                    <a:pt x="442" y="419"/>
                  </a:lnTo>
                  <a:lnTo>
                    <a:pt x="437" y="429"/>
                  </a:lnTo>
                  <a:lnTo>
                    <a:pt x="432" y="440"/>
                  </a:lnTo>
                  <a:lnTo>
                    <a:pt x="426" y="449"/>
                  </a:lnTo>
                  <a:lnTo>
                    <a:pt x="420" y="460"/>
                  </a:lnTo>
                  <a:lnTo>
                    <a:pt x="413" y="469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3"/>
                  </a:lnTo>
                  <a:lnTo>
                    <a:pt x="382" y="500"/>
                  </a:lnTo>
                  <a:lnTo>
                    <a:pt x="373" y="507"/>
                  </a:lnTo>
                  <a:lnTo>
                    <a:pt x="364" y="514"/>
                  </a:lnTo>
                  <a:lnTo>
                    <a:pt x="355" y="519"/>
                  </a:lnTo>
                  <a:lnTo>
                    <a:pt x="345" y="524"/>
                  </a:lnTo>
                  <a:lnTo>
                    <a:pt x="335" y="528"/>
                  </a:lnTo>
                  <a:lnTo>
                    <a:pt x="325" y="532"/>
                  </a:lnTo>
                  <a:lnTo>
                    <a:pt x="314" y="535"/>
                  </a:lnTo>
                  <a:lnTo>
                    <a:pt x="304" y="538"/>
                  </a:lnTo>
                  <a:lnTo>
                    <a:pt x="293" y="540"/>
                  </a:lnTo>
                  <a:lnTo>
                    <a:pt x="281" y="541"/>
                  </a:lnTo>
                  <a:lnTo>
                    <a:pt x="270" y="542"/>
                  </a:lnTo>
                  <a:lnTo>
                    <a:pt x="258" y="542"/>
                  </a:lnTo>
                  <a:lnTo>
                    <a:pt x="246" y="541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5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3"/>
                  </a:lnTo>
                  <a:lnTo>
                    <a:pt x="166" y="518"/>
                  </a:lnTo>
                  <a:lnTo>
                    <a:pt x="155" y="512"/>
                  </a:lnTo>
                  <a:lnTo>
                    <a:pt x="144" y="506"/>
                  </a:lnTo>
                  <a:lnTo>
                    <a:pt x="134" y="498"/>
                  </a:lnTo>
                  <a:lnTo>
                    <a:pt x="124" y="491"/>
                  </a:lnTo>
                  <a:lnTo>
                    <a:pt x="114" y="483"/>
                  </a:lnTo>
                  <a:lnTo>
                    <a:pt x="105" y="475"/>
                  </a:lnTo>
                  <a:lnTo>
                    <a:pt x="96" y="466"/>
                  </a:lnTo>
                  <a:lnTo>
                    <a:pt x="87" y="457"/>
                  </a:lnTo>
                  <a:lnTo>
                    <a:pt x="78" y="446"/>
                  </a:lnTo>
                  <a:lnTo>
                    <a:pt x="70" y="437"/>
                  </a:lnTo>
                  <a:lnTo>
                    <a:pt x="62" y="426"/>
                  </a:lnTo>
                  <a:lnTo>
                    <a:pt x="55" y="416"/>
                  </a:lnTo>
                  <a:lnTo>
                    <a:pt x="48" y="405"/>
                  </a:lnTo>
                  <a:lnTo>
                    <a:pt x="41" y="392"/>
                  </a:lnTo>
                  <a:lnTo>
                    <a:pt x="35" y="381"/>
                  </a:lnTo>
                  <a:lnTo>
                    <a:pt x="29" y="369"/>
                  </a:lnTo>
                  <a:lnTo>
                    <a:pt x="24" y="357"/>
                  </a:lnTo>
                  <a:lnTo>
                    <a:pt x="19" y="343"/>
                  </a:lnTo>
                  <a:lnTo>
                    <a:pt x="15" y="331"/>
                  </a:lnTo>
                  <a:lnTo>
                    <a:pt x="11" y="318"/>
                  </a:lnTo>
                  <a:lnTo>
                    <a:pt x="8" y="305"/>
                  </a:lnTo>
                  <a:lnTo>
                    <a:pt x="5" y="291"/>
                  </a:lnTo>
                  <a:lnTo>
                    <a:pt x="3" y="277"/>
                  </a:lnTo>
                  <a:lnTo>
                    <a:pt x="1" y="264"/>
                  </a:lnTo>
                  <a:lnTo>
                    <a:pt x="0" y="250"/>
                  </a:lnTo>
                  <a:lnTo>
                    <a:pt x="0" y="236"/>
                  </a:lnTo>
                  <a:lnTo>
                    <a:pt x="0" y="222"/>
                  </a:lnTo>
                  <a:lnTo>
                    <a:pt x="1" y="209"/>
                  </a:lnTo>
                  <a:lnTo>
                    <a:pt x="2" y="196"/>
                  </a:lnTo>
                  <a:lnTo>
                    <a:pt x="4" y="183"/>
                  </a:lnTo>
                  <a:lnTo>
                    <a:pt x="7" y="170"/>
                  </a:lnTo>
                  <a:lnTo>
                    <a:pt x="10" y="158"/>
                  </a:lnTo>
                  <a:lnTo>
                    <a:pt x="13" y="147"/>
                  </a:lnTo>
                  <a:lnTo>
                    <a:pt x="17" y="134"/>
                  </a:lnTo>
                  <a:lnTo>
                    <a:pt x="22" y="123"/>
                  </a:lnTo>
                  <a:lnTo>
                    <a:pt x="27" y="113"/>
                  </a:lnTo>
                  <a:lnTo>
                    <a:pt x="32" y="103"/>
                  </a:lnTo>
                  <a:lnTo>
                    <a:pt x="38" y="92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5"/>
                  </a:lnTo>
                  <a:lnTo>
                    <a:pt x="66" y="57"/>
                  </a:lnTo>
                  <a:lnTo>
                    <a:pt x="74" y="49"/>
                  </a:lnTo>
                  <a:lnTo>
                    <a:pt x="82" y="41"/>
                  </a:lnTo>
                  <a:lnTo>
                    <a:pt x="91" y="35"/>
                  </a:lnTo>
                  <a:lnTo>
                    <a:pt x="100" y="29"/>
                  </a:lnTo>
                  <a:lnTo>
                    <a:pt x="109" y="23"/>
                  </a:lnTo>
                  <a:lnTo>
                    <a:pt x="119" y="18"/>
                  </a:lnTo>
                  <a:lnTo>
                    <a:pt x="129" y="14"/>
                  </a:lnTo>
                  <a:lnTo>
                    <a:pt x="139" y="10"/>
                  </a:lnTo>
                  <a:lnTo>
                    <a:pt x="150" y="7"/>
                  </a:lnTo>
                  <a:lnTo>
                    <a:pt x="160" y="4"/>
                  </a:lnTo>
                  <a:lnTo>
                    <a:pt x="172" y="2"/>
                  </a:lnTo>
                  <a:lnTo>
                    <a:pt x="183" y="1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1"/>
                  </a:lnTo>
                  <a:lnTo>
                    <a:pt x="230" y="3"/>
                  </a:lnTo>
                  <a:lnTo>
                    <a:pt x="242" y="5"/>
                  </a:lnTo>
                  <a:lnTo>
                    <a:pt x="253" y="7"/>
                  </a:lnTo>
                  <a:lnTo>
                    <a:pt x="265" y="11"/>
                  </a:lnTo>
                  <a:lnTo>
                    <a:pt x="276" y="15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30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2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6"/>
                  </a:lnTo>
                  <a:lnTo>
                    <a:pt x="377" y="85"/>
                  </a:lnTo>
                  <a:lnTo>
                    <a:pt x="386" y="96"/>
                  </a:lnTo>
                  <a:lnTo>
                    <a:pt x="402" y="116"/>
                  </a:lnTo>
                  <a:lnTo>
                    <a:pt x="416" y="138"/>
                  </a:lnTo>
                  <a:lnTo>
                    <a:pt x="423" y="150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9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2"/>
                  </a:lnTo>
                  <a:lnTo>
                    <a:pt x="461" y="265"/>
                  </a:lnTo>
                  <a:lnTo>
                    <a:pt x="462" y="278"/>
                  </a:lnTo>
                  <a:lnTo>
                    <a:pt x="464" y="292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4" name="Freeform 115"/>
            <p:cNvSpPr>
              <a:spLocks/>
            </p:cNvSpPr>
            <p:nvPr/>
          </p:nvSpPr>
          <p:spPr bwMode="auto">
            <a:xfrm>
              <a:off x="844306" y="2473908"/>
              <a:ext cx="13453" cy="16742"/>
            </a:xfrm>
            <a:custGeom>
              <a:avLst/>
              <a:gdLst>
                <a:gd name="T0" fmla="*/ 0 w 464"/>
                <a:gd name="T1" fmla="*/ 0 h 541"/>
                <a:gd name="T2" fmla="*/ 0 w 464"/>
                <a:gd name="T3" fmla="*/ 0 h 541"/>
                <a:gd name="T4" fmla="*/ 0 w 464"/>
                <a:gd name="T5" fmla="*/ 0 h 541"/>
                <a:gd name="T6" fmla="*/ 0 w 464"/>
                <a:gd name="T7" fmla="*/ 0 h 541"/>
                <a:gd name="T8" fmla="*/ 0 w 464"/>
                <a:gd name="T9" fmla="*/ 0 h 541"/>
                <a:gd name="T10" fmla="*/ 0 w 464"/>
                <a:gd name="T11" fmla="*/ 0 h 541"/>
                <a:gd name="T12" fmla="*/ 0 w 464"/>
                <a:gd name="T13" fmla="*/ 0 h 541"/>
                <a:gd name="T14" fmla="*/ 0 w 464"/>
                <a:gd name="T15" fmla="*/ 0 h 541"/>
                <a:gd name="T16" fmla="*/ 0 w 464"/>
                <a:gd name="T17" fmla="*/ 0 h 541"/>
                <a:gd name="T18" fmla="*/ 0 w 464"/>
                <a:gd name="T19" fmla="*/ 0 h 541"/>
                <a:gd name="T20" fmla="*/ 0 w 464"/>
                <a:gd name="T21" fmla="*/ 0 h 541"/>
                <a:gd name="T22" fmla="*/ 0 w 464"/>
                <a:gd name="T23" fmla="*/ 0 h 541"/>
                <a:gd name="T24" fmla="*/ 0 w 464"/>
                <a:gd name="T25" fmla="*/ 0 h 541"/>
                <a:gd name="T26" fmla="*/ 0 w 464"/>
                <a:gd name="T27" fmla="*/ 0 h 541"/>
                <a:gd name="T28" fmla="*/ 0 w 464"/>
                <a:gd name="T29" fmla="*/ 0 h 541"/>
                <a:gd name="T30" fmla="*/ 0 w 464"/>
                <a:gd name="T31" fmla="*/ 0 h 541"/>
                <a:gd name="T32" fmla="*/ 0 w 464"/>
                <a:gd name="T33" fmla="*/ 0 h 541"/>
                <a:gd name="T34" fmla="*/ 0 w 464"/>
                <a:gd name="T35" fmla="*/ 0 h 541"/>
                <a:gd name="T36" fmla="*/ 0 w 464"/>
                <a:gd name="T37" fmla="*/ 0 h 541"/>
                <a:gd name="T38" fmla="*/ 0 w 464"/>
                <a:gd name="T39" fmla="*/ 0 h 541"/>
                <a:gd name="T40" fmla="*/ 0 w 464"/>
                <a:gd name="T41" fmla="*/ 0 h 541"/>
                <a:gd name="T42" fmla="*/ 0 w 464"/>
                <a:gd name="T43" fmla="*/ 0 h 541"/>
                <a:gd name="T44" fmla="*/ 0 w 464"/>
                <a:gd name="T45" fmla="*/ 0 h 541"/>
                <a:gd name="T46" fmla="*/ 0 w 464"/>
                <a:gd name="T47" fmla="*/ 0 h 541"/>
                <a:gd name="T48" fmla="*/ 0 w 464"/>
                <a:gd name="T49" fmla="*/ 0 h 541"/>
                <a:gd name="T50" fmla="*/ 0 w 464"/>
                <a:gd name="T51" fmla="*/ 0 h 541"/>
                <a:gd name="T52" fmla="*/ 0 w 464"/>
                <a:gd name="T53" fmla="*/ 0 h 541"/>
                <a:gd name="T54" fmla="*/ 0 w 464"/>
                <a:gd name="T55" fmla="*/ 0 h 541"/>
                <a:gd name="T56" fmla="*/ 0 w 464"/>
                <a:gd name="T57" fmla="*/ 0 h 541"/>
                <a:gd name="T58" fmla="*/ 0 w 464"/>
                <a:gd name="T59" fmla="*/ 0 h 541"/>
                <a:gd name="T60" fmla="*/ 0 w 464"/>
                <a:gd name="T61" fmla="*/ 0 h 541"/>
                <a:gd name="T62" fmla="*/ 0 w 464"/>
                <a:gd name="T63" fmla="*/ 0 h 541"/>
                <a:gd name="T64" fmla="*/ 0 w 464"/>
                <a:gd name="T65" fmla="*/ 0 h 541"/>
                <a:gd name="T66" fmla="*/ 0 w 464"/>
                <a:gd name="T67" fmla="*/ 0 h 541"/>
                <a:gd name="T68" fmla="*/ 0 w 464"/>
                <a:gd name="T69" fmla="*/ 0 h 541"/>
                <a:gd name="T70" fmla="*/ 0 w 464"/>
                <a:gd name="T71" fmla="*/ 0 h 541"/>
                <a:gd name="T72" fmla="*/ 0 w 464"/>
                <a:gd name="T73" fmla="*/ 0 h 541"/>
                <a:gd name="T74" fmla="*/ 0 w 464"/>
                <a:gd name="T75" fmla="*/ 0 h 541"/>
                <a:gd name="T76" fmla="*/ 0 w 464"/>
                <a:gd name="T77" fmla="*/ 0 h 541"/>
                <a:gd name="T78" fmla="*/ 0 w 464"/>
                <a:gd name="T79" fmla="*/ 0 h 541"/>
                <a:gd name="T80" fmla="*/ 0 w 464"/>
                <a:gd name="T81" fmla="*/ 0 h 541"/>
                <a:gd name="T82" fmla="*/ 0 w 464"/>
                <a:gd name="T83" fmla="*/ 0 h 541"/>
                <a:gd name="T84" fmla="*/ 0 w 464"/>
                <a:gd name="T85" fmla="*/ 0 h 541"/>
                <a:gd name="T86" fmla="*/ 0 w 464"/>
                <a:gd name="T87" fmla="*/ 0 h 541"/>
                <a:gd name="T88" fmla="*/ 0 w 464"/>
                <a:gd name="T89" fmla="*/ 0 h 541"/>
                <a:gd name="T90" fmla="*/ 0 w 464"/>
                <a:gd name="T91" fmla="*/ 0 h 541"/>
                <a:gd name="T92" fmla="*/ 0 w 464"/>
                <a:gd name="T93" fmla="*/ 0 h 541"/>
                <a:gd name="T94" fmla="*/ 0 w 464"/>
                <a:gd name="T95" fmla="*/ 0 h 541"/>
                <a:gd name="T96" fmla="*/ 0 w 464"/>
                <a:gd name="T97" fmla="*/ 0 h 541"/>
                <a:gd name="T98" fmla="*/ 0 w 464"/>
                <a:gd name="T99" fmla="*/ 0 h 541"/>
                <a:gd name="T100" fmla="*/ 0 w 464"/>
                <a:gd name="T101" fmla="*/ 0 h 541"/>
                <a:gd name="T102" fmla="*/ 0 w 464"/>
                <a:gd name="T103" fmla="*/ 0 h 541"/>
                <a:gd name="T104" fmla="*/ 0 w 464"/>
                <a:gd name="T105" fmla="*/ 0 h 541"/>
                <a:gd name="T106" fmla="*/ 0 w 464"/>
                <a:gd name="T107" fmla="*/ 0 h 541"/>
                <a:gd name="T108" fmla="*/ 0 w 464"/>
                <a:gd name="T109" fmla="*/ 0 h 541"/>
                <a:gd name="T110" fmla="*/ 0 w 464"/>
                <a:gd name="T111" fmla="*/ 0 h 541"/>
                <a:gd name="T112" fmla="*/ 0 w 464"/>
                <a:gd name="T113" fmla="*/ 0 h 541"/>
                <a:gd name="T114" fmla="*/ 0 w 464"/>
                <a:gd name="T115" fmla="*/ 0 h 541"/>
                <a:gd name="T116" fmla="*/ 0 w 464"/>
                <a:gd name="T117" fmla="*/ 0 h 541"/>
                <a:gd name="T118" fmla="*/ 0 w 464"/>
                <a:gd name="T119" fmla="*/ 0 h 541"/>
                <a:gd name="T120" fmla="*/ 0 w 464"/>
                <a:gd name="T121" fmla="*/ 0 h 541"/>
                <a:gd name="T122" fmla="*/ 0 w 464"/>
                <a:gd name="T123" fmla="*/ 0 h 541"/>
                <a:gd name="T124" fmla="*/ 0 w 464"/>
                <a:gd name="T125" fmla="*/ 0 h 54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1"/>
                <a:gd name="T191" fmla="*/ 464 w 464"/>
                <a:gd name="T192" fmla="*/ 541 h 54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1">
                  <a:moveTo>
                    <a:pt x="464" y="291"/>
                  </a:moveTo>
                  <a:lnTo>
                    <a:pt x="464" y="306"/>
                  </a:lnTo>
                  <a:lnTo>
                    <a:pt x="464" y="319"/>
                  </a:lnTo>
                  <a:lnTo>
                    <a:pt x="463" y="333"/>
                  </a:lnTo>
                  <a:lnTo>
                    <a:pt x="462" y="345"/>
                  </a:lnTo>
                  <a:lnTo>
                    <a:pt x="460" y="359"/>
                  </a:lnTo>
                  <a:lnTo>
                    <a:pt x="457" y="371"/>
                  </a:lnTo>
                  <a:lnTo>
                    <a:pt x="454" y="383"/>
                  </a:lnTo>
                  <a:lnTo>
                    <a:pt x="451" y="395"/>
                  </a:lnTo>
                  <a:lnTo>
                    <a:pt x="447" y="407"/>
                  </a:lnTo>
                  <a:lnTo>
                    <a:pt x="442" y="418"/>
                  </a:lnTo>
                  <a:lnTo>
                    <a:pt x="437" y="429"/>
                  </a:lnTo>
                  <a:lnTo>
                    <a:pt x="432" y="439"/>
                  </a:lnTo>
                  <a:lnTo>
                    <a:pt x="426" y="450"/>
                  </a:lnTo>
                  <a:lnTo>
                    <a:pt x="420" y="459"/>
                  </a:lnTo>
                  <a:lnTo>
                    <a:pt x="413" y="468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2"/>
                  </a:lnTo>
                  <a:lnTo>
                    <a:pt x="382" y="499"/>
                  </a:lnTo>
                  <a:lnTo>
                    <a:pt x="373" y="507"/>
                  </a:lnTo>
                  <a:lnTo>
                    <a:pt x="364" y="513"/>
                  </a:lnTo>
                  <a:lnTo>
                    <a:pt x="355" y="518"/>
                  </a:lnTo>
                  <a:lnTo>
                    <a:pt x="345" y="523"/>
                  </a:lnTo>
                  <a:lnTo>
                    <a:pt x="335" y="528"/>
                  </a:lnTo>
                  <a:lnTo>
                    <a:pt x="325" y="531"/>
                  </a:lnTo>
                  <a:lnTo>
                    <a:pt x="314" y="535"/>
                  </a:lnTo>
                  <a:lnTo>
                    <a:pt x="304" y="537"/>
                  </a:lnTo>
                  <a:lnTo>
                    <a:pt x="293" y="539"/>
                  </a:lnTo>
                  <a:lnTo>
                    <a:pt x="281" y="540"/>
                  </a:lnTo>
                  <a:lnTo>
                    <a:pt x="270" y="541"/>
                  </a:lnTo>
                  <a:lnTo>
                    <a:pt x="258" y="541"/>
                  </a:lnTo>
                  <a:lnTo>
                    <a:pt x="246" y="540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4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2"/>
                  </a:lnTo>
                  <a:lnTo>
                    <a:pt x="166" y="517"/>
                  </a:lnTo>
                  <a:lnTo>
                    <a:pt x="155" y="511"/>
                  </a:lnTo>
                  <a:lnTo>
                    <a:pt x="144" y="505"/>
                  </a:lnTo>
                  <a:lnTo>
                    <a:pt x="134" y="497"/>
                  </a:lnTo>
                  <a:lnTo>
                    <a:pt x="124" y="490"/>
                  </a:lnTo>
                  <a:lnTo>
                    <a:pt x="114" y="482"/>
                  </a:lnTo>
                  <a:lnTo>
                    <a:pt x="105" y="474"/>
                  </a:lnTo>
                  <a:lnTo>
                    <a:pt x="96" y="465"/>
                  </a:lnTo>
                  <a:lnTo>
                    <a:pt x="87" y="456"/>
                  </a:lnTo>
                  <a:lnTo>
                    <a:pt x="78" y="446"/>
                  </a:lnTo>
                  <a:lnTo>
                    <a:pt x="70" y="436"/>
                  </a:lnTo>
                  <a:lnTo>
                    <a:pt x="62" y="426"/>
                  </a:lnTo>
                  <a:lnTo>
                    <a:pt x="55" y="415"/>
                  </a:lnTo>
                  <a:lnTo>
                    <a:pt x="48" y="404"/>
                  </a:lnTo>
                  <a:lnTo>
                    <a:pt x="41" y="392"/>
                  </a:lnTo>
                  <a:lnTo>
                    <a:pt x="35" y="380"/>
                  </a:lnTo>
                  <a:lnTo>
                    <a:pt x="30" y="368"/>
                  </a:lnTo>
                  <a:lnTo>
                    <a:pt x="24" y="356"/>
                  </a:lnTo>
                  <a:lnTo>
                    <a:pt x="19" y="343"/>
                  </a:lnTo>
                  <a:lnTo>
                    <a:pt x="15" y="330"/>
                  </a:lnTo>
                  <a:lnTo>
                    <a:pt x="11" y="317"/>
                  </a:lnTo>
                  <a:lnTo>
                    <a:pt x="8" y="304"/>
                  </a:lnTo>
                  <a:lnTo>
                    <a:pt x="5" y="290"/>
                  </a:lnTo>
                  <a:lnTo>
                    <a:pt x="3" y="276"/>
                  </a:lnTo>
                  <a:lnTo>
                    <a:pt x="1" y="263"/>
                  </a:lnTo>
                  <a:lnTo>
                    <a:pt x="1" y="249"/>
                  </a:lnTo>
                  <a:lnTo>
                    <a:pt x="0" y="235"/>
                  </a:lnTo>
                  <a:lnTo>
                    <a:pt x="0" y="221"/>
                  </a:lnTo>
                  <a:lnTo>
                    <a:pt x="1" y="208"/>
                  </a:lnTo>
                  <a:lnTo>
                    <a:pt x="2" y="195"/>
                  </a:lnTo>
                  <a:lnTo>
                    <a:pt x="4" y="182"/>
                  </a:lnTo>
                  <a:lnTo>
                    <a:pt x="7" y="169"/>
                  </a:lnTo>
                  <a:lnTo>
                    <a:pt x="10" y="157"/>
                  </a:lnTo>
                  <a:lnTo>
                    <a:pt x="13" y="146"/>
                  </a:lnTo>
                  <a:lnTo>
                    <a:pt x="17" y="133"/>
                  </a:lnTo>
                  <a:lnTo>
                    <a:pt x="22" y="123"/>
                  </a:lnTo>
                  <a:lnTo>
                    <a:pt x="27" y="112"/>
                  </a:lnTo>
                  <a:lnTo>
                    <a:pt x="32" y="102"/>
                  </a:lnTo>
                  <a:lnTo>
                    <a:pt x="38" y="91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4"/>
                  </a:lnTo>
                  <a:lnTo>
                    <a:pt x="66" y="56"/>
                  </a:lnTo>
                  <a:lnTo>
                    <a:pt x="74" y="49"/>
                  </a:lnTo>
                  <a:lnTo>
                    <a:pt x="82" y="40"/>
                  </a:lnTo>
                  <a:lnTo>
                    <a:pt x="91" y="34"/>
                  </a:lnTo>
                  <a:lnTo>
                    <a:pt x="100" y="28"/>
                  </a:lnTo>
                  <a:lnTo>
                    <a:pt x="109" y="22"/>
                  </a:lnTo>
                  <a:lnTo>
                    <a:pt x="119" y="17"/>
                  </a:lnTo>
                  <a:lnTo>
                    <a:pt x="129" y="13"/>
                  </a:lnTo>
                  <a:lnTo>
                    <a:pt x="139" y="9"/>
                  </a:lnTo>
                  <a:lnTo>
                    <a:pt x="150" y="6"/>
                  </a:lnTo>
                  <a:lnTo>
                    <a:pt x="160" y="4"/>
                  </a:lnTo>
                  <a:lnTo>
                    <a:pt x="171" y="1"/>
                  </a:lnTo>
                  <a:lnTo>
                    <a:pt x="183" y="0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30" y="2"/>
                  </a:lnTo>
                  <a:lnTo>
                    <a:pt x="242" y="4"/>
                  </a:lnTo>
                  <a:lnTo>
                    <a:pt x="253" y="7"/>
                  </a:lnTo>
                  <a:lnTo>
                    <a:pt x="265" y="10"/>
                  </a:lnTo>
                  <a:lnTo>
                    <a:pt x="276" y="14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29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1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5"/>
                  </a:lnTo>
                  <a:lnTo>
                    <a:pt x="377" y="85"/>
                  </a:lnTo>
                  <a:lnTo>
                    <a:pt x="386" y="95"/>
                  </a:lnTo>
                  <a:lnTo>
                    <a:pt x="402" y="115"/>
                  </a:lnTo>
                  <a:lnTo>
                    <a:pt x="416" y="137"/>
                  </a:lnTo>
                  <a:lnTo>
                    <a:pt x="423" y="149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8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1"/>
                  </a:lnTo>
                  <a:lnTo>
                    <a:pt x="461" y="264"/>
                  </a:lnTo>
                  <a:lnTo>
                    <a:pt x="463" y="278"/>
                  </a:lnTo>
                  <a:lnTo>
                    <a:pt x="464" y="291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5" name="Freeform 116"/>
            <p:cNvSpPr>
              <a:spLocks/>
            </p:cNvSpPr>
            <p:nvPr/>
          </p:nvSpPr>
          <p:spPr bwMode="auto">
            <a:xfrm>
              <a:off x="715760" y="2184274"/>
              <a:ext cx="312398" cy="200902"/>
            </a:xfrm>
            <a:custGeom>
              <a:avLst/>
              <a:gdLst>
                <a:gd name="T0" fmla="*/ 0 w 10451"/>
                <a:gd name="T1" fmla="*/ 0 h 6136"/>
                <a:gd name="T2" fmla="*/ 0 w 10451"/>
                <a:gd name="T3" fmla="*/ 0 h 6136"/>
                <a:gd name="T4" fmla="*/ 0 w 10451"/>
                <a:gd name="T5" fmla="*/ 0 h 6136"/>
                <a:gd name="T6" fmla="*/ 0 w 10451"/>
                <a:gd name="T7" fmla="*/ 0 h 6136"/>
                <a:gd name="T8" fmla="*/ 0 w 10451"/>
                <a:gd name="T9" fmla="*/ 0 h 6136"/>
                <a:gd name="T10" fmla="*/ 0 w 10451"/>
                <a:gd name="T11" fmla="*/ 0 h 6136"/>
                <a:gd name="T12" fmla="*/ 0 w 10451"/>
                <a:gd name="T13" fmla="*/ 0 h 6136"/>
                <a:gd name="T14" fmla="*/ 0 w 10451"/>
                <a:gd name="T15" fmla="*/ 0 h 6136"/>
                <a:gd name="T16" fmla="*/ 0 w 10451"/>
                <a:gd name="T17" fmla="*/ 0 h 6136"/>
                <a:gd name="T18" fmla="*/ 0 w 10451"/>
                <a:gd name="T19" fmla="*/ 0 h 6136"/>
                <a:gd name="T20" fmla="*/ 0 w 10451"/>
                <a:gd name="T21" fmla="*/ 0 h 6136"/>
                <a:gd name="T22" fmla="*/ 0 w 10451"/>
                <a:gd name="T23" fmla="*/ 0 h 6136"/>
                <a:gd name="T24" fmla="*/ 0 w 10451"/>
                <a:gd name="T25" fmla="*/ 0 h 6136"/>
                <a:gd name="T26" fmla="*/ 0 w 10451"/>
                <a:gd name="T27" fmla="*/ 0 h 6136"/>
                <a:gd name="T28" fmla="*/ 0 w 10451"/>
                <a:gd name="T29" fmla="*/ 0 h 6136"/>
                <a:gd name="T30" fmla="*/ 0 w 10451"/>
                <a:gd name="T31" fmla="*/ 0 h 6136"/>
                <a:gd name="T32" fmla="*/ 0 w 10451"/>
                <a:gd name="T33" fmla="*/ 0 h 6136"/>
                <a:gd name="T34" fmla="*/ 0 w 10451"/>
                <a:gd name="T35" fmla="*/ 0 h 6136"/>
                <a:gd name="T36" fmla="*/ 0 w 10451"/>
                <a:gd name="T37" fmla="*/ 0 h 6136"/>
                <a:gd name="T38" fmla="*/ 0 w 10451"/>
                <a:gd name="T39" fmla="*/ 0 h 6136"/>
                <a:gd name="T40" fmla="*/ 0 w 10451"/>
                <a:gd name="T41" fmla="*/ 0 h 6136"/>
                <a:gd name="T42" fmla="*/ 0 w 10451"/>
                <a:gd name="T43" fmla="*/ 0 h 6136"/>
                <a:gd name="T44" fmla="*/ 0 w 10451"/>
                <a:gd name="T45" fmla="*/ 0 h 6136"/>
                <a:gd name="T46" fmla="*/ 0 w 10451"/>
                <a:gd name="T47" fmla="*/ 0 h 6136"/>
                <a:gd name="T48" fmla="*/ 0 w 10451"/>
                <a:gd name="T49" fmla="*/ 0 h 6136"/>
                <a:gd name="T50" fmla="*/ 0 w 10451"/>
                <a:gd name="T51" fmla="*/ 0 h 6136"/>
                <a:gd name="T52" fmla="*/ 0 w 10451"/>
                <a:gd name="T53" fmla="*/ 0 h 6136"/>
                <a:gd name="T54" fmla="*/ 0 w 10451"/>
                <a:gd name="T55" fmla="*/ 0 h 6136"/>
                <a:gd name="T56" fmla="*/ 0 w 10451"/>
                <a:gd name="T57" fmla="*/ 0 h 6136"/>
                <a:gd name="T58" fmla="*/ 0 w 10451"/>
                <a:gd name="T59" fmla="*/ 0 h 6136"/>
                <a:gd name="T60" fmla="*/ 0 w 10451"/>
                <a:gd name="T61" fmla="*/ 0 h 6136"/>
                <a:gd name="T62" fmla="*/ 0 w 10451"/>
                <a:gd name="T63" fmla="*/ 0 h 6136"/>
                <a:gd name="T64" fmla="*/ 0 w 10451"/>
                <a:gd name="T65" fmla="*/ 0 h 6136"/>
                <a:gd name="T66" fmla="*/ 0 w 10451"/>
                <a:gd name="T67" fmla="*/ 0 h 6136"/>
                <a:gd name="T68" fmla="*/ 0 w 10451"/>
                <a:gd name="T69" fmla="*/ 0 h 6136"/>
                <a:gd name="T70" fmla="*/ 0 w 10451"/>
                <a:gd name="T71" fmla="*/ 0 h 6136"/>
                <a:gd name="T72" fmla="*/ 0 w 10451"/>
                <a:gd name="T73" fmla="*/ 0 h 6136"/>
                <a:gd name="T74" fmla="*/ 0 w 10451"/>
                <a:gd name="T75" fmla="*/ 0 h 6136"/>
                <a:gd name="T76" fmla="*/ 0 w 10451"/>
                <a:gd name="T77" fmla="*/ 0 h 6136"/>
                <a:gd name="T78" fmla="*/ 0 w 10451"/>
                <a:gd name="T79" fmla="*/ 0 h 6136"/>
                <a:gd name="T80" fmla="*/ 0 w 10451"/>
                <a:gd name="T81" fmla="*/ 0 h 6136"/>
                <a:gd name="T82" fmla="*/ 0 w 10451"/>
                <a:gd name="T83" fmla="*/ 0 h 6136"/>
                <a:gd name="T84" fmla="*/ 0 w 10451"/>
                <a:gd name="T85" fmla="*/ 0 h 6136"/>
                <a:gd name="T86" fmla="*/ 0 w 10451"/>
                <a:gd name="T87" fmla="*/ 0 h 6136"/>
                <a:gd name="T88" fmla="*/ 0 w 10451"/>
                <a:gd name="T89" fmla="*/ 0 h 6136"/>
                <a:gd name="T90" fmla="*/ 0 w 10451"/>
                <a:gd name="T91" fmla="*/ 0 h 6136"/>
                <a:gd name="T92" fmla="*/ 0 w 10451"/>
                <a:gd name="T93" fmla="*/ 0 h 6136"/>
                <a:gd name="T94" fmla="*/ 0 w 10451"/>
                <a:gd name="T95" fmla="*/ 0 h 6136"/>
                <a:gd name="T96" fmla="*/ 0 w 10451"/>
                <a:gd name="T97" fmla="*/ 0 h 6136"/>
                <a:gd name="T98" fmla="*/ 0 w 10451"/>
                <a:gd name="T99" fmla="*/ 0 h 6136"/>
                <a:gd name="T100" fmla="*/ 0 w 10451"/>
                <a:gd name="T101" fmla="*/ 0 h 6136"/>
                <a:gd name="T102" fmla="*/ 0 w 10451"/>
                <a:gd name="T103" fmla="*/ 0 h 6136"/>
                <a:gd name="T104" fmla="*/ 0 w 10451"/>
                <a:gd name="T105" fmla="*/ 0 h 6136"/>
                <a:gd name="T106" fmla="*/ 0 w 10451"/>
                <a:gd name="T107" fmla="*/ 0 h 6136"/>
                <a:gd name="T108" fmla="*/ 0 w 10451"/>
                <a:gd name="T109" fmla="*/ 0 h 6136"/>
                <a:gd name="T110" fmla="*/ 0 w 10451"/>
                <a:gd name="T111" fmla="*/ 0 h 6136"/>
                <a:gd name="T112" fmla="*/ 0 w 10451"/>
                <a:gd name="T113" fmla="*/ 0 h 6136"/>
                <a:gd name="T114" fmla="*/ 0 w 10451"/>
                <a:gd name="T115" fmla="*/ 0 h 6136"/>
                <a:gd name="T116" fmla="*/ 0 w 10451"/>
                <a:gd name="T117" fmla="*/ 0 h 6136"/>
                <a:gd name="T118" fmla="*/ 0 w 10451"/>
                <a:gd name="T119" fmla="*/ 0 h 6136"/>
                <a:gd name="T120" fmla="*/ 0 w 10451"/>
                <a:gd name="T121" fmla="*/ 0 h 6136"/>
                <a:gd name="T122" fmla="*/ 0 w 10451"/>
                <a:gd name="T123" fmla="*/ 0 h 6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51"/>
                <a:gd name="T187" fmla="*/ 0 h 6136"/>
                <a:gd name="T188" fmla="*/ 10451 w 10451"/>
                <a:gd name="T189" fmla="*/ 6136 h 6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51" h="6136">
                  <a:moveTo>
                    <a:pt x="0" y="2565"/>
                  </a:moveTo>
                  <a:lnTo>
                    <a:pt x="4484" y="0"/>
                  </a:lnTo>
                  <a:lnTo>
                    <a:pt x="10451" y="3430"/>
                  </a:lnTo>
                  <a:lnTo>
                    <a:pt x="6099" y="6136"/>
                  </a:lnTo>
                  <a:lnTo>
                    <a:pt x="2735" y="4102"/>
                  </a:lnTo>
                  <a:lnTo>
                    <a:pt x="2742" y="4098"/>
                  </a:lnTo>
                  <a:lnTo>
                    <a:pt x="2763" y="4087"/>
                  </a:lnTo>
                  <a:lnTo>
                    <a:pt x="2793" y="4070"/>
                  </a:lnTo>
                  <a:lnTo>
                    <a:pt x="2830" y="4045"/>
                  </a:lnTo>
                  <a:lnTo>
                    <a:pt x="2851" y="4031"/>
                  </a:lnTo>
                  <a:lnTo>
                    <a:pt x="2872" y="4016"/>
                  </a:lnTo>
                  <a:lnTo>
                    <a:pt x="2894" y="3998"/>
                  </a:lnTo>
                  <a:lnTo>
                    <a:pt x="2917" y="3980"/>
                  </a:lnTo>
                  <a:lnTo>
                    <a:pt x="2939" y="3962"/>
                  </a:lnTo>
                  <a:lnTo>
                    <a:pt x="2960" y="3941"/>
                  </a:lnTo>
                  <a:lnTo>
                    <a:pt x="2981" y="3920"/>
                  </a:lnTo>
                  <a:lnTo>
                    <a:pt x="3001" y="3897"/>
                  </a:lnTo>
                  <a:lnTo>
                    <a:pt x="3019" y="3874"/>
                  </a:lnTo>
                  <a:lnTo>
                    <a:pt x="3035" y="3851"/>
                  </a:lnTo>
                  <a:lnTo>
                    <a:pt x="3049" y="3825"/>
                  </a:lnTo>
                  <a:lnTo>
                    <a:pt x="3061" y="3801"/>
                  </a:lnTo>
                  <a:lnTo>
                    <a:pt x="3069" y="3774"/>
                  </a:lnTo>
                  <a:lnTo>
                    <a:pt x="3075" y="3747"/>
                  </a:lnTo>
                  <a:lnTo>
                    <a:pt x="3077" y="3721"/>
                  </a:lnTo>
                  <a:lnTo>
                    <a:pt x="3075" y="3693"/>
                  </a:lnTo>
                  <a:lnTo>
                    <a:pt x="3069" y="3666"/>
                  </a:lnTo>
                  <a:lnTo>
                    <a:pt x="3059" y="3638"/>
                  </a:lnTo>
                  <a:lnTo>
                    <a:pt x="3043" y="3610"/>
                  </a:lnTo>
                  <a:lnTo>
                    <a:pt x="3023" y="3581"/>
                  </a:lnTo>
                  <a:lnTo>
                    <a:pt x="2997" y="3554"/>
                  </a:lnTo>
                  <a:lnTo>
                    <a:pt x="2965" y="3525"/>
                  </a:lnTo>
                  <a:lnTo>
                    <a:pt x="2927" y="3497"/>
                  </a:lnTo>
                  <a:lnTo>
                    <a:pt x="2882" y="3469"/>
                  </a:lnTo>
                  <a:lnTo>
                    <a:pt x="2877" y="3465"/>
                  </a:lnTo>
                  <a:lnTo>
                    <a:pt x="2861" y="3456"/>
                  </a:lnTo>
                  <a:lnTo>
                    <a:pt x="2836" y="3440"/>
                  </a:lnTo>
                  <a:lnTo>
                    <a:pt x="2801" y="3424"/>
                  </a:lnTo>
                  <a:lnTo>
                    <a:pt x="2780" y="3415"/>
                  </a:lnTo>
                  <a:lnTo>
                    <a:pt x="2757" y="3406"/>
                  </a:lnTo>
                  <a:lnTo>
                    <a:pt x="2732" y="3397"/>
                  </a:lnTo>
                  <a:lnTo>
                    <a:pt x="2705" y="3388"/>
                  </a:lnTo>
                  <a:lnTo>
                    <a:pt x="2676" y="3381"/>
                  </a:lnTo>
                  <a:lnTo>
                    <a:pt x="2645" y="3374"/>
                  </a:lnTo>
                  <a:lnTo>
                    <a:pt x="2612" y="3368"/>
                  </a:lnTo>
                  <a:lnTo>
                    <a:pt x="2577" y="3363"/>
                  </a:lnTo>
                  <a:lnTo>
                    <a:pt x="2540" y="3361"/>
                  </a:lnTo>
                  <a:lnTo>
                    <a:pt x="2502" y="3359"/>
                  </a:lnTo>
                  <a:lnTo>
                    <a:pt x="2462" y="3360"/>
                  </a:lnTo>
                  <a:lnTo>
                    <a:pt x="2420" y="3362"/>
                  </a:lnTo>
                  <a:lnTo>
                    <a:pt x="2377" y="3367"/>
                  </a:lnTo>
                  <a:lnTo>
                    <a:pt x="2332" y="3375"/>
                  </a:lnTo>
                  <a:lnTo>
                    <a:pt x="2286" y="3385"/>
                  </a:lnTo>
                  <a:lnTo>
                    <a:pt x="2239" y="3400"/>
                  </a:lnTo>
                  <a:lnTo>
                    <a:pt x="2190" y="3416"/>
                  </a:lnTo>
                  <a:lnTo>
                    <a:pt x="2140" y="3436"/>
                  </a:lnTo>
                  <a:lnTo>
                    <a:pt x="2089" y="3460"/>
                  </a:lnTo>
                  <a:lnTo>
                    <a:pt x="2037" y="3488"/>
                  </a:lnTo>
                  <a:lnTo>
                    <a:pt x="1983" y="3520"/>
                  </a:lnTo>
                  <a:lnTo>
                    <a:pt x="1929" y="3556"/>
                  </a:lnTo>
                  <a:lnTo>
                    <a:pt x="1873" y="3598"/>
                  </a:lnTo>
                  <a:lnTo>
                    <a:pt x="1817" y="3642"/>
                  </a:lnTo>
                  <a:lnTo>
                    <a:pt x="0" y="2565"/>
                  </a:lnTo>
                  <a:close/>
                </a:path>
              </a:pathLst>
            </a:custGeom>
            <a:solidFill>
              <a:srgbClr val="EBEB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6" name="Freeform 117"/>
            <p:cNvSpPr>
              <a:spLocks/>
            </p:cNvSpPr>
            <p:nvPr/>
          </p:nvSpPr>
          <p:spPr bwMode="auto">
            <a:xfrm>
              <a:off x="797970" y="2293096"/>
              <a:ext cx="230188" cy="92081"/>
            </a:xfrm>
            <a:custGeom>
              <a:avLst/>
              <a:gdLst>
                <a:gd name="T0" fmla="*/ 0 w 7716"/>
                <a:gd name="T1" fmla="*/ 0 h 2814"/>
                <a:gd name="T2" fmla="*/ 0 w 7716"/>
                <a:gd name="T3" fmla="*/ 0 h 2814"/>
                <a:gd name="T4" fmla="*/ 0 w 7716"/>
                <a:gd name="T5" fmla="*/ 0 h 2814"/>
                <a:gd name="T6" fmla="*/ 0 w 7716"/>
                <a:gd name="T7" fmla="*/ 0 h 2814"/>
                <a:gd name="T8" fmla="*/ 0 w 7716"/>
                <a:gd name="T9" fmla="*/ 0 h 2814"/>
                <a:gd name="T10" fmla="*/ 0 w 7716"/>
                <a:gd name="T11" fmla="*/ 0 h 2814"/>
                <a:gd name="T12" fmla="*/ 0 w 7716"/>
                <a:gd name="T13" fmla="*/ 0 h 28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16"/>
                <a:gd name="T22" fmla="*/ 0 h 2814"/>
                <a:gd name="T23" fmla="*/ 7716 w 7716"/>
                <a:gd name="T24" fmla="*/ 2814 h 28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16" h="2814">
                  <a:moveTo>
                    <a:pt x="0" y="780"/>
                  </a:moveTo>
                  <a:lnTo>
                    <a:pt x="3364" y="2814"/>
                  </a:lnTo>
                  <a:lnTo>
                    <a:pt x="7716" y="108"/>
                  </a:lnTo>
                  <a:lnTo>
                    <a:pt x="7527" y="0"/>
                  </a:lnTo>
                  <a:lnTo>
                    <a:pt x="3362" y="2429"/>
                  </a:lnTo>
                  <a:lnTo>
                    <a:pt x="183" y="692"/>
                  </a:lnTo>
                  <a:lnTo>
                    <a:pt x="0" y="7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7" name="Freeform 118"/>
            <p:cNvSpPr>
              <a:spLocks/>
            </p:cNvSpPr>
            <p:nvPr/>
          </p:nvSpPr>
          <p:spPr bwMode="auto">
            <a:xfrm>
              <a:off x="898116" y="2298119"/>
              <a:ext cx="128546" cy="219319"/>
            </a:xfrm>
            <a:custGeom>
              <a:avLst/>
              <a:gdLst>
                <a:gd name="T0" fmla="*/ 0 w 4309"/>
                <a:gd name="T1" fmla="*/ 0 h 6670"/>
                <a:gd name="T2" fmla="*/ 0 w 4309"/>
                <a:gd name="T3" fmla="*/ 0 h 6670"/>
                <a:gd name="T4" fmla="*/ 0 w 4309"/>
                <a:gd name="T5" fmla="*/ 0 h 6670"/>
                <a:gd name="T6" fmla="*/ 0 w 4309"/>
                <a:gd name="T7" fmla="*/ 0 h 6670"/>
                <a:gd name="T8" fmla="*/ 0 w 4309"/>
                <a:gd name="T9" fmla="*/ 0 h 6670"/>
                <a:gd name="T10" fmla="*/ 0 w 4309"/>
                <a:gd name="T11" fmla="*/ 0 h 6670"/>
                <a:gd name="T12" fmla="*/ 0 w 4309"/>
                <a:gd name="T13" fmla="*/ 0 h 6670"/>
                <a:gd name="T14" fmla="*/ 0 w 4309"/>
                <a:gd name="T15" fmla="*/ 0 h 6670"/>
                <a:gd name="T16" fmla="*/ 0 w 4309"/>
                <a:gd name="T17" fmla="*/ 0 h 6670"/>
                <a:gd name="T18" fmla="*/ 0 w 4309"/>
                <a:gd name="T19" fmla="*/ 0 h 6670"/>
                <a:gd name="T20" fmla="*/ 0 w 4309"/>
                <a:gd name="T21" fmla="*/ 0 h 6670"/>
                <a:gd name="T22" fmla="*/ 0 w 4309"/>
                <a:gd name="T23" fmla="*/ 0 h 6670"/>
                <a:gd name="T24" fmla="*/ 0 w 4309"/>
                <a:gd name="T25" fmla="*/ 0 h 6670"/>
                <a:gd name="T26" fmla="*/ 0 w 4309"/>
                <a:gd name="T27" fmla="*/ 0 h 6670"/>
                <a:gd name="T28" fmla="*/ 0 w 4309"/>
                <a:gd name="T29" fmla="*/ 0 h 6670"/>
                <a:gd name="T30" fmla="*/ 0 w 4309"/>
                <a:gd name="T31" fmla="*/ 0 h 6670"/>
                <a:gd name="T32" fmla="*/ 0 w 4309"/>
                <a:gd name="T33" fmla="*/ 0 h 6670"/>
                <a:gd name="T34" fmla="*/ 0 w 4309"/>
                <a:gd name="T35" fmla="*/ 0 h 6670"/>
                <a:gd name="T36" fmla="*/ 0 w 4309"/>
                <a:gd name="T37" fmla="*/ 0 h 6670"/>
                <a:gd name="T38" fmla="*/ 0 w 4309"/>
                <a:gd name="T39" fmla="*/ 0 h 6670"/>
                <a:gd name="T40" fmla="*/ 0 w 4309"/>
                <a:gd name="T41" fmla="*/ 0 h 6670"/>
                <a:gd name="T42" fmla="*/ 0 w 4309"/>
                <a:gd name="T43" fmla="*/ 0 h 6670"/>
                <a:gd name="T44" fmla="*/ 0 w 4309"/>
                <a:gd name="T45" fmla="*/ 0 h 6670"/>
                <a:gd name="T46" fmla="*/ 0 w 4309"/>
                <a:gd name="T47" fmla="*/ 0 h 6670"/>
                <a:gd name="T48" fmla="*/ 0 w 4309"/>
                <a:gd name="T49" fmla="*/ 0 h 6670"/>
                <a:gd name="T50" fmla="*/ 0 w 4309"/>
                <a:gd name="T51" fmla="*/ 0 h 6670"/>
                <a:gd name="T52" fmla="*/ 0 w 4309"/>
                <a:gd name="T53" fmla="*/ 0 h 6670"/>
                <a:gd name="T54" fmla="*/ 0 w 4309"/>
                <a:gd name="T55" fmla="*/ 0 h 6670"/>
                <a:gd name="T56" fmla="*/ 0 w 4309"/>
                <a:gd name="T57" fmla="*/ 0 h 6670"/>
                <a:gd name="T58" fmla="*/ 0 w 4309"/>
                <a:gd name="T59" fmla="*/ 0 h 6670"/>
                <a:gd name="T60" fmla="*/ 0 w 4309"/>
                <a:gd name="T61" fmla="*/ 0 h 6670"/>
                <a:gd name="T62" fmla="*/ 0 w 4309"/>
                <a:gd name="T63" fmla="*/ 0 h 6670"/>
                <a:gd name="T64" fmla="*/ 0 w 4309"/>
                <a:gd name="T65" fmla="*/ 0 h 6670"/>
                <a:gd name="T66" fmla="*/ 0 w 4309"/>
                <a:gd name="T67" fmla="*/ 0 h 6670"/>
                <a:gd name="T68" fmla="*/ 0 w 4309"/>
                <a:gd name="T69" fmla="*/ 0 h 6670"/>
                <a:gd name="T70" fmla="*/ 0 w 4309"/>
                <a:gd name="T71" fmla="*/ 0 h 6670"/>
                <a:gd name="T72" fmla="*/ 0 w 4309"/>
                <a:gd name="T73" fmla="*/ 0 h 6670"/>
                <a:gd name="T74" fmla="*/ 0 w 4309"/>
                <a:gd name="T75" fmla="*/ 0 h 6670"/>
                <a:gd name="T76" fmla="*/ 0 w 4309"/>
                <a:gd name="T77" fmla="*/ 0 h 6670"/>
                <a:gd name="T78" fmla="*/ 0 w 4309"/>
                <a:gd name="T79" fmla="*/ 0 h 6670"/>
                <a:gd name="T80" fmla="*/ 0 w 4309"/>
                <a:gd name="T81" fmla="*/ 0 h 6670"/>
                <a:gd name="T82" fmla="*/ 0 w 4309"/>
                <a:gd name="T83" fmla="*/ 0 h 6670"/>
                <a:gd name="T84" fmla="*/ 0 w 4309"/>
                <a:gd name="T85" fmla="*/ 0 h 6670"/>
                <a:gd name="T86" fmla="*/ 0 w 4309"/>
                <a:gd name="T87" fmla="*/ 0 h 6670"/>
                <a:gd name="T88" fmla="*/ 0 w 4309"/>
                <a:gd name="T89" fmla="*/ 0 h 6670"/>
                <a:gd name="T90" fmla="*/ 0 w 4309"/>
                <a:gd name="T91" fmla="*/ 0 h 6670"/>
                <a:gd name="T92" fmla="*/ 0 w 4309"/>
                <a:gd name="T93" fmla="*/ 0 h 6670"/>
                <a:gd name="T94" fmla="*/ 0 w 4309"/>
                <a:gd name="T95" fmla="*/ 0 h 6670"/>
                <a:gd name="T96" fmla="*/ 0 w 4309"/>
                <a:gd name="T97" fmla="*/ 0 h 6670"/>
                <a:gd name="T98" fmla="*/ 0 w 4309"/>
                <a:gd name="T99" fmla="*/ 0 h 6670"/>
                <a:gd name="T100" fmla="*/ 0 w 4309"/>
                <a:gd name="T101" fmla="*/ 0 h 6670"/>
                <a:gd name="T102" fmla="*/ 0 w 4309"/>
                <a:gd name="T103" fmla="*/ 0 h 6670"/>
                <a:gd name="T104" fmla="*/ 0 w 4309"/>
                <a:gd name="T105" fmla="*/ 0 h 6670"/>
                <a:gd name="T106" fmla="*/ 0 w 4309"/>
                <a:gd name="T107" fmla="*/ 0 h 6670"/>
                <a:gd name="T108" fmla="*/ 0 w 4309"/>
                <a:gd name="T109" fmla="*/ 0 h 6670"/>
                <a:gd name="T110" fmla="*/ 0 w 4309"/>
                <a:gd name="T111" fmla="*/ 0 h 6670"/>
                <a:gd name="T112" fmla="*/ 0 w 4309"/>
                <a:gd name="T113" fmla="*/ 0 h 6670"/>
                <a:gd name="T114" fmla="*/ 0 w 4309"/>
                <a:gd name="T115" fmla="*/ 0 h 6670"/>
                <a:gd name="T116" fmla="*/ 0 w 4309"/>
                <a:gd name="T117" fmla="*/ 0 h 6670"/>
                <a:gd name="T118" fmla="*/ 0 w 4309"/>
                <a:gd name="T119" fmla="*/ 0 h 6670"/>
                <a:gd name="T120" fmla="*/ 0 w 4309"/>
                <a:gd name="T121" fmla="*/ 0 h 66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9"/>
                <a:gd name="T184" fmla="*/ 0 h 6670"/>
                <a:gd name="T185" fmla="*/ 4309 w 4309"/>
                <a:gd name="T186" fmla="*/ 6670 h 667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9" h="6670">
                  <a:moveTo>
                    <a:pt x="4309" y="0"/>
                  </a:moveTo>
                  <a:lnTo>
                    <a:pt x="0" y="2672"/>
                  </a:lnTo>
                  <a:lnTo>
                    <a:pt x="24" y="6670"/>
                  </a:lnTo>
                  <a:lnTo>
                    <a:pt x="25" y="6644"/>
                  </a:lnTo>
                  <a:lnTo>
                    <a:pt x="30" y="6573"/>
                  </a:lnTo>
                  <a:lnTo>
                    <a:pt x="39" y="6460"/>
                  </a:lnTo>
                  <a:lnTo>
                    <a:pt x="53" y="6310"/>
                  </a:lnTo>
                  <a:lnTo>
                    <a:pt x="62" y="6222"/>
                  </a:lnTo>
                  <a:lnTo>
                    <a:pt x="72" y="6127"/>
                  </a:lnTo>
                  <a:lnTo>
                    <a:pt x="84" y="6026"/>
                  </a:lnTo>
                  <a:lnTo>
                    <a:pt x="98" y="5919"/>
                  </a:lnTo>
                  <a:lnTo>
                    <a:pt x="114" y="5806"/>
                  </a:lnTo>
                  <a:lnTo>
                    <a:pt x="131" y="5687"/>
                  </a:lnTo>
                  <a:lnTo>
                    <a:pt x="151" y="5565"/>
                  </a:lnTo>
                  <a:lnTo>
                    <a:pt x="172" y="5439"/>
                  </a:lnTo>
                  <a:lnTo>
                    <a:pt x="196" y="5310"/>
                  </a:lnTo>
                  <a:lnTo>
                    <a:pt x="222" y="5178"/>
                  </a:lnTo>
                  <a:lnTo>
                    <a:pt x="250" y="5045"/>
                  </a:lnTo>
                  <a:lnTo>
                    <a:pt x="281" y="4910"/>
                  </a:lnTo>
                  <a:lnTo>
                    <a:pt x="314" y="4775"/>
                  </a:lnTo>
                  <a:lnTo>
                    <a:pt x="350" y="4640"/>
                  </a:lnTo>
                  <a:lnTo>
                    <a:pt x="389" y="4504"/>
                  </a:lnTo>
                  <a:lnTo>
                    <a:pt x="431" y="4371"/>
                  </a:lnTo>
                  <a:lnTo>
                    <a:pt x="475" y="4239"/>
                  </a:lnTo>
                  <a:lnTo>
                    <a:pt x="523" y="4110"/>
                  </a:lnTo>
                  <a:lnTo>
                    <a:pt x="573" y="3984"/>
                  </a:lnTo>
                  <a:lnTo>
                    <a:pt x="627" y="3861"/>
                  </a:lnTo>
                  <a:lnTo>
                    <a:pt x="684" y="3742"/>
                  </a:lnTo>
                  <a:lnTo>
                    <a:pt x="745" y="3629"/>
                  </a:lnTo>
                  <a:lnTo>
                    <a:pt x="809" y="3521"/>
                  </a:lnTo>
                  <a:lnTo>
                    <a:pt x="876" y="3419"/>
                  </a:lnTo>
                  <a:lnTo>
                    <a:pt x="889" y="3398"/>
                  </a:lnTo>
                  <a:lnTo>
                    <a:pt x="925" y="3335"/>
                  </a:lnTo>
                  <a:lnTo>
                    <a:pt x="953" y="3289"/>
                  </a:lnTo>
                  <a:lnTo>
                    <a:pt x="987" y="3235"/>
                  </a:lnTo>
                  <a:lnTo>
                    <a:pt x="1028" y="3172"/>
                  </a:lnTo>
                  <a:lnTo>
                    <a:pt x="1075" y="3101"/>
                  </a:lnTo>
                  <a:lnTo>
                    <a:pt x="1128" y="3021"/>
                  </a:lnTo>
                  <a:lnTo>
                    <a:pt x="1189" y="2934"/>
                  </a:lnTo>
                  <a:lnTo>
                    <a:pt x="1255" y="2842"/>
                  </a:lnTo>
                  <a:lnTo>
                    <a:pt x="1329" y="2742"/>
                  </a:lnTo>
                  <a:lnTo>
                    <a:pt x="1409" y="2636"/>
                  </a:lnTo>
                  <a:lnTo>
                    <a:pt x="1497" y="2523"/>
                  </a:lnTo>
                  <a:lnTo>
                    <a:pt x="1591" y="2406"/>
                  </a:lnTo>
                  <a:lnTo>
                    <a:pt x="1692" y="2285"/>
                  </a:lnTo>
                  <a:lnTo>
                    <a:pt x="1800" y="2158"/>
                  </a:lnTo>
                  <a:lnTo>
                    <a:pt x="1915" y="2028"/>
                  </a:lnTo>
                  <a:lnTo>
                    <a:pt x="2037" y="1893"/>
                  </a:lnTo>
                  <a:lnTo>
                    <a:pt x="2167" y="1755"/>
                  </a:lnTo>
                  <a:lnTo>
                    <a:pt x="2304" y="1616"/>
                  </a:lnTo>
                  <a:lnTo>
                    <a:pt x="2448" y="1473"/>
                  </a:lnTo>
                  <a:lnTo>
                    <a:pt x="2600" y="1327"/>
                  </a:lnTo>
                  <a:lnTo>
                    <a:pt x="2759" y="1181"/>
                  </a:lnTo>
                  <a:lnTo>
                    <a:pt x="2926" y="1033"/>
                  </a:lnTo>
                  <a:lnTo>
                    <a:pt x="3101" y="884"/>
                  </a:lnTo>
                  <a:lnTo>
                    <a:pt x="3282" y="735"/>
                  </a:lnTo>
                  <a:lnTo>
                    <a:pt x="3472" y="586"/>
                  </a:lnTo>
                  <a:lnTo>
                    <a:pt x="3669" y="439"/>
                  </a:lnTo>
                  <a:lnTo>
                    <a:pt x="3875" y="291"/>
                  </a:lnTo>
                  <a:lnTo>
                    <a:pt x="4088" y="145"/>
                  </a:lnTo>
                  <a:lnTo>
                    <a:pt x="4309" y="0"/>
                  </a:lnTo>
                  <a:close/>
                </a:path>
              </a:pathLst>
            </a:custGeom>
            <a:solidFill>
              <a:srgbClr val="ABAAA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33" name="AutoShape 23" descr="채우기4"/>
            <p:cNvSpPr>
              <a:spLocks noChangeArrowheads="1"/>
            </p:cNvSpPr>
            <p:nvPr/>
          </p:nvSpPr>
          <p:spPr bwMode="auto">
            <a:xfrm>
              <a:off x="924546" y="2168149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수신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34" name="AutoShape 23" descr="채우기4"/>
            <p:cNvSpPr>
              <a:spLocks noChangeArrowheads="1"/>
            </p:cNvSpPr>
            <p:nvPr/>
          </p:nvSpPr>
          <p:spPr bwMode="auto">
            <a:xfrm>
              <a:off x="924546" y="2334388"/>
              <a:ext cx="521921" cy="140302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여신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35" name="AutoShape 23" descr="채우기4"/>
            <p:cNvSpPr>
              <a:spLocks noChangeArrowheads="1"/>
            </p:cNvSpPr>
            <p:nvPr/>
          </p:nvSpPr>
          <p:spPr bwMode="auto">
            <a:xfrm>
              <a:off x="924546" y="2504488"/>
              <a:ext cx="521921" cy="140302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외환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36" name="AutoShape 23" descr="채우기4"/>
            <p:cNvSpPr>
              <a:spLocks noChangeArrowheads="1"/>
            </p:cNvSpPr>
            <p:nvPr/>
          </p:nvSpPr>
          <p:spPr bwMode="auto">
            <a:xfrm>
              <a:off x="924546" y="2674589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방카</a:t>
              </a:r>
              <a:r>
                <a:rPr lang="en-US" altLang="ko-KR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/</a:t>
              </a: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카드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244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49" y="2854625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5" name="Text Box 57"/>
            <p:cNvSpPr txBox="1">
              <a:spLocks noChangeArrowheads="1"/>
            </p:cNvSpPr>
            <p:nvPr/>
          </p:nvSpPr>
          <p:spPr bwMode="gray">
            <a:xfrm>
              <a:off x="337130" y="2882845"/>
              <a:ext cx="448841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업무별원장</a:t>
              </a:r>
              <a:endParaRPr lang="ko-KR" altLang="en-US" sz="8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242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265" y="2854625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3" name="Text Box 57"/>
            <p:cNvSpPr txBox="1">
              <a:spLocks noChangeArrowheads="1"/>
            </p:cNvSpPr>
            <p:nvPr/>
          </p:nvSpPr>
          <p:spPr bwMode="gray">
            <a:xfrm>
              <a:off x="1097497" y="2882845"/>
              <a:ext cx="179536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코드</a:t>
              </a:r>
              <a:endParaRPr lang="ko-KR" altLang="en-US" sz="8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240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49" y="2668022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1" name="Text Box 57"/>
            <p:cNvSpPr txBox="1">
              <a:spLocks noChangeArrowheads="1"/>
            </p:cNvSpPr>
            <p:nvPr/>
          </p:nvSpPr>
          <p:spPr bwMode="gray">
            <a:xfrm>
              <a:off x="292246" y="2696242"/>
              <a:ext cx="538609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80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통합업무로그</a:t>
              </a:r>
              <a:endParaRPr lang="ko-KR" altLang="en-US" sz="80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79" name="AutoShape 12"/>
            <p:cNvSpPr>
              <a:spLocks noChangeArrowheads="1"/>
            </p:cNvSpPr>
            <p:nvPr/>
          </p:nvSpPr>
          <p:spPr bwMode="gray">
            <a:xfrm>
              <a:off x="233417" y="3845134"/>
              <a:ext cx="1277083" cy="893186"/>
            </a:xfrm>
            <a:prstGeom prst="roundRect">
              <a:avLst>
                <a:gd name="adj" fmla="val 2190"/>
              </a:avLst>
            </a:prstGeom>
            <a:solidFill>
              <a:srgbClr val="FFFFFF"/>
            </a:solidFill>
            <a:ln w="9525" algn="ctr">
              <a:solidFill>
                <a:srgbClr val="47B2E7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3" name="AutoShape 87"/>
            <p:cNvSpPr>
              <a:spLocks noChangeAspect="1" noChangeArrowheads="1"/>
            </p:cNvSpPr>
            <p:nvPr/>
          </p:nvSpPr>
          <p:spPr bwMode="auto">
            <a:xfrm>
              <a:off x="708286" y="3916176"/>
              <a:ext cx="327345" cy="5357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4" name="Freeform 88"/>
            <p:cNvSpPr>
              <a:spLocks/>
            </p:cNvSpPr>
            <p:nvPr/>
          </p:nvSpPr>
          <p:spPr bwMode="auto">
            <a:xfrm>
              <a:off x="708286" y="3916176"/>
              <a:ext cx="327345" cy="535739"/>
            </a:xfrm>
            <a:custGeom>
              <a:avLst/>
              <a:gdLst>
                <a:gd name="T0" fmla="*/ 0 w 10950"/>
                <a:gd name="T1" fmla="*/ 0 h 16320"/>
                <a:gd name="T2" fmla="*/ 0 w 10950"/>
                <a:gd name="T3" fmla="*/ 0 h 16320"/>
                <a:gd name="T4" fmla="*/ 0 w 10950"/>
                <a:gd name="T5" fmla="*/ 0 h 16320"/>
                <a:gd name="T6" fmla="*/ 0 w 10950"/>
                <a:gd name="T7" fmla="*/ 0 h 16320"/>
                <a:gd name="T8" fmla="*/ 0 w 10950"/>
                <a:gd name="T9" fmla="*/ 0 h 16320"/>
                <a:gd name="T10" fmla="*/ 0 w 10950"/>
                <a:gd name="T11" fmla="*/ 0 h 16320"/>
                <a:gd name="T12" fmla="*/ 0 w 10950"/>
                <a:gd name="T13" fmla="*/ 0 h 16320"/>
                <a:gd name="T14" fmla="*/ 0 w 10950"/>
                <a:gd name="T15" fmla="*/ 0 h 16320"/>
                <a:gd name="T16" fmla="*/ 0 w 10950"/>
                <a:gd name="T17" fmla="*/ 0 h 16320"/>
                <a:gd name="T18" fmla="*/ 0 w 10950"/>
                <a:gd name="T19" fmla="*/ 0 h 16320"/>
                <a:gd name="T20" fmla="*/ 0 w 10950"/>
                <a:gd name="T21" fmla="*/ 0 h 16320"/>
                <a:gd name="T22" fmla="*/ 0 w 10950"/>
                <a:gd name="T23" fmla="*/ 0 h 16320"/>
                <a:gd name="T24" fmla="*/ 0 w 10950"/>
                <a:gd name="T25" fmla="*/ 0 h 16320"/>
                <a:gd name="T26" fmla="*/ 0 w 10950"/>
                <a:gd name="T27" fmla="*/ 0 h 16320"/>
                <a:gd name="T28" fmla="*/ 0 w 10950"/>
                <a:gd name="T29" fmla="*/ 0 h 16320"/>
                <a:gd name="T30" fmla="*/ 0 w 10950"/>
                <a:gd name="T31" fmla="*/ 0 h 16320"/>
                <a:gd name="T32" fmla="*/ 0 w 10950"/>
                <a:gd name="T33" fmla="*/ 0 h 16320"/>
                <a:gd name="T34" fmla="*/ 0 w 10950"/>
                <a:gd name="T35" fmla="*/ 0 h 16320"/>
                <a:gd name="T36" fmla="*/ 0 w 10950"/>
                <a:gd name="T37" fmla="*/ 0 h 16320"/>
                <a:gd name="T38" fmla="*/ 0 w 10950"/>
                <a:gd name="T39" fmla="*/ 0 h 16320"/>
                <a:gd name="T40" fmla="*/ 0 w 10950"/>
                <a:gd name="T41" fmla="*/ 0 h 16320"/>
                <a:gd name="T42" fmla="*/ 0 w 10950"/>
                <a:gd name="T43" fmla="*/ 0 h 16320"/>
                <a:gd name="T44" fmla="*/ 0 w 10950"/>
                <a:gd name="T45" fmla="*/ 0 h 16320"/>
                <a:gd name="T46" fmla="*/ 0 w 10950"/>
                <a:gd name="T47" fmla="*/ 0 h 16320"/>
                <a:gd name="T48" fmla="*/ 0 w 10950"/>
                <a:gd name="T49" fmla="*/ 0 h 16320"/>
                <a:gd name="T50" fmla="*/ 0 w 10950"/>
                <a:gd name="T51" fmla="*/ 0 h 16320"/>
                <a:gd name="T52" fmla="*/ 0 w 10950"/>
                <a:gd name="T53" fmla="*/ 0 h 16320"/>
                <a:gd name="T54" fmla="*/ 0 w 10950"/>
                <a:gd name="T55" fmla="*/ 0 h 16320"/>
                <a:gd name="T56" fmla="*/ 0 w 10950"/>
                <a:gd name="T57" fmla="*/ 0 h 16320"/>
                <a:gd name="T58" fmla="*/ 0 w 10950"/>
                <a:gd name="T59" fmla="*/ 0 h 16320"/>
                <a:gd name="T60" fmla="*/ 0 w 10950"/>
                <a:gd name="T61" fmla="*/ 0 h 16320"/>
                <a:gd name="T62" fmla="*/ 0 w 10950"/>
                <a:gd name="T63" fmla="*/ 0 h 16320"/>
                <a:gd name="T64" fmla="*/ 0 w 10950"/>
                <a:gd name="T65" fmla="*/ 0 h 16320"/>
                <a:gd name="T66" fmla="*/ 0 w 10950"/>
                <a:gd name="T67" fmla="*/ 0 h 16320"/>
                <a:gd name="T68" fmla="*/ 0 w 10950"/>
                <a:gd name="T69" fmla="*/ 0 h 16320"/>
                <a:gd name="T70" fmla="*/ 0 w 10950"/>
                <a:gd name="T71" fmla="*/ 0 h 16320"/>
                <a:gd name="T72" fmla="*/ 0 w 10950"/>
                <a:gd name="T73" fmla="*/ 0 h 16320"/>
                <a:gd name="T74" fmla="*/ 0 w 10950"/>
                <a:gd name="T75" fmla="*/ 0 h 16320"/>
                <a:gd name="T76" fmla="*/ 0 w 10950"/>
                <a:gd name="T77" fmla="*/ 0 h 16320"/>
                <a:gd name="T78" fmla="*/ 0 w 10950"/>
                <a:gd name="T79" fmla="*/ 0 h 16320"/>
                <a:gd name="T80" fmla="*/ 0 w 10950"/>
                <a:gd name="T81" fmla="*/ 0 h 16320"/>
                <a:gd name="T82" fmla="*/ 0 w 10950"/>
                <a:gd name="T83" fmla="*/ 0 h 16320"/>
                <a:gd name="T84" fmla="*/ 0 w 10950"/>
                <a:gd name="T85" fmla="*/ 0 h 16320"/>
                <a:gd name="T86" fmla="*/ 0 w 10950"/>
                <a:gd name="T87" fmla="*/ 0 h 16320"/>
                <a:gd name="T88" fmla="*/ 0 w 10950"/>
                <a:gd name="T89" fmla="*/ 0 h 16320"/>
                <a:gd name="T90" fmla="*/ 0 w 10950"/>
                <a:gd name="T91" fmla="*/ 0 h 16320"/>
                <a:gd name="T92" fmla="*/ 0 w 10950"/>
                <a:gd name="T93" fmla="*/ 0 h 16320"/>
                <a:gd name="T94" fmla="*/ 0 w 10950"/>
                <a:gd name="T95" fmla="*/ 0 h 16320"/>
                <a:gd name="T96" fmla="*/ 0 w 10950"/>
                <a:gd name="T97" fmla="*/ 0 h 16320"/>
                <a:gd name="T98" fmla="*/ 0 w 10950"/>
                <a:gd name="T99" fmla="*/ 0 h 16320"/>
                <a:gd name="T100" fmla="*/ 0 w 10950"/>
                <a:gd name="T101" fmla="*/ 0 h 16320"/>
                <a:gd name="T102" fmla="*/ 0 w 10950"/>
                <a:gd name="T103" fmla="*/ 0 h 16320"/>
                <a:gd name="T104" fmla="*/ 0 w 10950"/>
                <a:gd name="T105" fmla="*/ 0 h 16320"/>
                <a:gd name="T106" fmla="*/ 0 w 10950"/>
                <a:gd name="T107" fmla="*/ 0 h 16320"/>
                <a:gd name="T108" fmla="*/ 0 w 10950"/>
                <a:gd name="T109" fmla="*/ 0 h 163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50"/>
                <a:gd name="T166" fmla="*/ 0 h 16320"/>
                <a:gd name="T167" fmla="*/ 10950 w 10950"/>
                <a:gd name="T168" fmla="*/ 16320 h 1632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50" h="16320">
                  <a:moveTo>
                    <a:pt x="154" y="2649"/>
                  </a:moveTo>
                  <a:lnTo>
                    <a:pt x="4466" y="72"/>
                  </a:lnTo>
                  <a:lnTo>
                    <a:pt x="4477" y="65"/>
                  </a:lnTo>
                  <a:lnTo>
                    <a:pt x="4508" y="48"/>
                  </a:lnTo>
                  <a:lnTo>
                    <a:pt x="4531" y="38"/>
                  </a:lnTo>
                  <a:lnTo>
                    <a:pt x="4558" y="27"/>
                  </a:lnTo>
                  <a:lnTo>
                    <a:pt x="4573" y="21"/>
                  </a:lnTo>
                  <a:lnTo>
                    <a:pt x="4589" y="17"/>
                  </a:lnTo>
                  <a:lnTo>
                    <a:pt x="4606" y="12"/>
                  </a:lnTo>
                  <a:lnTo>
                    <a:pt x="4624" y="8"/>
                  </a:lnTo>
                  <a:lnTo>
                    <a:pt x="4643" y="5"/>
                  </a:lnTo>
                  <a:lnTo>
                    <a:pt x="4662" y="3"/>
                  </a:lnTo>
                  <a:lnTo>
                    <a:pt x="4682" y="1"/>
                  </a:lnTo>
                  <a:lnTo>
                    <a:pt x="4703" y="0"/>
                  </a:lnTo>
                  <a:lnTo>
                    <a:pt x="4725" y="0"/>
                  </a:lnTo>
                  <a:lnTo>
                    <a:pt x="4748" y="1"/>
                  </a:lnTo>
                  <a:lnTo>
                    <a:pt x="4771" y="4"/>
                  </a:lnTo>
                  <a:lnTo>
                    <a:pt x="4794" y="8"/>
                  </a:lnTo>
                  <a:lnTo>
                    <a:pt x="4819" y="13"/>
                  </a:lnTo>
                  <a:lnTo>
                    <a:pt x="4843" y="20"/>
                  </a:lnTo>
                  <a:lnTo>
                    <a:pt x="4869" y="29"/>
                  </a:lnTo>
                  <a:lnTo>
                    <a:pt x="4894" y="39"/>
                  </a:lnTo>
                  <a:lnTo>
                    <a:pt x="4921" y="51"/>
                  </a:lnTo>
                  <a:lnTo>
                    <a:pt x="4947" y="64"/>
                  </a:lnTo>
                  <a:lnTo>
                    <a:pt x="4974" y="81"/>
                  </a:lnTo>
                  <a:lnTo>
                    <a:pt x="5002" y="99"/>
                  </a:lnTo>
                  <a:lnTo>
                    <a:pt x="10615" y="3377"/>
                  </a:lnTo>
                  <a:lnTo>
                    <a:pt x="10629" y="3382"/>
                  </a:lnTo>
                  <a:lnTo>
                    <a:pt x="10665" y="3398"/>
                  </a:lnTo>
                  <a:lnTo>
                    <a:pt x="10689" y="3411"/>
                  </a:lnTo>
                  <a:lnTo>
                    <a:pt x="10717" y="3426"/>
                  </a:lnTo>
                  <a:lnTo>
                    <a:pt x="10731" y="3435"/>
                  </a:lnTo>
                  <a:lnTo>
                    <a:pt x="10746" y="3446"/>
                  </a:lnTo>
                  <a:lnTo>
                    <a:pt x="10761" y="3457"/>
                  </a:lnTo>
                  <a:lnTo>
                    <a:pt x="10776" y="3469"/>
                  </a:lnTo>
                  <a:lnTo>
                    <a:pt x="10791" y="3482"/>
                  </a:lnTo>
                  <a:lnTo>
                    <a:pt x="10807" y="3497"/>
                  </a:lnTo>
                  <a:lnTo>
                    <a:pt x="10821" y="3512"/>
                  </a:lnTo>
                  <a:lnTo>
                    <a:pt x="10836" y="3528"/>
                  </a:lnTo>
                  <a:lnTo>
                    <a:pt x="10850" y="3546"/>
                  </a:lnTo>
                  <a:lnTo>
                    <a:pt x="10864" y="3564"/>
                  </a:lnTo>
                  <a:lnTo>
                    <a:pt x="10877" y="3584"/>
                  </a:lnTo>
                  <a:lnTo>
                    <a:pt x="10890" y="3605"/>
                  </a:lnTo>
                  <a:lnTo>
                    <a:pt x="10901" y="3627"/>
                  </a:lnTo>
                  <a:lnTo>
                    <a:pt x="10911" y="3651"/>
                  </a:lnTo>
                  <a:lnTo>
                    <a:pt x="10921" y="3675"/>
                  </a:lnTo>
                  <a:lnTo>
                    <a:pt x="10929" y="3702"/>
                  </a:lnTo>
                  <a:lnTo>
                    <a:pt x="10936" y="3729"/>
                  </a:lnTo>
                  <a:lnTo>
                    <a:pt x="10941" y="3758"/>
                  </a:lnTo>
                  <a:lnTo>
                    <a:pt x="10945" y="3788"/>
                  </a:lnTo>
                  <a:lnTo>
                    <a:pt x="10947" y="3819"/>
                  </a:lnTo>
                  <a:lnTo>
                    <a:pt x="10947" y="13186"/>
                  </a:lnTo>
                  <a:lnTo>
                    <a:pt x="10948" y="13202"/>
                  </a:lnTo>
                  <a:lnTo>
                    <a:pt x="10950" y="13246"/>
                  </a:lnTo>
                  <a:lnTo>
                    <a:pt x="10949" y="13275"/>
                  </a:lnTo>
                  <a:lnTo>
                    <a:pt x="10947" y="13311"/>
                  </a:lnTo>
                  <a:lnTo>
                    <a:pt x="10945" y="13329"/>
                  </a:lnTo>
                  <a:lnTo>
                    <a:pt x="10942" y="13349"/>
                  </a:lnTo>
                  <a:lnTo>
                    <a:pt x="10938" y="13369"/>
                  </a:lnTo>
                  <a:lnTo>
                    <a:pt x="10934" y="13391"/>
                  </a:lnTo>
                  <a:lnTo>
                    <a:pt x="10929" y="13412"/>
                  </a:lnTo>
                  <a:lnTo>
                    <a:pt x="10923" y="13434"/>
                  </a:lnTo>
                  <a:lnTo>
                    <a:pt x="10915" y="13457"/>
                  </a:lnTo>
                  <a:lnTo>
                    <a:pt x="10907" y="13479"/>
                  </a:lnTo>
                  <a:lnTo>
                    <a:pt x="10897" y="13502"/>
                  </a:lnTo>
                  <a:lnTo>
                    <a:pt x="10886" y="13525"/>
                  </a:lnTo>
                  <a:lnTo>
                    <a:pt x="10874" y="13548"/>
                  </a:lnTo>
                  <a:lnTo>
                    <a:pt x="10861" y="13570"/>
                  </a:lnTo>
                  <a:lnTo>
                    <a:pt x="10845" y="13593"/>
                  </a:lnTo>
                  <a:lnTo>
                    <a:pt x="10829" y="13614"/>
                  </a:lnTo>
                  <a:lnTo>
                    <a:pt x="10810" y="13635"/>
                  </a:lnTo>
                  <a:lnTo>
                    <a:pt x="10790" y="13657"/>
                  </a:lnTo>
                  <a:lnTo>
                    <a:pt x="10769" y="13677"/>
                  </a:lnTo>
                  <a:lnTo>
                    <a:pt x="10745" y="13697"/>
                  </a:lnTo>
                  <a:lnTo>
                    <a:pt x="10719" y="13715"/>
                  </a:lnTo>
                  <a:lnTo>
                    <a:pt x="10692" y="13732"/>
                  </a:lnTo>
                  <a:lnTo>
                    <a:pt x="6559" y="16230"/>
                  </a:lnTo>
                  <a:lnTo>
                    <a:pt x="6550" y="16237"/>
                  </a:lnTo>
                  <a:lnTo>
                    <a:pt x="6525" y="16256"/>
                  </a:lnTo>
                  <a:lnTo>
                    <a:pt x="6507" y="16268"/>
                  </a:lnTo>
                  <a:lnTo>
                    <a:pt x="6486" y="16280"/>
                  </a:lnTo>
                  <a:lnTo>
                    <a:pt x="6474" y="16286"/>
                  </a:lnTo>
                  <a:lnTo>
                    <a:pt x="6461" y="16291"/>
                  </a:lnTo>
                  <a:lnTo>
                    <a:pt x="6447" y="16298"/>
                  </a:lnTo>
                  <a:lnTo>
                    <a:pt x="6433" y="16303"/>
                  </a:lnTo>
                  <a:lnTo>
                    <a:pt x="6418" y="16307"/>
                  </a:lnTo>
                  <a:lnTo>
                    <a:pt x="6402" y="16311"/>
                  </a:lnTo>
                  <a:lnTo>
                    <a:pt x="6386" y="16315"/>
                  </a:lnTo>
                  <a:lnTo>
                    <a:pt x="6369" y="16317"/>
                  </a:lnTo>
                  <a:lnTo>
                    <a:pt x="6351" y="16319"/>
                  </a:lnTo>
                  <a:lnTo>
                    <a:pt x="6333" y="16320"/>
                  </a:lnTo>
                  <a:lnTo>
                    <a:pt x="6315" y="16320"/>
                  </a:lnTo>
                  <a:lnTo>
                    <a:pt x="6295" y="16319"/>
                  </a:lnTo>
                  <a:lnTo>
                    <a:pt x="6275" y="16316"/>
                  </a:lnTo>
                  <a:lnTo>
                    <a:pt x="6255" y="16313"/>
                  </a:lnTo>
                  <a:lnTo>
                    <a:pt x="6235" y="16307"/>
                  </a:lnTo>
                  <a:lnTo>
                    <a:pt x="6213" y="16301"/>
                  </a:lnTo>
                  <a:lnTo>
                    <a:pt x="6192" y="16292"/>
                  </a:lnTo>
                  <a:lnTo>
                    <a:pt x="6170" y="16282"/>
                  </a:lnTo>
                  <a:lnTo>
                    <a:pt x="6148" y="16270"/>
                  </a:lnTo>
                  <a:lnTo>
                    <a:pt x="6125" y="16256"/>
                  </a:lnTo>
                  <a:lnTo>
                    <a:pt x="2904" y="14418"/>
                  </a:lnTo>
                  <a:lnTo>
                    <a:pt x="2896" y="14415"/>
                  </a:lnTo>
                  <a:lnTo>
                    <a:pt x="2877" y="14401"/>
                  </a:lnTo>
                  <a:lnTo>
                    <a:pt x="2864" y="14391"/>
                  </a:lnTo>
                  <a:lnTo>
                    <a:pt x="2850" y="14378"/>
                  </a:lnTo>
                  <a:lnTo>
                    <a:pt x="2835" y="14363"/>
                  </a:lnTo>
                  <a:lnTo>
                    <a:pt x="2820" y="14343"/>
                  </a:lnTo>
                  <a:lnTo>
                    <a:pt x="2812" y="14332"/>
                  </a:lnTo>
                  <a:lnTo>
                    <a:pt x="2805" y="14320"/>
                  </a:lnTo>
                  <a:lnTo>
                    <a:pt x="2798" y="14308"/>
                  </a:lnTo>
                  <a:lnTo>
                    <a:pt x="2791" y="14293"/>
                  </a:lnTo>
                  <a:lnTo>
                    <a:pt x="2784" y="14279"/>
                  </a:lnTo>
                  <a:lnTo>
                    <a:pt x="2778" y="14263"/>
                  </a:lnTo>
                  <a:lnTo>
                    <a:pt x="2773" y="14246"/>
                  </a:lnTo>
                  <a:lnTo>
                    <a:pt x="2768" y="14228"/>
                  </a:lnTo>
                  <a:lnTo>
                    <a:pt x="2763" y="14210"/>
                  </a:lnTo>
                  <a:lnTo>
                    <a:pt x="2760" y="14189"/>
                  </a:lnTo>
                  <a:lnTo>
                    <a:pt x="2757" y="14168"/>
                  </a:lnTo>
                  <a:lnTo>
                    <a:pt x="2755" y="14146"/>
                  </a:lnTo>
                  <a:lnTo>
                    <a:pt x="2754" y="14123"/>
                  </a:lnTo>
                  <a:lnTo>
                    <a:pt x="2754" y="14097"/>
                  </a:lnTo>
                  <a:lnTo>
                    <a:pt x="2755" y="14072"/>
                  </a:lnTo>
                  <a:lnTo>
                    <a:pt x="2757" y="14044"/>
                  </a:lnTo>
                  <a:lnTo>
                    <a:pt x="2757" y="13668"/>
                  </a:lnTo>
                  <a:lnTo>
                    <a:pt x="2742" y="13662"/>
                  </a:lnTo>
                  <a:lnTo>
                    <a:pt x="2702" y="13647"/>
                  </a:lnTo>
                  <a:lnTo>
                    <a:pt x="2673" y="13638"/>
                  </a:lnTo>
                  <a:lnTo>
                    <a:pt x="2641" y="13630"/>
                  </a:lnTo>
                  <a:lnTo>
                    <a:pt x="2623" y="13626"/>
                  </a:lnTo>
                  <a:lnTo>
                    <a:pt x="2604" y="13623"/>
                  </a:lnTo>
                  <a:lnTo>
                    <a:pt x="2585" y="13621"/>
                  </a:lnTo>
                  <a:lnTo>
                    <a:pt x="2565" y="13619"/>
                  </a:lnTo>
                  <a:lnTo>
                    <a:pt x="2544" y="13619"/>
                  </a:lnTo>
                  <a:lnTo>
                    <a:pt x="2523" y="13619"/>
                  </a:lnTo>
                  <a:lnTo>
                    <a:pt x="2501" y="13620"/>
                  </a:lnTo>
                  <a:lnTo>
                    <a:pt x="2479" y="13622"/>
                  </a:lnTo>
                  <a:lnTo>
                    <a:pt x="2457" y="13626"/>
                  </a:lnTo>
                  <a:lnTo>
                    <a:pt x="2435" y="13631"/>
                  </a:lnTo>
                  <a:lnTo>
                    <a:pt x="2412" y="13637"/>
                  </a:lnTo>
                  <a:lnTo>
                    <a:pt x="2390" y="13646"/>
                  </a:lnTo>
                  <a:lnTo>
                    <a:pt x="2368" y="13656"/>
                  </a:lnTo>
                  <a:lnTo>
                    <a:pt x="2345" y="13668"/>
                  </a:lnTo>
                  <a:lnTo>
                    <a:pt x="2324" y="13681"/>
                  </a:lnTo>
                  <a:lnTo>
                    <a:pt x="2302" y="13698"/>
                  </a:lnTo>
                  <a:lnTo>
                    <a:pt x="2281" y="13716"/>
                  </a:lnTo>
                  <a:lnTo>
                    <a:pt x="2260" y="13736"/>
                  </a:lnTo>
                  <a:lnTo>
                    <a:pt x="2240" y="13759"/>
                  </a:lnTo>
                  <a:lnTo>
                    <a:pt x="2221" y="13784"/>
                  </a:lnTo>
                  <a:lnTo>
                    <a:pt x="2214" y="13793"/>
                  </a:lnTo>
                  <a:lnTo>
                    <a:pt x="2192" y="13817"/>
                  </a:lnTo>
                  <a:lnTo>
                    <a:pt x="2177" y="13831"/>
                  </a:lnTo>
                  <a:lnTo>
                    <a:pt x="2158" y="13847"/>
                  </a:lnTo>
                  <a:lnTo>
                    <a:pt x="2147" y="13854"/>
                  </a:lnTo>
                  <a:lnTo>
                    <a:pt x="2135" y="13862"/>
                  </a:lnTo>
                  <a:lnTo>
                    <a:pt x="2123" y="13869"/>
                  </a:lnTo>
                  <a:lnTo>
                    <a:pt x="2110" y="13875"/>
                  </a:lnTo>
                  <a:lnTo>
                    <a:pt x="2097" y="13881"/>
                  </a:lnTo>
                  <a:lnTo>
                    <a:pt x="2082" y="13887"/>
                  </a:lnTo>
                  <a:lnTo>
                    <a:pt x="2067" y="13892"/>
                  </a:lnTo>
                  <a:lnTo>
                    <a:pt x="2051" y="13896"/>
                  </a:lnTo>
                  <a:lnTo>
                    <a:pt x="2035" y="13900"/>
                  </a:lnTo>
                  <a:lnTo>
                    <a:pt x="2018" y="13902"/>
                  </a:lnTo>
                  <a:lnTo>
                    <a:pt x="2000" y="13902"/>
                  </a:lnTo>
                  <a:lnTo>
                    <a:pt x="1982" y="13902"/>
                  </a:lnTo>
                  <a:lnTo>
                    <a:pt x="1963" y="13900"/>
                  </a:lnTo>
                  <a:lnTo>
                    <a:pt x="1943" y="13896"/>
                  </a:lnTo>
                  <a:lnTo>
                    <a:pt x="1923" y="13890"/>
                  </a:lnTo>
                  <a:lnTo>
                    <a:pt x="1902" y="13884"/>
                  </a:lnTo>
                  <a:lnTo>
                    <a:pt x="1880" y="13875"/>
                  </a:lnTo>
                  <a:lnTo>
                    <a:pt x="1859" y="13864"/>
                  </a:lnTo>
                  <a:lnTo>
                    <a:pt x="1836" y="13852"/>
                  </a:lnTo>
                  <a:lnTo>
                    <a:pt x="1812" y="13836"/>
                  </a:lnTo>
                  <a:lnTo>
                    <a:pt x="281" y="12895"/>
                  </a:lnTo>
                  <a:lnTo>
                    <a:pt x="270" y="12891"/>
                  </a:lnTo>
                  <a:lnTo>
                    <a:pt x="239" y="12878"/>
                  </a:lnTo>
                  <a:lnTo>
                    <a:pt x="218" y="12866"/>
                  </a:lnTo>
                  <a:lnTo>
                    <a:pt x="194" y="12853"/>
                  </a:lnTo>
                  <a:lnTo>
                    <a:pt x="170" y="12838"/>
                  </a:lnTo>
                  <a:lnTo>
                    <a:pt x="144" y="12818"/>
                  </a:lnTo>
                  <a:lnTo>
                    <a:pt x="131" y="12807"/>
                  </a:lnTo>
                  <a:lnTo>
                    <a:pt x="118" y="12796"/>
                  </a:lnTo>
                  <a:lnTo>
                    <a:pt x="105" y="12784"/>
                  </a:lnTo>
                  <a:lnTo>
                    <a:pt x="93" y="12771"/>
                  </a:lnTo>
                  <a:lnTo>
                    <a:pt x="81" y="12757"/>
                  </a:lnTo>
                  <a:lnTo>
                    <a:pt x="69" y="12743"/>
                  </a:lnTo>
                  <a:lnTo>
                    <a:pt x="58" y="12727"/>
                  </a:lnTo>
                  <a:lnTo>
                    <a:pt x="48" y="12710"/>
                  </a:lnTo>
                  <a:lnTo>
                    <a:pt x="38" y="12694"/>
                  </a:lnTo>
                  <a:lnTo>
                    <a:pt x="30" y="12676"/>
                  </a:lnTo>
                  <a:lnTo>
                    <a:pt x="22" y="12656"/>
                  </a:lnTo>
                  <a:lnTo>
                    <a:pt x="15" y="12637"/>
                  </a:lnTo>
                  <a:lnTo>
                    <a:pt x="10" y="12615"/>
                  </a:lnTo>
                  <a:lnTo>
                    <a:pt x="6" y="12594"/>
                  </a:lnTo>
                  <a:lnTo>
                    <a:pt x="3" y="12570"/>
                  </a:lnTo>
                  <a:lnTo>
                    <a:pt x="2" y="12547"/>
                  </a:lnTo>
                  <a:lnTo>
                    <a:pt x="1" y="12525"/>
                  </a:lnTo>
                  <a:lnTo>
                    <a:pt x="1" y="12495"/>
                  </a:lnTo>
                  <a:lnTo>
                    <a:pt x="1" y="12468"/>
                  </a:lnTo>
                  <a:lnTo>
                    <a:pt x="1" y="12457"/>
                  </a:lnTo>
                  <a:lnTo>
                    <a:pt x="1" y="2909"/>
                  </a:lnTo>
                  <a:lnTo>
                    <a:pt x="0" y="2901"/>
                  </a:lnTo>
                  <a:lnTo>
                    <a:pt x="0" y="2879"/>
                  </a:lnTo>
                  <a:lnTo>
                    <a:pt x="1" y="2864"/>
                  </a:lnTo>
                  <a:lnTo>
                    <a:pt x="3" y="2847"/>
                  </a:lnTo>
                  <a:lnTo>
                    <a:pt x="6" y="2828"/>
                  </a:lnTo>
                  <a:lnTo>
                    <a:pt x="11" y="2808"/>
                  </a:lnTo>
                  <a:lnTo>
                    <a:pt x="14" y="2798"/>
                  </a:lnTo>
                  <a:lnTo>
                    <a:pt x="18" y="2787"/>
                  </a:lnTo>
                  <a:lnTo>
                    <a:pt x="22" y="2776"/>
                  </a:lnTo>
                  <a:lnTo>
                    <a:pt x="27" y="2765"/>
                  </a:lnTo>
                  <a:lnTo>
                    <a:pt x="33" y="2754"/>
                  </a:lnTo>
                  <a:lnTo>
                    <a:pt x="40" y="2744"/>
                  </a:lnTo>
                  <a:lnTo>
                    <a:pt x="47" y="2733"/>
                  </a:lnTo>
                  <a:lnTo>
                    <a:pt x="55" y="2722"/>
                  </a:lnTo>
                  <a:lnTo>
                    <a:pt x="64" y="2712"/>
                  </a:lnTo>
                  <a:lnTo>
                    <a:pt x="74" y="2702"/>
                  </a:lnTo>
                  <a:lnTo>
                    <a:pt x="85" y="2692"/>
                  </a:lnTo>
                  <a:lnTo>
                    <a:pt x="96" y="2683"/>
                  </a:lnTo>
                  <a:lnTo>
                    <a:pt x="109" y="2673"/>
                  </a:lnTo>
                  <a:lnTo>
                    <a:pt x="123" y="2664"/>
                  </a:lnTo>
                  <a:lnTo>
                    <a:pt x="138" y="2656"/>
                  </a:lnTo>
                  <a:lnTo>
                    <a:pt x="154" y="2649"/>
                  </a:lnTo>
                  <a:close/>
                </a:path>
              </a:pathLst>
            </a:custGeom>
            <a:solidFill>
              <a:srgbClr val="8E8D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5" name="Freeform 89"/>
            <p:cNvSpPr>
              <a:spLocks/>
            </p:cNvSpPr>
            <p:nvPr/>
          </p:nvSpPr>
          <p:spPr bwMode="auto">
            <a:xfrm>
              <a:off x="747149" y="4024998"/>
              <a:ext cx="35873" cy="338185"/>
            </a:xfrm>
            <a:custGeom>
              <a:avLst/>
              <a:gdLst>
                <a:gd name="T0" fmla="*/ 0 w 1157"/>
                <a:gd name="T1" fmla="*/ 0 h 10318"/>
                <a:gd name="T2" fmla="*/ 0 w 1157"/>
                <a:gd name="T3" fmla="*/ 0 h 10318"/>
                <a:gd name="T4" fmla="*/ 0 w 1157"/>
                <a:gd name="T5" fmla="*/ 0 h 10318"/>
                <a:gd name="T6" fmla="*/ 0 w 1157"/>
                <a:gd name="T7" fmla="*/ 0 h 10318"/>
                <a:gd name="T8" fmla="*/ 0 w 1157"/>
                <a:gd name="T9" fmla="*/ 0 h 10318"/>
                <a:gd name="T10" fmla="*/ 0 w 1157"/>
                <a:gd name="T11" fmla="*/ 0 h 10318"/>
                <a:gd name="T12" fmla="*/ 0 w 1157"/>
                <a:gd name="T13" fmla="*/ 0 h 10318"/>
                <a:gd name="T14" fmla="*/ 0 w 1157"/>
                <a:gd name="T15" fmla="*/ 0 h 10318"/>
                <a:gd name="T16" fmla="*/ 0 w 1157"/>
                <a:gd name="T17" fmla="*/ 0 h 10318"/>
                <a:gd name="T18" fmla="*/ 0 w 1157"/>
                <a:gd name="T19" fmla="*/ 0 h 10318"/>
                <a:gd name="T20" fmla="*/ 0 w 1157"/>
                <a:gd name="T21" fmla="*/ 0 h 10318"/>
                <a:gd name="T22" fmla="*/ 0 w 1157"/>
                <a:gd name="T23" fmla="*/ 0 h 10318"/>
                <a:gd name="T24" fmla="*/ 0 w 1157"/>
                <a:gd name="T25" fmla="*/ 0 h 10318"/>
                <a:gd name="T26" fmla="*/ 0 w 1157"/>
                <a:gd name="T27" fmla="*/ 0 h 10318"/>
                <a:gd name="T28" fmla="*/ 0 w 1157"/>
                <a:gd name="T29" fmla="*/ 0 h 10318"/>
                <a:gd name="T30" fmla="*/ 0 w 1157"/>
                <a:gd name="T31" fmla="*/ 0 h 10318"/>
                <a:gd name="T32" fmla="*/ 0 w 1157"/>
                <a:gd name="T33" fmla="*/ 0 h 10318"/>
                <a:gd name="T34" fmla="*/ 0 w 1157"/>
                <a:gd name="T35" fmla="*/ 0 h 10318"/>
                <a:gd name="T36" fmla="*/ 0 w 1157"/>
                <a:gd name="T37" fmla="*/ 0 h 10318"/>
                <a:gd name="T38" fmla="*/ 0 w 1157"/>
                <a:gd name="T39" fmla="*/ 0 h 10318"/>
                <a:gd name="T40" fmla="*/ 0 w 1157"/>
                <a:gd name="T41" fmla="*/ 0 h 10318"/>
                <a:gd name="T42" fmla="*/ 0 w 1157"/>
                <a:gd name="T43" fmla="*/ 0 h 10318"/>
                <a:gd name="T44" fmla="*/ 0 w 1157"/>
                <a:gd name="T45" fmla="*/ 0 h 10318"/>
                <a:gd name="T46" fmla="*/ 0 w 1157"/>
                <a:gd name="T47" fmla="*/ 0 h 10318"/>
                <a:gd name="T48" fmla="*/ 0 w 1157"/>
                <a:gd name="T49" fmla="*/ 0 h 10318"/>
                <a:gd name="T50" fmla="*/ 0 w 1157"/>
                <a:gd name="T51" fmla="*/ 0 h 10318"/>
                <a:gd name="T52" fmla="*/ 0 w 1157"/>
                <a:gd name="T53" fmla="*/ 0 h 10318"/>
                <a:gd name="T54" fmla="*/ 0 w 1157"/>
                <a:gd name="T55" fmla="*/ 0 h 10318"/>
                <a:gd name="T56" fmla="*/ 0 w 1157"/>
                <a:gd name="T57" fmla="*/ 0 h 10318"/>
                <a:gd name="T58" fmla="*/ 0 w 1157"/>
                <a:gd name="T59" fmla="*/ 0 h 1031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57"/>
                <a:gd name="T91" fmla="*/ 0 h 10318"/>
                <a:gd name="T92" fmla="*/ 1157 w 1157"/>
                <a:gd name="T93" fmla="*/ 10318 h 1031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57" h="10318">
                  <a:moveTo>
                    <a:pt x="0" y="677"/>
                  </a:moveTo>
                  <a:lnTo>
                    <a:pt x="754" y="10318"/>
                  </a:lnTo>
                  <a:lnTo>
                    <a:pt x="757" y="10310"/>
                  </a:lnTo>
                  <a:lnTo>
                    <a:pt x="762" y="10299"/>
                  </a:lnTo>
                  <a:lnTo>
                    <a:pt x="768" y="10285"/>
                  </a:lnTo>
                  <a:lnTo>
                    <a:pt x="777" y="10271"/>
                  </a:lnTo>
                  <a:lnTo>
                    <a:pt x="788" y="10256"/>
                  </a:lnTo>
                  <a:lnTo>
                    <a:pt x="802" y="10239"/>
                  </a:lnTo>
                  <a:lnTo>
                    <a:pt x="810" y="10230"/>
                  </a:lnTo>
                  <a:lnTo>
                    <a:pt x="818" y="10221"/>
                  </a:lnTo>
                  <a:lnTo>
                    <a:pt x="828" y="10212"/>
                  </a:lnTo>
                  <a:lnTo>
                    <a:pt x="839" y="10204"/>
                  </a:lnTo>
                  <a:lnTo>
                    <a:pt x="850" y="10195"/>
                  </a:lnTo>
                  <a:lnTo>
                    <a:pt x="862" y="10187"/>
                  </a:lnTo>
                  <a:lnTo>
                    <a:pt x="876" y="10177"/>
                  </a:lnTo>
                  <a:lnTo>
                    <a:pt x="890" y="10169"/>
                  </a:lnTo>
                  <a:lnTo>
                    <a:pt x="906" y="10160"/>
                  </a:lnTo>
                  <a:lnTo>
                    <a:pt x="922" y="10152"/>
                  </a:lnTo>
                  <a:lnTo>
                    <a:pt x="940" y="10144"/>
                  </a:lnTo>
                  <a:lnTo>
                    <a:pt x="959" y="10137"/>
                  </a:lnTo>
                  <a:lnTo>
                    <a:pt x="979" y="10129"/>
                  </a:lnTo>
                  <a:lnTo>
                    <a:pt x="1001" y="10122"/>
                  </a:lnTo>
                  <a:lnTo>
                    <a:pt x="1023" y="10115"/>
                  </a:lnTo>
                  <a:lnTo>
                    <a:pt x="1047" y="10109"/>
                  </a:lnTo>
                  <a:lnTo>
                    <a:pt x="1073" y="10104"/>
                  </a:lnTo>
                  <a:lnTo>
                    <a:pt x="1099" y="10099"/>
                  </a:lnTo>
                  <a:lnTo>
                    <a:pt x="1127" y="10094"/>
                  </a:lnTo>
                  <a:lnTo>
                    <a:pt x="1157" y="10090"/>
                  </a:lnTo>
                  <a:lnTo>
                    <a:pt x="1157" y="0"/>
                  </a:lnTo>
                  <a:lnTo>
                    <a:pt x="0" y="677"/>
                  </a:lnTo>
                  <a:close/>
                </a:path>
              </a:pathLst>
            </a:custGeom>
            <a:solidFill>
              <a:srgbClr val="B5B5B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6" name="Freeform 90"/>
            <p:cNvSpPr>
              <a:spLocks/>
            </p:cNvSpPr>
            <p:nvPr/>
          </p:nvSpPr>
          <p:spPr bwMode="auto">
            <a:xfrm>
              <a:off x="769570" y="4363184"/>
              <a:ext cx="1495" cy="1675"/>
            </a:xfrm>
            <a:custGeom>
              <a:avLst/>
              <a:gdLst>
                <a:gd name="T0" fmla="*/ 0 w 3"/>
                <a:gd name="T1" fmla="*/ 0 h 11"/>
                <a:gd name="T2" fmla="*/ 0 w 3"/>
                <a:gd name="T3" fmla="*/ 0 h 11"/>
                <a:gd name="T4" fmla="*/ 0 w 3"/>
                <a:gd name="T5" fmla="*/ 0 h 11"/>
                <a:gd name="T6" fmla="*/ 0 w 3"/>
                <a:gd name="T7" fmla="*/ 0 h 11"/>
                <a:gd name="T8" fmla="*/ 0 w 3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1"/>
                <a:gd name="T17" fmla="*/ 3 w 3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1">
                  <a:moveTo>
                    <a:pt x="3" y="5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7" name="Freeform 91"/>
            <p:cNvSpPr>
              <a:spLocks/>
            </p:cNvSpPr>
            <p:nvPr/>
          </p:nvSpPr>
          <p:spPr bwMode="auto">
            <a:xfrm>
              <a:off x="783022" y="4018302"/>
              <a:ext cx="43347" cy="344882"/>
            </a:xfrm>
            <a:custGeom>
              <a:avLst/>
              <a:gdLst>
                <a:gd name="T0" fmla="*/ 0 w 1458"/>
                <a:gd name="T1" fmla="*/ 0 h 10522"/>
                <a:gd name="T2" fmla="*/ 0 w 1458"/>
                <a:gd name="T3" fmla="*/ 0 h 10522"/>
                <a:gd name="T4" fmla="*/ 0 w 1458"/>
                <a:gd name="T5" fmla="*/ 0 h 10522"/>
                <a:gd name="T6" fmla="*/ 0 w 1458"/>
                <a:gd name="T7" fmla="*/ 0 h 10522"/>
                <a:gd name="T8" fmla="*/ 0 w 1458"/>
                <a:gd name="T9" fmla="*/ 0 h 10522"/>
                <a:gd name="T10" fmla="*/ 0 w 1458"/>
                <a:gd name="T11" fmla="*/ 0 h 10522"/>
                <a:gd name="T12" fmla="*/ 0 w 1458"/>
                <a:gd name="T13" fmla="*/ 0 h 10522"/>
                <a:gd name="T14" fmla="*/ 0 w 1458"/>
                <a:gd name="T15" fmla="*/ 0 h 10522"/>
                <a:gd name="T16" fmla="*/ 0 w 1458"/>
                <a:gd name="T17" fmla="*/ 0 h 10522"/>
                <a:gd name="T18" fmla="*/ 0 w 1458"/>
                <a:gd name="T19" fmla="*/ 0 h 10522"/>
                <a:gd name="T20" fmla="*/ 0 w 1458"/>
                <a:gd name="T21" fmla="*/ 0 h 10522"/>
                <a:gd name="T22" fmla="*/ 0 w 1458"/>
                <a:gd name="T23" fmla="*/ 0 h 10522"/>
                <a:gd name="T24" fmla="*/ 0 w 1458"/>
                <a:gd name="T25" fmla="*/ 0 h 10522"/>
                <a:gd name="T26" fmla="*/ 0 w 1458"/>
                <a:gd name="T27" fmla="*/ 0 h 10522"/>
                <a:gd name="T28" fmla="*/ 0 w 1458"/>
                <a:gd name="T29" fmla="*/ 0 h 10522"/>
                <a:gd name="T30" fmla="*/ 0 w 1458"/>
                <a:gd name="T31" fmla="*/ 0 h 10522"/>
                <a:gd name="T32" fmla="*/ 0 w 1458"/>
                <a:gd name="T33" fmla="*/ 0 h 10522"/>
                <a:gd name="T34" fmla="*/ 0 w 1458"/>
                <a:gd name="T35" fmla="*/ 0 h 10522"/>
                <a:gd name="T36" fmla="*/ 0 w 1458"/>
                <a:gd name="T37" fmla="*/ 0 h 10522"/>
                <a:gd name="T38" fmla="*/ 0 w 1458"/>
                <a:gd name="T39" fmla="*/ 0 h 10522"/>
                <a:gd name="T40" fmla="*/ 0 w 1458"/>
                <a:gd name="T41" fmla="*/ 0 h 10522"/>
                <a:gd name="T42" fmla="*/ 0 w 1458"/>
                <a:gd name="T43" fmla="*/ 0 h 10522"/>
                <a:gd name="T44" fmla="*/ 0 w 1458"/>
                <a:gd name="T45" fmla="*/ 0 h 10522"/>
                <a:gd name="T46" fmla="*/ 0 w 1458"/>
                <a:gd name="T47" fmla="*/ 0 h 10522"/>
                <a:gd name="T48" fmla="*/ 0 w 1458"/>
                <a:gd name="T49" fmla="*/ 0 h 10522"/>
                <a:gd name="T50" fmla="*/ 0 w 1458"/>
                <a:gd name="T51" fmla="*/ 0 h 10522"/>
                <a:gd name="T52" fmla="*/ 0 w 1458"/>
                <a:gd name="T53" fmla="*/ 0 h 10522"/>
                <a:gd name="T54" fmla="*/ 0 w 1458"/>
                <a:gd name="T55" fmla="*/ 0 h 10522"/>
                <a:gd name="T56" fmla="*/ 0 w 1458"/>
                <a:gd name="T57" fmla="*/ 0 h 10522"/>
                <a:gd name="T58" fmla="*/ 0 w 1458"/>
                <a:gd name="T59" fmla="*/ 0 h 10522"/>
                <a:gd name="T60" fmla="*/ 0 w 1458"/>
                <a:gd name="T61" fmla="*/ 0 h 10522"/>
                <a:gd name="T62" fmla="*/ 0 w 1458"/>
                <a:gd name="T63" fmla="*/ 0 h 10522"/>
                <a:gd name="T64" fmla="*/ 0 w 1458"/>
                <a:gd name="T65" fmla="*/ 0 h 10522"/>
                <a:gd name="T66" fmla="*/ 0 w 1458"/>
                <a:gd name="T67" fmla="*/ 0 h 10522"/>
                <a:gd name="T68" fmla="*/ 0 w 1458"/>
                <a:gd name="T69" fmla="*/ 0 h 1052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58"/>
                <a:gd name="T106" fmla="*/ 0 h 10522"/>
                <a:gd name="T107" fmla="*/ 1458 w 1458"/>
                <a:gd name="T108" fmla="*/ 10522 h 1052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58" h="10522">
                  <a:moveTo>
                    <a:pt x="362" y="0"/>
                  </a:moveTo>
                  <a:lnTo>
                    <a:pt x="0" y="212"/>
                  </a:lnTo>
                  <a:lnTo>
                    <a:pt x="0" y="10302"/>
                  </a:lnTo>
                  <a:lnTo>
                    <a:pt x="19" y="10300"/>
                  </a:lnTo>
                  <a:lnTo>
                    <a:pt x="38" y="10299"/>
                  </a:lnTo>
                  <a:lnTo>
                    <a:pt x="58" y="10297"/>
                  </a:lnTo>
                  <a:lnTo>
                    <a:pt x="78" y="10296"/>
                  </a:lnTo>
                  <a:lnTo>
                    <a:pt x="99" y="10295"/>
                  </a:lnTo>
                  <a:lnTo>
                    <a:pt x="120" y="10293"/>
                  </a:lnTo>
                  <a:lnTo>
                    <a:pt x="143" y="10292"/>
                  </a:lnTo>
                  <a:lnTo>
                    <a:pt x="165" y="10292"/>
                  </a:lnTo>
                  <a:lnTo>
                    <a:pt x="178" y="10291"/>
                  </a:lnTo>
                  <a:lnTo>
                    <a:pt x="212" y="10292"/>
                  </a:lnTo>
                  <a:lnTo>
                    <a:pt x="236" y="10293"/>
                  </a:lnTo>
                  <a:lnTo>
                    <a:pt x="265" y="10298"/>
                  </a:lnTo>
                  <a:lnTo>
                    <a:pt x="296" y="10303"/>
                  </a:lnTo>
                  <a:lnTo>
                    <a:pt x="330" y="10311"/>
                  </a:lnTo>
                  <a:lnTo>
                    <a:pt x="348" y="10316"/>
                  </a:lnTo>
                  <a:lnTo>
                    <a:pt x="367" y="10322"/>
                  </a:lnTo>
                  <a:lnTo>
                    <a:pt x="386" y="10328"/>
                  </a:lnTo>
                  <a:lnTo>
                    <a:pt x="405" y="10336"/>
                  </a:lnTo>
                  <a:lnTo>
                    <a:pt x="425" y="10344"/>
                  </a:lnTo>
                  <a:lnTo>
                    <a:pt x="445" y="10355"/>
                  </a:lnTo>
                  <a:lnTo>
                    <a:pt x="465" y="10365"/>
                  </a:lnTo>
                  <a:lnTo>
                    <a:pt x="485" y="10377"/>
                  </a:lnTo>
                  <a:lnTo>
                    <a:pt x="506" y="10390"/>
                  </a:lnTo>
                  <a:lnTo>
                    <a:pt x="526" y="10405"/>
                  </a:lnTo>
                  <a:lnTo>
                    <a:pt x="546" y="10421"/>
                  </a:lnTo>
                  <a:lnTo>
                    <a:pt x="566" y="10438"/>
                  </a:lnTo>
                  <a:lnTo>
                    <a:pt x="586" y="10457"/>
                  </a:lnTo>
                  <a:lnTo>
                    <a:pt x="605" y="10477"/>
                  </a:lnTo>
                  <a:lnTo>
                    <a:pt x="624" y="10499"/>
                  </a:lnTo>
                  <a:lnTo>
                    <a:pt x="643" y="10522"/>
                  </a:lnTo>
                  <a:lnTo>
                    <a:pt x="1458" y="631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8" name="Freeform 92"/>
            <p:cNvSpPr>
              <a:spLocks/>
            </p:cNvSpPr>
            <p:nvPr/>
          </p:nvSpPr>
          <p:spPr bwMode="auto">
            <a:xfrm>
              <a:off x="895127" y="4036717"/>
              <a:ext cx="133031" cy="406827"/>
            </a:xfrm>
            <a:custGeom>
              <a:avLst/>
              <a:gdLst>
                <a:gd name="T0" fmla="*/ 0 w 4414"/>
                <a:gd name="T1" fmla="*/ 0 h 12417"/>
                <a:gd name="T2" fmla="*/ 0 w 4414"/>
                <a:gd name="T3" fmla="*/ 0 h 12417"/>
                <a:gd name="T4" fmla="*/ 0 w 4414"/>
                <a:gd name="T5" fmla="*/ 0 h 12417"/>
                <a:gd name="T6" fmla="*/ 0 w 4414"/>
                <a:gd name="T7" fmla="*/ 0 h 12417"/>
                <a:gd name="T8" fmla="*/ 0 w 4414"/>
                <a:gd name="T9" fmla="*/ 0 h 124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14"/>
                <a:gd name="T16" fmla="*/ 0 h 12417"/>
                <a:gd name="T17" fmla="*/ 4414 w 4414"/>
                <a:gd name="T18" fmla="*/ 12417 h 124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14" h="12417">
                  <a:moveTo>
                    <a:pt x="0" y="2752"/>
                  </a:moveTo>
                  <a:lnTo>
                    <a:pt x="4414" y="0"/>
                  </a:lnTo>
                  <a:lnTo>
                    <a:pt x="4414" y="9747"/>
                  </a:lnTo>
                  <a:lnTo>
                    <a:pt x="60" y="12417"/>
                  </a:lnTo>
                  <a:lnTo>
                    <a:pt x="0" y="2752"/>
                  </a:lnTo>
                  <a:close/>
                </a:path>
              </a:pathLst>
            </a:custGeom>
            <a:solidFill>
              <a:srgbClr val="B9B9B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99" name="Freeform 93"/>
            <p:cNvSpPr>
              <a:spLocks/>
            </p:cNvSpPr>
            <p:nvPr/>
          </p:nvSpPr>
          <p:spPr bwMode="auto">
            <a:xfrm>
              <a:off x="796475" y="4060156"/>
              <a:ext cx="101641" cy="383389"/>
            </a:xfrm>
            <a:custGeom>
              <a:avLst/>
              <a:gdLst>
                <a:gd name="T0" fmla="*/ 0 w 3381"/>
                <a:gd name="T1" fmla="*/ 0 h 11718"/>
                <a:gd name="T2" fmla="*/ 0 w 3381"/>
                <a:gd name="T3" fmla="*/ 0 h 11718"/>
                <a:gd name="T4" fmla="*/ 0 w 3381"/>
                <a:gd name="T5" fmla="*/ 0 h 11718"/>
                <a:gd name="T6" fmla="*/ 0 w 3381"/>
                <a:gd name="T7" fmla="*/ 0 h 11718"/>
                <a:gd name="T8" fmla="*/ 0 w 3381"/>
                <a:gd name="T9" fmla="*/ 0 h 117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81"/>
                <a:gd name="T16" fmla="*/ 0 h 11718"/>
                <a:gd name="T17" fmla="*/ 3381 w 3381"/>
                <a:gd name="T18" fmla="*/ 11718 h 117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81" h="11718">
                  <a:moveTo>
                    <a:pt x="3381" y="2029"/>
                  </a:moveTo>
                  <a:lnTo>
                    <a:pt x="0" y="0"/>
                  </a:lnTo>
                  <a:lnTo>
                    <a:pt x="0" y="9779"/>
                  </a:lnTo>
                  <a:lnTo>
                    <a:pt x="3381" y="11718"/>
                  </a:lnTo>
                  <a:lnTo>
                    <a:pt x="3381" y="2029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0" name="Freeform 94"/>
            <p:cNvSpPr>
              <a:spLocks/>
            </p:cNvSpPr>
            <p:nvPr/>
          </p:nvSpPr>
          <p:spPr bwMode="auto">
            <a:xfrm>
              <a:off x="805443" y="4083594"/>
              <a:ext cx="80715" cy="130586"/>
            </a:xfrm>
            <a:custGeom>
              <a:avLst/>
              <a:gdLst>
                <a:gd name="T0" fmla="*/ 0 w 2733"/>
                <a:gd name="T1" fmla="*/ 0 h 3953"/>
                <a:gd name="T2" fmla="*/ 0 w 2733"/>
                <a:gd name="T3" fmla="*/ 0 h 3953"/>
                <a:gd name="T4" fmla="*/ 0 w 2733"/>
                <a:gd name="T5" fmla="*/ 0 h 3953"/>
                <a:gd name="T6" fmla="*/ 0 w 2733"/>
                <a:gd name="T7" fmla="*/ 0 h 3953"/>
                <a:gd name="T8" fmla="*/ 0 w 2733"/>
                <a:gd name="T9" fmla="*/ 0 h 39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33"/>
                <a:gd name="T16" fmla="*/ 0 h 3953"/>
                <a:gd name="T17" fmla="*/ 2733 w 2733"/>
                <a:gd name="T18" fmla="*/ 3953 h 39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33" h="3953">
                  <a:moveTo>
                    <a:pt x="0" y="0"/>
                  </a:moveTo>
                  <a:lnTo>
                    <a:pt x="0" y="2385"/>
                  </a:lnTo>
                  <a:lnTo>
                    <a:pt x="2733" y="3953"/>
                  </a:lnTo>
                  <a:lnTo>
                    <a:pt x="2733" y="15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1" name="Freeform 95"/>
            <p:cNvSpPr>
              <a:spLocks/>
            </p:cNvSpPr>
            <p:nvPr/>
          </p:nvSpPr>
          <p:spPr bwMode="auto">
            <a:xfrm>
              <a:off x="715760" y="4008257"/>
              <a:ext cx="53810" cy="354927"/>
            </a:xfrm>
            <a:custGeom>
              <a:avLst/>
              <a:gdLst>
                <a:gd name="T0" fmla="*/ 0 w 1839"/>
                <a:gd name="T1" fmla="*/ 0 h 10814"/>
                <a:gd name="T2" fmla="*/ 0 w 1839"/>
                <a:gd name="T3" fmla="*/ 0 h 10814"/>
                <a:gd name="T4" fmla="*/ 0 w 1839"/>
                <a:gd name="T5" fmla="*/ 0 h 10814"/>
                <a:gd name="T6" fmla="*/ 0 w 1839"/>
                <a:gd name="T7" fmla="*/ 0 h 10814"/>
                <a:gd name="T8" fmla="*/ 0 w 1839"/>
                <a:gd name="T9" fmla="*/ 0 h 10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39"/>
                <a:gd name="T16" fmla="*/ 0 h 10814"/>
                <a:gd name="T17" fmla="*/ 1839 w 1839"/>
                <a:gd name="T18" fmla="*/ 10814 h 10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39" h="10814">
                  <a:moveTo>
                    <a:pt x="5" y="0"/>
                  </a:moveTo>
                  <a:lnTo>
                    <a:pt x="0" y="9760"/>
                  </a:lnTo>
                  <a:lnTo>
                    <a:pt x="1839" y="10814"/>
                  </a:lnTo>
                  <a:lnTo>
                    <a:pt x="1839" y="101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2" name="Freeform 96"/>
            <p:cNvSpPr>
              <a:spLocks/>
            </p:cNvSpPr>
            <p:nvPr/>
          </p:nvSpPr>
          <p:spPr bwMode="auto">
            <a:xfrm>
              <a:off x="724728" y="4033369"/>
              <a:ext cx="40358" cy="108823"/>
            </a:xfrm>
            <a:custGeom>
              <a:avLst/>
              <a:gdLst>
                <a:gd name="T0" fmla="*/ 0 w 1368"/>
                <a:gd name="T1" fmla="*/ 0 h 3287"/>
                <a:gd name="T2" fmla="*/ 0 w 1368"/>
                <a:gd name="T3" fmla="*/ 0 h 3287"/>
                <a:gd name="T4" fmla="*/ 0 w 1368"/>
                <a:gd name="T5" fmla="*/ 0 h 3287"/>
                <a:gd name="T6" fmla="*/ 0 w 1368"/>
                <a:gd name="T7" fmla="*/ 0 h 3287"/>
                <a:gd name="T8" fmla="*/ 0 w 1368"/>
                <a:gd name="T9" fmla="*/ 0 h 32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8"/>
                <a:gd name="T16" fmla="*/ 0 h 3287"/>
                <a:gd name="T17" fmla="*/ 1368 w 1368"/>
                <a:gd name="T18" fmla="*/ 3287 h 328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8" h="3287">
                  <a:moveTo>
                    <a:pt x="0" y="0"/>
                  </a:moveTo>
                  <a:lnTo>
                    <a:pt x="0" y="2516"/>
                  </a:lnTo>
                  <a:lnTo>
                    <a:pt x="1368" y="3287"/>
                  </a:lnTo>
                  <a:lnTo>
                    <a:pt x="1368" y="7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3" name="Freeform 97"/>
            <p:cNvSpPr>
              <a:spLocks/>
            </p:cNvSpPr>
            <p:nvPr/>
          </p:nvSpPr>
          <p:spPr bwMode="auto">
            <a:xfrm>
              <a:off x="803948" y="4179023"/>
              <a:ext cx="80715" cy="78687"/>
            </a:xfrm>
            <a:custGeom>
              <a:avLst/>
              <a:gdLst>
                <a:gd name="T0" fmla="*/ 0 w 2688"/>
                <a:gd name="T1" fmla="*/ 0 h 2433"/>
                <a:gd name="T2" fmla="*/ 0 w 2688"/>
                <a:gd name="T3" fmla="*/ 0 h 2433"/>
                <a:gd name="T4" fmla="*/ 0 w 2688"/>
                <a:gd name="T5" fmla="*/ 0 h 2433"/>
                <a:gd name="T6" fmla="*/ 0 w 2688"/>
                <a:gd name="T7" fmla="*/ 0 h 2433"/>
                <a:gd name="T8" fmla="*/ 0 w 2688"/>
                <a:gd name="T9" fmla="*/ 0 h 2433"/>
                <a:gd name="T10" fmla="*/ 0 w 2688"/>
                <a:gd name="T11" fmla="*/ 0 h 2433"/>
                <a:gd name="T12" fmla="*/ 0 w 2688"/>
                <a:gd name="T13" fmla="*/ 0 h 2433"/>
                <a:gd name="T14" fmla="*/ 0 w 2688"/>
                <a:gd name="T15" fmla="*/ 0 h 2433"/>
                <a:gd name="T16" fmla="*/ 0 w 2688"/>
                <a:gd name="T17" fmla="*/ 0 h 2433"/>
                <a:gd name="T18" fmla="*/ 0 w 2688"/>
                <a:gd name="T19" fmla="*/ 0 h 2433"/>
                <a:gd name="T20" fmla="*/ 0 w 2688"/>
                <a:gd name="T21" fmla="*/ 0 h 2433"/>
                <a:gd name="T22" fmla="*/ 0 w 2688"/>
                <a:gd name="T23" fmla="*/ 0 h 2433"/>
                <a:gd name="T24" fmla="*/ 0 w 2688"/>
                <a:gd name="T25" fmla="*/ 0 h 2433"/>
                <a:gd name="T26" fmla="*/ 0 w 2688"/>
                <a:gd name="T27" fmla="*/ 0 h 2433"/>
                <a:gd name="T28" fmla="*/ 0 w 2688"/>
                <a:gd name="T29" fmla="*/ 0 h 2433"/>
                <a:gd name="T30" fmla="*/ 0 w 2688"/>
                <a:gd name="T31" fmla="*/ 0 h 2433"/>
                <a:gd name="T32" fmla="*/ 0 w 2688"/>
                <a:gd name="T33" fmla="*/ 0 h 2433"/>
                <a:gd name="T34" fmla="*/ 0 w 2688"/>
                <a:gd name="T35" fmla="*/ 0 h 2433"/>
                <a:gd name="T36" fmla="*/ 0 w 2688"/>
                <a:gd name="T37" fmla="*/ 0 h 2433"/>
                <a:gd name="T38" fmla="*/ 0 w 2688"/>
                <a:gd name="T39" fmla="*/ 0 h 2433"/>
                <a:gd name="T40" fmla="*/ 0 w 2688"/>
                <a:gd name="T41" fmla="*/ 0 h 2433"/>
                <a:gd name="T42" fmla="*/ 0 w 2688"/>
                <a:gd name="T43" fmla="*/ 0 h 2433"/>
                <a:gd name="T44" fmla="*/ 0 w 2688"/>
                <a:gd name="T45" fmla="*/ 0 h 2433"/>
                <a:gd name="T46" fmla="*/ 0 w 2688"/>
                <a:gd name="T47" fmla="*/ 0 h 2433"/>
                <a:gd name="T48" fmla="*/ 0 w 2688"/>
                <a:gd name="T49" fmla="*/ 0 h 2433"/>
                <a:gd name="T50" fmla="*/ 0 w 2688"/>
                <a:gd name="T51" fmla="*/ 0 h 2433"/>
                <a:gd name="T52" fmla="*/ 0 w 2688"/>
                <a:gd name="T53" fmla="*/ 0 h 2433"/>
                <a:gd name="T54" fmla="*/ 0 w 2688"/>
                <a:gd name="T55" fmla="*/ 0 h 2433"/>
                <a:gd name="T56" fmla="*/ 0 w 2688"/>
                <a:gd name="T57" fmla="*/ 0 h 2433"/>
                <a:gd name="T58" fmla="*/ 0 w 2688"/>
                <a:gd name="T59" fmla="*/ 0 h 2433"/>
                <a:gd name="T60" fmla="*/ 0 w 2688"/>
                <a:gd name="T61" fmla="*/ 0 h 2433"/>
                <a:gd name="T62" fmla="*/ 0 w 2688"/>
                <a:gd name="T63" fmla="*/ 0 h 2433"/>
                <a:gd name="T64" fmla="*/ 0 w 2688"/>
                <a:gd name="T65" fmla="*/ 0 h 2433"/>
                <a:gd name="T66" fmla="*/ 0 w 2688"/>
                <a:gd name="T67" fmla="*/ 0 h 2433"/>
                <a:gd name="T68" fmla="*/ 0 w 2688"/>
                <a:gd name="T69" fmla="*/ 0 h 2433"/>
                <a:gd name="T70" fmla="*/ 0 w 2688"/>
                <a:gd name="T71" fmla="*/ 0 h 2433"/>
                <a:gd name="T72" fmla="*/ 0 w 2688"/>
                <a:gd name="T73" fmla="*/ 0 h 2433"/>
                <a:gd name="T74" fmla="*/ 0 w 2688"/>
                <a:gd name="T75" fmla="*/ 0 h 2433"/>
                <a:gd name="T76" fmla="*/ 0 w 2688"/>
                <a:gd name="T77" fmla="*/ 0 h 2433"/>
                <a:gd name="T78" fmla="*/ 0 w 2688"/>
                <a:gd name="T79" fmla="*/ 0 h 2433"/>
                <a:gd name="T80" fmla="*/ 0 w 2688"/>
                <a:gd name="T81" fmla="*/ 0 h 2433"/>
                <a:gd name="T82" fmla="*/ 0 w 2688"/>
                <a:gd name="T83" fmla="*/ 0 h 2433"/>
                <a:gd name="T84" fmla="*/ 0 w 2688"/>
                <a:gd name="T85" fmla="*/ 0 h 2433"/>
                <a:gd name="T86" fmla="*/ 0 w 2688"/>
                <a:gd name="T87" fmla="*/ 0 h 2433"/>
                <a:gd name="T88" fmla="*/ 0 w 2688"/>
                <a:gd name="T89" fmla="*/ 0 h 2433"/>
                <a:gd name="T90" fmla="*/ 0 w 2688"/>
                <a:gd name="T91" fmla="*/ 0 h 2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88"/>
                <a:gd name="T139" fmla="*/ 0 h 2433"/>
                <a:gd name="T140" fmla="*/ 2688 w 2688"/>
                <a:gd name="T141" fmla="*/ 2433 h 2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88" h="2433">
                  <a:moveTo>
                    <a:pt x="2688" y="2312"/>
                  </a:moveTo>
                  <a:lnTo>
                    <a:pt x="2688" y="2322"/>
                  </a:lnTo>
                  <a:lnTo>
                    <a:pt x="2687" y="2332"/>
                  </a:lnTo>
                  <a:lnTo>
                    <a:pt x="2686" y="2342"/>
                  </a:lnTo>
                  <a:lnTo>
                    <a:pt x="2684" y="2351"/>
                  </a:lnTo>
                  <a:lnTo>
                    <a:pt x="2682" y="2359"/>
                  </a:lnTo>
                  <a:lnTo>
                    <a:pt x="2679" y="2367"/>
                  </a:lnTo>
                  <a:lnTo>
                    <a:pt x="2676" y="2375"/>
                  </a:lnTo>
                  <a:lnTo>
                    <a:pt x="2673" y="2382"/>
                  </a:lnTo>
                  <a:lnTo>
                    <a:pt x="2669" y="2390"/>
                  </a:lnTo>
                  <a:lnTo>
                    <a:pt x="2664" y="2396"/>
                  </a:lnTo>
                  <a:lnTo>
                    <a:pt x="2660" y="2402"/>
                  </a:lnTo>
                  <a:lnTo>
                    <a:pt x="2655" y="2407"/>
                  </a:lnTo>
                  <a:lnTo>
                    <a:pt x="2649" y="2412"/>
                  </a:lnTo>
                  <a:lnTo>
                    <a:pt x="2643" y="2416"/>
                  </a:lnTo>
                  <a:lnTo>
                    <a:pt x="2637" y="2420"/>
                  </a:lnTo>
                  <a:lnTo>
                    <a:pt x="2631" y="2424"/>
                  </a:lnTo>
                  <a:lnTo>
                    <a:pt x="2624" y="2426"/>
                  </a:lnTo>
                  <a:lnTo>
                    <a:pt x="2617" y="2429"/>
                  </a:lnTo>
                  <a:lnTo>
                    <a:pt x="2609" y="2431"/>
                  </a:lnTo>
                  <a:lnTo>
                    <a:pt x="2602" y="2432"/>
                  </a:lnTo>
                  <a:lnTo>
                    <a:pt x="2594" y="2433"/>
                  </a:lnTo>
                  <a:lnTo>
                    <a:pt x="2586" y="2433"/>
                  </a:lnTo>
                  <a:lnTo>
                    <a:pt x="2577" y="2433"/>
                  </a:lnTo>
                  <a:lnTo>
                    <a:pt x="2569" y="2433"/>
                  </a:lnTo>
                  <a:lnTo>
                    <a:pt x="2551" y="2429"/>
                  </a:lnTo>
                  <a:lnTo>
                    <a:pt x="2532" y="2424"/>
                  </a:lnTo>
                  <a:lnTo>
                    <a:pt x="2513" y="2417"/>
                  </a:lnTo>
                  <a:lnTo>
                    <a:pt x="2493" y="2407"/>
                  </a:lnTo>
                  <a:lnTo>
                    <a:pt x="196" y="1138"/>
                  </a:lnTo>
                  <a:lnTo>
                    <a:pt x="176" y="1127"/>
                  </a:lnTo>
                  <a:lnTo>
                    <a:pt x="156" y="1113"/>
                  </a:lnTo>
                  <a:lnTo>
                    <a:pt x="138" y="1097"/>
                  </a:lnTo>
                  <a:lnTo>
                    <a:pt x="120" y="1081"/>
                  </a:lnTo>
                  <a:lnTo>
                    <a:pt x="103" y="1063"/>
                  </a:lnTo>
                  <a:lnTo>
                    <a:pt x="86" y="1043"/>
                  </a:lnTo>
                  <a:lnTo>
                    <a:pt x="71" y="1024"/>
                  </a:lnTo>
                  <a:lnTo>
                    <a:pt x="58" y="1002"/>
                  </a:lnTo>
                  <a:lnTo>
                    <a:pt x="45" y="981"/>
                  </a:lnTo>
                  <a:lnTo>
                    <a:pt x="34" y="960"/>
                  </a:lnTo>
                  <a:lnTo>
                    <a:pt x="24" y="937"/>
                  </a:lnTo>
                  <a:lnTo>
                    <a:pt x="16" y="915"/>
                  </a:lnTo>
                  <a:lnTo>
                    <a:pt x="9" y="892"/>
                  </a:lnTo>
                  <a:lnTo>
                    <a:pt x="4" y="871"/>
                  </a:lnTo>
                  <a:lnTo>
                    <a:pt x="1" y="848"/>
                  </a:lnTo>
                  <a:lnTo>
                    <a:pt x="0" y="827"/>
                  </a:lnTo>
                  <a:lnTo>
                    <a:pt x="0" y="122"/>
                  </a:lnTo>
                  <a:lnTo>
                    <a:pt x="1" y="112"/>
                  </a:lnTo>
                  <a:lnTo>
                    <a:pt x="1" y="102"/>
                  </a:lnTo>
                  <a:lnTo>
                    <a:pt x="3" y="93"/>
                  </a:lnTo>
                  <a:lnTo>
                    <a:pt x="4" y="83"/>
                  </a:lnTo>
                  <a:lnTo>
                    <a:pt x="6" y="74"/>
                  </a:lnTo>
                  <a:lnTo>
                    <a:pt x="9" y="66"/>
                  </a:lnTo>
                  <a:lnTo>
                    <a:pt x="12" y="59"/>
                  </a:lnTo>
                  <a:lnTo>
                    <a:pt x="16" y="52"/>
                  </a:lnTo>
                  <a:lnTo>
                    <a:pt x="20" y="45"/>
                  </a:lnTo>
                  <a:lnTo>
                    <a:pt x="24" y="38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9" y="22"/>
                  </a:lnTo>
                  <a:lnTo>
                    <a:pt x="45" y="17"/>
                  </a:lnTo>
                  <a:lnTo>
                    <a:pt x="51" y="13"/>
                  </a:lnTo>
                  <a:lnTo>
                    <a:pt x="58" y="10"/>
                  </a:lnTo>
                  <a:lnTo>
                    <a:pt x="64" y="7"/>
                  </a:lnTo>
                  <a:lnTo>
                    <a:pt x="71" y="5"/>
                  </a:lnTo>
                  <a:lnTo>
                    <a:pt x="79" y="3"/>
                  </a:lnTo>
                  <a:lnTo>
                    <a:pt x="86" y="1"/>
                  </a:lnTo>
                  <a:lnTo>
                    <a:pt x="94" y="1"/>
                  </a:lnTo>
                  <a:lnTo>
                    <a:pt x="103" y="0"/>
                  </a:lnTo>
                  <a:lnTo>
                    <a:pt x="111" y="0"/>
                  </a:lnTo>
                  <a:lnTo>
                    <a:pt x="120" y="1"/>
                  </a:lnTo>
                  <a:lnTo>
                    <a:pt x="138" y="4"/>
                  </a:lnTo>
                  <a:lnTo>
                    <a:pt x="156" y="9"/>
                  </a:lnTo>
                  <a:lnTo>
                    <a:pt x="176" y="17"/>
                  </a:lnTo>
                  <a:lnTo>
                    <a:pt x="196" y="26"/>
                  </a:lnTo>
                  <a:lnTo>
                    <a:pt x="2493" y="1295"/>
                  </a:lnTo>
                  <a:lnTo>
                    <a:pt x="2513" y="1307"/>
                  </a:lnTo>
                  <a:lnTo>
                    <a:pt x="2532" y="1321"/>
                  </a:lnTo>
                  <a:lnTo>
                    <a:pt x="2551" y="1336"/>
                  </a:lnTo>
                  <a:lnTo>
                    <a:pt x="2569" y="1353"/>
                  </a:lnTo>
                  <a:lnTo>
                    <a:pt x="2586" y="1372"/>
                  </a:lnTo>
                  <a:lnTo>
                    <a:pt x="2602" y="1390"/>
                  </a:lnTo>
                  <a:lnTo>
                    <a:pt x="2617" y="1410"/>
                  </a:lnTo>
                  <a:lnTo>
                    <a:pt x="2631" y="1431"/>
                  </a:lnTo>
                  <a:lnTo>
                    <a:pt x="2643" y="1452"/>
                  </a:lnTo>
                  <a:lnTo>
                    <a:pt x="2655" y="1475"/>
                  </a:lnTo>
                  <a:lnTo>
                    <a:pt x="2664" y="1496"/>
                  </a:lnTo>
                  <a:lnTo>
                    <a:pt x="2673" y="1518"/>
                  </a:lnTo>
                  <a:lnTo>
                    <a:pt x="2679" y="1541"/>
                  </a:lnTo>
                  <a:lnTo>
                    <a:pt x="2684" y="1563"/>
                  </a:lnTo>
                  <a:lnTo>
                    <a:pt x="2687" y="1585"/>
                  </a:lnTo>
                  <a:lnTo>
                    <a:pt x="2688" y="1606"/>
                  </a:lnTo>
                  <a:lnTo>
                    <a:pt x="2688" y="2312"/>
                  </a:lnTo>
                  <a:close/>
                </a:path>
              </a:pathLst>
            </a:custGeom>
            <a:solidFill>
              <a:srgbClr val="EDA74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4" name="Freeform 98"/>
            <p:cNvSpPr>
              <a:spLocks/>
            </p:cNvSpPr>
            <p:nvPr/>
          </p:nvSpPr>
          <p:spPr bwMode="auto">
            <a:xfrm>
              <a:off x="724728" y="4036717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2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2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5" name="Freeform 99"/>
            <p:cNvSpPr>
              <a:spLocks/>
            </p:cNvSpPr>
            <p:nvPr/>
          </p:nvSpPr>
          <p:spPr bwMode="auto">
            <a:xfrm>
              <a:off x="724728" y="4050111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6" name="Freeform 100"/>
            <p:cNvSpPr>
              <a:spLocks/>
            </p:cNvSpPr>
            <p:nvPr/>
          </p:nvSpPr>
          <p:spPr bwMode="auto">
            <a:xfrm>
              <a:off x="724728" y="4063504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7"/>
                  </a:lnTo>
                  <a:lnTo>
                    <a:pt x="1366" y="831"/>
                  </a:lnTo>
                  <a:lnTo>
                    <a:pt x="1371" y="824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6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6"/>
                  </a:lnTo>
                  <a:lnTo>
                    <a:pt x="1359" y="730"/>
                  </a:lnTo>
                  <a:lnTo>
                    <a:pt x="1354" y="725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7" name="Freeform 101"/>
            <p:cNvSpPr>
              <a:spLocks/>
            </p:cNvSpPr>
            <p:nvPr/>
          </p:nvSpPr>
          <p:spPr bwMode="auto">
            <a:xfrm>
              <a:off x="724728" y="4078572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4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8" name="Freeform 102"/>
            <p:cNvSpPr>
              <a:spLocks/>
            </p:cNvSpPr>
            <p:nvPr/>
          </p:nvSpPr>
          <p:spPr bwMode="auto">
            <a:xfrm>
              <a:off x="724728" y="4091966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4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4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6"/>
                  </a:lnTo>
                  <a:lnTo>
                    <a:pt x="1344" y="852"/>
                  </a:lnTo>
                  <a:lnTo>
                    <a:pt x="1350" y="848"/>
                  </a:lnTo>
                  <a:lnTo>
                    <a:pt x="1356" y="843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1"/>
                  </a:lnTo>
                  <a:lnTo>
                    <a:pt x="1380" y="794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09" name="Freeform 103"/>
            <p:cNvSpPr>
              <a:spLocks/>
            </p:cNvSpPr>
            <p:nvPr/>
          </p:nvSpPr>
          <p:spPr bwMode="auto">
            <a:xfrm>
              <a:off x="724728" y="4105359"/>
              <a:ext cx="40358" cy="28462"/>
            </a:xfrm>
            <a:custGeom>
              <a:avLst/>
              <a:gdLst>
                <a:gd name="T0" fmla="*/ 0 w 1380"/>
                <a:gd name="T1" fmla="*/ 0 h 863"/>
                <a:gd name="T2" fmla="*/ 0 w 1380"/>
                <a:gd name="T3" fmla="*/ 0 h 863"/>
                <a:gd name="T4" fmla="*/ 0 w 1380"/>
                <a:gd name="T5" fmla="*/ 0 h 863"/>
                <a:gd name="T6" fmla="*/ 0 w 1380"/>
                <a:gd name="T7" fmla="*/ 0 h 863"/>
                <a:gd name="T8" fmla="*/ 0 w 1380"/>
                <a:gd name="T9" fmla="*/ 0 h 863"/>
                <a:gd name="T10" fmla="*/ 0 w 1380"/>
                <a:gd name="T11" fmla="*/ 0 h 863"/>
                <a:gd name="T12" fmla="*/ 0 w 1380"/>
                <a:gd name="T13" fmla="*/ 0 h 863"/>
                <a:gd name="T14" fmla="*/ 0 w 1380"/>
                <a:gd name="T15" fmla="*/ 0 h 863"/>
                <a:gd name="T16" fmla="*/ 0 w 1380"/>
                <a:gd name="T17" fmla="*/ 0 h 863"/>
                <a:gd name="T18" fmla="*/ 0 w 1380"/>
                <a:gd name="T19" fmla="*/ 0 h 863"/>
                <a:gd name="T20" fmla="*/ 0 w 1380"/>
                <a:gd name="T21" fmla="*/ 0 h 863"/>
                <a:gd name="T22" fmla="*/ 0 w 1380"/>
                <a:gd name="T23" fmla="*/ 0 h 863"/>
                <a:gd name="T24" fmla="*/ 0 w 1380"/>
                <a:gd name="T25" fmla="*/ 0 h 863"/>
                <a:gd name="T26" fmla="*/ 0 w 1380"/>
                <a:gd name="T27" fmla="*/ 0 h 863"/>
                <a:gd name="T28" fmla="*/ 0 w 1380"/>
                <a:gd name="T29" fmla="*/ 0 h 863"/>
                <a:gd name="T30" fmla="*/ 0 w 1380"/>
                <a:gd name="T31" fmla="*/ 0 h 863"/>
                <a:gd name="T32" fmla="*/ 0 w 1380"/>
                <a:gd name="T33" fmla="*/ 0 h 863"/>
                <a:gd name="T34" fmla="*/ 0 w 1380"/>
                <a:gd name="T35" fmla="*/ 0 h 863"/>
                <a:gd name="T36" fmla="*/ 0 w 1380"/>
                <a:gd name="T37" fmla="*/ 0 h 863"/>
                <a:gd name="T38" fmla="*/ 0 w 1380"/>
                <a:gd name="T39" fmla="*/ 0 h 863"/>
                <a:gd name="T40" fmla="*/ 0 w 1380"/>
                <a:gd name="T41" fmla="*/ 0 h 863"/>
                <a:gd name="T42" fmla="*/ 0 w 1380"/>
                <a:gd name="T43" fmla="*/ 0 h 863"/>
                <a:gd name="T44" fmla="*/ 0 w 1380"/>
                <a:gd name="T45" fmla="*/ 0 h 863"/>
                <a:gd name="T46" fmla="*/ 0 w 1380"/>
                <a:gd name="T47" fmla="*/ 0 h 863"/>
                <a:gd name="T48" fmla="*/ 0 w 1380"/>
                <a:gd name="T49" fmla="*/ 0 h 863"/>
                <a:gd name="T50" fmla="*/ 0 w 1380"/>
                <a:gd name="T51" fmla="*/ 0 h 863"/>
                <a:gd name="T52" fmla="*/ 0 w 1380"/>
                <a:gd name="T53" fmla="*/ 0 h 863"/>
                <a:gd name="T54" fmla="*/ 0 w 1380"/>
                <a:gd name="T55" fmla="*/ 0 h 863"/>
                <a:gd name="T56" fmla="*/ 0 w 1380"/>
                <a:gd name="T57" fmla="*/ 0 h 863"/>
                <a:gd name="T58" fmla="*/ 0 w 1380"/>
                <a:gd name="T59" fmla="*/ 0 h 863"/>
                <a:gd name="T60" fmla="*/ 0 w 1380"/>
                <a:gd name="T61" fmla="*/ 0 h 863"/>
                <a:gd name="T62" fmla="*/ 0 w 1380"/>
                <a:gd name="T63" fmla="*/ 0 h 863"/>
                <a:gd name="T64" fmla="*/ 0 w 1380"/>
                <a:gd name="T65" fmla="*/ 0 h 86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3"/>
                <a:gd name="T101" fmla="*/ 1380 w 1380"/>
                <a:gd name="T102" fmla="*/ 863 h 86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3">
                  <a:moveTo>
                    <a:pt x="10" y="40"/>
                  </a:moveTo>
                  <a:lnTo>
                    <a:pt x="6" y="47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3"/>
                  </a:lnTo>
                  <a:lnTo>
                    <a:pt x="3" y="100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4"/>
                  </a:lnTo>
                  <a:lnTo>
                    <a:pt x="40" y="148"/>
                  </a:lnTo>
                  <a:lnTo>
                    <a:pt x="1263" y="853"/>
                  </a:lnTo>
                  <a:lnTo>
                    <a:pt x="1270" y="856"/>
                  </a:lnTo>
                  <a:lnTo>
                    <a:pt x="1278" y="859"/>
                  </a:lnTo>
                  <a:lnTo>
                    <a:pt x="1286" y="861"/>
                  </a:lnTo>
                  <a:lnTo>
                    <a:pt x="1294" y="862"/>
                  </a:lnTo>
                  <a:lnTo>
                    <a:pt x="1301" y="863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0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2"/>
                  </a:lnTo>
                  <a:lnTo>
                    <a:pt x="1374" y="815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69"/>
                  </a:lnTo>
                  <a:lnTo>
                    <a:pt x="1378" y="762"/>
                  </a:lnTo>
                  <a:lnTo>
                    <a:pt x="1375" y="755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8"/>
                  </a:lnTo>
                  <a:lnTo>
                    <a:pt x="1341" y="714"/>
                  </a:lnTo>
                  <a:lnTo>
                    <a:pt x="116" y="10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7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2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0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0" name="Freeform 104"/>
            <p:cNvSpPr>
              <a:spLocks/>
            </p:cNvSpPr>
            <p:nvPr/>
          </p:nvSpPr>
          <p:spPr bwMode="auto">
            <a:xfrm>
              <a:off x="805443" y="4083594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7"/>
                  </a:lnTo>
                  <a:lnTo>
                    <a:pt x="1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10"/>
                  </a:lnTo>
                  <a:lnTo>
                    <a:pt x="8" y="117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3"/>
                  </a:lnTo>
                  <a:lnTo>
                    <a:pt x="2754" y="1596"/>
                  </a:lnTo>
                  <a:lnTo>
                    <a:pt x="2758" y="1589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1"/>
                  </a:lnTo>
                  <a:lnTo>
                    <a:pt x="2763" y="1543"/>
                  </a:lnTo>
                  <a:lnTo>
                    <a:pt x="2761" y="1536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7"/>
                  </a:lnTo>
                  <a:lnTo>
                    <a:pt x="2731" y="1492"/>
                  </a:lnTo>
                  <a:lnTo>
                    <a:pt x="2724" y="1488"/>
                  </a:lnTo>
                  <a:lnTo>
                    <a:pt x="116" y="11"/>
                  </a:lnTo>
                  <a:lnTo>
                    <a:pt x="108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7"/>
                  </a:lnTo>
                  <a:lnTo>
                    <a:pt x="42" y="10"/>
                  </a:lnTo>
                  <a:lnTo>
                    <a:pt x="36" y="14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1" name="Freeform 105"/>
            <p:cNvSpPr>
              <a:spLocks/>
            </p:cNvSpPr>
            <p:nvPr/>
          </p:nvSpPr>
          <p:spPr bwMode="auto">
            <a:xfrm>
              <a:off x="805443" y="4098663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2" name="Freeform 106"/>
            <p:cNvSpPr>
              <a:spLocks/>
            </p:cNvSpPr>
            <p:nvPr/>
          </p:nvSpPr>
          <p:spPr bwMode="auto">
            <a:xfrm>
              <a:off x="805443" y="4112056"/>
              <a:ext cx="82210" cy="53574"/>
            </a:xfrm>
            <a:custGeom>
              <a:avLst/>
              <a:gdLst>
                <a:gd name="T0" fmla="*/ 0 w 2764"/>
                <a:gd name="T1" fmla="*/ 0 h 1637"/>
                <a:gd name="T2" fmla="*/ 0 w 2764"/>
                <a:gd name="T3" fmla="*/ 0 h 1637"/>
                <a:gd name="T4" fmla="*/ 0 w 2764"/>
                <a:gd name="T5" fmla="*/ 0 h 1637"/>
                <a:gd name="T6" fmla="*/ 0 w 2764"/>
                <a:gd name="T7" fmla="*/ 0 h 1637"/>
                <a:gd name="T8" fmla="*/ 0 w 2764"/>
                <a:gd name="T9" fmla="*/ 0 h 1637"/>
                <a:gd name="T10" fmla="*/ 0 w 2764"/>
                <a:gd name="T11" fmla="*/ 0 h 1637"/>
                <a:gd name="T12" fmla="*/ 0 w 2764"/>
                <a:gd name="T13" fmla="*/ 0 h 1637"/>
                <a:gd name="T14" fmla="*/ 0 w 2764"/>
                <a:gd name="T15" fmla="*/ 0 h 1637"/>
                <a:gd name="T16" fmla="*/ 0 w 2764"/>
                <a:gd name="T17" fmla="*/ 0 h 1637"/>
                <a:gd name="T18" fmla="*/ 0 w 2764"/>
                <a:gd name="T19" fmla="*/ 0 h 1637"/>
                <a:gd name="T20" fmla="*/ 0 w 2764"/>
                <a:gd name="T21" fmla="*/ 0 h 1637"/>
                <a:gd name="T22" fmla="*/ 0 w 2764"/>
                <a:gd name="T23" fmla="*/ 0 h 1637"/>
                <a:gd name="T24" fmla="*/ 0 w 2764"/>
                <a:gd name="T25" fmla="*/ 0 h 1637"/>
                <a:gd name="T26" fmla="*/ 0 w 2764"/>
                <a:gd name="T27" fmla="*/ 0 h 1637"/>
                <a:gd name="T28" fmla="*/ 0 w 2764"/>
                <a:gd name="T29" fmla="*/ 0 h 1637"/>
                <a:gd name="T30" fmla="*/ 0 w 2764"/>
                <a:gd name="T31" fmla="*/ 0 h 1637"/>
                <a:gd name="T32" fmla="*/ 0 w 2764"/>
                <a:gd name="T33" fmla="*/ 0 h 1637"/>
                <a:gd name="T34" fmla="*/ 0 w 2764"/>
                <a:gd name="T35" fmla="*/ 0 h 1637"/>
                <a:gd name="T36" fmla="*/ 0 w 2764"/>
                <a:gd name="T37" fmla="*/ 0 h 1637"/>
                <a:gd name="T38" fmla="*/ 0 w 2764"/>
                <a:gd name="T39" fmla="*/ 0 h 1637"/>
                <a:gd name="T40" fmla="*/ 0 w 2764"/>
                <a:gd name="T41" fmla="*/ 0 h 1637"/>
                <a:gd name="T42" fmla="*/ 0 w 2764"/>
                <a:gd name="T43" fmla="*/ 0 h 1637"/>
                <a:gd name="T44" fmla="*/ 0 w 2764"/>
                <a:gd name="T45" fmla="*/ 0 h 1637"/>
                <a:gd name="T46" fmla="*/ 0 w 2764"/>
                <a:gd name="T47" fmla="*/ 0 h 1637"/>
                <a:gd name="T48" fmla="*/ 0 w 2764"/>
                <a:gd name="T49" fmla="*/ 0 h 1637"/>
                <a:gd name="T50" fmla="*/ 0 w 2764"/>
                <a:gd name="T51" fmla="*/ 0 h 1637"/>
                <a:gd name="T52" fmla="*/ 0 w 2764"/>
                <a:gd name="T53" fmla="*/ 0 h 1637"/>
                <a:gd name="T54" fmla="*/ 0 w 2764"/>
                <a:gd name="T55" fmla="*/ 0 h 1637"/>
                <a:gd name="T56" fmla="*/ 0 w 2764"/>
                <a:gd name="T57" fmla="*/ 0 h 1637"/>
                <a:gd name="T58" fmla="*/ 0 w 2764"/>
                <a:gd name="T59" fmla="*/ 0 h 1637"/>
                <a:gd name="T60" fmla="*/ 0 w 2764"/>
                <a:gd name="T61" fmla="*/ 0 h 1637"/>
                <a:gd name="T62" fmla="*/ 0 w 2764"/>
                <a:gd name="T63" fmla="*/ 0 h 1637"/>
                <a:gd name="T64" fmla="*/ 0 w 2764"/>
                <a:gd name="T65" fmla="*/ 0 h 163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7"/>
                <a:gd name="T101" fmla="*/ 2764 w 2764"/>
                <a:gd name="T102" fmla="*/ 1637 h 163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7">
                  <a:moveTo>
                    <a:pt x="9" y="42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30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7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6"/>
                  </a:lnTo>
                  <a:lnTo>
                    <a:pt x="2731" y="1491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2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3" name="Freeform 107"/>
            <p:cNvSpPr>
              <a:spLocks/>
            </p:cNvSpPr>
            <p:nvPr/>
          </p:nvSpPr>
          <p:spPr bwMode="auto">
            <a:xfrm>
              <a:off x="805443" y="4125450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4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2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6"/>
                  </a:lnTo>
                  <a:lnTo>
                    <a:pt x="2758" y="1588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4" name="Freeform 108"/>
            <p:cNvSpPr>
              <a:spLocks/>
            </p:cNvSpPr>
            <p:nvPr/>
          </p:nvSpPr>
          <p:spPr bwMode="auto">
            <a:xfrm>
              <a:off x="805443" y="4140517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8"/>
                  </a:lnTo>
                  <a:lnTo>
                    <a:pt x="21" y="133"/>
                  </a:lnTo>
                  <a:lnTo>
                    <a:pt x="27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8"/>
                  </a:lnTo>
                  <a:lnTo>
                    <a:pt x="2740" y="1613"/>
                  </a:lnTo>
                  <a:lnTo>
                    <a:pt x="2745" y="1607"/>
                  </a:lnTo>
                  <a:lnTo>
                    <a:pt x="2750" y="1601"/>
                  </a:lnTo>
                  <a:lnTo>
                    <a:pt x="2754" y="1594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4"/>
                  </a:lnTo>
                  <a:lnTo>
                    <a:pt x="2764" y="1556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3"/>
                  </a:lnTo>
                  <a:lnTo>
                    <a:pt x="2747" y="1507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7"/>
                  </a:lnTo>
                  <a:lnTo>
                    <a:pt x="14" y="33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5" name="Freeform 109"/>
            <p:cNvSpPr>
              <a:spLocks/>
            </p:cNvSpPr>
            <p:nvPr/>
          </p:nvSpPr>
          <p:spPr bwMode="auto">
            <a:xfrm>
              <a:off x="805443" y="4153910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9"/>
                  </a:lnTo>
                  <a:lnTo>
                    <a:pt x="2750" y="1601"/>
                  </a:lnTo>
                  <a:lnTo>
                    <a:pt x="2754" y="1595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8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8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6" name="Freeform 110"/>
            <p:cNvSpPr>
              <a:spLocks/>
            </p:cNvSpPr>
            <p:nvPr/>
          </p:nvSpPr>
          <p:spPr bwMode="auto">
            <a:xfrm>
              <a:off x="796475" y="4329700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1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7"/>
                  </a:lnTo>
                  <a:lnTo>
                    <a:pt x="3412" y="2001"/>
                  </a:lnTo>
                  <a:lnTo>
                    <a:pt x="3416" y="1995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7"/>
                  </a:lnTo>
                  <a:lnTo>
                    <a:pt x="3426" y="1949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6"/>
                  </a:lnTo>
                  <a:lnTo>
                    <a:pt x="3405" y="1901"/>
                  </a:lnTo>
                  <a:lnTo>
                    <a:pt x="3399" y="1895"/>
                  </a:lnTo>
                  <a:lnTo>
                    <a:pt x="3393" y="1890"/>
                  </a:lnTo>
                  <a:lnTo>
                    <a:pt x="3386" y="1886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7" name="Freeform 111"/>
            <p:cNvSpPr>
              <a:spLocks/>
            </p:cNvSpPr>
            <p:nvPr/>
          </p:nvSpPr>
          <p:spPr bwMode="auto">
            <a:xfrm>
              <a:off x="796475" y="4343094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2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8"/>
                  </a:lnTo>
                  <a:lnTo>
                    <a:pt x="3412" y="2002"/>
                  </a:lnTo>
                  <a:lnTo>
                    <a:pt x="3416" y="1994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8"/>
                  </a:lnTo>
                  <a:lnTo>
                    <a:pt x="3426" y="1950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8"/>
                  </a:lnTo>
                  <a:lnTo>
                    <a:pt x="3405" y="1902"/>
                  </a:lnTo>
                  <a:lnTo>
                    <a:pt x="3399" y="1896"/>
                  </a:lnTo>
                  <a:lnTo>
                    <a:pt x="3393" y="1891"/>
                  </a:lnTo>
                  <a:lnTo>
                    <a:pt x="3386" y="1886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7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8" name="Freeform 112"/>
            <p:cNvSpPr>
              <a:spLocks/>
            </p:cNvSpPr>
            <p:nvPr/>
          </p:nvSpPr>
          <p:spPr bwMode="auto">
            <a:xfrm>
              <a:off x="817401" y="4197439"/>
              <a:ext cx="14947" cy="18417"/>
            </a:xfrm>
            <a:custGeom>
              <a:avLst/>
              <a:gdLst>
                <a:gd name="T0" fmla="*/ 0 w 505"/>
                <a:gd name="T1" fmla="*/ 0 h 593"/>
                <a:gd name="T2" fmla="*/ 0 w 505"/>
                <a:gd name="T3" fmla="*/ 0 h 593"/>
                <a:gd name="T4" fmla="*/ 0 w 505"/>
                <a:gd name="T5" fmla="*/ 0 h 593"/>
                <a:gd name="T6" fmla="*/ 0 w 505"/>
                <a:gd name="T7" fmla="*/ 0 h 593"/>
                <a:gd name="T8" fmla="*/ 0 w 505"/>
                <a:gd name="T9" fmla="*/ 0 h 593"/>
                <a:gd name="T10" fmla="*/ 0 w 505"/>
                <a:gd name="T11" fmla="*/ 0 h 593"/>
                <a:gd name="T12" fmla="*/ 0 w 505"/>
                <a:gd name="T13" fmla="*/ 0 h 593"/>
                <a:gd name="T14" fmla="*/ 0 w 505"/>
                <a:gd name="T15" fmla="*/ 0 h 593"/>
                <a:gd name="T16" fmla="*/ 0 w 505"/>
                <a:gd name="T17" fmla="*/ 0 h 593"/>
                <a:gd name="T18" fmla="*/ 0 w 505"/>
                <a:gd name="T19" fmla="*/ 0 h 593"/>
                <a:gd name="T20" fmla="*/ 0 w 505"/>
                <a:gd name="T21" fmla="*/ 0 h 593"/>
                <a:gd name="T22" fmla="*/ 0 w 505"/>
                <a:gd name="T23" fmla="*/ 0 h 593"/>
                <a:gd name="T24" fmla="*/ 0 w 505"/>
                <a:gd name="T25" fmla="*/ 0 h 593"/>
                <a:gd name="T26" fmla="*/ 0 w 505"/>
                <a:gd name="T27" fmla="*/ 0 h 593"/>
                <a:gd name="T28" fmla="*/ 0 w 505"/>
                <a:gd name="T29" fmla="*/ 0 h 593"/>
                <a:gd name="T30" fmla="*/ 0 w 505"/>
                <a:gd name="T31" fmla="*/ 0 h 593"/>
                <a:gd name="T32" fmla="*/ 0 w 505"/>
                <a:gd name="T33" fmla="*/ 0 h 593"/>
                <a:gd name="T34" fmla="*/ 0 w 505"/>
                <a:gd name="T35" fmla="*/ 0 h 593"/>
                <a:gd name="T36" fmla="*/ 0 w 505"/>
                <a:gd name="T37" fmla="*/ 0 h 593"/>
                <a:gd name="T38" fmla="*/ 0 w 505"/>
                <a:gd name="T39" fmla="*/ 0 h 593"/>
                <a:gd name="T40" fmla="*/ 0 w 505"/>
                <a:gd name="T41" fmla="*/ 0 h 593"/>
                <a:gd name="T42" fmla="*/ 0 w 505"/>
                <a:gd name="T43" fmla="*/ 0 h 593"/>
                <a:gd name="T44" fmla="*/ 0 w 505"/>
                <a:gd name="T45" fmla="*/ 0 h 593"/>
                <a:gd name="T46" fmla="*/ 0 w 505"/>
                <a:gd name="T47" fmla="*/ 0 h 593"/>
                <a:gd name="T48" fmla="*/ 0 w 505"/>
                <a:gd name="T49" fmla="*/ 0 h 593"/>
                <a:gd name="T50" fmla="*/ 0 w 505"/>
                <a:gd name="T51" fmla="*/ 0 h 593"/>
                <a:gd name="T52" fmla="*/ 0 w 505"/>
                <a:gd name="T53" fmla="*/ 0 h 593"/>
                <a:gd name="T54" fmla="*/ 0 w 505"/>
                <a:gd name="T55" fmla="*/ 0 h 593"/>
                <a:gd name="T56" fmla="*/ 0 w 505"/>
                <a:gd name="T57" fmla="*/ 0 h 593"/>
                <a:gd name="T58" fmla="*/ 0 w 505"/>
                <a:gd name="T59" fmla="*/ 0 h 593"/>
                <a:gd name="T60" fmla="*/ 0 w 505"/>
                <a:gd name="T61" fmla="*/ 0 h 593"/>
                <a:gd name="T62" fmla="*/ 0 w 505"/>
                <a:gd name="T63" fmla="*/ 0 h 593"/>
                <a:gd name="T64" fmla="*/ 0 w 505"/>
                <a:gd name="T65" fmla="*/ 0 h 593"/>
                <a:gd name="T66" fmla="*/ 0 w 505"/>
                <a:gd name="T67" fmla="*/ 0 h 593"/>
                <a:gd name="T68" fmla="*/ 0 w 505"/>
                <a:gd name="T69" fmla="*/ 0 h 593"/>
                <a:gd name="T70" fmla="*/ 0 w 505"/>
                <a:gd name="T71" fmla="*/ 0 h 593"/>
                <a:gd name="T72" fmla="*/ 0 w 505"/>
                <a:gd name="T73" fmla="*/ 0 h 593"/>
                <a:gd name="T74" fmla="*/ 0 w 505"/>
                <a:gd name="T75" fmla="*/ 0 h 593"/>
                <a:gd name="T76" fmla="*/ 0 w 505"/>
                <a:gd name="T77" fmla="*/ 0 h 593"/>
                <a:gd name="T78" fmla="*/ 0 w 505"/>
                <a:gd name="T79" fmla="*/ 0 h 593"/>
                <a:gd name="T80" fmla="*/ 0 w 505"/>
                <a:gd name="T81" fmla="*/ 0 h 593"/>
                <a:gd name="T82" fmla="*/ 0 w 505"/>
                <a:gd name="T83" fmla="*/ 0 h 593"/>
                <a:gd name="T84" fmla="*/ 0 w 505"/>
                <a:gd name="T85" fmla="*/ 0 h 5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593"/>
                <a:gd name="T131" fmla="*/ 505 w 505"/>
                <a:gd name="T132" fmla="*/ 593 h 5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593">
                  <a:moveTo>
                    <a:pt x="505" y="320"/>
                  </a:moveTo>
                  <a:lnTo>
                    <a:pt x="505" y="335"/>
                  </a:lnTo>
                  <a:lnTo>
                    <a:pt x="505" y="350"/>
                  </a:lnTo>
                  <a:lnTo>
                    <a:pt x="504" y="365"/>
                  </a:lnTo>
                  <a:lnTo>
                    <a:pt x="503" y="379"/>
                  </a:lnTo>
                  <a:lnTo>
                    <a:pt x="501" y="394"/>
                  </a:lnTo>
                  <a:lnTo>
                    <a:pt x="498" y="407"/>
                  </a:lnTo>
                  <a:lnTo>
                    <a:pt x="495" y="420"/>
                  </a:lnTo>
                  <a:lnTo>
                    <a:pt x="491" y="433"/>
                  </a:lnTo>
                  <a:lnTo>
                    <a:pt x="487" y="446"/>
                  </a:lnTo>
                  <a:lnTo>
                    <a:pt x="482" y="458"/>
                  </a:lnTo>
                  <a:lnTo>
                    <a:pt x="476" y="470"/>
                  </a:lnTo>
                  <a:lnTo>
                    <a:pt x="470" y="481"/>
                  </a:lnTo>
                  <a:lnTo>
                    <a:pt x="464" y="492"/>
                  </a:lnTo>
                  <a:lnTo>
                    <a:pt x="457" y="503"/>
                  </a:lnTo>
                  <a:lnTo>
                    <a:pt x="450" y="513"/>
                  </a:lnTo>
                  <a:lnTo>
                    <a:pt x="442" y="522"/>
                  </a:lnTo>
                  <a:lnTo>
                    <a:pt x="434" y="531"/>
                  </a:lnTo>
                  <a:lnTo>
                    <a:pt x="425" y="539"/>
                  </a:lnTo>
                  <a:lnTo>
                    <a:pt x="416" y="548"/>
                  </a:lnTo>
                  <a:lnTo>
                    <a:pt x="406" y="555"/>
                  </a:lnTo>
                  <a:lnTo>
                    <a:pt x="397" y="562"/>
                  </a:lnTo>
                  <a:lnTo>
                    <a:pt x="386" y="568"/>
                  </a:lnTo>
                  <a:lnTo>
                    <a:pt x="376" y="573"/>
                  </a:lnTo>
                  <a:lnTo>
                    <a:pt x="365" y="578"/>
                  </a:lnTo>
                  <a:lnTo>
                    <a:pt x="354" y="582"/>
                  </a:lnTo>
                  <a:lnTo>
                    <a:pt x="342" y="586"/>
                  </a:lnTo>
                  <a:lnTo>
                    <a:pt x="331" y="588"/>
                  </a:lnTo>
                  <a:lnTo>
                    <a:pt x="319" y="590"/>
                  </a:lnTo>
                  <a:lnTo>
                    <a:pt x="306" y="592"/>
                  </a:lnTo>
                  <a:lnTo>
                    <a:pt x="294" y="593"/>
                  </a:lnTo>
                  <a:lnTo>
                    <a:pt x="281" y="593"/>
                  </a:lnTo>
                  <a:lnTo>
                    <a:pt x="268" y="592"/>
                  </a:lnTo>
                  <a:lnTo>
                    <a:pt x="255" y="590"/>
                  </a:lnTo>
                  <a:lnTo>
                    <a:pt x="242" y="588"/>
                  </a:lnTo>
                  <a:lnTo>
                    <a:pt x="229" y="585"/>
                  </a:lnTo>
                  <a:lnTo>
                    <a:pt x="217" y="581"/>
                  </a:lnTo>
                  <a:lnTo>
                    <a:pt x="204" y="577"/>
                  </a:lnTo>
                  <a:lnTo>
                    <a:pt x="192" y="572"/>
                  </a:lnTo>
                  <a:lnTo>
                    <a:pt x="180" y="566"/>
                  </a:lnTo>
                  <a:lnTo>
                    <a:pt x="169" y="560"/>
                  </a:lnTo>
                  <a:lnTo>
                    <a:pt x="157" y="553"/>
                  </a:lnTo>
                  <a:lnTo>
                    <a:pt x="146" y="546"/>
                  </a:lnTo>
                  <a:lnTo>
                    <a:pt x="135" y="537"/>
                  </a:lnTo>
                  <a:lnTo>
                    <a:pt x="124" y="528"/>
                  </a:lnTo>
                  <a:lnTo>
                    <a:pt x="114" y="519"/>
                  </a:lnTo>
                  <a:lnTo>
                    <a:pt x="104" y="510"/>
                  </a:lnTo>
                  <a:lnTo>
                    <a:pt x="94" y="500"/>
                  </a:lnTo>
                  <a:lnTo>
                    <a:pt x="85" y="488"/>
                  </a:lnTo>
                  <a:lnTo>
                    <a:pt x="76" y="478"/>
                  </a:lnTo>
                  <a:lnTo>
                    <a:pt x="68" y="466"/>
                  </a:lnTo>
                  <a:lnTo>
                    <a:pt x="60" y="455"/>
                  </a:lnTo>
                  <a:lnTo>
                    <a:pt x="52" y="443"/>
                  </a:lnTo>
                  <a:lnTo>
                    <a:pt x="45" y="429"/>
                  </a:lnTo>
                  <a:lnTo>
                    <a:pt x="38" y="417"/>
                  </a:lnTo>
                  <a:lnTo>
                    <a:pt x="32" y="404"/>
                  </a:lnTo>
                  <a:lnTo>
                    <a:pt x="26" y="389"/>
                  </a:lnTo>
                  <a:lnTo>
                    <a:pt x="21" y="376"/>
                  </a:lnTo>
                  <a:lnTo>
                    <a:pt x="16" y="362"/>
                  </a:lnTo>
                  <a:lnTo>
                    <a:pt x="12" y="348"/>
                  </a:lnTo>
                  <a:lnTo>
                    <a:pt x="8" y="333"/>
                  </a:lnTo>
                  <a:lnTo>
                    <a:pt x="5" y="318"/>
                  </a:lnTo>
                  <a:lnTo>
                    <a:pt x="3" y="304"/>
                  </a:lnTo>
                  <a:lnTo>
                    <a:pt x="1" y="288"/>
                  </a:lnTo>
                  <a:lnTo>
                    <a:pt x="0" y="273"/>
                  </a:lnTo>
                  <a:lnTo>
                    <a:pt x="0" y="258"/>
                  </a:lnTo>
                  <a:lnTo>
                    <a:pt x="0" y="243"/>
                  </a:lnTo>
                  <a:lnTo>
                    <a:pt x="1" y="228"/>
                  </a:lnTo>
                  <a:lnTo>
                    <a:pt x="2" y="214"/>
                  </a:lnTo>
                  <a:lnTo>
                    <a:pt x="4" y="200"/>
                  </a:lnTo>
                  <a:lnTo>
                    <a:pt x="7" y="186"/>
                  </a:lnTo>
                  <a:lnTo>
                    <a:pt x="10" y="173"/>
                  </a:lnTo>
                  <a:lnTo>
                    <a:pt x="14" y="160"/>
                  </a:lnTo>
                  <a:lnTo>
                    <a:pt x="18" y="147"/>
                  </a:lnTo>
                  <a:lnTo>
                    <a:pt x="23" y="134"/>
                  </a:lnTo>
                  <a:lnTo>
                    <a:pt x="29" y="123"/>
                  </a:lnTo>
                  <a:lnTo>
                    <a:pt x="35" y="112"/>
                  </a:lnTo>
                  <a:lnTo>
                    <a:pt x="41" y="101"/>
                  </a:lnTo>
                  <a:lnTo>
                    <a:pt x="48" y="91"/>
                  </a:lnTo>
                  <a:lnTo>
                    <a:pt x="55" y="80"/>
                  </a:lnTo>
                  <a:lnTo>
                    <a:pt x="63" y="71"/>
                  </a:lnTo>
                  <a:lnTo>
                    <a:pt x="71" y="62"/>
                  </a:lnTo>
                  <a:lnTo>
                    <a:pt x="80" y="54"/>
                  </a:lnTo>
                  <a:lnTo>
                    <a:pt x="89" y="46"/>
                  </a:lnTo>
                  <a:lnTo>
                    <a:pt x="99" y="39"/>
                  </a:lnTo>
                  <a:lnTo>
                    <a:pt x="108" y="31"/>
                  </a:lnTo>
                  <a:lnTo>
                    <a:pt x="119" y="25"/>
                  </a:lnTo>
                  <a:lnTo>
                    <a:pt x="129" y="20"/>
                  </a:lnTo>
                  <a:lnTo>
                    <a:pt x="140" y="15"/>
                  </a:lnTo>
                  <a:lnTo>
                    <a:pt x="151" y="11"/>
                  </a:lnTo>
                  <a:lnTo>
                    <a:pt x="163" y="7"/>
                  </a:lnTo>
                  <a:lnTo>
                    <a:pt x="174" y="4"/>
                  </a:lnTo>
                  <a:lnTo>
                    <a:pt x="187" y="2"/>
                  </a:lnTo>
                  <a:lnTo>
                    <a:pt x="199" y="1"/>
                  </a:lnTo>
                  <a:lnTo>
                    <a:pt x="211" y="0"/>
                  </a:lnTo>
                  <a:lnTo>
                    <a:pt x="224" y="0"/>
                  </a:lnTo>
                  <a:lnTo>
                    <a:pt x="237" y="1"/>
                  </a:lnTo>
                  <a:lnTo>
                    <a:pt x="250" y="2"/>
                  </a:lnTo>
                  <a:lnTo>
                    <a:pt x="263" y="5"/>
                  </a:lnTo>
                  <a:lnTo>
                    <a:pt x="276" y="8"/>
                  </a:lnTo>
                  <a:lnTo>
                    <a:pt x="288" y="11"/>
                  </a:lnTo>
                  <a:lnTo>
                    <a:pt x="301" y="16"/>
                  </a:lnTo>
                  <a:lnTo>
                    <a:pt x="313" y="21"/>
                  </a:lnTo>
                  <a:lnTo>
                    <a:pt x="325" y="27"/>
                  </a:lnTo>
                  <a:lnTo>
                    <a:pt x="337" y="33"/>
                  </a:lnTo>
                  <a:lnTo>
                    <a:pt x="348" y="41"/>
                  </a:lnTo>
                  <a:lnTo>
                    <a:pt x="359" y="48"/>
                  </a:lnTo>
                  <a:lnTo>
                    <a:pt x="370" y="56"/>
                  </a:lnTo>
                  <a:lnTo>
                    <a:pt x="381" y="64"/>
                  </a:lnTo>
                  <a:lnTo>
                    <a:pt x="391" y="73"/>
                  </a:lnTo>
                  <a:lnTo>
                    <a:pt x="401" y="83"/>
                  </a:lnTo>
                  <a:lnTo>
                    <a:pt x="411" y="94"/>
                  </a:lnTo>
                  <a:lnTo>
                    <a:pt x="420" y="104"/>
                  </a:lnTo>
                  <a:lnTo>
                    <a:pt x="429" y="115"/>
                  </a:lnTo>
                  <a:lnTo>
                    <a:pt x="437" y="126"/>
                  </a:lnTo>
                  <a:lnTo>
                    <a:pt x="445" y="139"/>
                  </a:lnTo>
                  <a:lnTo>
                    <a:pt x="453" y="151"/>
                  </a:lnTo>
                  <a:lnTo>
                    <a:pt x="460" y="163"/>
                  </a:lnTo>
                  <a:lnTo>
                    <a:pt x="467" y="176"/>
                  </a:lnTo>
                  <a:lnTo>
                    <a:pt x="473" y="190"/>
                  </a:lnTo>
                  <a:lnTo>
                    <a:pt x="479" y="203"/>
                  </a:lnTo>
                  <a:lnTo>
                    <a:pt x="484" y="217"/>
                  </a:lnTo>
                  <a:lnTo>
                    <a:pt x="489" y="231"/>
                  </a:lnTo>
                  <a:lnTo>
                    <a:pt x="493" y="246"/>
                  </a:lnTo>
                  <a:lnTo>
                    <a:pt x="497" y="260"/>
                  </a:lnTo>
                  <a:lnTo>
                    <a:pt x="499" y="275"/>
                  </a:lnTo>
                  <a:lnTo>
                    <a:pt x="502" y="290"/>
                  </a:lnTo>
                  <a:lnTo>
                    <a:pt x="504" y="305"/>
                  </a:lnTo>
                  <a:lnTo>
                    <a:pt x="505" y="3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19" name="Freeform 113"/>
            <p:cNvSpPr>
              <a:spLocks/>
            </p:cNvSpPr>
            <p:nvPr/>
          </p:nvSpPr>
          <p:spPr bwMode="auto">
            <a:xfrm>
              <a:off x="844306" y="4214181"/>
              <a:ext cx="14947" cy="20090"/>
            </a:xfrm>
            <a:custGeom>
              <a:avLst/>
              <a:gdLst>
                <a:gd name="T0" fmla="*/ 0 w 523"/>
                <a:gd name="T1" fmla="*/ 0 h 611"/>
                <a:gd name="T2" fmla="*/ 0 w 523"/>
                <a:gd name="T3" fmla="*/ 0 h 611"/>
                <a:gd name="T4" fmla="*/ 0 w 523"/>
                <a:gd name="T5" fmla="*/ 0 h 611"/>
                <a:gd name="T6" fmla="*/ 0 w 523"/>
                <a:gd name="T7" fmla="*/ 0 h 611"/>
                <a:gd name="T8" fmla="*/ 0 w 523"/>
                <a:gd name="T9" fmla="*/ 0 h 611"/>
                <a:gd name="T10" fmla="*/ 0 w 523"/>
                <a:gd name="T11" fmla="*/ 0 h 611"/>
                <a:gd name="T12" fmla="*/ 0 w 523"/>
                <a:gd name="T13" fmla="*/ 0 h 611"/>
                <a:gd name="T14" fmla="*/ 0 w 523"/>
                <a:gd name="T15" fmla="*/ 0 h 611"/>
                <a:gd name="T16" fmla="*/ 0 w 523"/>
                <a:gd name="T17" fmla="*/ 0 h 611"/>
                <a:gd name="T18" fmla="*/ 0 w 523"/>
                <a:gd name="T19" fmla="*/ 0 h 611"/>
                <a:gd name="T20" fmla="*/ 0 w 523"/>
                <a:gd name="T21" fmla="*/ 0 h 611"/>
                <a:gd name="T22" fmla="*/ 0 w 523"/>
                <a:gd name="T23" fmla="*/ 0 h 611"/>
                <a:gd name="T24" fmla="*/ 0 w 523"/>
                <a:gd name="T25" fmla="*/ 0 h 611"/>
                <a:gd name="T26" fmla="*/ 0 w 523"/>
                <a:gd name="T27" fmla="*/ 0 h 611"/>
                <a:gd name="T28" fmla="*/ 0 w 523"/>
                <a:gd name="T29" fmla="*/ 0 h 611"/>
                <a:gd name="T30" fmla="*/ 0 w 523"/>
                <a:gd name="T31" fmla="*/ 0 h 611"/>
                <a:gd name="T32" fmla="*/ 0 w 523"/>
                <a:gd name="T33" fmla="*/ 0 h 611"/>
                <a:gd name="T34" fmla="*/ 0 w 523"/>
                <a:gd name="T35" fmla="*/ 0 h 611"/>
                <a:gd name="T36" fmla="*/ 0 w 523"/>
                <a:gd name="T37" fmla="*/ 0 h 611"/>
                <a:gd name="T38" fmla="*/ 0 w 523"/>
                <a:gd name="T39" fmla="*/ 0 h 611"/>
                <a:gd name="T40" fmla="*/ 0 w 523"/>
                <a:gd name="T41" fmla="*/ 0 h 611"/>
                <a:gd name="T42" fmla="*/ 0 w 523"/>
                <a:gd name="T43" fmla="*/ 0 h 611"/>
                <a:gd name="T44" fmla="*/ 0 w 523"/>
                <a:gd name="T45" fmla="*/ 0 h 611"/>
                <a:gd name="T46" fmla="*/ 0 w 523"/>
                <a:gd name="T47" fmla="*/ 0 h 611"/>
                <a:gd name="T48" fmla="*/ 0 w 523"/>
                <a:gd name="T49" fmla="*/ 0 h 611"/>
                <a:gd name="T50" fmla="*/ 0 w 523"/>
                <a:gd name="T51" fmla="*/ 0 h 611"/>
                <a:gd name="T52" fmla="*/ 0 w 523"/>
                <a:gd name="T53" fmla="*/ 0 h 611"/>
                <a:gd name="T54" fmla="*/ 0 w 523"/>
                <a:gd name="T55" fmla="*/ 0 h 611"/>
                <a:gd name="T56" fmla="*/ 0 w 523"/>
                <a:gd name="T57" fmla="*/ 0 h 611"/>
                <a:gd name="T58" fmla="*/ 0 w 523"/>
                <a:gd name="T59" fmla="*/ 0 h 611"/>
                <a:gd name="T60" fmla="*/ 0 w 523"/>
                <a:gd name="T61" fmla="*/ 0 h 611"/>
                <a:gd name="T62" fmla="*/ 0 w 523"/>
                <a:gd name="T63" fmla="*/ 0 h 611"/>
                <a:gd name="T64" fmla="*/ 0 w 523"/>
                <a:gd name="T65" fmla="*/ 0 h 611"/>
                <a:gd name="T66" fmla="*/ 0 w 523"/>
                <a:gd name="T67" fmla="*/ 0 h 611"/>
                <a:gd name="T68" fmla="*/ 0 w 523"/>
                <a:gd name="T69" fmla="*/ 0 h 611"/>
                <a:gd name="T70" fmla="*/ 0 w 523"/>
                <a:gd name="T71" fmla="*/ 0 h 611"/>
                <a:gd name="T72" fmla="*/ 0 w 523"/>
                <a:gd name="T73" fmla="*/ 0 h 611"/>
                <a:gd name="T74" fmla="*/ 0 w 523"/>
                <a:gd name="T75" fmla="*/ 0 h 611"/>
                <a:gd name="T76" fmla="*/ 0 w 523"/>
                <a:gd name="T77" fmla="*/ 0 h 611"/>
                <a:gd name="T78" fmla="*/ 0 w 523"/>
                <a:gd name="T79" fmla="*/ 0 h 611"/>
                <a:gd name="T80" fmla="*/ 0 w 523"/>
                <a:gd name="T81" fmla="*/ 0 h 611"/>
                <a:gd name="T82" fmla="*/ 0 w 523"/>
                <a:gd name="T83" fmla="*/ 0 h 611"/>
                <a:gd name="T84" fmla="*/ 0 w 523"/>
                <a:gd name="T85" fmla="*/ 0 h 6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3"/>
                <a:gd name="T130" fmla="*/ 0 h 611"/>
                <a:gd name="T131" fmla="*/ 523 w 523"/>
                <a:gd name="T132" fmla="*/ 611 h 6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3" h="611">
                  <a:moveTo>
                    <a:pt x="522" y="329"/>
                  </a:moveTo>
                  <a:lnTo>
                    <a:pt x="523" y="345"/>
                  </a:lnTo>
                  <a:lnTo>
                    <a:pt x="523" y="361"/>
                  </a:lnTo>
                  <a:lnTo>
                    <a:pt x="522" y="376"/>
                  </a:lnTo>
                  <a:lnTo>
                    <a:pt x="520" y="390"/>
                  </a:lnTo>
                  <a:lnTo>
                    <a:pt x="518" y="405"/>
                  </a:lnTo>
                  <a:lnTo>
                    <a:pt x="515" y="419"/>
                  </a:lnTo>
                  <a:lnTo>
                    <a:pt x="512" y="433"/>
                  </a:lnTo>
                  <a:lnTo>
                    <a:pt x="508" y="446"/>
                  </a:lnTo>
                  <a:lnTo>
                    <a:pt x="504" y="460"/>
                  </a:lnTo>
                  <a:lnTo>
                    <a:pt x="498" y="472"/>
                  </a:lnTo>
                  <a:lnTo>
                    <a:pt x="493" y="484"/>
                  </a:lnTo>
                  <a:lnTo>
                    <a:pt x="487" y="495"/>
                  </a:lnTo>
                  <a:lnTo>
                    <a:pt x="480" y="507"/>
                  </a:lnTo>
                  <a:lnTo>
                    <a:pt x="473" y="518"/>
                  </a:lnTo>
                  <a:lnTo>
                    <a:pt x="465" y="528"/>
                  </a:lnTo>
                  <a:lnTo>
                    <a:pt x="457" y="538"/>
                  </a:lnTo>
                  <a:lnTo>
                    <a:pt x="449" y="547"/>
                  </a:lnTo>
                  <a:lnTo>
                    <a:pt x="440" y="556"/>
                  </a:lnTo>
                  <a:lnTo>
                    <a:pt x="430" y="564"/>
                  </a:lnTo>
                  <a:lnTo>
                    <a:pt x="421" y="572"/>
                  </a:lnTo>
                  <a:lnTo>
                    <a:pt x="410" y="578"/>
                  </a:lnTo>
                  <a:lnTo>
                    <a:pt x="400" y="585"/>
                  </a:lnTo>
                  <a:lnTo>
                    <a:pt x="389" y="590"/>
                  </a:lnTo>
                  <a:lnTo>
                    <a:pt x="378" y="595"/>
                  </a:lnTo>
                  <a:lnTo>
                    <a:pt x="366" y="599"/>
                  </a:lnTo>
                  <a:lnTo>
                    <a:pt x="354" y="604"/>
                  </a:lnTo>
                  <a:lnTo>
                    <a:pt x="342" y="607"/>
                  </a:lnTo>
                  <a:lnTo>
                    <a:pt x="330" y="609"/>
                  </a:lnTo>
                  <a:lnTo>
                    <a:pt x="317" y="610"/>
                  </a:lnTo>
                  <a:lnTo>
                    <a:pt x="304" y="611"/>
                  </a:lnTo>
                  <a:lnTo>
                    <a:pt x="291" y="611"/>
                  </a:lnTo>
                  <a:lnTo>
                    <a:pt x="277" y="610"/>
                  </a:lnTo>
                  <a:lnTo>
                    <a:pt x="264" y="609"/>
                  </a:lnTo>
                  <a:lnTo>
                    <a:pt x="251" y="606"/>
                  </a:lnTo>
                  <a:lnTo>
                    <a:pt x="237" y="603"/>
                  </a:lnTo>
                  <a:lnTo>
                    <a:pt x="224" y="598"/>
                  </a:lnTo>
                  <a:lnTo>
                    <a:pt x="212" y="594"/>
                  </a:lnTo>
                  <a:lnTo>
                    <a:pt x="199" y="589"/>
                  </a:lnTo>
                  <a:lnTo>
                    <a:pt x="187" y="583"/>
                  </a:lnTo>
                  <a:lnTo>
                    <a:pt x="174" y="576"/>
                  </a:lnTo>
                  <a:lnTo>
                    <a:pt x="163" y="569"/>
                  </a:lnTo>
                  <a:lnTo>
                    <a:pt x="151" y="562"/>
                  </a:lnTo>
                  <a:lnTo>
                    <a:pt x="140" y="554"/>
                  </a:lnTo>
                  <a:lnTo>
                    <a:pt x="129" y="544"/>
                  </a:lnTo>
                  <a:lnTo>
                    <a:pt x="118" y="535"/>
                  </a:lnTo>
                  <a:lnTo>
                    <a:pt x="108" y="525"/>
                  </a:lnTo>
                  <a:lnTo>
                    <a:pt x="98" y="515"/>
                  </a:lnTo>
                  <a:lnTo>
                    <a:pt x="88" y="504"/>
                  </a:lnTo>
                  <a:lnTo>
                    <a:pt x="79" y="492"/>
                  </a:lnTo>
                  <a:lnTo>
                    <a:pt x="70" y="480"/>
                  </a:lnTo>
                  <a:lnTo>
                    <a:pt x="62" y="468"/>
                  </a:lnTo>
                  <a:lnTo>
                    <a:pt x="54" y="456"/>
                  </a:lnTo>
                  <a:lnTo>
                    <a:pt x="46" y="442"/>
                  </a:lnTo>
                  <a:lnTo>
                    <a:pt x="39" y="429"/>
                  </a:lnTo>
                  <a:lnTo>
                    <a:pt x="33" y="416"/>
                  </a:lnTo>
                  <a:lnTo>
                    <a:pt x="27" y="402"/>
                  </a:lnTo>
                  <a:lnTo>
                    <a:pt x="22" y="387"/>
                  </a:lnTo>
                  <a:lnTo>
                    <a:pt x="17" y="373"/>
                  </a:lnTo>
                  <a:lnTo>
                    <a:pt x="12" y="358"/>
                  </a:lnTo>
                  <a:lnTo>
                    <a:pt x="9" y="343"/>
                  </a:lnTo>
                  <a:lnTo>
                    <a:pt x="6" y="328"/>
                  </a:lnTo>
                  <a:lnTo>
                    <a:pt x="3" y="313"/>
                  </a:lnTo>
                  <a:lnTo>
                    <a:pt x="1" y="297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0" y="250"/>
                  </a:lnTo>
                  <a:lnTo>
                    <a:pt x="1" y="235"/>
                  </a:lnTo>
                  <a:lnTo>
                    <a:pt x="2" y="220"/>
                  </a:lnTo>
                  <a:lnTo>
                    <a:pt x="4" y="206"/>
                  </a:lnTo>
                  <a:lnTo>
                    <a:pt x="7" y="191"/>
                  </a:lnTo>
                  <a:lnTo>
                    <a:pt x="11" y="178"/>
                  </a:lnTo>
                  <a:lnTo>
                    <a:pt x="15" y="165"/>
                  </a:lnTo>
                  <a:lnTo>
                    <a:pt x="19" y="152"/>
                  </a:lnTo>
                  <a:lnTo>
                    <a:pt x="24" y="139"/>
                  </a:lnTo>
                  <a:lnTo>
                    <a:pt x="30" y="127"/>
                  </a:lnTo>
                  <a:lnTo>
                    <a:pt x="36" y="115"/>
                  </a:lnTo>
                  <a:lnTo>
                    <a:pt x="43" y="104"/>
                  </a:lnTo>
                  <a:lnTo>
                    <a:pt x="50" y="93"/>
                  </a:lnTo>
                  <a:lnTo>
                    <a:pt x="57" y="82"/>
                  </a:lnTo>
                  <a:lnTo>
                    <a:pt x="65" y="73"/>
                  </a:lnTo>
                  <a:lnTo>
                    <a:pt x="74" y="64"/>
                  </a:lnTo>
                  <a:lnTo>
                    <a:pt x="83" y="55"/>
                  </a:lnTo>
                  <a:lnTo>
                    <a:pt x="92" y="47"/>
                  </a:lnTo>
                  <a:lnTo>
                    <a:pt x="102" y="39"/>
                  </a:lnTo>
                  <a:lnTo>
                    <a:pt x="112" y="32"/>
                  </a:lnTo>
                  <a:lnTo>
                    <a:pt x="123" y="26"/>
                  </a:lnTo>
                  <a:lnTo>
                    <a:pt x="134" y="20"/>
                  </a:lnTo>
                  <a:lnTo>
                    <a:pt x="145" y="15"/>
                  </a:lnTo>
                  <a:lnTo>
                    <a:pt x="157" y="11"/>
                  </a:lnTo>
                  <a:lnTo>
                    <a:pt x="168" y="7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6" y="1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45" y="1"/>
                  </a:lnTo>
                  <a:lnTo>
                    <a:pt x="259" y="3"/>
                  </a:lnTo>
                  <a:lnTo>
                    <a:pt x="272" y="5"/>
                  </a:lnTo>
                  <a:lnTo>
                    <a:pt x="285" y="8"/>
                  </a:lnTo>
                  <a:lnTo>
                    <a:pt x="298" y="12"/>
                  </a:lnTo>
                  <a:lnTo>
                    <a:pt x="311" y="16"/>
                  </a:lnTo>
                  <a:lnTo>
                    <a:pt x="324" y="22"/>
                  </a:lnTo>
                  <a:lnTo>
                    <a:pt x="336" y="27"/>
                  </a:lnTo>
                  <a:lnTo>
                    <a:pt x="348" y="34"/>
                  </a:lnTo>
                  <a:lnTo>
                    <a:pt x="360" y="42"/>
                  </a:lnTo>
                  <a:lnTo>
                    <a:pt x="372" y="50"/>
                  </a:lnTo>
                  <a:lnTo>
                    <a:pt x="383" y="58"/>
                  </a:lnTo>
                  <a:lnTo>
                    <a:pt x="394" y="66"/>
                  </a:lnTo>
                  <a:lnTo>
                    <a:pt x="405" y="76"/>
                  </a:lnTo>
                  <a:lnTo>
                    <a:pt x="415" y="85"/>
                  </a:lnTo>
                  <a:lnTo>
                    <a:pt x="425" y="97"/>
                  </a:lnTo>
                  <a:lnTo>
                    <a:pt x="435" y="107"/>
                  </a:lnTo>
                  <a:lnTo>
                    <a:pt x="444" y="119"/>
                  </a:lnTo>
                  <a:lnTo>
                    <a:pt x="453" y="130"/>
                  </a:lnTo>
                  <a:lnTo>
                    <a:pt x="461" y="143"/>
                  </a:lnTo>
                  <a:lnTo>
                    <a:pt x="469" y="155"/>
                  </a:lnTo>
                  <a:lnTo>
                    <a:pt x="476" y="168"/>
                  </a:lnTo>
                  <a:lnTo>
                    <a:pt x="483" y="181"/>
                  </a:lnTo>
                  <a:lnTo>
                    <a:pt x="490" y="196"/>
                  </a:lnTo>
                  <a:lnTo>
                    <a:pt x="496" y="209"/>
                  </a:lnTo>
                  <a:lnTo>
                    <a:pt x="501" y="223"/>
                  </a:lnTo>
                  <a:lnTo>
                    <a:pt x="506" y="238"/>
                  </a:lnTo>
                  <a:lnTo>
                    <a:pt x="510" y="253"/>
                  </a:lnTo>
                  <a:lnTo>
                    <a:pt x="514" y="268"/>
                  </a:lnTo>
                  <a:lnTo>
                    <a:pt x="517" y="283"/>
                  </a:lnTo>
                  <a:lnTo>
                    <a:pt x="519" y="299"/>
                  </a:lnTo>
                  <a:lnTo>
                    <a:pt x="521" y="314"/>
                  </a:lnTo>
                  <a:lnTo>
                    <a:pt x="522" y="3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0" name="Freeform 114"/>
            <p:cNvSpPr>
              <a:spLocks/>
            </p:cNvSpPr>
            <p:nvPr/>
          </p:nvSpPr>
          <p:spPr bwMode="auto">
            <a:xfrm>
              <a:off x="815906" y="4197439"/>
              <a:ext cx="14947" cy="16742"/>
            </a:xfrm>
            <a:custGeom>
              <a:avLst/>
              <a:gdLst>
                <a:gd name="T0" fmla="*/ 0 w 464"/>
                <a:gd name="T1" fmla="*/ 0 h 542"/>
                <a:gd name="T2" fmla="*/ 0 w 464"/>
                <a:gd name="T3" fmla="*/ 0 h 542"/>
                <a:gd name="T4" fmla="*/ 0 w 464"/>
                <a:gd name="T5" fmla="*/ 0 h 542"/>
                <a:gd name="T6" fmla="*/ 0 w 464"/>
                <a:gd name="T7" fmla="*/ 0 h 542"/>
                <a:gd name="T8" fmla="*/ 0 w 464"/>
                <a:gd name="T9" fmla="*/ 0 h 542"/>
                <a:gd name="T10" fmla="*/ 0 w 464"/>
                <a:gd name="T11" fmla="*/ 0 h 542"/>
                <a:gd name="T12" fmla="*/ 0 w 464"/>
                <a:gd name="T13" fmla="*/ 0 h 542"/>
                <a:gd name="T14" fmla="*/ 0 w 464"/>
                <a:gd name="T15" fmla="*/ 0 h 542"/>
                <a:gd name="T16" fmla="*/ 0 w 464"/>
                <a:gd name="T17" fmla="*/ 0 h 542"/>
                <a:gd name="T18" fmla="*/ 0 w 464"/>
                <a:gd name="T19" fmla="*/ 0 h 542"/>
                <a:gd name="T20" fmla="*/ 0 w 464"/>
                <a:gd name="T21" fmla="*/ 0 h 542"/>
                <a:gd name="T22" fmla="*/ 0 w 464"/>
                <a:gd name="T23" fmla="*/ 0 h 542"/>
                <a:gd name="T24" fmla="*/ 0 w 464"/>
                <a:gd name="T25" fmla="*/ 0 h 542"/>
                <a:gd name="T26" fmla="*/ 0 w 464"/>
                <a:gd name="T27" fmla="*/ 0 h 542"/>
                <a:gd name="T28" fmla="*/ 0 w 464"/>
                <a:gd name="T29" fmla="*/ 0 h 542"/>
                <a:gd name="T30" fmla="*/ 0 w 464"/>
                <a:gd name="T31" fmla="*/ 0 h 542"/>
                <a:gd name="T32" fmla="*/ 0 w 464"/>
                <a:gd name="T33" fmla="*/ 0 h 542"/>
                <a:gd name="T34" fmla="*/ 0 w 464"/>
                <a:gd name="T35" fmla="*/ 0 h 542"/>
                <a:gd name="T36" fmla="*/ 0 w 464"/>
                <a:gd name="T37" fmla="*/ 0 h 542"/>
                <a:gd name="T38" fmla="*/ 0 w 464"/>
                <a:gd name="T39" fmla="*/ 0 h 542"/>
                <a:gd name="T40" fmla="*/ 0 w 464"/>
                <a:gd name="T41" fmla="*/ 0 h 542"/>
                <a:gd name="T42" fmla="*/ 0 w 464"/>
                <a:gd name="T43" fmla="*/ 0 h 542"/>
                <a:gd name="T44" fmla="*/ 0 w 464"/>
                <a:gd name="T45" fmla="*/ 0 h 542"/>
                <a:gd name="T46" fmla="*/ 0 w 464"/>
                <a:gd name="T47" fmla="*/ 0 h 542"/>
                <a:gd name="T48" fmla="*/ 0 w 464"/>
                <a:gd name="T49" fmla="*/ 0 h 542"/>
                <a:gd name="T50" fmla="*/ 0 w 464"/>
                <a:gd name="T51" fmla="*/ 0 h 542"/>
                <a:gd name="T52" fmla="*/ 0 w 464"/>
                <a:gd name="T53" fmla="*/ 0 h 542"/>
                <a:gd name="T54" fmla="*/ 0 w 464"/>
                <a:gd name="T55" fmla="*/ 0 h 542"/>
                <a:gd name="T56" fmla="*/ 0 w 464"/>
                <a:gd name="T57" fmla="*/ 0 h 542"/>
                <a:gd name="T58" fmla="*/ 0 w 464"/>
                <a:gd name="T59" fmla="*/ 0 h 542"/>
                <a:gd name="T60" fmla="*/ 0 w 464"/>
                <a:gd name="T61" fmla="*/ 0 h 542"/>
                <a:gd name="T62" fmla="*/ 0 w 464"/>
                <a:gd name="T63" fmla="*/ 0 h 542"/>
                <a:gd name="T64" fmla="*/ 0 w 464"/>
                <a:gd name="T65" fmla="*/ 0 h 542"/>
                <a:gd name="T66" fmla="*/ 0 w 464"/>
                <a:gd name="T67" fmla="*/ 0 h 542"/>
                <a:gd name="T68" fmla="*/ 0 w 464"/>
                <a:gd name="T69" fmla="*/ 0 h 542"/>
                <a:gd name="T70" fmla="*/ 0 w 464"/>
                <a:gd name="T71" fmla="*/ 0 h 542"/>
                <a:gd name="T72" fmla="*/ 0 w 464"/>
                <a:gd name="T73" fmla="*/ 0 h 542"/>
                <a:gd name="T74" fmla="*/ 0 w 464"/>
                <a:gd name="T75" fmla="*/ 0 h 542"/>
                <a:gd name="T76" fmla="*/ 0 w 464"/>
                <a:gd name="T77" fmla="*/ 0 h 542"/>
                <a:gd name="T78" fmla="*/ 0 w 464"/>
                <a:gd name="T79" fmla="*/ 0 h 542"/>
                <a:gd name="T80" fmla="*/ 0 w 464"/>
                <a:gd name="T81" fmla="*/ 0 h 542"/>
                <a:gd name="T82" fmla="*/ 0 w 464"/>
                <a:gd name="T83" fmla="*/ 0 h 542"/>
                <a:gd name="T84" fmla="*/ 0 w 464"/>
                <a:gd name="T85" fmla="*/ 0 h 542"/>
                <a:gd name="T86" fmla="*/ 0 w 464"/>
                <a:gd name="T87" fmla="*/ 0 h 542"/>
                <a:gd name="T88" fmla="*/ 0 w 464"/>
                <a:gd name="T89" fmla="*/ 0 h 542"/>
                <a:gd name="T90" fmla="*/ 0 w 464"/>
                <a:gd name="T91" fmla="*/ 0 h 542"/>
                <a:gd name="T92" fmla="*/ 0 w 464"/>
                <a:gd name="T93" fmla="*/ 0 h 542"/>
                <a:gd name="T94" fmla="*/ 0 w 464"/>
                <a:gd name="T95" fmla="*/ 0 h 542"/>
                <a:gd name="T96" fmla="*/ 0 w 464"/>
                <a:gd name="T97" fmla="*/ 0 h 542"/>
                <a:gd name="T98" fmla="*/ 0 w 464"/>
                <a:gd name="T99" fmla="*/ 0 h 542"/>
                <a:gd name="T100" fmla="*/ 0 w 464"/>
                <a:gd name="T101" fmla="*/ 0 h 542"/>
                <a:gd name="T102" fmla="*/ 0 w 464"/>
                <a:gd name="T103" fmla="*/ 0 h 542"/>
                <a:gd name="T104" fmla="*/ 0 w 464"/>
                <a:gd name="T105" fmla="*/ 0 h 542"/>
                <a:gd name="T106" fmla="*/ 0 w 464"/>
                <a:gd name="T107" fmla="*/ 0 h 542"/>
                <a:gd name="T108" fmla="*/ 0 w 464"/>
                <a:gd name="T109" fmla="*/ 0 h 542"/>
                <a:gd name="T110" fmla="*/ 0 w 464"/>
                <a:gd name="T111" fmla="*/ 0 h 542"/>
                <a:gd name="T112" fmla="*/ 0 w 464"/>
                <a:gd name="T113" fmla="*/ 0 h 542"/>
                <a:gd name="T114" fmla="*/ 0 w 464"/>
                <a:gd name="T115" fmla="*/ 0 h 542"/>
                <a:gd name="T116" fmla="*/ 0 w 464"/>
                <a:gd name="T117" fmla="*/ 0 h 542"/>
                <a:gd name="T118" fmla="*/ 0 w 464"/>
                <a:gd name="T119" fmla="*/ 0 h 542"/>
                <a:gd name="T120" fmla="*/ 0 w 464"/>
                <a:gd name="T121" fmla="*/ 0 h 542"/>
                <a:gd name="T122" fmla="*/ 0 w 464"/>
                <a:gd name="T123" fmla="*/ 0 h 542"/>
                <a:gd name="T124" fmla="*/ 0 w 464"/>
                <a:gd name="T125" fmla="*/ 0 h 54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2"/>
                <a:gd name="T191" fmla="*/ 464 w 464"/>
                <a:gd name="T192" fmla="*/ 542 h 54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2">
                  <a:moveTo>
                    <a:pt x="464" y="292"/>
                  </a:moveTo>
                  <a:lnTo>
                    <a:pt x="464" y="307"/>
                  </a:lnTo>
                  <a:lnTo>
                    <a:pt x="464" y="320"/>
                  </a:lnTo>
                  <a:lnTo>
                    <a:pt x="463" y="333"/>
                  </a:lnTo>
                  <a:lnTo>
                    <a:pt x="462" y="346"/>
                  </a:lnTo>
                  <a:lnTo>
                    <a:pt x="460" y="360"/>
                  </a:lnTo>
                  <a:lnTo>
                    <a:pt x="457" y="372"/>
                  </a:lnTo>
                  <a:lnTo>
                    <a:pt x="454" y="384"/>
                  </a:lnTo>
                  <a:lnTo>
                    <a:pt x="451" y="396"/>
                  </a:lnTo>
                  <a:lnTo>
                    <a:pt x="447" y="408"/>
                  </a:lnTo>
                  <a:lnTo>
                    <a:pt x="442" y="419"/>
                  </a:lnTo>
                  <a:lnTo>
                    <a:pt x="437" y="429"/>
                  </a:lnTo>
                  <a:lnTo>
                    <a:pt x="432" y="440"/>
                  </a:lnTo>
                  <a:lnTo>
                    <a:pt x="426" y="449"/>
                  </a:lnTo>
                  <a:lnTo>
                    <a:pt x="420" y="460"/>
                  </a:lnTo>
                  <a:lnTo>
                    <a:pt x="413" y="469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3"/>
                  </a:lnTo>
                  <a:lnTo>
                    <a:pt x="382" y="500"/>
                  </a:lnTo>
                  <a:lnTo>
                    <a:pt x="373" y="507"/>
                  </a:lnTo>
                  <a:lnTo>
                    <a:pt x="364" y="514"/>
                  </a:lnTo>
                  <a:lnTo>
                    <a:pt x="355" y="519"/>
                  </a:lnTo>
                  <a:lnTo>
                    <a:pt x="345" y="524"/>
                  </a:lnTo>
                  <a:lnTo>
                    <a:pt x="335" y="528"/>
                  </a:lnTo>
                  <a:lnTo>
                    <a:pt x="325" y="532"/>
                  </a:lnTo>
                  <a:lnTo>
                    <a:pt x="314" y="535"/>
                  </a:lnTo>
                  <a:lnTo>
                    <a:pt x="304" y="538"/>
                  </a:lnTo>
                  <a:lnTo>
                    <a:pt x="293" y="540"/>
                  </a:lnTo>
                  <a:lnTo>
                    <a:pt x="281" y="541"/>
                  </a:lnTo>
                  <a:lnTo>
                    <a:pt x="270" y="542"/>
                  </a:lnTo>
                  <a:lnTo>
                    <a:pt x="258" y="542"/>
                  </a:lnTo>
                  <a:lnTo>
                    <a:pt x="246" y="541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5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3"/>
                  </a:lnTo>
                  <a:lnTo>
                    <a:pt x="166" y="518"/>
                  </a:lnTo>
                  <a:lnTo>
                    <a:pt x="155" y="512"/>
                  </a:lnTo>
                  <a:lnTo>
                    <a:pt x="144" y="506"/>
                  </a:lnTo>
                  <a:lnTo>
                    <a:pt x="134" y="498"/>
                  </a:lnTo>
                  <a:lnTo>
                    <a:pt x="124" y="491"/>
                  </a:lnTo>
                  <a:lnTo>
                    <a:pt x="114" y="483"/>
                  </a:lnTo>
                  <a:lnTo>
                    <a:pt x="105" y="475"/>
                  </a:lnTo>
                  <a:lnTo>
                    <a:pt x="96" y="466"/>
                  </a:lnTo>
                  <a:lnTo>
                    <a:pt x="87" y="457"/>
                  </a:lnTo>
                  <a:lnTo>
                    <a:pt x="78" y="446"/>
                  </a:lnTo>
                  <a:lnTo>
                    <a:pt x="70" y="437"/>
                  </a:lnTo>
                  <a:lnTo>
                    <a:pt x="62" y="426"/>
                  </a:lnTo>
                  <a:lnTo>
                    <a:pt x="55" y="416"/>
                  </a:lnTo>
                  <a:lnTo>
                    <a:pt x="48" y="405"/>
                  </a:lnTo>
                  <a:lnTo>
                    <a:pt x="41" y="392"/>
                  </a:lnTo>
                  <a:lnTo>
                    <a:pt x="35" y="381"/>
                  </a:lnTo>
                  <a:lnTo>
                    <a:pt x="29" y="369"/>
                  </a:lnTo>
                  <a:lnTo>
                    <a:pt x="24" y="357"/>
                  </a:lnTo>
                  <a:lnTo>
                    <a:pt x="19" y="343"/>
                  </a:lnTo>
                  <a:lnTo>
                    <a:pt x="15" y="331"/>
                  </a:lnTo>
                  <a:lnTo>
                    <a:pt x="11" y="318"/>
                  </a:lnTo>
                  <a:lnTo>
                    <a:pt x="8" y="305"/>
                  </a:lnTo>
                  <a:lnTo>
                    <a:pt x="5" y="291"/>
                  </a:lnTo>
                  <a:lnTo>
                    <a:pt x="3" y="277"/>
                  </a:lnTo>
                  <a:lnTo>
                    <a:pt x="1" y="264"/>
                  </a:lnTo>
                  <a:lnTo>
                    <a:pt x="0" y="250"/>
                  </a:lnTo>
                  <a:lnTo>
                    <a:pt x="0" y="236"/>
                  </a:lnTo>
                  <a:lnTo>
                    <a:pt x="0" y="222"/>
                  </a:lnTo>
                  <a:lnTo>
                    <a:pt x="1" y="209"/>
                  </a:lnTo>
                  <a:lnTo>
                    <a:pt x="2" y="196"/>
                  </a:lnTo>
                  <a:lnTo>
                    <a:pt x="4" y="183"/>
                  </a:lnTo>
                  <a:lnTo>
                    <a:pt x="7" y="170"/>
                  </a:lnTo>
                  <a:lnTo>
                    <a:pt x="10" y="158"/>
                  </a:lnTo>
                  <a:lnTo>
                    <a:pt x="13" y="147"/>
                  </a:lnTo>
                  <a:lnTo>
                    <a:pt x="17" y="134"/>
                  </a:lnTo>
                  <a:lnTo>
                    <a:pt x="22" y="123"/>
                  </a:lnTo>
                  <a:lnTo>
                    <a:pt x="27" y="113"/>
                  </a:lnTo>
                  <a:lnTo>
                    <a:pt x="32" y="103"/>
                  </a:lnTo>
                  <a:lnTo>
                    <a:pt x="38" y="92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5"/>
                  </a:lnTo>
                  <a:lnTo>
                    <a:pt x="66" y="57"/>
                  </a:lnTo>
                  <a:lnTo>
                    <a:pt x="74" y="49"/>
                  </a:lnTo>
                  <a:lnTo>
                    <a:pt x="82" y="41"/>
                  </a:lnTo>
                  <a:lnTo>
                    <a:pt x="91" y="35"/>
                  </a:lnTo>
                  <a:lnTo>
                    <a:pt x="100" y="29"/>
                  </a:lnTo>
                  <a:lnTo>
                    <a:pt x="109" y="23"/>
                  </a:lnTo>
                  <a:lnTo>
                    <a:pt x="119" y="18"/>
                  </a:lnTo>
                  <a:lnTo>
                    <a:pt x="129" y="14"/>
                  </a:lnTo>
                  <a:lnTo>
                    <a:pt x="139" y="10"/>
                  </a:lnTo>
                  <a:lnTo>
                    <a:pt x="150" y="7"/>
                  </a:lnTo>
                  <a:lnTo>
                    <a:pt x="160" y="4"/>
                  </a:lnTo>
                  <a:lnTo>
                    <a:pt x="172" y="2"/>
                  </a:lnTo>
                  <a:lnTo>
                    <a:pt x="183" y="1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1"/>
                  </a:lnTo>
                  <a:lnTo>
                    <a:pt x="230" y="3"/>
                  </a:lnTo>
                  <a:lnTo>
                    <a:pt x="242" y="5"/>
                  </a:lnTo>
                  <a:lnTo>
                    <a:pt x="253" y="7"/>
                  </a:lnTo>
                  <a:lnTo>
                    <a:pt x="265" y="11"/>
                  </a:lnTo>
                  <a:lnTo>
                    <a:pt x="276" y="15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30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2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6"/>
                  </a:lnTo>
                  <a:lnTo>
                    <a:pt x="377" y="85"/>
                  </a:lnTo>
                  <a:lnTo>
                    <a:pt x="386" y="96"/>
                  </a:lnTo>
                  <a:lnTo>
                    <a:pt x="402" y="116"/>
                  </a:lnTo>
                  <a:lnTo>
                    <a:pt x="416" y="138"/>
                  </a:lnTo>
                  <a:lnTo>
                    <a:pt x="423" y="150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9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2"/>
                  </a:lnTo>
                  <a:lnTo>
                    <a:pt x="461" y="265"/>
                  </a:lnTo>
                  <a:lnTo>
                    <a:pt x="462" y="278"/>
                  </a:lnTo>
                  <a:lnTo>
                    <a:pt x="464" y="292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1" name="Freeform 115"/>
            <p:cNvSpPr>
              <a:spLocks/>
            </p:cNvSpPr>
            <p:nvPr/>
          </p:nvSpPr>
          <p:spPr bwMode="auto">
            <a:xfrm>
              <a:off x="844306" y="4214181"/>
              <a:ext cx="13453" cy="16742"/>
            </a:xfrm>
            <a:custGeom>
              <a:avLst/>
              <a:gdLst>
                <a:gd name="T0" fmla="*/ 0 w 464"/>
                <a:gd name="T1" fmla="*/ 0 h 541"/>
                <a:gd name="T2" fmla="*/ 0 w 464"/>
                <a:gd name="T3" fmla="*/ 0 h 541"/>
                <a:gd name="T4" fmla="*/ 0 w 464"/>
                <a:gd name="T5" fmla="*/ 0 h 541"/>
                <a:gd name="T6" fmla="*/ 0 w 464"/>
                <a:gd name="T7" fmla="*/ 0 h 541"/>
                <a:gd name="T8" fmla="*/ 0 w 464"/>
                <a:gd name="T9" fmla="*/ 0 h 541"/>
                <a:gd name="T10" fmla="*/ 0 w 464"/>
                <a:gd name="T11" fmla="*/ 0 h 541"/>
                <a:gd name="T12" fmla="*/ 0 w 464"/>
                <a:gd name="T13" fmla="*/ 0 h 541"/>
                <a:gd name="T14" fmla="*/ 0 w 464"/>
                <a:gd name="T15" fmla="*/ 0 h 541"/>
                <a:gd name="T16" fmla="*/ 0 w 464"/>
                <a:gd name="T17" fmla="*/ 0 h 541"/>
                <a:gd name="T18" fmla="*/ 0 w 464"/>
                <a:gd name="T19" fmla="*/ 0 h 541"/>
                <a:gd name="T20" fmla="*/ 0 w 464"/>
                <a:gd name="T21" fmla="*/ 0 h 541"/>
                <a:gd name="T22" fmla="*/ 0 w 464"/>
                <a:gd name="T23" fmla="*/ 0 h 541"/>
                <a:gd name="T24" fmla="*/ 0 w 464"/>
                <a:gd name="T25" fmla="*/ 0 h 541"/>
                <a:gd name="T26" fmla="*/ 0 w 464"/>
                <a:gd name="T27" fmla="*/ 0 h 541"/>
                <a:gd name="T28" fmla="*/ 0 w 464"/>
                <a:gd name="T29" fmla="*/ 0 h 541"/>
                <a:gd name="T30" fmla="*/ 0 w 464"/>
                <a:gd name="T31" fmla="*/ 0 h 541"/>
                <a:gd name="T32" fmla="*/ 0 w 464"/>
                <a:gd name="T33" fmla="*/ 0 h 541"/>
                <a:gd name="T34" fmla="*/ 0 w 464"/>
                <a:gd name="T35" fmla="*/ 0 h 541"/>
                <a:gd name="T36" fmla="*/ 0 w 464"/>
                <a:gd name="T37" fmla="*/ 0 h 541"/>
                <a:gd name="T38" fmla="*/ 0 w 464"/>
                <a:gd name="T39" fmla="*/ 0 h 541"/>
                <a:gd name="T40" fmla="*/ 0 w 464"/>
                <a:gd name="T41" fmla="*/ 0 h 541"/>
                <a:gd name="T42" fmla="*/ 0 w 464"/>
                <a:gd name="T43" fmla="*/ 0 h 541"/>
                <a:gd name="T44" fmla="*/ 0 w 464"/>
                <a:gd name="T45" fmla="*/ 0 h 541"/>
                <a:gd name="T46" fmla="*/ 0 w 464"/>
                <a:gd name="T47" fmla="*/ 0 h 541"/>
                <a:gd name="T48" fmla="*/ 0 w 464"/>
                <a:gd name="T49" fmla="*/ 0 h 541"/>
                <a:gd name="T50" fmla="*/ 0 w 464"/>
                <a:gd name="T51" fmla="*/ 0 h 541"/>
                <a:gd name="T52" fmla="*/ 0 w 464"/>
                <a:gd name="T53" fmla="*/ 0 h 541"/>
                <a:gd name="T54" fmla="*/ 0 w 464"/>
                <a:gd name="T55" fmla="*/ 0 h 541"/>
                <a:gd name="T56" fmla="*/ 0 w 464"/>
                <a:gd name="T57" fmla="*/ 0 h 541"/>
                <a:gd name="T58" fmla="*/ 0 w 464"/>
                <a:gd name="T59" fmla="*/ 0 h 541"/>
                <a:gd name="T60" fmla="*/ 0 w 464"/>
                <a:gd name="T61" fmla="*/ 0 h 541"/>
                <a:gd name="T62" fmla="*/ 0 w 464"/>
                <a:gd name="T63" fmla="*/ 0 h 541"/>
                <a:gd name="T64" fmla="*/ 0 w 464"/>
                <a:gd name="T65" fmla="*/ 0 h 541"/>
                <a:gd name="T66" fmla="*/ 0 w 464"/>
                <a:gd name="T67" fmla="*/ 0 h 541"/>
                <a:gd name="T68" fmla="*/ 0 w 464"/>
                <a:gd name="T69" fmla="*/ 0 h 541"/>
                <a:gd name="T70" fmla="*/ 0 w 464"/>
                <a:gd name="T71" fmla="*/ 0 h 541"/>
                <a:gd name="T72" fmla="*/ 0 w 464"/>
                <a:gd name="T73" fmla="*/ 0 h 541"/>
                <a:gd name="T74" fmla="*/ 0 w 464"/>
                <a:gd name="T75" fmla="*/ 0 h 541"/>
                <a:gd name="T76" fmla="*/ 0 w 464"/>
                <a:gd name="T77" fmla="*/ 0 h 541"/>
                <a:gd name="T78" fmla="*/ 0 w 464"/>
                <a:gd name="T79" fmla="*/ 0 h 541"/>
                <a:gd name="T80" fmla="*/ 0 w 464"/>
                <a:gd name="T81" fmla="*/ 0 h 541"/>
                <a:gd name="T82" fmla="*/ 0 w 464"/>
                <a:gd name="T83" fmla="*/ 0 h 541"/>
                <a:gd name="T84" fmla="*/ 0 w 464"/>
                <a:gd name="T85" fmla="*/ 0 h 541"/>
                <a:gd name="T86" fmla="*/ 0 w 464"/>
                <a:gd name="T87" fmla="*/ 0 h 541"/>
                <a:gd name="T88" fmla="*/ 0 w 464"/>
                <a:gd name="T89" fmla="*/ 0 h 541"/>
                <a:gd name="T90" fmla="*/ 0 w 464"/>
                <a:gd name="T91" fmla="*/ 0 h 541"/>
                <a:gd name="T92" fmla="*/ 0 w 464"/>
                <a:gd name="T93" fmla="*/ 0 h 541"/>
                <a:gd name="T94" fmla="*/ 0 w 464"/>
                <a:gd name="T95" fmla="*/ 0 h 541"/>
                <a:gd name="T96" fmla="*/ 0 w 464"/>
                <a:gd name="T97" fmla="*/ 0 h 541"/>
                <a:gd name="T98" fmla="*/ 0 w 464"/>
                <a:gd name="T99" fmla="*/ 0 h 541"/>
                <a:gd name="T100" fmla="*/ 0 w 464"/>
                <a:gd name="T101" fmla="*/ 0 h 541"/>
                <a:gd name="T102" fmla="*/ 0 w 464"/>
                <a:gd name="T103" fmla="*/ 0 h 541"/>
                <a:gd name="T104" fmla="*/ 0 w 464"/>
                <a:gd name="T105" fmla="*/ 0 h 541"/>
                <a:gd name="T106" fmla="*/ 0 w 464"/>
                <a:gd name="T107" fmla="*/ 0 h 541"/>
                <a:gd name="T108" fmla="*/ 0 w 464"/>
                <a:gd name="T109" fmla="*/ 0 h 541"/>
                <a:gd name="T110" fmla="*/ 0 w 464"/>
                <a:gd name="T111" fmla="*/ 0 h 541"/>
                <a:gd name="T112" fmla="*/ 0 w 464"/>
                <a:gd name="T113" fmla="*/ 0 h 541"/>
                <a:gd name="T114" fmla="*/ 0 w 464"/>
                <a:gd name="T115" fmla="*/ 0 h 541"/>
                <a:gd name="T116" fmla="*/ 0 w 464"/>
                <a:gd name="T117" fmla="*/ 0 h 541"/>
                <a:gd name="T118" fmla="*/ 0 w 464"/>
                <a:gd name="T119" fmla="*/ 0 h 541"/>
                <a:gd name="T120" fmla="*/ 0 w 464"/>
                <a:gd name="T121" fmla="*/ 0 h 541"/>
                <a:gd name="T122" fmla="*/ 0 w 464"/>
                <a:gd name="T123" fmla="*/ 0 h 541"/>
                <a:gd name="T124" fmla="*/ 0 w 464"/>
                <a:gd name="T125" fmla="*/ 0 h 54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1"/>
                <a:gd name="T191" fmla="*/ 464 w 464"/>
                <a:gd name="T192" fmla="*/ 541 h 54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1">
                  <a:moveTo>
                    <a:pt x="464" y="291"/>
                  </a:moveTo>
                  <a:lnTo>
                    <a:pt x="464" y="306"/>
                  </a:lnTo>
                  <a:lnTo>
                    <a:pt x="464" y="319"/>
                  </a:lnTo>
                  <a:lnTo>
                    <a:pt x="463" y="333"/>
                  </a:lnTo>
                  <a:lnTo>
                    <a:pt x="462" y="345"/>
                  </a:lnTo>
                  <a:lnTo>
                    <a:pt x="460" y="359"/>
                  </a:lnTo>
                  <a:lnTo>
                    <a:pt x="457" y="371"/>
                  </a:lnTo>
                  <a:lnTo>
                    <a:pt x="454" y="383"/>
                  </a:lnTo>
                  <a:lnTo>
                    <a:pt x="451" y="395"/>
                  </a:lnTo>
                  <a:lnTo>
                    <a:pt x="447" y="407"/>
                  </a:lnTo>
                  <a:lnTo>
                    <a:pt x="442" y="418"/>
                  </a:lnTo>
                  <a:lnTo>
                    <a:pt x="437" y="429"/>
                  </a:lnTo>
                  <a:lnTo>
                    <a:pt x="432" y="439"/>
                  </a:lnTo>
                  <a:lnTo>
                    <a:pt x="426" y="450"/>
                  </a:lnTo>
                  <a:lnTo>
                    <a:pt x="420" y="459"/>
                  </a:lnTo>
                  <a:lnTo>
                    <a:pt x="413" y="468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2"/>
                  </a:lnTo>
                  <a:lnTo>
                    <a:pt x="382" y="499"/>
                  </a:lnTo>
                  <a:lnTo>
                    <a:pt x="373" y="507"/>
                  </a:lnTo>
                  <a:lnTo>
                    <a:pt x="364" y="513"/>
                  </a:lnTo>
                  <a:lnTo>
                    <a:pt x="355" y="518"/>
                  </a:lnTo>
                  <a:lnTo>
                    <a:pt x="345" y="523"/>
                  </a:lnTo>
                  <a:lnTo>
                    <a:pt x="335" y="528"/>
                  </a:lnTo>
                  <a:lnTo>
                    <a:pt x="325" y="531"/>
                  </a:lnTo>
                  <a:lnTo>
                    <a:pt x="314" y="535"/>
                  </a:lnTo>
                  <a:lnTo>
                    <a:pt x="304" y="537"/>
                  </a:lnTo>
                  <a:lnTo>
                    <a:pt x="293" y="539"/>
                  </a:lnTo>
                  <a:lnTo>
                    <a:pt x="281" y="540"/>
                  </a:lnTo>
                  <a:lnTo>
                    <a:pt x="270" y="541"/>
                  </a:lnTo>
                  <a:lnTo>
                    <a:pt x="258" y="541"/>
                  </a:lnTo>
                  <a:lnTo>
                    <a:pt x="246" y="540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4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2"/>
                  </a:lnTo>
                  <a:lnTo>
                    <a:pt x="166" y="517"/>
                  </a:lnTo>
                  <a:lnTo>
                    <a:pt x="155" y="511"/>
                  </a:lnTo>
                  <a:lnTo>
                    <a:pt x="144" y="505"/>
                  </a:lnTo>
                  <a:lnTo>
                    <a:pt x="134" y="497"/>
                  </a:lnTo>
                  <a:lnTo>
                    <a:pt x="124" y="490"/>
                  </a:lnTo>
                  <a:lnTo>
                    <a:pt x="114" y="482"/>
                  </a:lnTo>
                  <a:lnTo>
                    <a:pt x="105" y="474"/>
                  </a:lnTo>
                  <a:lnTo>
                    <a:pt x="96" y="465"/>
                  </a:lnTo>
                  <a:lnTo>
                    <a:pt x="87" y="456"/>
                  </a:lnTo>
                  <a:lnTo>
                    <a:pt x="78" y="446"/>
                  </a:lnTo>
                  <a:lnTo>
                    <a:pt x="70" y="436"/>
                  </a:lnTo>
                  <a:lnTo>
                    <a:pt x="62" y="426"/>
                  </a:lnTo>
                  <a:lnTo>
                    <a:pt x="55" y="415"/>
                  </a:lnTo>
                  <a:lnTo>
                    <a:pt x="48" y="404"/>
                  </a:lnTo>
                  <a:lnTo>
                    <a:pt x="41" y="392"/>
                  </a:lnTo>
                  <a:lnTo>
                    <a:pt x="35" y="380"/>
                  </a:lnTo>
                  <a:lnTo>
                    <a:pt x="30" y="368"/>
                  </a:lnTo>
                  <a:lnTo>
                    <a:pt x="24" y="356"/>
                  </a:lnTo>
                  <a:lnTo>
                    <a:pt x="19" y="343"/>
                  </a:lnTo>
                  <a:lnTo>
                    <a:pt x="15" y="330"/>
                  </a:lnTo>
                  <a:lnTo>
                    <a:pt x="11" y="317"/>
                  </a:lnTo>
                  <a:lnTo>
                    <a:pt x="8" y="304"/>
                  </a:lnTo>
                  <a:lnTo>
                    <a:pt x="5" y="290"/>
                  </a:lnTo>
                  <a:lnTo>
                    <a:pt x="3" y="276"/>
                  </a:lnTo>
                  <a:lnTo>
                    <a:pt x="1" y="263"/>
                  </a:lnTo>
                  <a:lnTo>
                    <a:pt x="1" y="249"/>
                  </a:lnTo>
                  <a:lnTo>
                    <a:pt x="0" y="235"/>
                  </a:lnTo>
                  <a:lnTo>
                    <a:pt x="0" y="221"/>
                  </a:lnTo>
                  <a:lnTo>
                    <a:pt x="1" y="208"/>
                  </a:lnTo>
                  <a:lnTo>
                    <a:pt x="2" y="195"/>
                  </a:lnTo>
                  <a:lnTo>
                    <a:pt x="4" y="182"/>
                  </a:lnTo>
                  <a:lnTo>
                    <a:pt x="7" y="169"/>
                  </a:lnTo>
                  <a:lnTo>
                    <a:pt x="10" y="157"/>
                  </a:lnTo>
                  <a:lnTo>
                    <a:pt x="13" y="146"/>
                  </a:lnTo>
                  <a:lnTo>
                    <a:pt x="17" y="133"/>
                  </a:lnTo>
                  <a:lnTo>
                    <a:pt x="22" y="123"/>
                  </a:lnTo>
                  <a:lnTo>
                    <a:pt x="27" y="112"/>
                  </a:lnTo>
                  <a:lnTo>
                    <a:pt x="32" y="102"/>
                  </a:lnTo>
                  <a:lnTo>
                    <a:pt x="38" y="91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4"/>
                  </a:lnTo>
                  <a:lnTo>
                    <a:pt x="66" y="56"/>
                  </a:lnTo>
                  <a:lnTo>
                    <a:pt x="74" y="49"/>
                  </a:lnTo>
                  <a:lnTo>
                    <a:pt x="82" y="40"/>
                  </a:lnTo>
                  <a:lnTo>
                    <a:pt x="91" y="34"/>
                  </a:lnTo>
                  <a:lnTo>
                    <a:pt x="100" y="28"/>
                  </a:lnTo>
                  <a:lnTo>
                    <a:pt x="109" y="22"/>
                  </a:lnTo>
                  <a:lnTo>
                    <a:pt x="119" y="17"/>
                  </a:lnTo>
                  <a:lnTo>
                    <a:pt x="129" y="13"/>
                  </a:lnTo>
                  <a:lnTo>
                    <a:pt x="139" y="9"/>
                  </a:lnTo>
                  <a:lnTo>
                    <a:pt x="150" y="6"/>
                  </a:lnTo>
                  <a:lnTo>
                    <a:pt x="160" y="4"/>
                  </a:lnTo>
                  <a:lnTo>
                    <a:pt x="171" y="1"/>
                  </a:lnTo>
                  <a:lnTo>
                    <a:pt x="183" y="0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30" y="2"/>
                  </a:lnTo>
                  <a:lnTo>
                    <a:pt x="242" y="4"/>
                  </a:lnTo>
                  <a:lnTo>
                    <a:pt x="253" y="7"/>
                  </a:lnTo>
                  <a:lnTo>
                    <a:pt x="265" y="10"/>
                  </a:lnTo>
                  <a:lnTo>
                    <a:pt x="276" y="14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29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1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5"/>
                  </a:lnTo>
                  <a:lnTo>
                    <a:pt x="377" y="85"/>
                  </a:lnTo>
                  <a:lnTo>
                    <a:pt x="386" y="95"/>
                  </a:lnTo>
                  <a:lnTo>
                    <a:pt x="402" y="115"/>
                  </a:lnTo>
                  <a:lnTo>
                    <a:pt x="416" y="137"/>
                  </a:lnTo>
                  <a:lnTo>
                    <a:pt x="423" y="149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8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1"/>
                  </a:lnTo>
                  <a:lnTo>
                    <a:pt x="461" y="264"/>
                  </a:lnTo>
                  <a:lnTo>
                    <a:pt x="463" y="278"/>
                  </a:lnTo>
                  <a:lnTo>
                    <a:pt x="464" y="291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2" name="Freeform 116"/>
            <p:cNvSpPr>
              <a:spLocks/>
            </p:cNvSpPr>
            <p:nvPr/>
          </p:nvSpPr>
          <p:spPr bwMode="auto">
            <a:xfrm>
              <a:off x="715760" y="3924547"/>
              <a:ext cx="312398" cy="200902"/>
            </a:xfrm>
            <a:custGeom>
              <a:avLst/>
              <a:gdLst>
                <a:gd name="T0" fmla="*/ 0 w 10451"/>
                <a:gd name="T1" fmla="*/ 0 h 6136"/>
                <a:gd name="T2" fmla="*/ 0 w 10451"/>
                <a:gd name="T3" fmla="*/ 0 h 6136"/>
                <a:gd name="T4" fmla="*/ 0 w 10451"/>
                <a:gd name="T5" fmla="*/ 0 h 6136"/>
                <a:gd name="T6" fmla="*/ 0 w 10451"/>
                <a:gd name="T7" fmla="*/ 0 h 6136"/>
                <a:gd name="T8" fmla="*/ 0 w 10451"/>
                <a:gd name="T9" fmla="*/ 0 h 6136"/>
                <a:gd name="T10" fmla="*/ 0 w 10451"/>
                <a:gd name="T11" fmla="*/ 0 h 6136"/>
                <a:gd name="T12" fmla="*/ 0 w 10451"/>
                <a:gd name="T13" fmla="*/ 0 h 6136"/>
                <a:gd name="T14" fmla="*/ 0 w 10451"/>
                <a:gd name="T15" fmla="*/ 0 h 6136"/>
                <a:gd name="T16" fmla="*/ 0 w 10451"/>
                <a:gd name="T17" fmla="*/ 0 h 6136"/>
                <a:gd name="T18" fmla="*/ 0 w 10451"/>
                <a:gd name="T19" fmla="*/ 0 h 6136"/>
                <a:gd name="T20" fmla="*/ 0 w 10451"/>
                <a:gd name="T21" fmla="*/ 0 h 6136"/>
                <a:gd name="T22" fmla="*/ 0 w 10451"/>
                <a:gd name="T23" fmla="*/ 0 h 6136"/>
                <a:gd name="T24" fmla="*/ 0 w 10451"/>
                <a:gd name="T25" fmla="*/ 0 h 6136"/>
                <a:gd name="T26" fmla="*/ 0 w 10451"/>
                <a:gd name="T27" fmla="*/ 0 h 6136"/>
                <a:gd name="T28" fmla="*/ 0 w 10451"/>
                <a:gd name="T29" fmla="*/ 0 h 6136"/>
                <a:gd name="T30" fmla="*/ 0 w 10451"/>
                <a:gd name="T31" fmla="*/ 0 h 6136"/>
                <a:gd name="T32" fmla="*/ 0 w 10451"/>
                <a:gd name="T33" fmla="*/ 0 h 6136"/>
                <a:gd name="T34" fmla="*/ 0 w 10451"/>
                <a:gd name="T35" fmla="*/ 0 h 6136"/>
                <a:gd name="T36" fmla="*/ 0 w 10451"/>
                <a:gd name="T37" fmla="*/ 0 h 6136"/>
                <a:gd name="T38" fmla="*/ 0 w 10451"/>
                <a:gd name="T39" fmla="*/ 0 h 6136"/>
                <a:gd name="T40" fmla="*/ 0 w 10451"/>
                <a:gd name="T41" fmla="*/ 0 h 6136"/>
                <a:gd name="T42" fmla="*/ 0 w 10451"/>
                <a:gd name="T43" fmla="*/ 0 h 6136"/>
                <a:gd name="T44" fmla="*/ 0 w 10451"/>
                <a:gd name="T45" fmla="*/ 0 h 6136"/>
                <a:gd name="T46" fmla="*/ 0 w 10451"/>
                <a:gd name="T47" fmla="*/ 0 h 6136"/>
                <a:gd name="T48" fmla="*/ 0 w 10451"/>
                <a:gd name="T49" fmla="*/ 0 h 6136"/>
                <a:gd name="T50" fmla="*/ 0 w 10451"/>
                <a:gd name="T51" fmla="*/ 0 h 6136"/>
                <a:gd name="T52" fmla="*/ 0 w 10451"/>
                <a:gd name="T53" fmla="*/ 0 h 6136"/>
                <a:gd name="T54" fmla="*/ 0 w 10451"/>
                <a:gd name="T55" fmla="*/ 0 h 6136"/>
                <a:gd name="T56" fmla="*/ 0 w 10451"/>
                <a:gd name="T57" fmla="*/ 0 h 6136"/>
                <a:gd name="T58" fmla="*/ 0 w 10451"/>
                <a:gd name="T59" fmla="*/ 0 h 6136"/>
                <a:gd name="T60" fmla="*/ 0 w 10451"/>
                <a:gd name="T61" fmla="*/ 0 h 6136"/>
                <a:gd name="T62" fmla="*/ 0 w 10451"/>
                <a:gd name="T63" fmla="*/ 0 h 6136"/>
                <a:gd name="T64" fmla="*/ 0 w 10451"/>
                <a:gd name="T65" fmla="*/ 0 h 6136"/>
                <a:gd name="T66" fmla="*/ 0 w 10451"/>
                <a:gd name="T67" fmla="*/ 0 h 6136"/>
                <a:gd name="T68" fmla="*/ 0 w 10451"/>
                <a:gd name="T69" fmla="*/ 0 h 6136"/>
                <a:gd name="T70" fmla="*/ 0 w 10451"/>
                <a:gd name="T71" fmla="*/ 0 h 6136"/>
                <a:gd name="T72" fmla="*/ 0 w 10451"/>
                <a:gd name="T73" fmla="*/ 0 h 6136"/>
                <a:gd name="T74" fmla="*/ 0 w 10451"/>
                <a:gd name="T75" fmla="*/ 0 h 6136"/>
                <a:gd name="T76" fmla="*/ 0 w 10451"/>
                <a:gd name="T77" fmla="*/ 0 h 6136"/>
                <a:gd name="T78" fmla="*/ 0 w 10451"/>
                <a:gd name="T79" fmla="*/ 0 h 6136"/>
                <a:gd name="T80" fmla="*/ 0 w 10451"/>
                <a:gd name="T81" fmla="*/ 0 h 6136"/>
                <a:gd name="T82" fmla="*/ 0 w 10451"/>
                <a:gd name="T83" fmla="*/ 0 h 6136"/>
                <a:gd name="T84" fmla="*/ 0 w 10451"/>
                <a:gd name="T85" fmla="*/ 0 h 6136"/>
                <a:gd name="T86" fmla="*/ 0 w 10451"/>
                <a:gd name="T87" fmla="*/ 0 h 6136"/>
                <a:gd name="T88" fmla="*/ 0 w 10451"/>
                <a:gd name="T89" fmla="*/ 0 h 6136"/>
                <a:gd name="T90" fmla="*/ 0 w 10451"/>
                <a:gd name="T91" fmla="*/ 0 h 6136"/>
                <a:gd name="T92" fmla="*/ 0 w 10451"/>
                <a:gd name="T93" fmla="*/ 0 h 6136"/>
                <a:gd name="T94" fmla="*/ 0 w 10451"/>
                <a:gd name="T95" fmla="*/ 0 h 6136"/>
                <a:gd name="T96" fmla="*/ 0 w 10451"/>
                <a:gd name="T97" fmla="*/ 0 h 6136"/>
                <a:gd name="T98" fmla="*/ 0 w 10451"/>
                <a:gd name="T99" fmla="*/ 0 h 6136"/>
                <a:gd name="T100" fmla="*/ 0 w 10451"/>
                <a:gd name="T101" fmla="*/ 0 h 6136"/>
                <a:gd name="T102" fmla="*/ 0 w 10451"/>
                <a:gd name="T103" fmla="*/ 0 h 6136"/>
                <a:gd name="T104" fmla="*/ 0 w 10451"/>
                <a:gd name="T105" fmla="*/ 0 h 6136"/>
                <a:gd name="T106" fmla="*/ 0 w 10451"/>
                <a:gd name="T107" fmla="*/ 0 h 6136"/>
                <a:gd name="T108" fmla="*/ 0 w 10451"/>
                <a:gd name="T109" fmla="*/ 0 h 6136"/>
                <a:gd name="T110" fmla="*/ 0 w 10451"/>
                <a:gd name="T111" fmla="*/ 0 h 6136"/>
                <a:gd name="T112" fmla="*/ 0 w 10451"/>
                <a:gd name="T113" fmla="*/ 0 h 6136"/>
                <a:gd name="T114" fmla="*/ 0 w 10451"/>
                <a:gd name="T115" fmla="*/ 0 h 6136"/>
                <a:gd name="T116" fmla="*/ 0 w 10451"/>
                <a:gd name="T117" fmla="*/ 0 h 6136"/>
                <a:gd name="T118" fmla="*/ 0 w 10451"/>
                <a:gd name="T119" fmla="*/ 0 h 6136"/>
                <a:gd name="T120" fmla="*/ 0 w 10451"/>
                <a:gd name="T121" fmla="*/ 0 h 6136"/>
                <a:gd name="T122" fmla="*/ 0 w 10451"/>
                <a:gd name="T123" fmla="*/ 0 h 6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51"/>
                <a:gd name="T187" fmla="*/ 0 h 6136"/>
                <a:gd name="T188" fmla="*/ 10451 w 10451"/>
                <a:gd name="T189" fmla="*/ 6136 h 6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51" h="6136">
                  <a:moveTo>
                    <a:pt x="0" y="2565"/>
                  </a:moveTo>
                  <a:lnTo>
                    <a:pt x="4484" y="0"/>
                  </a:lnTo>
                  <a:lnTo>
                    <a:pt x="10451" y="3430"/>
                  </a:lnTo>
                  <a:lnTo>
                    <a:pt x="6099" y="6136"/>
                  </a:lnTo>
                  <a:lnTo>
                    <a:pt x="2735" y="4102"/>
                  </a:lnTo>
                  <a:lnTo>
                    <a:pt x="2742" y="4098"/>
                  </a:lnTo>
                  <a:lnTo>
                    <a:pt x="2763" y="4087"/>
                  </a:lnTo>
                  <a:lnTo>
                    <a:pt x="2793" y="4070"/>
                  </a:lnTo>
                  <a:lnTo>
                    <a:pt x="2830" y="4045"/>
                  </a:lnTo>
                  <a:lnTo>
                    <a:pt x="2851" y="4031"/>
                  </a:lnTo>
                  <a:lnTo>
                    <a:pt x="2872" y="4016"/>
                  </a:lnTo>
                  <a:lnTo>
                    <a:pt x="2894" y="3998"/>
                  </a:lnTo>
                  <a:lnTo>
                    <a:pt x="2917" y="3980"/>
                  </a:lnTo>
                  <a:lnTo>
                    <a:pt x="2939" y="3962"/>
                  </a:lnTo>
                  <a:lnTo>
                    <a:pt x="2960" y="3941"/>
                  </a:lnTo>
                  <a:lnTo>
                    <a:pt x="2981" y="3920"/>
                  </a:lnTo>
                  <a:lnTo>
                    <a:pt x="3001" y="3897"/>
                  </a:lnTo>
                  <a:lnTo>
                    <a:pt x="3019" y="3874"/>
                  </a:lnTo>
                  <a:lnTo>
                    <a:pt x="3035" y="3851"/>
                  </a:lnTo>
                  <a:lnTo>
                    <a:pt x="3049" y="3825"/>
                  </a:lnTo>
                  <a:lnTo>
                    <a:pt x="3061" y="3801"/>
                  </a:lnTo>
                  <a:lnTo>
                    <a:pt x="3069" y="3774"/>
                  </a:lnTo>
                  <a:lnTo>
                    <a:pt x="3075" y="3747"/>
                  </a:lnTo>
                  <a:lnTo>
                    <a:pt x="3077" y="3721"/>
                  </a:lnTo>
                  <a:lnTo>
                    <a:pt x="3075" y="3693"/>
                  </a:lnTo>
                  <a:lnTo>
                    <a:pt x="3069" y="3666"/>
                  </a:lnTo>
                  <a:lnTo>
                    <a:pt x="3059" y="3638"/>
                  </a:lnTo>
                  <a:lnTo>
                    <a:pt x="3043" y="3610"/>
                  </a:lnTo>
                  <a:lnTo>
                    <a:pt x="3023" y="3581"/>
                  </a:lnTo>
                  <a:lnTo>
                    <a:pt x="2997" y="3554"/>
                  </a:lnTo>
                  <a:lnTo>
                    <a:pt x="2965" y="3525"/>
                  </a:lnTo>
                  <a:lnTo>
                    <a:pt x="2927" y="3497"/>
                  </a:lnTo>
                  <a:lnTo>
                    <a:pt x="2882" y="3469"/>
                  </a:lnTo>
                  <a:lnTo>
                    <a:pt x="2877" y="3465"/>
                  </a:lnTo>
                  <a:lnTo>
                    <a:pt x="2861" y="3456"/>
                  </a:lnTo>
                  <a:lnTo>
                    <a:pt x="2836" y="3440"/>
                  </a:lnTo>
                  <a:lnTo>
                    <a:pt x="2801" y="3424"/>
                  </a:lnTo>
                  <a:lnTo>
                    <a:pt x="2780" y="3415"/>
                  </a:lnTo>
                  <a:lnTo>
                    <a:pt x="2757" y="3406"/>
                  </a:lnTo>
                  <a:lnTo>
                    <a:pt x="2732" y="3397"/>
                  </a:lnTo>
                  <a:lnTo>
                    <a:pt x="2705" y="3388"/>
                  </a:lnTo>
                  <a:lnTo>
                    <a:pt x="2676" y="3381"/>
                  </a:lnTo>
                  <a:lnTo>
                    <a:pt x="2645" y="3374"/>
                  </a:lnTo>
                  <a:lnTo>
                    <a:pt x="2612" y="3368"/>
                  </a:lnTo>
                  <a:lnTo>
                    <a:pt x="2577" y="3363"/>
                  </a:lnTo>
                  <a:lnTo>
                    <a:pt x="2540" y="3361"/>
                  </a:lnTo>
                  <a:lnTo>
                    <a:pt x="2502" y="3359"/>
                  </a:lnTo>
                  <a:lnTo>
                    <a:pt x="2462" y="3360"/>
                  </a:lnTo>
                  <a:lnTo>
                    <a:pt x="2420" y="3362"/>
                  </a:lnTo>
                  <a:lnTo>
                    <a:pt x="2377" y="3367"/>
                  </a:lnTo>
                  <a:lnTo>
                    <a:pt x="2332" y="3375"/>
                  </a:lnTo>
                  <a:lnTo>
                    <a:pt x="2286" y="3385"/>
                  </a:lnTo>
                  <a:lnTo>
                    <a:pt x="2239" y="3400"/>
                  </a:lnTo>
                  <a:lnTo>
                    <a:pt x="2190" y="3416"/>
                  </a:lnTo>
                  <a:lnTo>
                    <a:pt x="2140" y="3436"/>
                  </a:lnTo>
                  <a:lnTo>
                    <a:pt x="2089" y="3460"/>
                  </a:lnTo>
                  <a:lnTo>
                    <a:pt x="2037" y="3488"/>
                  </a:lnTo>
                  <a:lnTo>
                    <a:pt x="1983" y="3520"/>
                  </a:lnTo>
                  <a:lnTo>
                    <a:pt x="1929" y="3556"/>
                  </a:lnTo>
                  <a:lnTo>
                    <a:pt x="1873" y="3598"/>
                  </a:lnTo>
                  <a:lnTo>
                    <a:pt x="1817" y="3642"/>
                  </a:lnTo>
                  <a:lnTo>
                    <a:pt x="0" y="2565"/>
                  </a:lnTo>
                  <a:close/>
                </a:path>
              </a:pathLst>
            </a:custGeom>
            <a:solidFill>
              <a:srgbClr val="EBEB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3" name="Freeform 117"/>
            <p:cNvSpPr>
              <a:spLocks/>
            </p:cNvSpPr>
            <p:nvPr/>
          </p:nvSpPr>
          <p:spPr bwMode="auto">
            <a:xfrm>
              <a:off x="797970" y="4033369"/>
              <a:ext cx="230188" cy="92081"/>
            </a:xfrm>
            <a:custGeom>
              <a:avLst/>
              <a:gdLst>
                <a:gd name="T0" fmla="*/ 0 w 7716"/>
                <a:gd name="T1" fmla="*/ 0 h 2814"/>
                <a:gd name="T2" fmla="*/ 0 w 7716"/>
                <a:gd name="T3" fmla="*/ 0 h 2814"/>
                <a:gd name="T4" fmla="*/ 0 w 7716"/>
                <a:gd name="T5" fmla="*/ 0 h 2814"/>
                <a:gd name="T6" fmla="*/ 0 w 7716"/>
                <a:gd name="T7" fmla="*/ 0 h 2814"/>
                <a:gd name="T8" fmla="*/ 0 w 7716"/>
                <a:gd name="T9" fmla="*/ 0 h 2814"/>
                <a:gd name="T10" fmla="*/ 0 w 7716"/>
                <a:gd name="T11" fmla="*/ 0 h 2814"/>
                <a:gd name="T12" fmla="*/ 0 w 7716"/>
                <a:gd name="T13" fmla="*/ 0 h 28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16"/>
                <a:gd name="T22" fmla="*/ 0 h 2814"/>
                <a:gd name="T23" fmla="*/ 7716 w 7716"/>
                <a:gd name="T24" fmla="*/ 2814 h 28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16" h="2814">
                  <a:moveTo>
                    <a:pt x="0" y="780"/>
                  </a:moveTo>
                  <a:lnTo>
                    <a:pt x="3364" y="2814"/>
                  </a:lnTo>
                  <a:lnTo>
                    <a:pt x="7716" y="108"/>
                  </a:lnTo>
                  <a:lnTo>
                    <a:pt x="7527" y="0"/>
                  </a:lnTo>
                  <a:lnTo>
                    <a:pt x="3362" y="2429"/>
                  </a:lnTo>
                  <a:lnTo>
                    <a:pt x="183" y="692"/>
                  </a:lnTo>
                  <a:lnTo>
                    <a:pt x="0" y="7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4" name="Freeform 118"/>
            <p:cNvSpPr>
              <a:spLocks/>
            </p:cNvSpPr>
            <p:nvPr/>
          </p:nvSpPr>
          <p:spPr bwMode="auto">
            <a:xfrm>
              <a:off x="898116" y="4038392"/>
              <a:ext cx="128546" cy="219319"/>
            </a:xfrm>
            <a:custGeom>
              <a:avLst/>
              <a:gdLst>
                <a:gd name="T0" fmla="*/ 0 w 4309"/>
                <a:gd name="T1" fmla="*/ 0 h 6670"/>
                <a:gd name="T2" fmla="*/ 0 w 4309"/>
                <a:gd name="T3" fmla="*/ 0 h 6670"/>
                <a:gd name="T4" fmla="*/ 0 w 4309"/>
                <a:gd name="T5" fmla="*/ 0 h 6670"/>
                <a:gd name="T6" fmla="*/ 0 w 4309"/>
                <a:gd name="T7" fmla="*/ 0 h 6670"/>
                <a:gd name="T8" fmla="*/ 0 w 4309"/>
                <a:gd name="T9" fmla="*/ 0 h 6670"/>
                <a:gd name="T10" fmla="*/ 0 w 4309"/>
                <a:gd name="T11" fmla="*/ 0 h 6670"/>
                <a:gd name="T12" fmla="*/ 0 w 4309"/>
                <a:gd name="T13" fmla="*/ 0 h 6670"/>
                <a:gd name="T14" fmla="*/ 0 w 4309"/>
                <a:gd name="T15" fmla="*/ 0 h 6670"/>
                <a:gd name="T16" fmla="*/ 0 w 4309"/>
                <a:gd name="T17" fmla="*/ 0 h 6670"/>
                <a:gd name="T18" fmla="*/ 0 w 4309"/>
                <a:gd name="T19" fmla="*/ 0 h 6670"/>
                <a:gd name="T20" fmla="*/ 0 w 4309"/>
                <a:gd name="T21" fmla="*/ 0 h 6670"/>
                <a:gd name="T22" fmla="*/ 0 w 4309"/>
                <a:gd name="T23" fmla="*/ 0 h 6670"/>
                <a:gd name="T24" fmla="*/ 0 w 4309"/>
                <a:gd name="T25" fmla="*/ 0 h 6670"/>
                <a:gd name="T26" fmla="*/ 0 w 4309"/>
                <a:gd name="T27" fmla="*/ 0 h 6670"/>
                <a:gd name="T28" fmla="*/ 0 w 4309"/>
                <a:gd name="T29" fmla="*/ 0 h 6670"/>
                <a:gd name="T30" fmla="*/ 0 w 4309"/>
                <a:gd name="T31" fmla="*/ 0 h 6670"/>
                <a:gd name="T32" fmla="*/ 0 w 4309"/>
                <a:gd name="T33" fmla="*/ 0 h 6670"/>
                <a:gd name="T34" fmla="*/ 0 w 4309"/>
                <a:gd name="T35" fmla="*/ 0 h 6670"/>
                <a:gd name="T36" fmla="*/ 0 w 4309"/>
                <a:gd name="T37" fmla="*/ 0 h 6670"/>
                <a:gd name="T38" fmla="*/ 0 w 4309"/>
                <a:gd name="T39" fmla="*/ 0 h 6670"/>
                <a:gd name="T40" fmla="*/ 0 w 4309"/>
                <a:gd name="T41" fmla="*/ 0 h 6670"/>
                <a:gd name="T42" fmla="*/ 0 w 4309"/>
                <a:gd name="T43" fmla="*/ 0 h 6670"/>
                <a:gd name="T44" fmla="*/ 0 w 4309"/>
                <a:gd name="T45" fmla="*/ 0 h 6670"/>
                <a:gd name="T46" fmla="*/ 0 w 4309"/>
                <a:gd name="T47" fmla="*/ 0 h 6670"/>
                <a:gd name="T48" fmla="*/ 0 w 4309"/>
                <a:gd name="T49" fmla="*/ 0 h 6670"/>
                <a:gd name="T50" fmla="*/ 0 w 4309"/>
                <a:gd name="T51" fmla="*/ 0 h 6670"/>
                <a:gd name="T52" fmla="*/ 0 w 4309"/>
                <a:gd name="T53" fmla="*/ 0 h 6670"/>
                <a:gd name="T54" fmla="*/ 0 w 4309"/>
                <a:gd name="T55" fmla="*/ 0 h 6670"/>
                <a:gd name="T56" fmla="*/ 0 w 4309"/>
                <a:gd name="T57" fmla="*/ 0 h 6670"/>
                <a:gd name="T58" fmla="*/ 0 w 4309"/>
                <a:gd name="T59" fmla="*/ 0 h 6670"/>
                <a:gd name="T60" fmla="*/ 0 w 4309"/>
                <a:gd name="T61" fmla="*/ 0 h 6670"/>
                <a:gd name="T62" fmla="*/ 0 w 4309"/>
                <a:gd name="T63" fmla="*/ 0 h 6670"/>
                <a:gd name="T64" fmla="*/ 0 w 4309"/>
                <a:gd name="T65" fmla="*/ 0 h 6670"/>
                <a:gd name="T66" fmla="*/ 0 w 4309"/>
                <a:gd name="T67" fmla="*/ 0 h 6670"/>
                <a:gd name="T68" fmla="*/ 0 w 4309"/>
                <a:gd name="T69" fmla="*/ 0 h 6670"/>
                <a:gd name="T70" fmla="*/ 0 w 4309"/>
                <a:gd name="T71" fmla="*/ 0 h 6670"/>
                <a:gd name="T72" fmla="*/ 0 w 4309"/>
                <a:gd name="T73" fmla="*/ 0 h 6670"/>
                <a:gd name="T74" fmla="*/ 0 w 4309"/>
                <a:gd name="T75" fmla="*/ 0 h 6670"/>
                <a:gd name="T76" fmla="*/ 0 w 4309"/>
                <a:gd name="T77" fmla="*/ 0 h 6670"/>
                <a:gd name="T78" fmla="*/ 0 w 4309"/>
                <a:gd name="T79" fmla="*/ 0 h 6670"/>
                <a:gd name="T80" fmla="*/ 0 w 4309"/>
                <a:gd name="T81" fmla="*/ 0 h 6670"/>
                <a:gd name="T82" fmla="*/ 0 w 4309"/>
                <a:gd name="T83" fmla="*/ 0 h 6670"/>
                <a:gd name="T84" fmla="*/ 0 w 4309"/>
                <a:gd name="T85" fmla="*/ 0 h 6670"/>
                <a:gd name="T86" fmla="*/ 0 w 4309"/>
                <a:gd name="T87" fmla="*/ 0 h 6670"/>
                <a:gd name="T88" fmla="*/ 0 w 4309"/>
                <a:gd name="T89" fmla="*/ 0 h 6670"/>
                <a:gd name="T90" fmla="*/ 0 w 4309"/>
                <a:gd name="T91" fmla="*/ 0 h 6670"/>
                <a:gd name="T92" fmla="*/ 0 w 4309"/>
                <a:gd name="T93" fmla="*/ 0 h 6670"/>
                <a:gd name="T94" fmla="*/ 0 w 4309"/>
                <a:gd name="T95" fmla="*/ 0 h 6670"/>
                <a:gd name="T96" fmla="*/ 0 w 4309"/>
                <a:gd name="T97" fmla="*/ 0 h 6670"/>
                <a:gd name="T98" fmla="*/ 0 w 4309"/>
                <a:gd name="T99" fmla="*/ 0 h 6670"/>
                <a:gd name="T100" fmla="*/ 0 w 4309"/>
                <a:gd name="T101" fmla="*/ 0 h 6670"/>
                <a:gd name="T102" fmla="*/ 0 w 4309"/>
                <a:gd name="T103" fmla="*/ 0 h 6670"/>
                <a:gd name="T104" fmla="*/ 0 w 4309"/>
                <a:gd name="T105" fmla="*/ 0 h 6670"/>
                <a:gd name="T106" fmla="*/ 0 w 4309"/>
                <a:gd name="T107" fmla="*/ 0 h 6670"/>
                <a:gd name="T108" fmla="*/ 0 w 4309"/>
                <a:gd name="T109" fmla="*/ 0 h 6670"/>
                <a:gd name="T110" fmla="*/ 0 w 4309"/>
                <a:gd name="T111" fmla="*/ 0 h 6670"/>
                <a:gd name="T112" fmla="*/ 0 w 4309"/>
                <a:gd name="T113" fmla="*/ 0 h 6670"/>
                <a:gd name="T114" fmla="*/ 0 w 4309"/>
                <a:gd name="T115" fmla="*/ 0 h 6670"/>
                <a:gd name="T116" fmla="*/ 0 w 4309"/>
                <a:gd name="T117" fmla="*/ 0 h 6670"/>
                <a:gd name="T118" fmla="*/ 0 w 4309"/>
                <a:gd name="T119" fmla="*/ 0 h 6670"/>
                <a:gd name="T120" fmla="*/ 0 w 4309"/>
                <a:gd name="T121" fmla="*/ 0 h 66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9"/>
                <a:gd name="T184" fmla="*/ 0 h 6670"/>
                <a:gd name="T185" fmla="*/ 4309 w 4309"/>
                <a:gd name="T186" fmla="*/ 6670 h 667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9" h="6670">
                  <a:moveTo>
                    <a:pt x="4309" y="0"/>
                  </a:moveTo>
                  <a:lnTo>
                    <a:pt x="0" y="2672"/>
                  </a:lnTo>
                  <a:lnTo>
                    <a:pt x="24" y="6670"/>
                  </a:lnTo>
                  <a:lnTo>
                    <a:pt x="25" y="6644"/>
                  </a:lnTo>
                  <a:lnTo>
                    <a:pt x="30" y="6573"/>
                  </a:lnTo>
                  <a:lnTo>
                    <a:pt x="39" y="6460"/>
                  </a:lnTo>
                  <a:lnTo>
                    <a:pt x="53" y="6310"/>
                  </a:lnTo>
                  <a:lnTo>
                    <a:pt x="62" y="6222"/>
                  </a:lnTo>
                  <a:lnTo>
                    <a:pt x="72" y="6127"/>
                  </a:lnTo>
                  <a:lnTo>
                    <a:pt x="84" y="6026"/>
                  </a:lnTo>
                  <a:lnTo>
                    <a:pt x="98" y="5919"/>
                  </a:lnTo>
                  <a:lnTo>
                    <a:pt x="114" y="5806"/>
                  </a:lnTo>
                  <a:lnTo>
                    <a:pt x="131" y="5687"/>
                  </a:lnTo>
                  <a:lnTo>
                    <a:pt x="151" y="5565"/>
                  </a:lnTo>
                  <a:lnTo>
                    <a:pt x="172" y="5439"/>
                  </a:lnTo>
                  <a:lnTo>
                    <a:pt x="196" y="5310"/>
                  </a:lnTo>
                  <a:lnTo>
                    <a:pt x="222" y="5178"/>
                  </a:lnTo>
                  <a:lnTo>
                    <a:pt x="250" y="5045"/>
                  </a:lnTo>
                  <a:lnTo>
                    <a:pt x="281" y="4910"/>
                  </a:lnTo>
                  <a:lnTo>
                    <a:pt x="314" y="4775"/>
                  </a:lnTo>
                  <a:lnTo>
                    <a:pt x="350" y="4640"/>
                  </a:lnTo>
                  <a:lnTo>
                    <a:pt x="389" y="4504"/>
                  </a:lnTo>
                  <a:lnTo>
                    <a:pt x="431" y="4371"/>
                  </a:lnTo>
                  <a:lnTo>
                    <a:pt x="475" y="4239"/>
                  </a:lnTo>
                  <a:lnTo>
                    <a:pt x="523" y="4110"/>
                  </a:lnTo>
                  <a:lnTo>
                    <a:pt x="573" y="3984"/>
                  </a:lnTo>
                  <a:lnTo>
                    <a:pt x="627" y="3861"/>
                  </a:lnTo>
                  <a:lnTo>
                    <a:pt x="684" y="3742"/>
                  </a:lnTo>
                  <a:lnTo>
                    <a:pt x="745" y="3629"/>
                  </a:lnTo>
                  <a:lnTo>
                    <a:pt x="809" y="3521"/>
                  </a:lnTo>
                  <a:lnTo>
                    <a:pt x="876" y="3419"/>
                  </a:lnTo>
                  <a:lnTo>
                    <a:pt x="889" y="3398"/>
                  </a:lnTo>
                  <a:lnTo>
                    <a:pt x="925" y="3335"/>
                  </a:lnTo>
                  <a:lnTo>
                    <a:pt x="953" y="3289"/>
                  </a:lnTo>
                  <a:lnTo>
                    <a:pt x="987" y="3235"/>
                  </a:lnTo>
                  <a:lnTo>
                    <a:pt x="1028" y="3172"/>
                  </a:lnTo>
                  <a:lnTo>
                    <a:pt x="1075" y="3101"/>
                  </a:lnTo>
                  <a:lnTo>
                    <a:pt x="1128" y="3021"/>
                  </a:lnTo>
                  <a:lnTo>
                    <a:pt x="1189" y="2934"/>
                  </a:lnTo>
                  <a:lnTo>
                    <a:pt x="1255" y="2842"/>
                  </a:lnTo>
                  <a:lnTo>
                    <a:pt x="1329" y="2742"/>
                  </a:lnTo>
                  <a:lnTo>
                    <a:pt x="1409" y="2636"/>
                  </a:lnTo>
                  <a:lnTo>
                    <a:pt x="1497" y="2523"/>
                  </a:lnTo>
                  <a:lnTo>
                    <a:pt x="1591" y="2406"/>
                  </a:lnTo>
                  <a:lnTo>
                    <a:pt x="1692" y="2285"/>
                  </a:lnTo>
                  <a:lnTo>
                    <a:pt x="1800" y="2158"/>
                  </a:lnTo>
                  <a:lnTo>
                    <a:pt x="1915" y="2028"/>
                  </a:lnTo>
                  <a:lnTo>
                    <a:pt x="2037" y="1893"/>
                  </a:lnTo>
                  <a:lnTo>
                    <a:pt x="2167" y="1755"/>
                  </a:lnTo>
                  <a:lnTo>
                    <a:pt x="2304" y="1616"/>
                  </a:lnTo>
                  <a:lnTo>
                    <a:pt x="2448" y="1473"/>
                  </a:lnTo>
                  <a:lnTo>
                    <a:pt x="2600" y="1327"/>
                  </a:lnTo>
                  <a:lnTo>
                    <a:pt x="2759" y="1181"/>
                  </a:lnTo>
                  <a:lnTo>
                    <a:pt x="2926" y="1033"/>
                  </a:lnTo>
                  <a:lnTo>
                    <a:pt x="3101" y="884"/>
                  </a:lnTo>
                  <a:lnTo>
                    <a:pt x="3282" y="735"/>
                  </a:lnTo>
                  <a:lnTo>
                    <a:pt x="3472" y="586"/>
                  </a:lnTo>
                  <a:lnTo>
                    <a:pt x="3669" y="439"/>
                  </a:lnTo>
                  <a:lnTo>
                    <a:pt x="3875" y="291"/>
                  </a:lnTo>
                  <a:lnTo>
                    <a:pt x="4088" y="145"/>
                  </a:lnTo>
                  <a:lnTo>
                    <a:pt x="4309" y="0"/>
                  </a:lnTo>
                  <a:close/>
                </a:path>
              </a:pathLst>
            </a:custGeom>
            <a:solidFill>
              <a:srgbClr val="ABAAA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81" name="Text Box 119"/>
            <p:cNvSpPr txBox="1">
              <a:spLocks noChangeArrowheads="1"/>
            </p:cNvSpPr>
            <p:nvPr/>
          </p:nvSpPr>
          <p:spPr bwMode="auto">
            <a:xfrm>
              <a:off x="286465" y="3929309"/>
              <a:ext cx="302968" cy="1374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정보계</a:t>
              </a:r>
              <a:endParaRPr kumimoji="0" lang="ko-KR" altLang="ko-KR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pic>
          <p:nvPicPr>
            <p:cNvPr id="291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50" y="4332265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2" name="Text Box 57"/>
            <p:cNvSpPr txBox="1">
              <a:spLocks noChangeArrowheads="1"/>
            </p:cNvSpPr>
            <p:nvPr/>
          </p:nvSpPr>
          <p:spPr bwMode="gray">
            <a:xfrm>
              <a:off x="471782" y="4360485"/>
              <a:ext cx="179536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고객</a:t>
              </a:r>
              <a:endParaRPr lang="ko-KR" altLang="en-US" sz="800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289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50" y="4527965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0" name="Text Box 57"/>
            <p:cNvSpPr txBox="1">
              <a:spLocks noChangeArrowheads="1"/>
            </p:cNvSpPr>
            <p:nvPr/>
          </p:nvSpPr>
          <p:spPr bwMode="gray">
            <a:xfrm>
              <a:off x="382015" y="4556186"/>
              <a:ext cx="359073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거래정보</a:t>
              </a:r>
              <a:endParaRPr lang="ko-KR" altLang="en-US" sz="800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287" name="Picture 56" descr="디비박스-진파랑"/>
            <p:cNvPicPr preferRelativeResize="0">
              <a:picLocks noChangeArrowheads="1"/>
            </p:cNvPicPr>
            <p:nvPr/>
          </p:nvPicPr>
          <p:blipFill>
            <a:blip r:embed="rId5" cstate="print">
              <a:lum bright="-6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266" y="4527965"/>
              <a:ext cx="576000" cy="178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8" name="Text Box 57"/>
            <p:cNvSpPr txBox="1">
              <a:spLocks noChangeArrowheads="1"/>
            </p:cNvSpPr>
            <p:nvPr/>
          </p:nvSpPr>
          <p:spPr bwMode="gray">
            <a:xfrm>
              <a:off x="1097500" y="4556186"/>
              <a:ext cx="179536" cy="12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36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800" kern="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원장</a:t>
              </a:r>
              <a:endParaRPr lang="ko-KR" altLang="en-US" sz="800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85" name="AutoShape 23" descr="채우기4"/>
            <p:cNvSpPr>
              <a:spLocks noChangeArrowheads="1"/>
            </p:cNvSpPr>
            <p:nvPr/>
          </p:nvSpPr>
          <p:spPr bwMode="auto">
            <a:xfrm>
              <a:off x="924546" y="4188991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계정계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286" name="AutoShape 23" descr="채우기4"/>
            <p:cNvSpPr>
              <a:spLocks noChangeArrowheads="1"/>
            </p:cNvSpPr>
            <p:nvPr/>
          </p:nvSpPr>
          <p:spPr bwMode="auto">
            <a:xfrm>
              <a:off x="924546" y="4355230"/>
              <a:ext cx="521921" cy="140302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운영</a:t>
              </a:r>
              <a:r>
                <a:rPr lang="en-US" altLang="ko-KR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CRM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5" name="AutoShape 12"/>
            <p:cNvSpPr>
              <a:spLocks noChangeArrowheads="1"/>
            </p:cNvSpPr>
            <p:nvPr/>
          </p:nvSpPr>
          <p:spPr bwMode="gray">
            <a:xfrm>
              <a:off x="233417" y="4783144"/>
              <a:ext cx="1277083" cy="646684"/>
            </a:xfrm>
            <a:prstGeom prst="roundRect">
              <a:avLst>
                <a:gd name="adj" fmla="val 2190"/>
              </a:avLst>
            </a:prstGeom>
            <a:solidFill>
              <a:srgbClr val="FFFFFF"/>
            </a:solidFill>
            <a:ln w="9525" algn="ctr">
              <a:solidFill>
                <a:srgbClr val="47B2E7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7" name="AutoShape 87"/>
            <p:cNvSpPr>
              <a:spLocks noChangeAspect="1" noChangeArrowheads="1"/>
            </p:cNvSpPr>
            <p:nvPr/>
          </p:nvSpPr>
          <p:spPr bwMode="auto">
            <a:xfrm>
              <a:off x="708286" y="4882656"/>
              <a:ext cx="327345" cy="5357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8" name="Freeform 88"/>
            <p:cNvSpPr>
              <a:spLocks/>
            </p:cNvSpPr>
            <p:nvPr/>
          </p:nvSpPr>
          <p:spPr bwMode="auto">
            <a:xfrm>
              <a:off x="708286" y="4882656"/>
              <a:ext cx="327345" cy="535739"/>
            </a:xfrm>
            <a:custGeom>
              <a:avLst/>
              <a:gdLst>
                <a:gd name="T0" fmla="*/ 0 w 10950"/>
                <a:gd name="T1" fmla="*/ 0 h 16320"/>
                <a:gd name="T2" fmla="*/ 0 w 10950"/>
                <a:gd name="T3" fmla="*/ 0 h 16320"/>
                <a:gd name="T4" fmla="*/ 0 w 10950"/>
                <a:gd name="T5" fmla="*/ 0 h 16320"/>
                <a:gd name="T6" fmla="*/ 0 w 10950"/>
                <a:gd name="T7" fmla="*/ 0 h 16320"/>
                <a:gd name="T8" fmla="*/ 0 w 10950"/>
                <a:gd name="T9" fmla="*/ 0 h 16320"/>
                <a:gd name="T10" fmla="*/ 0 w 10950"/>
                <a:gd name="T11" fmla="*/ 0 h 16320"/>
                <a:gd name="T12" fmla="*/ 0 w 10950"/>
                <a:gd name="T13" fmla="*/ 0 h 16320"/>
                <a:gd name="T14" fmla="*/ 0 w 10950"/>
                <a:gd name="T15" fmla="*/ 0 h 16320"/>
                <a:gd name="T16" fmla="*/ 0 w 10950"/>
                <a:gd name="T17" fmla="*/ 0 h 16320"/>
                <a:gd name="T18" fmla="*/ 0 w 10950"/>
                <a:gd name="T19" fmla="*/ 0 h 16320"/>
                <a:gd name="T20" fmla="*/ 0 w 10950"/>
                <a:gd name="T21" fmla="*/ 0 h 16320"/>
                <a:gd name="T22" fmla="*/ 0 w 10950"/>
                <a:gd name="T23" fmla="*/ 0 h 16320"/>
                <a:gd name="T24" fmla="*/ 0 w 10950"/>
                <a:gd name="T25" fmla="*/ 0 h 16320"/>
                <a:gd name="T26" fmla="*/ 0 w 10950"/>
                <a:gd name="T27" fmla="*/ 0 h 16320"/>
                <a:gd name="T28" fmla="*/ 0 w 10950"/>
                <a:gd name="T29" fmla="*/ 0 h 16320"/>
                <a:gd name="T30" fmla="*/ 0 w 10950"/>
                <a:gd name="T31" fmla="*/ 0 h 16320"/>
                <a:gd name="T32" fmla="*/ 0 w 10950"/>
                <a:gd name="T33" fmla="*/ 0 h 16320"/>
                <a:gd name="T34" fmla="*/ 0 w 10950"/>
                <a:gd name="T35" fmla="*/ 0 h 16320"/>
                <a:gd name="T36" fmla="*/ 0 w 10950"/>
                <a:gd name="T37" fmla="*/ 0 h 16320"/>
                <a:gd name="T38" fmla="*/ 0 w 10950"/>
                <a:gd name="T39" fmla="*/ 0 h 16320"/>
                <a:gd name="T40" fmla="*/ 0 w 10950"/>
                <a:gd name="T41" fmla="*/ 0 h 16320"/>
                <a:gd name="T42" fmla="*/ 0 w 10950"/>
                <a:gd name="T43" fmla="*/ 0 h 16320"/>
                <a:gd name="T44" fmla="*/ 0 w 10950"/>
                <a:gd name="T45" fmla="*/ 0 h 16320"/>
                <a:gd name="T46" fmla="*/ 0 w 10950"/>
                <a:gd name="T47" fmla="*/ 0 h 16320"/>
                <a:gd name="T48" fmla="*/ 0 w 10950"/>
                <a:gd name="T49" fmla="*/ 0 h 16320"/>
                <a:gd name="T50" fmla="*/ 0 w 10950"/>
                <a:gd name="T51" fmla="*/ 0 h 16320"/>
                <a:gd name="T52" fmla="*/ 0 w 10950"/>
                <a:gd name="T53" fmla="*/ 0 h 16320"/>
                <a:gd name="T54" fmla="*/ 0 w 10950"/>
                <a:gd name="T55" fmla="*/ 0 h 16320"/>
                <a:gd name="T56" fmla="*/ 0 w 10950"/>
                <a:gd name="T57" fmla="*/ 0 h 16320"/>
                <a:gd name="T58" fmla="*/ 0 w 10950"/>
                <a:gd name="T59" fmla="*/ 0 h 16320"/>
                <a:gd name="T60" fmla="*/ 0 w 10950"/>
                <a:gd name="T61" fmla="*/ 0 h 16320"/>
                <a:gd name="T62" fmla="*/ 0 w 10950"/>
                <a:gd name="T63" fmla="*/ 0 h 16320"/>
                <a:gd name="T64" fmla="*/ 0 w 10950"/>
                <a:gd name="T65" fmla="*/ 0 h 16320"/>
                <a:gd name="T66" fmla="*/ 0 w 10950"/>
                <a:gd name="T67" fmla="*/ 0 h 16320"/>
                <a:gd name="T68" fmla="*/ 0 w 10950"/>
                <a:gd name="T69" fmla="*/ 0 h 16320"/>
                <a:gd name="T70" fmla="*/ 0 w 10950"/>
                <a:gd name="T71" fmla="*/ 0 h 16320"/>
                <a:gd name="T72" fmla="*/ 0 w 10950"/>
                <a:gd name="T73" fmla="*/ 0 h 16320"/>
                <a:gd name="T74" fmla="*/ 0 w 10950"/>
                <a:gd name="T75" fmla="*/ 0 h 16320"/>
                <a:gd name="T76" fmla="*/ 0 w 10950"/>
                <a:gd name="T77" fmla="*/ 0 h 16320"/>
                <a:gd name="T78" fmla="*/ 0 w 10950"/>
                <a:gd name="T79" fmla="*/ 0 h 16320"/>
                <a:gd name="T80" fmla="*/ 0 w 10950"/>
                <a:gd name="T81" fmla="*/ 0 h 16320"/>
                <a:gd name="T82" fmla="*/ 0 w 10950"/>
                <a:gd name="T83" fmla="*/ 0 h 16320"/>
                <a:gd name="T84" fmla="*/ 0 w 10950"/>
                <a:gd name="T85" fmla="*/ 0 h 16320"/>
                <a:gd name="T86" fmla="*/ 0 w 10950"/>
                <a:gd name="T87" fmla="*/ 0 h 16320"/>
                <a:gd name="T88" fmla="*/ 0 w 10950"/>
                <a:gd name="T89" fmla="*/ 0 h 16320"/>
                <a:gd name="T90" fmla="*/ 0 w 10950"/>
                <a:gd name="T91" fmla="*/ 0 h 16320"/>
                <a:gd name="T92" fmla="*/ 0 w 10950"/>
                <a:gd name="T93" fmla="*/ 0 h 16320"/>
                <a:gd name="T94" fmla="*/ 0 w 10950"/>
                <a:gd name="T95" fmla="*/ 0 h 16320"/>
                <a:gd name="T96" fmla="*/ 0 w 10950"/>
                <a:gd name="T97" fmla="*/ 0 h 16320"/>
                <a:gd name="T98" fmla="*/ 0 w 10950"/>
                <a:gd name="T99" fmla="*/ 0 h 16320"/>
                <a:gd name="T100" fmla="*/ 0 w 10950"/>
                <a:gd name="T101" fmla="*/ 0 h 16320"/>
                <a:gd name="T102" fmla="*/ 0 w 10950"/>
                <a:gd name="T103" fmla="*/ 0 h 16320"/>
                <a:gd name="T104" fmla="*/ 0 w 10950"/>
                <a:gd name="T105" fmla="*/ 0 h 16320"/>
                <a:gd name="T106" fmla="*/ 0 w 10950"/>
                <a:gd name="T107" fmla="*/ 0 h 16320"/>
                <a:gd name="T108" fmla="*/ 0 w 10950"/>
                <a:gd name="T109" fmla="*/ 0 h 163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50"/>
                <a:gd name="T166" fmla="*/ 0 h 16320"/>
                <a:gd name="T167" fmla="*/ 10950 w 10950"/>
                <a:gd name="T168" fmla="*/ 16320 h 1632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50" h="16320">
                  <a:moveTo>
                    <a:pt x="154" y="2649"/>
                  </a:moveTo>
                  <a:lnTo>
                    <a:pt x="4466" y="72"/>
                  </a:lnTo>
                  <a:lnTo>
                    <a:pt x="4477" y="65"/>
                  </a:lnTo>
                  <a:lnTo>
                    <a:pt x="4508" y="48"/>
                  </a:lnTo>
                  <a:lnTo>
                    <a:pt x="4531" y="38"/>
                  </a:lnTo>
                  <a:lnTo>
                    <a:pt x="4558" y="27"/>
                  </a:lnTo>
                  <a:lnTo>
                    <a:pt x="4573" y="21"/>
                  </a:lnTo>
                  <a:lnTo>
                    <a:pt x="4589" y="17"/>
                  </a:lnTo>
                  <a:lnTo>
                    <a:pt x="4606" y="12"/>
                  </a:lnTo>
                  <a:lnTo>
                    <a:pt x="4624" y="8"/>
                  </a:lnTo>
                  <a:lnTo>
                    <a:pt x="4643" y="5"/>
                  </a:lnTo>
                  <a:lnTo>
                    <a:pt x="4662" y="3"/>
                  </a:lnTo>
                  <a:lnTo>
                    <a:pt x="4682" y="1"/>
                  </a:lnTo>
                  <a:lnTo>
                    <a:pt x="4703" y="0"/>
                  </a:lnTo>
                  <a:lnTo>
                    <a:pt x="4725" y="0"/>
                  </a:lnTo>
                  <a:lnTo>
                    <a:pt x="4748" y="1"/>
                  </a:lnTo>
                  <a:lnTo>
                    <a:pt x="4771" y="4"/>
                  </a:lnTo>
                  <a:lnTo>
                    <a:pt x="4794" y="8"/>
                  </a:lnTo>
                  <a:lnTo>
                    <a:pt x="4819" y="13"/>
                  </a:lnTo>
                  <a:lnTo>
                    <a:pt x="4843" y="20"/>
                  </a:lnTo>
                  <a:lnTo>
                    <a:pt x="4869" y="29"/>
                  </a:lnTo>
                  <a:lnTo>
                    <a:pt x="4894" y="39"/>
                  </a:lnTo>
                  <a:lnTo>
                    <a:pt x="4921" y="51"/>
                  </a:lnTo>
                  <a:lnTo>
                    <a:pt x="4947" y="64"/>
                  </a:lnTo>
                  <a:lnTo>
                    <a:pt x="4974" y="81"/>
                  </a:lnTo>
                  <a:lnTo>
                    <a:pt x="5002" y="99"/>
                  </a:lnTo>
                  <a:lnTo>
                    <a:pt x="10615" y="3377"/>
                  </a:lnTo>
                  <a:lnTo>
                    <a:pt x="10629" y="3382"/>
                  </a:lnTo>
                  <a:lnTo>
                    <a:pt x="10665" y="3398"/>
                  </a:lnTo>
                  <a:lnTo>
                    <a:pt x="10689" y="3411"/>
                  </a:lnTo>
                  <a:lnTo>
                    <a:pt x="10717" y="3426"/>
                  </a:lnTo>
                  <a:lnTo>
                    <a:pt x="10731" y="3435"/>
                  </a:lnTo>
                  <a:lnTo>
                    <a:pt x="10746" y="3446"/>
                  </a:lnTo>
                  <a:lnTo>
                    <a:pt x="10761" y="3457"/>
                  </a:lnTo>
                  <a:lnTo>
                    <a:pt x="10776" y="3469"/>
                  </a:lnTo>
                  <a:lnTo>
                    <a:pt x="10791" y="3482"/>
                  </a:lnTo>
                  <a:lnTo>
                    <a:pt x="10807" y="3497"/>
                  </a:lnTo>
                  <a:lnTo>
                    <a:pt x="10821" y="3512"/>
                  </a:lnTo>
                  <a:lnTo>
                    <a:pt x="10836" y="3528"/>
                  </a:lnTo>
                  <a:lnTo>
                    <a:pt x="10850" y="3546"/>
                  </a:lnTo>
                  <a:lnTo>
                    <a:pt x="10864" y="3564"/>
                  </a:lnTo>
                  <a:lnTo>
                    <a:pt x="10877" y="3584"/>
                  </a:lnTo>
                  <a:lnTo>
                    <a:pt x="10890" y="3605"/>
                  </a:lnTo>
                  <a:lnTo>
                    <a:pt x="10901" y="3627"/>
                  </a:lnTo>
                  <a:lnTo>
                    <a:pt x="10911" y="3651"/>
                  </a:lnTo>
                  <a:lnTo>
                    <a:pt x="10921" y="3675"/>
                  </a:lnTo>
                  <a:lnTo>
                    <a:pt x="10929" y="3702"/>
                  </a:lnTo>
                  <a:lnTo>
                    <a:pt x="10936" y="3729"/>
                  </a:lnTo>
                  <a:lnTo>
                    <a:pt x="10941" y="3758"/>
                  </a:lnTo>
                  <a:lnTo>
                    <a:pt x="10945" y="3788"/>
                  </a:lnTo>
                  <a:lnTo>
                    <a:pt x="10947" y="3819"/>
                  </a:lnTo>
                  <a:lnTo>
                    <a:pt x="10947" y="13186"/>
                  </a:lnTo>
                  <a:lnTo>
                    <a:pt x="10948" y="13202"/>
                  </a:lnTo>
                  <a:lnTo>
                    <a:pt x="10950" y="13246"/>
                  </a:lnTo>
                  <a:lnTo>
                    <a:pt x="10949" y="13275"/>
                  </a:lnTo>
                  <a:lnTo>
                    <a:pt x="10947" y="13311"/>
                  </a:lnTo>
                  <a:lnTo>
                    <a:pt x="10945" y="13329"/>
                  </a:lnTo>
                  <a:lnTo>
                    <a:pt x="10942" y="13349"/>
                  </a:lnTo>
                  <a:lnTo>
                    <a:pt x="10938" y="13369"/>
                  </a:lnTo>
                  <a:lnTo>
                    <a:pt x="10934" y="13391"/>
                  </a:lnTo>
                  <a:lnTo>
                    <a:pt x="10929" y="13412"/>
                  </a:lnTo>
                  <a:lnTo>
                    <a:pt x="10923" y="13434"/>
                  </a:lnTo>
                  <a:lnTo>
                    <a:pt x="10915" y="13457"/>
                  </a:lnTo>
                  <a:lnTo>
                    <a:pt x="10907" y="13479"/>
                  </a:lnTo>
                  <a:lnTo>
                    <a:pt x="10897" y="13502"/>
                  </a:lnTo>
                  <a:lnTo>
                    <a:pt x="10886" y="13525"/>
                  </a:lnTo>
                  <a:lnTo>
                    <a:pt x="10874" y="13548"/>
                  </a:lnTo>
                  <a:lnTo>
                    <a:pt x="10861" y="13570"/>
                  </a:lnTo>
                  <a:lnTo>
                    <a:pt x="10845" y="13593"/>
                  </a:lnTo>
                  <a:lnTo>
                    <a:pt x="10829" y="13614"/>
                  </a:lnTo>
                  <a:lnTo>
                    <a:pt x="10810" y="13635"/>
                  </a:lnTo>
                  <a:lnTo>
                    <a:pt x="10790" y="13657"/>
                  </a:lnTo>
                  <a:lnTo>
                    <a:pt x="10769" y="13677"/>
                  </a:lnTo>
                  <a:lnTo>
                    <a:pt x="10745" y="13697"/>
                  </a:lnTo>
                  <a:lnTo>
                    <a:pt x="10719" y="13715"/>
                  </a:lnTo>
                  <a:lnTo>
                    <a:pt x="10692" y="13732"/>
                  </a:lnTo>
                  <a:lnTo>
                    <a:pt x="6559" y="16230"/>
                  </a:lnTo>
                  <a:lnTo>
                    <a:pt x="6550" y="16237"/>
                  </a:lnTo>
                  <a:lnTo>
                    <a:pt x="6525" y="16256"/>
                  </a:lnTo>
                  <a:lnTo>
                    <a:pt x="6507" y="16268"/>
                  </a:lnTo>
                  <a:lnTo>
                    <a:pt x="6486" y="16280"/>
                  </a:lnTo>
                  <a:lnTo>
                    <a:pt x="6474" y="16286"/>
                  </a:lnTo>
                  <a:lnTo>
                    <a:pt x="6461" y="16291"/>
                  </a:lnTo>
                  <a:lnTo>
                    <a:pt x="6447" y="16298"/>
                  </a:lnTo>
                  <a:lnTo>
                    <a:pt x="6433" y="16303"/>
                  </a:lnTo>
                  <a:lnTo>
                    <a:pt x="6418" y="16307"/>
                  </a:lnTo>
                  <a:lnTo>
                    <a:pt x="6402" y="16311"/>
                  </a:lnTo>
                  <a:lnTo>
                    <a:pt x="6386" y="16315"/>
                  </a:lnTo>
                  <a:lnTo>
                    <a:pt x="6369" y="16317"/>
                  </a:lnTo>
                  <a:lnTo>
                    <a:pt x="6351" y="16319"/>
                  </a:lnTo>
                  <a:lnTo>
                    <a:pt x="6333" y="16320"/>
                  </a:lnTo>
                  <a:lnTo>
                    <a:pt x="6315" y="16320"/>
                  </a:lnTo>
                  <a:lnTo>
                    <a:pt x="6295" y="16319"/>
                  </a:lnTo>
                  <a:lnTo>
                    <a:pt x="6275" y="16316"/>
                  </a:lnTo>
                  <a:lnTo>
                    <a:pt x="6255" y="16313"/>
                  </a:lnTo>
                  <a:lnTo>
                    <a:pt x="6235" y="16307"/>
                  </a:lnTo>
                  <a:lnTo>
                    <a:pt x="6213" y="16301"/>
                  </a:lnTo>
                  <a:lnTo>
                    <a:pt x="6192" y="16292"/>
                  </a:lnTo>
                  <a:lnTo>
                    <a:pt x="6170" y="16282"/>
                  </a:lnTo>
                  <a:lnTo>
                    <a:pt x="6148" y="16270"/>
                  </a:lnTo>
                  <a:lnTo>
                    <a:pt x="6125" y="16256"/>
                  </a:lnTo>
                  <a:lnTo>
                    <a:pt x="2904" y="14418"/>
                  </a:lnTo>
                  <a:lnTo>
                    <a:pt x="2896" y="14415"/>
                  </a:lnTo>
                  <a:lnTo>
                    <a:pt x="2877" y="14401"/>
                  </a:lnTo>
                  <a:lnTo>
                    <a:pt x="2864" y="14391"/>
                  </a:lnTo>
                  <a:lnTo>
                    <a:pt x="2850" y="14378"/>
                  </a:lnTo>
                  <a:lnTo>
                    <a:pt x="2835" y="14363"/>
                  </a:lnTo>
                  <a:lnTo>
                    <a:pt x="2820" y="14343"/>
                  </a:lnTo>
                  <a:lnTo>
                    <a:pt x="2812" y="14332"/>
                  </a:lnTo>
                  <a:lnTo>
                    <a:pt x="2805" y="14320"/>
                  </a:lnTo>
                  <a:lnTo>
                    <a:pt x="2798" y="14308"/>
                  </a:lnTo>
                  <a:lnTo>
                    <a:pt x="2791" y="14293"/>
                  </a:lnTo>
                  <a:lnTo>
                    <a:pt x="2784" y="14279"/>
                  </a:lnTo>
                  <a:lnTo>
                    <a:pt x="2778" y="14263"/>
                  </a:lnTo>
                  <a:lnTo>
                    <a:pt x="2773" y="14246"/>
                  </a:lnTo>
                  <a:lnTo>
                    <a:pt x="2768" y="14228"/>
                  </a:lnTo>
                  <a:lnTo>
                    <a:pt x="2763" y="14210"/>
                  </a:lnTo>
                  <a:lnTo>
                    <a:pt x="2760" y="14189"/>
                  </a:lnTo>
                  <a:lnTo>
                    <a:pt x="2757" y="14168"/>
                  </a:lnTo>
                  <a:lnTo>
                    <a:pt x="2755" y="14146"/>
                  </a:lnTo>
                  <a:lnTo>
                    <a:pt x="2754" y="14123"/>
                  </a:lnTo>
                  <a:lnTo>
                    <a:pt x="2754" y="14097"/>
                  </a:lnTo>
                  <a:lnTo>
                    <a:pt x="2755" y="14072"/>
                  </a:lnTo>
                  <a:lnTo>
                    <a:pt x="2757" y="14044"/>
                  </a:lnTo>
                  <a:lnTo>
                    <a:pt x="2757" y="13668"/>
                  </a:lnTo>
                  <a:lnTo>
                    <a:pt x="2742" y="13662"/>
                  </a:lnTo>
                  <a:lnTo>
                    <a:pt x="2702" y="13647"/>
                  </a:lnTo>
                  <a:lnTo>
                    <a:pt x="2673" y="13638"/>
                  </a:lnTo>
                  <a:lnTo>
                    <a:pt x="2641" y="13630"/>
                  </a:lnTo>
                  <a:lnTo>
                    <a:pt x="2623" y="13626"/>
                  </a:lnTo>
                  <a:lnTo>
                    <a:pt x="2604" y="13623"/>
                  </a:lnTo>
                  <a:lnTo>
                    <a:pt x="2585" y="13621"/>
                  </a:lnTo>
                  <a:lnTo>
                    <a:pt x="2565" y="13619"/>
                  </a:lnTo>
                  <a:lnTo>
                    <a:pt x="2544" y="13619"/>
                  </a:lnTo>
                  <a:lnTo>
                    <a:pt x="2523" y="13619"/>
                  </a:lnTo>
                  <a:lnTo>
                    <a:pt x="2501" y="13620"/>
                  </a:lnTo>
                  <a:lnTo>
                    <a:pt x="2479" y="13622"/>
                  </a:lnTo>
                  <a:lnTo>
                    <a:pt x="2457" y="13626"/>
                  </a:lnTo>
                  <a:lnTo>
                    <a:pt x="2435" y="13631"/>
                  </a:lnTo>
                  <a:lnTo>
                    <a:pt x="2412" y="13637"/>
                  </a:lnTo>
                  <a:lnTo>
                    <a:pt x="2390" y="13646"/>
                  </a:lnTo>
                  <a:lnTo>
                    <a:pt x="2368" y="13656"/>
                  </a:lnTo>
                  <a:lnTo>
                    <a:pt x="2345" y="13668"/>
                  </a:lnTo>
                  <a:lnTo>
                    <a:pt x="2324" y="13681"/>
                  </a:lnTo>
                  <a:lnTo>
                    <a:pt x="2302" y="13698"/>
                  </a:lnTo>
                  <a:lnTo>
                    <a:pt x="2281" y="13716"/>
                  </a:lnTo>
                  <a:lnTo>
                    <a:pt x="2260" y="13736"/>
                  </a:lnTo>
                  <a:lnTo>
                    <a:pt x="2240" y="13759"/>
                  </a:lnTo>
                  <a:lnTo>
                    <a:pt x="2221" y="13784"/>
                  </a:lnTo>
                  <a:lnTo>
                    <a:pt x="2214" y="13793"/>
                  </a:lnTo>
                  <a:lnTo>
                    <a:pt x="2192" y="13817"/>
                  </a:lnTo>
                  <a:lnTo>
                    <a:pt x="2177" y="13831"/>
                  </a:lnTo>
                  <a:lnTo>
                    <a:pt x="2158" y="13847"/>
                  </a:lnTo>
                  <a:lnTo>
                    <a:pt x="2147" y="13854"/>
                  </a:lnTo>
                  <a:lnTo>
                    <a:pt x="2135" y="13862"/>
                  </a:lnTo>
                  <a:lnTo>
                    <a:pt x="2123" y="13869"/>
                  </a:lnTo>
                  <a:lnTo>
                    <a:pt x="2110" y="13875"/>
                  </a:lnTo>
                  <a:lnTo>
                    <a:pt x="2097" y="13881"/>
                  </a:lnTo>
                  <a:lnTo>
                    <a:pt x="2082" y="13887"/>
                  </a:lnTo>
                  <a:lnTo>
                    <a:pt x="2067" y="13892"/>
                  </a:lnTo>
                  <a:lnTo>
                    <a:pt x="2051" y="13896"/>
                  </a:lnTo>
                  <a:lnTo>
                    <a:pt x="2035" y="13900"/>
                  </a:lnTo>
                  <a:lnTo>
                    <a:pt x="2018" y="13902"/>
                  </a:lnTo>
                  <a:lnTo>
                    <a:pt x="2000" y="13902"/>
                  </a:lnTo>
                  <a:lnTo>
                    <a:pt x="1982" y="13902"/>
                  </a:lnTo>
                  <a:lnTo>
                    <a:pt x="1963" y="13900"/>
                  </a:lnTo>
                  <a:lnTo>
                    <a:pt x="1943" y="13896"/>
                  </a:lnTo>
                  <a:lnTo>
                    <a:pt x="1923" y="13890"/>
                  </a:lnTo>
                  <a:lnTo>
                    <a:pt x="1902" y="13884"/>
                  </a:lnTo>
                  <a:lnTo>
                    <a:pt x="1880" y="13875"/>
                  </a:lnTo>
                  <a:lnTo>
                    <a:pt x="1859" y="13864"/>
                  </a:lnTo>
                  <a:lnTo>
                    <a:pt x="1836" y="13852"/>
                  </a:lnTo>
                  <a:lnTo>
                    <a:pt x="1812" y="13836"/>
                  </a:lnTo>
                  <a:lnTo>
                    <a:pt x="281" y="12895"/>
                  </a:lnTo>
                  <a:lnTo>
                    <a:pt x="270" y="12891"/>
                  </a:lnTo>
                  <a:lnTo>
                    <a:pt x="239" y="12878"/>
                  </a:lnTo>
                  <a:lnTo>
                    <a:pt x="218" y="12866"/>
                  </a:lnTo>
                  <a:lnTo>
                    <a:pt x="194" y="12853"/>
                  </a:lnTo>
                  <a:lnTo>
                    <a:pt x="170" y="12838"/>
                  </a:lnTo>
                  <a:lnTo>
                    <a:pt x="144" y="12818"/>
                  </a:lnTo>
                  <a:lnTo>
                    <a:pt x="131" y="12807"/>
                  </a:lnTo>
                  <a:lnTo>
                    <a:pt x="118" y="12796"/>
                  </a:lnTo>
                  <a:lnTo>
                    <a:pt x="105" y="12784"/>
                  </a:lnTo>
                  <a:lnTo>
                    <a:pt x="93" y="12771"/>
                  </a:lnTo>
                  <a:lnTo>
                    <a:pt x="81" y="12757"/>
                  </a:lnTo>
                  <a:lnTo>
                    <a:pt x="69" y="12743"/>
                  </a:lnTo>
                  <a:lnTo>
                    <a:pt x="58" y="12727"/>
                  </a:lnTo>
                  <a:lnTo>
                    <a:pt x="48" y="12710"/>
                  </a:lnTo>
                  <a:lnTo>
                    <a:pt x="38" y="12694"/>
                  </a:lnTo>
                  <a:lnTo>
                    <a:pt x="30" y="12676"/>
                  </a:lnTo>
                  <a:lnTo>
                    <a:pt x="22" y="12656"/>
                  </a:lnTo>
                  <a:lnTo>
                    <a:pt x="15" y="12637"/>
                  </a:lnTo>
                  <a:lnTo>
                    <a:pt x="10" y="12615"/>
                  </a:lnTo>
                  <a:lnTo>
                    <a:pt x="6" y="12594"/>
                  </a:lnTo>
                  <a:lnTo>
                    <a:pt x="3" y="12570"/>
                  </a:lnTo>
                  <a:lnTo>
                    <a:pt x="2" y="12547"/>
                  </a:lnTo>
                  <a:lnTo>
                    <a:pt x="1" y="12525"/>
                  </a:lnTo>
                  <a:lnTo>
                    <a:pt x="1" y="12495"/>
                  </a:lnTo>
                  <a:lnTo>
                    <a:pt x="1" y="12468"/>
                  </a:lnTo>
                  <a:lnTo>
                    <a:pt x="1" y="12457"/>
                  </a:lnTo>
                  <a:lnTo>
                    <a:pt x="1" y="2909"/>
                  </a:lnTo>
                  <a:lnTo>
                    <a:pt x="0" y="2901"/>
                  </a:lnTo>
                  <a:lnTo>
                    <a:pt x="0" y="2879"/>
                  </a:lnTo>
                  <a:lnTo>
                    <a:pt x="1" y="2864"/>
                  </a:lnTo>
                  <a:lnTo>
                    <a:pt x="3" y="2847"/>
                  </a:lnTo>
                  <a:lnTo>
                    <a:pt x="6" y="2828"/>
                  </a:lnTo>
                  <a:lnTo>
                    <a:pt x="11" y="2808"/>
                  </a:lnTo>
                  <a:lnTo>
                    <a:pt x="14" y="2798"/>
                  </a:lnTo>
                  <a:lnTo>
                    <a:pt x="18" y="2787"/>
                  </a:lnTo>
                  <a:lnTo>
                    <a:pt x="22" y="2776"/>
                  </a:lnTo>
                  <a:lnTo>
                    <a:pt x="27" y="2765"/>
                  </a:lnTo>
                  <a:lnTo>
                    <a:pt x="33" y="2754"/>
                  </a:lnTo>
                  <a:lnTo>
                    <a:pt x="40" y="2744"/>
                  </a:lnTo>
                  <a:lnTo>
                    <a:pt x="47" y="2733"/>
                  </a:lnTo>
                  <a:lnTo>
                    <a:pt x="55" y="2722"/>
                  </a:lnTo>
                  <a:lnTo>
                    <a:pt x="64" y="2712"/>
                  </a:lnTo>
                  <a:lnTo>
                    <a:pt x="74" y="2702"/>
                  </a:lnTo>
                  <a:lnTo>
                    <a:pt x="85" y="2692"/>
                  </a:lnTo>
                  <a:lnTo>
                    <a:pt x="96" y="2683"/>
                  </a:lnTo>
                  <a:lnTo>
                    <a:pt x="109" y="2673"/>
                  </a:lnTo>
                  <a:lnTo>
                    <a:pt x="123" y="2664"/>
                  </a:lnTo>
                  <a:lnTo>
                    <a:pt x="138" y="2656"/>
                  </a:lnTo>
                  <a:lnTo>
                    <a:pt x="154" y="2649"/>
                  </a:lnTo>
                  <a:close/>
                </a:path>
              </a:pathLst>
            </a:custGeom>
            <a:solidFill>
              <a:srgbClr val="8E8D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29" name="Freeform 89"/>
            <p:cNvSpPr>
              <a:spLocks/>
            </p:cNvSpPr>
            <p:nvPr/>
          </p:nvSpPr>
          <p:spPr bwMode="auto">
            <a:xfrm>
              <a:off x="747149" y="4991479"/>
              <a:ext cx="35873" cy="338185"/>
            </a:xfrm>
            <a:custGeom>
              <a:avLst/>
              <a:gdLst>
                <a:gd name="T0" fmla="*/ 0 w 1157"/>
                <a:gd name="T1" fmla="*/ 0 h 10318"/>
                <a:gd name="T2" fmla="*/ 0 w 1157"/>
                <a:gd name="T3" fmla="*/ 0 h 10318"/>
                <a:gd name="T4" fmla="*/ 0 w 1157"/>
                <a:gd name="T5" fmla="*/ 0 h 10318"/>
                <a:gd name="T6" fmla="*/ 0 w 1157"/>
                <a:gd name="T7" fmla="*/ 0 h 10318"/>
                <a:gd name="T8" fmla="*/ 0 w 1157"/>
                <a:gd name="T9" fmla="*/ 0 h 10318"/>
                <a:gd name="T10" fmla="*/ 0 w 1157"/>
                <a:gd name="T11" fmla="*/ 0 h 10318"/>
                <a:gd name="T12" fmla="*/ 0 w 1157"/>
                <a:gd name="T13" fmla="*/ 0 h 10318"/>
                <a:gd name="T14" fmla="*/ 0 w 1157"/>
                <a:gd name="T15" fmla="*/ 0 h 10318"/>
                <a:gd name="T16" fmla="*/ 0 w 1157"/>
                <a:gd name="T17" fmla="*/ 0 h 10318"/>
                <a:gd name="T18" fmla="*/ 0 w 1157"/>
                <a:gd name="T19" fmla="*/ 0 h 10318"/>
                <a:gd name="T20" fmla="*/ 0 w 1157"/>
                <a:gd name="T21" fmla="*/ 0 h 10318"/>
                <a:gd name="T22" fmla="*/ 0 w 1157"/>
                <a:gd name="T23" fmla="*/ 0 h 10318"/>
                <a:gd name="T24" fmla="*/ 0 w 1157"/>
                <a:gd name="T25" fmla="*/ 0 h 10318"/>
                <a:gd name="T26" fmla="*/ 0 w 1157"/>
                <a:gd name="T27" fmla="*/ 0 h 10318"/>
                <a:gd name="T28" fmla="*/ 0 w 1157"/>
                <a:gd name="T29" fmla="*/ 0 h 10318"/>
                <a:gd name="T30" fmla="*/ 0 w 1157"/>
                <a:gd name="T31" fmla="*/ 0 h 10318"/>
                <a:gd name="T32" fmla="*/ 0 w 1157"/>
                <a:gd name="T33" fmla="*/ 0 h 10318"/>
                <a:gd name="T34" fmla="*/ 0 w 1157"/>
                <a:gd name="T35" fmla="*/ 0 h 10318"/>
                <a:gd name="T36" fmla="*/ 0 w 1157"/>
                <a:gd name="T37" fmla="*/ 0 h 10318"/>
                <a:gd name="T38" fmla="*/ 0 w 1157"/>
                <a:gd name="T39" fmla="*/ 0 h 10318"/>
                <a:gd name="T40" fmla="*/ 0 w 1157"/>
                <a:gd name="T41" fmla="*/ 0 h 10318"/>
                <a:gd name="T42" fmla="*/ 0 w 1157"/>
                <a:gd name="T43" fmla="*/ 0 h 10318"/>
                <a:gd name="T44" fmla="*/ 0 w 1157"/>
                <a:gd name="T45" fmla="*/ 0 h 10318"/>
                <a:gd name="T46" fmla="*/ 0 w 1157"/>
                <a:gd name="T47" fmla="*/ 0 h 10318"/>
                <a:gd name="T48" fmla="*/ 0 w 1157"/>
                <a:gd name="T49" fmla="*/ 0 h 10318"/>
                <a:gd name="T50" fmla="*/ 0 w 1157"/>
                <a:gd name="T51" fmla="*/ 0 h 10318"/>
                <a:gd name="T52" fmla="*/ 0 w 1157"/>
                <a:gd name="T53" fmla="*/ 0 h 10318"/>
                <a:gd name="T54" fmla="*/ 0 w 1157"/>
                <a:gd name="T55" fmla="*/ 0 h 10318"/>
                <a:gd name="T56" fmla="*/ 0 w 1157"/>
                <a:gd name="T57" fmla="*/ 0 h 10318"/>
                <a:gd name="T58" fmla="*/ 0 w 1157"/>
                <a:gd name="T59" fmla="*/ 0 h 1031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57"/>
                <a:gd name="T91" fmla="*/ 0 h 10318"/>
                <a:gd name="T92" fmla="*/ 1157 w 1157"/>
                <a:gd name="T93" fmla="*/ 10318 h 1031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57" h="10318">
                  <a:moveTo>
                    <a:pt x="0" y="677"/>
                  </a:moveTo>
                  <a:lnTo>
                    <a:pt x="754" y="10318"/>
                  </a:lnTo>
                  <a:lnTo>
                    <a:pt x="757" y="10310"/>
                  </a:lnTo>
                  <a:lnTo>
                    <a:pt x="762" y="10299"/>
                  </a:lnTo>
                  <a:lnTo>
                    <a:pt x="768" y="10285"/>
                  </a:lnTo>
                  <a:lnTo>
                    <a:pt x="777" y="10271"/>
                  </a:lnTo>
                  <a:lnTo>
                    <a:pt x="788" y="10256"/>
                  </a:lnTo>
                  <a:lnTo>
                    <a:pt x="802" y="10239"/>
                  </a:lnTo>
                  <a:lnTo>
                    <a:pt x="810" y="10230"/>
                  </a:lnTo>
                  <a:lnTo>
                    <a:pt x="818" y="10221"/>
                  </a:lnTo>
                  <a:lnTo>
                    <a:pt x="828" y="10212"/>
                  </a:lnTo>
                  <a:lnTo>
                    <a:pt x="839" y="10204"/>
                  </a:lnTo>
                  <a:lnTo>
                    <a:pt x="850" y="10195"/>
                  </a:lnTo>
                  <a:lnTo>
                    <a:pt x="862" y="10187"/>
                  </a:lnTo>
                  <a:lnTo>
                    <a:pt x="876" y="10177"/>
                  </a:lnTo>
                  <a:lnTo>
                    <a:pt x="890" y="10169"/>
                  </a:lnTo>
                  <a:lnTo>
                    <a:pt x="906" y="10160"/>
                  </a:lnTo>
                  <a:lnTo>
                    <a:pt x="922" y="10152"/>
                  </a:lnTo>
                  <a:lnTo>
                    <a:pt x="940" y="10144"/>
                  </a:lnTo>
                  <a:lnTo>
                    <a:pt x="959" y="10137"/>
                  </a:lnTo>
                  <a:lnTo>
                    <a:pt x="979" y="10129"/>
                  </a:lnTo>
                  <a:lnTo>
                    <a:pt x="1001" y="10122"/>
                  </a:lnTo>
                  <a:lnTo>
                    <a:pt x="1023" y="10115"/>
                  </a:lnTo>
                  <a:lnTo>
                    <a:pt x="1047" y="10109"/>
                  </a:lnTo>
                  <a:lnTo>
                    <a:pt x="1073" y="10104"/>
                  </a:lnTo>
                  <a:lnTo>
                    <a:pt x="1099" y="10099"/>
                  </a:lnTo>
                  <a:lnTo>
                    <a:pt x="1127" y="10094"/>
                  </a:lnTo>
                  <a:lnTo>
                    <a:pt x="1157" y="10090"/>
                  </a:lnTo>
                  <a:lnTo>
                    <a:pt x="1157" y="0"/>
                  </a:lnTo>
                  <a:lnTo>
                    <a:pt x="0" y="677"/>
                  </a:lnTo>
                  <a:close/>
                </a:path>
              </a:pathLst>
            </a:custGeom>
            <a:solidFill>
              <a:srgbClr val="B5B5B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0" name="Freeform 90"/>
            <p:cNvSpPr>
              <a:spLocks/>
            </p:cNvSpPr>
            <p:nvPr/>
          </p:nvSpPr>
          <p:spPr bwMode="auto">
            <a:xfrm>
              <a:off x="769570" y="5329664"/>
              <a:ext cx="1495" cy="1675"/>
            </a:xfrm>
            <a:custGeom>
              <a:avLst/>
              <a:gdLst>
                <a:gd name="T0" fmla="*/ 0 w 3"/>
                <a:gd name="T1" fmla="*/ 0 h 11"/>
                <a:gd name="T2" fmla="*/ 0 w 3"/>
                <a:gd name="T3" fmla="*/ 0 h 11"/>
                <a:gd name="T4" fmla="*/ 0 w 3"/>
                <a:gd name="T5" fmla="*/ 0 h 11"/>
                <a:gd name="T6" fmla="*/ 0 w 3"/>
                <a:gd name="T7" fmla="*/ 0 h 11"/>
                <a:gd name="T8" fmla="*/ 0 w 3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1"/>
                <a:gd name="T17" fmla="*/ 3 w 3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1">
                  <a:moveTo>
                    <a:pt x="3" y="5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1" name="Freeform 91"/>
            <p:cNvSpPr>
              <a:spLocks/>
            </p:cNvSpPr>
            <p:nvPr/>
          </p:nvSpPr>
          <p:spPr bwMode="auto">
            <a:xfrm>
              <a:off x="783022" y="4984782"/>
              <a:ext cx="43347" cy="344882"/>
            </a:xfrm>
            <a:custGeom>
              <a:avLst/>
              <a:gdLst>
                <a:gd name="T0" fmla="*/ 0 w 1458"/>
                <a:gd name="T1" fmla="*/ 0 h 10522"/>
                <a:gd name="T2" fmla="*/ 0 w 1458"/>
                <a:gd name="T3" fmla="*/ 0 h 10522"/>
                <a:gd name="T4" fmla="*/ 0 w 1458"/>
                <a:gd name="T5" fmla="*/ 0 h 10522"/>
                <a:gd name="T6" fmla="*/ 0 w 1458"/>
                <a:gd name="T7" fmla="*/ 0 h 10522"/>
                <a:gd name="T8" fmla="*/ 0 w 1458"/>
                <a:gd name="T9" fmla="*/ 0 h 10522"/>
                <a:gd name="T10" fmla="*/ 0 w 1458"/>
                <a:gd name="T11" fmla="*/ 0 h 10522"/>
                <a:gd name="T12" fmla="*/ 0 w 1458"/>
                <a:gd name="T13" fmla="*/ 0 h 10522"/>
                <a:gd name="T14" fmla="*/ 0 w 1458"/>
                <a:gd name="T15" fmla="*/ 0 h 10522"/>
                <a:gd name="T16" fmla="*/ 0 w 1458"/>
                <a:gd name="T17" fmla="*/ 0 h 10522"/>
                <a:gd name="T18" fmla="*/ 0 w 1458"/>
                <a:gd name="T19" fmla="*/ 0 h 10522"/>
                <a:gd name="T20" fmla="*/ 0 w 1458"/>
                <a:gd name="T21" fmla="*/ 0 h 10522"/>
                <a:gd name="T22" fmla="*/ 0 w 1458"/>
                <a:gd name="T23" fmla="*/ 0 h 10522"/>
                <a:gd name="T24" fmla="*/ 0 w 1458"/>
                <a:gd name="T25" fmla="*/ 0 h 10522"/>
                <a:gd name="T26" fmla="*/ 0 w 1458"/>
                <a:gd name="T27" fmla="*/ 0 h 10522"/>
                <a:gd name="T28" fmla="*/ 0 w 1458"/>
                <a:gd name="T29" fmla="*/ 0 h 10522"/>
                <a:gd name="T30" fmla="*/ 0 w 1458"/>
                <a:gd name="T31" fmla="*/ 0 h 10522"/>
                <a:gd name="T32" fmla="*/ 0 w 1458"/>
                <a:gd name="T33" fmla="*/ 0 h 10522"/>
                <a:gd name="T34" fmla="*/ 0 w 1458"/>
                <a:gd name="T35" fmla="*/ 0 h 10522"/>
                <a:gd name="T36" fmla="*/ 0 w 1458"/>
                <a:gd name="T37" fmla="*/ 0 h 10522"/>
                <a:gd name="T38" fmla="*/ 0 w 1458"/>
                <a:gd name="T39" fmla="*/ 0 h 10522"/>
                <a:gd name="T40" fmla="*/ 0 w 1458"/>
                <a:gd name="T41" fmla="*/ 0 h 10522"/>
                <a:gd name="T42" fmla="*/ 0 w 1458"/>
                <a:gd name="T43" fmla="*/ 0 h 10522"/>
                <a:gd name="T44" fmla="*/ 0 w 1458"/>
                <a:gd name="T45" fmla="*/ 0 h 10522"/>
                <a:gd name="T46" fmla="*/ 0 w 1458"/>
                <a:gd name="T47" fmla="*/ 0 h 10522"/>
                <a:gd name="T48" fmla="*/ 0 w 1458"/>
                <a:gd name="T49" fmla="*/ 0 h 10522"/>
                <a:gd name="T50" fmla="*/ 0 w 1458"/>
                <a:gd name="T51" fmla="*/ 0 h 10522"/>
                <a:gd name="T52" fmla="*/ 0 w 1458"/>
                <a:gd name="T53" fmla="*/ 0 h 10522"/>
                <a:gd name="T54" fmla="*/ 0 w 1458"/>
                <a:gd name="T55" fmla="*/ 0 h 10522"/>
                <a:gd name="T56" fmla="*/ 0 w 1458"/>
                <a:gd name="T57" fmla="*/ 0 h 10522"/>
                <a:gd name="T58" fmla="*/ 0 w 1458"/>
                <a:gd name="T59" fmla="*/ 0 h 10522"/>
                <a:gd name="T60" fmla="*/ 0 w 1458"/>
                <a:gd name="T61" fmla="*/ 0 h 10522"/>
                <a:gd name="T62" fmla="*/ 0 w 1458"/>
                <a:gd name="T63" fmla="*/ 0 h 10522"/>
                <a:gd name="T64" fmla="*/ 0 w 1458"/>
                <a:gd name="T65" fmla="*/ 0 h 10522"/>
                <a:gd name="T66" fmla="*/ 0 w 1458"/>
                <a:gd name="T67" fmla="*/ 0 h 10522"/>
                <a:gd name="T68" fmla="*/ 0 w 1458"/>
                <a:gd name="T69" fmla="*/ 0 h 1052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58"/>
                <a:gd name="T106" fmla="*/ 0 h 10522"/>
                <a:gd name="T107" fmla="*/ 1458 w 1458"/>
                <a:gd name="T108" fmla="*/ 10522 h 1052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58" h="10522">
                  <a:moveTo>
                    <a:pt x="362" y="0"/>
                  </a:moveTo>
                  <a:lnTo>
                    <a:pt x="0" y="212"/>
                  </a:lnTo>
                  <a:lnTo>
                    <a:pt x="0" y="10302"/>
                  </a:lnTo>
                  <a:lnTo>
                    <a:pt x="19" y="10300"/>
                  </a:lnTo>
                  <a:lnTo>
                    <a:pt x="38" y="10299"/>
                  </a:lnTo>
                  <a:lnTo>
                    <a:pt x="58" y="10297"/>
                  </a:lnTo>
                  <a:lnTo>
                    <a:pt x="78" y="10296"/>
                  </a:lnTo>
                  <a:lnTo>
                    <a:pt x="99" y="10295"/>
                  </a:lnTo>
                  <a:lnTo>
                    <a:pt x="120" y="10293"/>
                  </a:lnTo>
                  <a:lnTo>
                    <a:pt x="143" y="10292"/>
                  </a:lnTo>
                  <a:lnTo>
                    <a:pt x="165" y="10292"/>
                  </a:lnTo>
                  <a:lnTo>
                    <a:pt x="178" y="10291"/>
                  </a:lnTo>
                  <a:lnTo>
                    <a:pt x="212" y="10292"/>
                  </a:lnTo>
                  <a:lnTo>
                    <a:pt x="236" y="10293"/>
                  </a:lnTo>
                  <a:lnTo>
                    <a:pt x="265" y="10298"/>
                  </a:lnTo>
                  <a:lnTo>
                    <a:pt x="296" y="10303"/>
                  </a:lnTo>
                  <a:lnTo>
                    <a:pt x="330" y="10311"/>
                  </a:lnTo>
                  <a:lnTo>
                    <a:pt x="348" y="10316"/>
                  </a:lnTo>
                  <a:lnTo>
                    <a:pt x="367" y="10322"/>
                  </a:lnTo>
                  <a:lnTo>
                    <a:pt x="386" y="10328"/>
                  </a:lnTo>
                  <a:lnTo>
                    <a:pt x="405" y="10336"/>
                  </a:lnTo>
                  <a:lnTo>
                    <a:pt x="425" y="10344"/>
                  </a:lnTo>
                  <a:lnTo>
                    <a:pt x="445" y="10355"/>
                  </a:lnTo>
                  <a:lnTo>
                    <a:pt x="465" y="10365"/>
                  </a:lnTo>
                  <a:lnTo>
                    <a:pt x="485" y="10377"/>
                  </a:lnTo>
                  <a:lnTo>
                    <a:pt x="506" y="10390"/>
                  </a:lnTo>
                  <a:lnTo>
                    <a:pt x="526" y="10405"/>
                  </a:lnTo>
                  <a:lnTo>
                    <a:pt x="546" y="10421"/>
                  </a:lnTo>
                  <a:lnTo>
                    <a:pt x="566" y="10438"/>
                  </a:lnTo>
                  <a:lnTo>
                    <a:pt x="586" y="10457"/>
                  </a:lnTo>
                  <a:lnTo>
                    <a:pt x="605" y="10477"/>
                  </a:lnTo>
                  <a:lnTo>
                    <a:pt x="624" y="10499"/>
                  </a:lnTo>
                  <a:lnTo>
                    <a:pt x="643" y="10522"/>
                  </a:lnTo>
                  <a:lnTo>
                    <a:pt x="1458" y="631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C1C1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2" name="Freeform 92"/>
            <p:cNvSpPr>
              <a:spLocks/>
            </p:cNvSpPr>
            <p:nvPr/>
          </p:nvSpPr>
          <p:spPr bwMode="auto">
            <a:xfrm>
              <a:off x="895127" y="5003198"/>
              <a:ext cx="133031" cy="406827"/>
            </a:xfrm>
            <a:custGeom>
              <a:avLst/>
              <a:gdLst>
                <a:gd name="T0" fmla="*/ 0 w 4414"/>
                <a:gd name="T1" fmla="*/ 0 h 12417"/>
                <a:gd name="T2" fmla="*/ 0 w 4414"/>
                <a:gd name="T3" fmla="*/ 0 h 12417"/>
                <a:gd name="T4" fmla="*/ 0 w 4414"/>
                <a:gd name="T5" fmla="*/ 0 h 12417"/>
                <a:gd name="T6" fmla="*/ 0 w 4414"/>
                <a:gd name="T7" fmla="*/ 0 h 12417"/>
                <a:gd name="T8" fmla="*/ 0 w 4414"/>
                <a:gd name="T9" fmla="*/ 0 h 124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14"/>
                <a:gd name="T16" fmla="*/ 0 h 12417"/>
                <a:gd name="T17" fmla="*/ 4414 w 4414"/>
                <a:gd name="T18" fmla="*/ 12417 h 124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14" h="12417">
                  <a:moveTo>
                    <a:pt x="0" y="2752"/>
                  </a:moveTo>
                  <a:lnTo>
                    <a:pt x="4414" y="0"/>
                  </a:lnTo>
                  <a:lnTo>
                    <a:pt x="4414" y="9747"/>
                  </a:lnTo>
                  <a:lnTo>
                    <a:pt x="60" y="12417"/>
                  </a:lnTo>
                  <a:lnTo>
                    <a:pt x="0" y="2752"/>
                  </a:lnTo>
                  <a:close/>
                </a:path>
              </a:pathLst>
            </a:custGeom>
            <a:solidFill>
              <a:srgbClr val="B9B9B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3" name="Freeform 93"/>
            <p:cNvSpPr>
              <a:spLocks/>
            </p:cNvSpPr>
            <p:nvPr/>
          </p:nvSpPr>
          <p:spPr bwMode="auto">
            <a:xfrm>
              <a:off x="796475" y="5026636"/>
              <a:ext cx="101641" cy="383389"/>
            </a:xfrm>
            <a:custGeom>
              <a:avLst/>
              <a:gdLst>
                <a:gd name="T0" fmla="*/ 0 w 3381"/>
                <a:gd name="T1" fmla="*/ 0 h 11718"/>
                <a:gd name="T2" fmla="*/ 0 w 3381"/>
                <a:gd name="T3" fmla="*/ 0 h 11718"/>
                <a:gd name="T4" fmla="*/ 0 w 3381"/>
                <a:gd name="T5" fmla="*/ 0 h 11718"/>
                <a:gd name="T6" fmla="*/ 0 w 3381"/>
                <a:gd name="T7" fmla="*/ 0 h 11718"/>
                <a:gd name="T8" fmla="*/ 0 w 3381"/>
                <a:gd name="T9" fmla="*/ 0 h 117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81"/>
                <a:gd name="T16" fmla="*/ 0 h 11718"/>
                <a:gd name="T17" fmla="*/ 3381 w 3381"/>
                <a:gd name="T18" fmla="*/ 11718 h 117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81" h="11718">
                  <a:moveTo>
                    <a:pt x="3381" y="2029"/>
                  </a:moveTo>
                  <a:lnTo>
                    <a:pt x="0" y="0"/>
                  </a:lnTo>
                  <a:lnTo>
                    <a:pt x="0" y="9779"/>
                  </a:lnTo>
                  <a:lnTo>
                    <a:pt x="3381" y="11718"/>
                  </a:lnTo>
                  <a:lnTo>
                    <a:pt x="3381" y="2029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4" name="Freeform 94"/>
            <p:cNvSpPr>
              <a:spLocks/>
            </p:cNvSpPr>
            <p:nvPr/>
          </p:nvSpPr>
          <p:spPr bwMode="auto">
            <a:xfrm>
              <a:off x="805443" y="5050075"/>
              <a:ext cx="80715" cy="130586"/>
            </a:xfrm>
            <a:custGeom>
              <a:avLst/>
              <a:gdLst>
                <a:gd name="T0" fmla="*/ 0 w 2733"/>
                <a:gd name="T1" fmla="*/ 0 h 3953"/>
                <a:gd name="T2" fmla="*/ 0 w 2733"/>
                <a:gd name="T3" fmla="*/ 0 h 3953"/>
                <a:gd name="T4" fmla="*/ 0 w 2733"/>
                <a:gd name="T5" fmla="*/ 0 h 3953"/>
                <a:gd name="T6" fmla="*/ 0 w 2733"/>
                <a:gd name="T7" fmla="*/ 0 h 3953"/>
                <a:gd name="T8" fmla="*/ 0 w 2733"/>
                <a:gd name="T9" fmla="*/ 0 h 39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33"/>
                <a:gd name="T16" fmla="*/ 0 h 3953"/>
                <a:gd name="T17" fmla="*/ 2733 w 2733"/>
                <a:gd name="T18" fmla="*/ 3953 h 39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33" h="3953">
                  <a:moveTo>
                    <a:pt x="0" y="0"/>
                  </a:moveTo>
                  <a:lnTo>
                    <a:pt x="0" y="2385"/>
                  </a:lnTo>
                  <a:lnTo>
                    <a:pt x="2733" y="3953"/>
                  </a:lnTo>
                  <a:lnTo>
                    <a:pt x="2733" y="15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5" name="Freeform 95"/>
            <p:cNvSpPr>
              <a:spLocks/>
            </p:cNvSpPr>
            <p:nvPr/>
          </p:nvSpPr>
          <p:spPr bwMode="auto">
            <a:xfrm>
              <a:off x="715760" y="4974737"/>
              <a:ext cx="53810" cy="354927"/>
            </a:xfrm>
            <a:custGeom>
              <a:avLst/>
              <a:gdLst>
                <a:gd name="T0" fmla="*/ 0 w 1839"/>
                <a:gd name="T1" fmla="*/ 0 h 10814"/>
                <a:gd name="T2" fmla="*/ 0 w 1839"/>
                <a:gd name="T3" fmla="*/ 0 h 10814"/>
                <a:gd name="T4" fmla="*/ 0 w 1839"/>
                <a:gd name="T5" fmla="*/ 0 h 10814"/>
                <a:gd name="T6" fmla="*/ 0 w 1839"/>
                <a:gd name="T7" fmla="*/ 0 h 10814"/>
                <a:gd name="T8" fmla="*/ 0 w 1839"/>
                <a:gd name="T9" fmla="*/ 0 h 10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39"/>
                <a:gd name="T16" fmla="*/ 0 h 10814"/>
                <a:gd name="T17" fmla="*/ 1839 w 1839"/>
                <a:gd name="T18" fmla="*/ 10814 h 108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39" h="10814">
                  <a:moveTo>
                    <a:pt x="5" y="0"/>
                  </a:moveTo>
                  <a:lnTo>
                    <a:pt x="0" y="9760"/>
                  </a:lnTo>
                  <a:lnTo>
                    <a:pt x="1839" y="10814"/>
                  </a:lnTo>
                  <a:lnTo>
                    <a:pt x="1839" y="101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6" name="Freeform 96"/>
            <p:cNvSpPr>
              <a:spLocks/>
            </p:cNvSpPr>
            <p:nvPr/>
          </p:nvSpPr>
          <p:spPr bwMode="auto">
            <a:xfrm>
              <a:off x="724728" y="4999849"/>
              <a:ext cx="40358" cy="108823"/>
            </a:xfrm>
            <a:custGeom>
              <a:avLst/>
              <a:gdLst>
                <a:gd name="T0" fmla="*/ 0 w 1368"/>
                <a:gd name="T1" fmla="*/ 0 h 3287"/>
                <a:gd name="T2" fmla="*/ 0 w 1368"/>
                <a:gd name="T3" fmla="*/ 0 h 3287"/>
                <a:gd name="T4" fmla="*/ 0 w 1368"/>
                <a:gd name="T5" fmla="*/ 0 h 3287"/>
                <a:gd name="T6" fmla="*/ 0 w 1368"/>
                <a:gd name="T7" fmla="*/ 0 h 3287"/>
                <a:gd name="T8" fmla="*/ 0 w 1368"/>
                <a:gd name="T9" fmla="*/ 0 h 32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8"/>
                <a:gd name="T16" fmla="*/ 0 h 3287"/>
                <a:gd name="T17" fmla="*/ 1368 w 1368"/>
                <a:gd name="T18" fmla="*/ 3287 h 328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8" h="3287">
                  <a:moveTo>
                    <a:pt x="0" y="0"/>
                  </a:moveTo>
                  <a:lnTo>
                    <a:pt x="0" y="2516"/>
                  </a:lnTo>
                  <a:lnTo>
                    <a:pt x="1368" y="3287"/>
                  </a:lnTo>
                  <a:lnTo>
                    <a:pt x="1368" y="7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7" name="Freeform 97"/>
            <p:cNvSpPr>
              <a:spLocks/>
            </p:cNvSpPr>
            <p:nvPr/>
          </p:nvSpPr>
          <p:spPr bwMode="auto">
            <a:xfrm>
              <a:off x="803948" y="5145504"/>
              <a:ext cx="80715" cy="78687"/>
            </a:xfrm>
            <a:custGeom>
              <a:avLst/>
              <a:gdLst>
                <a:gd name="T0" fmla="*/ 0 w 2688"/>
                <a:gd name="T1" fmla="*/ 0 h 2433"/>
                <a:gd name="T2" fmla="*/ 0 w 2688"/>
                <a:gd name="T3" fmla="*/ 0 h 2433"/>
                <a:gd name="T4" fmla="*/ 0 w 2688"/>
                <a:gd name="T5" fmla="*/ 0 h 2433"/>
                <a:gd name="T6" fmla="*/ 0 w 2688"/>
                <a:gd name="T7" fmla="*/ 0 h 2433"/>
                <a:gd name="T8" fmla="*/ 0 w 2688"/>
                <a:gd name="T9" fmla="*/ 0 h 2433"/>
                <a:gd name="T10" fmla="*/ 0 w 2688"/>
                <a:gd name="T11" fmla="*/ 0 h 2433"/>
                <a:gd name="T12" fmla="*/ 0 w 2688"/>
                <a:gd name="T13" fmla="*/ 0 h 2433"/>
                <a:gd name="T14" fmla="*/ 0 w 2688"/>
                <a:gd name="T15" fmla="*/ 0 h 2433"/>
                <a:gd name="T16" fmla="*/ 0 w 2688"/>
                <a:gd name="T17" fmla="*/ 0 h 2433"/>
                <a:gd name="T18" fmla="*/ 0 w 2688"/>
                <a:gd name="T19" fmla="*/ 0 h 2433"/>
                <a:gd name="T20" fmla="*/ 0 w 2688"/>
                <a:gd name="T21" fmla="*/ 0 h 2433"/>
                <a:gd name="T22" fmla="*/ 0 w 2688"/>
                <a:gd name="T23" fmla="*/ 0 h 2433"/>
                <a:gd name="T24" fmla="*/ 0 w 2688"/>
                <a:gd name="T25" fmla="*/ 0 h 2433"/>
                <a:gd name="T26" fmla="*/ 0 w 2688"/>
                <a:gd name="T27" fmla="*/ 0 h 2433"/>
                <a:gd name="T28" fmla="*/ 0 w 2688"/>
                <a:gd name="T29" fmla="*/ 0 h 2433"/>
                <a:gd name="T30" fmla="*/ 0 w 2688"/>
                <a:gd name="T31" fmla="*/ 0 h 2433"/>
                <a:gd name="T32" fmla="*/ 0 w 2688"/>
                <a:gd name="T33" fmla="*/ 0 h 2433"/>
                <a:gd name="T34" fmla="*/ 0 w 2688"/>
                <a:gd name="T35" fmla="*/ 0 h 2433"/>
                <a:gd name="T36" fmla="*/ 0 w 2688"/>
                <a:gd name="T37" fmla="*/ 0 h 2433"/>
                <a:gd name="T38" fmla="*/ 0 w 2688"/>
                <a:gd name="T39" fmla="*/ 0 h 2433"/>
                <a:gd name="T40" fmla="*/ 0 w 2688"/>
                <a:gd name="T41" fmla="*/ 0 h 2433"/>
                <a:gd name="T42" fmla="*/ 0 w 2688"/>
                <a:gd name="T43" fmla="*/ 0 h 2433"/>
                <a:gd name="T44" fmla="*/ 0 w 2688"/>
                <a:gd name="T45" fmla="*/ 0 h 2433"/>
                <a:gd name="T46" fmla="*/ 0 w 2688"/>
                <a:gd name="T47" fmla="*/ 0 h 2433"/>
                <a:gd name="T48" fmla="*/ 0 w 2688"/>
                <a:gd name="T49" fmla="*/ 0 h 2433"/>
                <a:gd name="T50" fmla="*/ 0 w 2688"/>
                <a:gd name="T51" fmla="*/ 0 h 2433"/>
                <a:gd name="T52" fmla="*/ 0 w 2688"/>
                <a:gd name="T53" fmla="*/ 0 h 2433"/>
                <a:gd name="T54" fmla="*/ 0 w 2688"/>
                <a:gd name="T55" fmla="*/ 0 h 2433"/>
                <a:gd name="T56" fmla="*/ 0 w 2688"/>
                <a:gd name="T57" fmla="*/ 0 h 2433"/>
                <a:gd name="T58" fmla="*/ 0 w 2688"/>
                <a:gd name="T59" fmla="*/ 0 h 2433"/>
                <a:gd name="T60" fmla="*/ 0 w 2688"/>
                <a:gd name="T61" fmla="*/ 0 h 2433"/>
                <a:gd name="T62" fmla="*/ 0 w 2688"/>
                <a:gd name="T63" fmla="*/ 0 h 2433"/>
                <a:gd name="T64" fmla="*/ 0 w 2688"/>
                <a:gd name="T65" fmla="*/ 0 h 2433"/>
                <a:gd name="T66" fmla="*/ 0 w 2688"/>
                <a:gd name="T67" fmla="*/ 0 h 2433"/>
                <a:gd name="T68" fmla="*/ 0 w 2688"/>
                <a:gd name="T69" fmla="*/ 0 h 2433"/>
                <a:gd name="T70" fmla="*/ 0 w 2688"/>
                <a:gd name="T71" fmla="*/ 0 h 2433"/>
                <a:gd name="T72" fmla="*/ 0 w 2688"/>
                <a:gd name="T73" fmla="*/ 0 h 2433"/>
                <a:gd name="T74" fmla="*/ 0 w 2688"/>
                <a:gd name="T75" fmla="*/ 0 h 2433"/>
                <a:gd name="T76" fmla="*/ 0 w 2688"/>
                <a:gd name="T77" fmla="*/ 0 h 2433"/>
                <a:gd name="T78" fmla="*/ 0 w 2688"/>
                <a:gd name="T79" fmla="*/ 0 h 2433"/>
                <a:gd name="T80" fmla="*/ 0 w 2688"/>
                <a:gd name="T81" fmla="*/ 0 h 2433"/>
                <a:gd name="T82" fmla="*/ 0 w 2688"/>
                <a:gd name="T83" fmla="*/ 0 h 2433"/>
                <a:gd name="T84" fmla="*/ 0 w 2688"/>
                <a:gd name="T85" fmla="*/ 0 h 2433"/>
                <a:gd name="T86" fmla="*/ 0 w 2688"/>
                <a:gd name="T87" fmla="*/ 0 h 2433"/>
                <a:gd name="T88" fmla="*/ 0 w 2688"/>
                <a:gd name="T89" fmla="*/ 0 h 2433"/>
                <a:gd name="T90" fmla="*/ 0 w 2688"/>
                <a:gd name="T91" fmla="*/ 0 h 2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88"/>
                <a:gd name="T139" fmla="*/ 0 h 2433"/>
                <a:gd name="T140" fmla="*/ 2688 w 2688"/>
                <a:gd name="T141" fmla="*/ 2433 h 2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88" h="2433">
                  <a:moveTo>
                    <a:pt x="2688" y="2312"/>
                  </a:moveTo>
                  <a:lnTo>
                    <a:pt x="2688" y="2322"/>
                  </a:lnTo>
                  <a:lnTo>
                    <a:pt x="2687" y="2332"/>
                  </a:lnTo>
                  <a:lnTo>
                    <a:pt x="2686" y="2342"/>
                  </a:lnTo>
                  <a:lnTo>
                    <a:pt x="2684" y="2351"/>
                  </a:lnTo>
                  <a:lnTo>
                    <a:pt x="2682" y="2359"/>
                  </a:lnTo>
                  <a:lnTo>
                    <a:pt x="2679" y="2367"/>
                  </a:lnTo>
                  <a:lnTo>
                    <a:pt x="2676" y="2375"/>
                  </a:lnTo>
                  <a:lnTo>
                    <a:pt x="2673" y="2382"/>
                  </a:lnTo>
                  <a:lnTo>
                    <a:pt x="2669" y="2390"/>
                  </a:lnTo>
                  <a:lnTo>
                    <a:pt x="2664" y="2396"/>
                  </a:lnTo>
                  <a:lnTo>
                    <a:pt x="2660" y="2402"/>
                  </a:lnTo>
                  <a:lnTo>
                    <a:pt x="2655" y="2407"/>
                  </a:lnTo>
                  <a:lnTo>
                    <a:pt x="2649" y="2412"/>
                  </a:lnTo>
                  <a:lnTo>
                    <a:pt x="2643" y="2416"/>
                  </a:lnTo>
                  <a:lnTo>
                    <a:pt x="2637" y="2420"/>
                  </a:lnTo>
                  <a:lnTo>
                    <a:pt x="2631" y="2424"/>
                  </a:lnTo>
                  <a:lnTo>
                    <a:pt x="2624" y="2426"/>
                  </a:lnTo>
                  <a:lnTo>
                    <a:pt x="2617" y="2429"/>
                  </a:lnTo>
                  <a:lnTo>
                    <a:pt x="2609" y="2431"/>
                  </a:lnTo>
                  <a:lnTo>
                    <a:pt x="2602" y="2432"/>
                  </a:lnTo>
                  <a:lnTo>
                    <a:pt x="2594" y="2433"/>
                  </a:lnTo>
                  <a:lnTo>
                    <a:pt x="2586" y="2433"/>
                  </a:lnTo>
                  <a:lnTo>
                    <a:pt x="2577" y="2433"/>
                  </a:lnTo>
                  <a:lnTo>
                    <a:pt x="2569" y="2433"/>
                  </a:lnTo>
                  <a:lnTo>
                    <a:pt x="2551" y="2429"/>
                  </a:lnTo>
                  <a:lnTo>
                    <a:pt x="2532" y="2424"/>
                  </a:lnTo>
                  <a:lnTo>
                    <a:pt x="2513" y="2417"/>
                  </a:lnTo>
                  <a:lnTo>
                    <a:pt x="2493" y="2407"/>
                  </a:lnTo>
                  <a:lnTo>
                    <a:pt x="196" y="1138"/>
                  </a:lnTo>
                  <a:lnTo>
                    <a:pt x="176" y="1127"/>
                  </a:lnTo>
                  <a:lnTo>
                    <a:pt x="156" y="1113"/>
                  </a:lnTo>
                  <a:lnTo>
                    <a:pt x="138" y="1097"/>
                  </a:lnTo>
                  <a:lnTo>
                    <a:pt x="120" y="1081"/>
                  </a:lnTo>
                  <a:lnTo>
                    <a:pt x="103" y="1063"/>
                  </a:lnTo>
                  <a:lnTo>
                    <a:pt x="86" y="1043"/>
                  </a:lnTo>
                  <a:lnTo>
                    <a:pt x="71" y="1024"/>
                  </a:lnTo>
                  <a:lnTo>
                    <a:pt x="58" y="1002"/>
                  </a:lnTo>
                  <a:lnTo>
                    <a:pt x="45" y="981"/>
                  </a:lnTo>
                  <a:lnTo>
                    <a:pt x="34" y="960"/>
                  </a:lnTo>
                  <a:lnTo>
                    <a:pt x="24" y="937"/>
                  </a:lnTo>
                  <a:lnTo>
                    <a:pt x="16" y="915"/>
                  </a:lnTo>
                  <a:lnTo>
                    <a:pt x="9" y="892"/>
                  </a:lnTo>
                  <a:lnTo>
                    <a:pt x="4" y="871"/>
                  </a:lnTo>
                  <a:lnTo>
                    <a:pt x="1" y="848"/>
                  </a:lnTo>
                  <a:lnTo>
                    <a:pt x="0" y="827"/>
                  </a:lnTo>
                  <a:lnTo>
                    <a:pt x="0" y="122"/>
                  </a:lnTo>
                  <a:lnTo>
                    <a:pt x="1" y="112"/>
                  </a:lnTo>
                  <a:lnTo>
                    <a:pt x="1" y="102"/>
                  </a:lnTo>
                  <a:lnTo>
                    <a:pt x="3" y="93"/>
                  </a:lnTo>
                  <a:lnTo>
                    <a:pt x="4" y="83"/>
                  </a:lnTo>
                  <a:lnTo>
                    <a:pt x="6" y="74"/>
                  </a:lnTo>
                  <a:lnTo>
                    <a:pt x="9" y="66"/>
                  </a:lnTo>
                  <a:lnTo>
                    <a:pt x="12" y="59"/>
                  </a:lnTo>
                  <a:lnTo>
                    <a:pt x="16" y="52"/>
                  </a:lnTo>
                  <a:lnTo>
                    <a:pt x="20" y="45"/>
                  </a:lnTo>
                  <a:lnTo>
                    <a:pt x="24" y="38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9" y="22"/>
                  </a:lnTo>
                  <a:lnTo>
                    <a:pt x="45" y="17"/>
                  </a:lnTo>
                  <a:lnTo>
                    <a:pt x="51" y="13"/>
                  </a:lnTo>
                  <a:lnTo>
                    <a:pt x="58" y="10"/>
                  </a:lnTo>
                  <a:lnTo>
                    <a:pt x="64" y="7"/>
                  </a:lnTo>
                  <a:lnTo>
                    <a:pt x="71" y="5"/>
                  </a:lnTo>
                  <a:lnTo>
                    <a:pt x="79" y="3"/>
                  </a:lnTo>
                  <a:lnTo>
                    <a:pt x="86" y="1"/>
                  </a:lnTo>
                  <a:lnTo>
                    <a:pt x="94" y="1"/>
                  </a:lnTo>
                  <a:lnTo>
                    <a:pt x="103" y="0"/>
                  </a:lnTo>
                  <a:lnTo>
                    <a:pt x="111" y="0"/>
                  </a:lnTo>
                  <a:lnTo>
                    <a:pt x="120" y="1"/>
                  </a:lnTo>
                  <a:lnTo>
                    <a:pt x="138" y="4"/>
                  </a:lnTo>
                  <a:lnTo>
                    <a:pt x="156" y="9"/>
                  </a:lnTo>
                  <a:lnTo>
                    <a:pt x="176" y="17"/>
                  </a:lnTo>
                  <a:lnTo>
                    <a:pt x="196" y="26"/>
                  </a:lnTo>
                  <a:lnTo>
                    <a:pt x="2493" y="1295"/>
                  </a:lnTo>
                  <a:lnTo>
                    <a:pt x="2513" y="1307"/>
                  </a:lnTo>
                  <a:lnTo>
                    <a:pt x="2532" y="1321"/>
                  </a:lnTo>
                  <a:lnTo>
                    <a:pt x="2551" y="1336"/>
                  </a:lnTo>
                  <a:lnTo>
                    <a:pt x="2569" y="1353"/>
                  </a:lnTo>
                  <a:lnTo>
                    <a:pt x="2586" y="1372"/>
                  </a:lnTo>
                  <a:lnTo>
                    <a:pt x="2602" y="1390"/>
                  </a:lnTo>
                  <a:lnTo>
                    <a:pt x="2617" y="1410"/>
                  </a:lnTo>
                  <a:lnTo>
                    <a:pt x="2631" y="1431"/>
                  </a:lnTo>
                  <a:lnTo>
                    <a:pt x="2643" y="1452"/>
                  </a:lnTo>
                  <a:lnTo>
                    <a:pt x="2655" y="1475"/>
                  </a:lnTo>
                  <a:lnTo>
                    <a:pt x="2664" y="1496"/>
                  </a:lnTo>
                  <a:lnTo>
                    <a:pt x="2673" y="1518"/>
                  </a:lnTo>
                  <a:lnTo>
                    <a:pt x="2679" y="1541"/>
                  </a:lnTo>
                  <a:lnTo>
                    <a:pt x="2684" y="1563"/>
                  </a:lnTo>
                  <a:lnTo>
                    <a:pt x="2687" y="1585"/>
                  </a:lnTo>
                  <a:lnTo>
                    <a:pt x="2688" y="1606"/>
                  </a:lnTo>
                  <a:lnTo>
                    <a:pt x="2688" y="2312"/>
                  </a:lnTo>
                  <a:close/>
                </a:path>
              </a:pathLst>
            </a:custGeom>
            <a:solidFill>
              <a:srgbClr val="EDA74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8" name="Freeform 98"/>
            <p:cNvSpPr>
              <a:spLocks/>
            </p:cNvSpPr>
            <p:nvPr/>
          </p:nvSpPr>
          <p:spPr bwMode="auto">
            <a:xfrm>
              <a:off x="724728" y="5003198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2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2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39" name="Freeform 99"/>
            <p:cNvSpPr>
              <a:spLocks/>
            </p:cNvSpPr>
            <p:nvPr/>
          </p:nvSpPr>
          <p:spPr bwMode="auto">
            <a:xfrm>
              <a:off x="724728" y="5016591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7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0" name="Freeform 100"/>
            <p:cNvSpPr>
              <a:spLocks/>
            </p:cNvSpPr>
            <p:nvPr/>
          </p:nvSpPr>
          <p:spPr bwMode="auto">
            <a:xfrm>
              <a:off x="724728" y="5029985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1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2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7"/>
                  </a:lnTo>
                  <a:lnTo>
                    <a:pt x="1366" y="831"/>
                  </a:lnTo>
                  <a:lnTo>
                    <a:pt x="1371" y="824"/>
                  </a:lnTo>
                  <a:lnTo>
                    <a:pt x="1374" y="816"/>
                  </a:lnTo>
                  <a:lnTo>
                    <a:pt x="1377" y="808"/>
                  </a:lnTo>
                  <a:lnTo>
                    <a:pt x="1379" y="801"/>
                  </a:lnTo>
                  <a:lnTo>
                    <a:pt x="1380" y="793"/>
                  </a:lnTo>
                  <a:lnTo>
                    <a:pt x="1380" y="786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6"/>
                  </a:lnTo>
                  <a:lnTo>
                    <a:pt x="1359" y="730"/>
                  </a:lnTo>
                  <a:lnTo>
                    <a:pt x="1354" y="725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1"/>
                  </a:lnTo>
                  <a:lnTo>
                    <a:pt x="57" y="3"/>
                  </a:lnTo>
                  <a:lnTo>
                    <a:pt x="50" y="5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1" name="Freeform 101"/>
            <p:cNvSpPr>
              <a:spLocks/>
            </p:cNvSpPr>
            <p:nvPr/>
          </p:nvSpPr>
          <p:spPr bwMode="auto">
            <a:xfrm>
              <a:off x="724728" y="5045053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3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3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4"/>
                  </a:lnTo>
                  <a:lnTo>
                    <a:pt x="1344" y="851"/>
                  </a:lnTo>
                  <a:lnTo>
                    <a:pt x="1350" y="846"/>
                  </a:lnTo>
                  <a:lnTo>
                    <a:pt x="1356" y="841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2" name="Freeform 102"/>
            <p:cNvSpPr>
              <a:spLocks/>
            </p:cNvSpPr>
            <p:nvPr/>
          </p:nvSpPr>
          <p:spPr bwMode="auto">
            <a:xfrm>
              <a:off x="724728" y="5058446"/>
              <a:ext cx="40358" cy="28462"/>
            </a:xfrm>
            <a:custGeom>
              <a:avLst/>
              <a:gdLst>
                <a:gd name="T0" fmla="*/ 0 w 1380"/>
                <a:gd name="T1" fmla="*/ 0 h 864"/>
                <a:gd name="T2" fmla="*/ 0 w 1380"/>
                <a:gd name="T3" fmla="*/ 0 h 864"/>
                <a:gd name="T4" fmla="*/ 0 w 1380"/>
                <a:gd name="T5" fmla="*/ 0 h 864"/>
                <a:gd name="T6" fmla="*/ 0 w 1380"/>
                <a:gd name="T7" fmla="*/ 0 h 864"/>
                <a:gd name="T8" fmla="*/ 0 w 1380"/>
                <a:gd name="T9" fmla="*/ 0 h 864"/>
                <a:gd name="T10" fmla="*/ 0 w 1380"/>
                <a:gd name="T11" fmla="*/ 0 h 864"/>
                <a:gd name="T12" fmla="*/ 0 w 1380"/>
                <a:gd name="T13" fmla="*/ 0 h 864"/>
                <a:gd name="T14" fmla="*/ 0 w 1380"/>
                <a:gd name="T15" fmla="*/ 0 h 864"/>
                <a:gd name="T16" fmla="*/ 0 w 1380"/>
                <a:gd name="T17" fmla="*/ 0 h 864"/>
                <a:gd name="T18" fmla="*/ 0 w 1380"/>
                <a:gd name="T19" fmla="*/ 0 h 864"/>
                <a:gd name="T20" fmla="*/ 0 w 1380"/>
                <a:gd name="T21" fmla="*/ 0 h 864"/>
                <a:gd name="T22" fmla="*/ 0 w 1380"/>
                <a:gd name="T23" fmla="*/ 0 h 864"/>
                <a:gd name="T24" fmla="*/ 0 w 1380"/>
                <a:gd name="T25" fmla="*/ 0 h 864"/>
                <a:gd name="T26" fmla="*/ 0 w 1380"/>
                <a:gd name="T27" fmla="*/ 0 h 864"/>
                <a:gd name="T28" fmla="*/ 0 w 1380"/>
                <a:gd name="T29" fmla="*/ 0 h 864"/>
                <a:gd name="T30" fmla="*/ 0 w 1380"/>
                <a:gd name="T31" fmla="*/ 0 h 864"/>
                <a:gd name="T32" fmla="*/ 0 w 1380"/>
                <a:gd name="T33" fmla="*/ 0 h 864"/>
                <a:gd name="T34" fmla="*/ 0 w 1380"/>
                <a:gd name="T35" fmla="*/ 0 h 864"/>
                <a:gd name="T36" fmla="*/ 0 w 1380"/>
                <a:gd name="T37" fmla="*/ 0 h 864"/>
                <a:gd name="T38" fmla="*/ 0 w 1380"/>
                <a:gd name="T39" fmla="*/ 0 h 864"/>
                <a:gd name="T40" fmla="*/ 0 w 1380"/>
                <a:gd name="T41" fmla="*/ 0 h 864"/>
                <a:gd name="T42" fmla="*/ 0 w 1380"/>
                <a:gd name="T43" fmla="*/ 0 h 864"/>
                <a:gd name="T44" fmla="*/ 0 w 1380"/>
                <a:gd name="T45" fmla="*/ 0 h 864"/>
                <a:gd name="T46" fmla="*/ 0 w 1380"/>
                <a:gd name="T47" fmla="*/ 0 h 864"/>
                <a:gd name="T48" fmla="*/ 0 w 1380"/>
                <a:gd name="T49" fmla="*/ 0 h 864"/>
                <a:gd name="T50" fmla="*/ 0 w 1380"/>
                <a:gd name="T51" fmla="*/ 0 h 864"/>
                <a:gd name="T52" fmla="*/ 0 w 1380"/>
                <a:gd name="T53" fmla="*/ 0 h 864"/>
                <a:gd name="T54" fmla="*/ 0 w 1380"/>
                <a:gd name="T55" fmla="*/ 0 h 864"/>
                <a:gd name="T56" fmla="*/ 0 w 1380"/>
                <a:gd name="T57" fmla="*/ 0 h 864"/>
                <a:gd name="T58" fmla="*/ 0 w 1380"/>
                <a:gd name="T59" fmla="*/ 0 h 864"/>
                <a:gd name="T60" fmla="*/ 0 w 1380"/>
                <a:gd name="T61" fmla="*/ 0 h 864"/>
                <a:gd name="T62" fmla="*/ 0 w 1380"/>
                <a:gd name="T63" fmla="*/ 0 h 864"/>
                <a:gd name="T64" fmla="*/ 0 w 1380"/>
                <a:gd name="T65" fmla="*/ 0 h 86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4"/>
                <a:gd name="T101" fmla="*/ 1380 w 1380"/>
                <a:gd name="T102" fmla="*/ 864 h 86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4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1263" y="854"/>
                  </a:lnTo>
                  <a:lnTo>
                    <a:pt x="1270" y="857"/>
                  </a:lnTo>
                  <a:lnTo>
                    <a:pt x="1278" y="860"/>
                  </a:lnTo>
                  <a:lnTo>
                    <a:pt x="1286" y="862"/>
                  </a:lnTo>
                  <a:lnTo>
                    <a:pt x="1294" y="863"/>
                  </a:lnTo>
                  <a:lnTo>
                    <a:pt x="1301" y="864"/>
                  </a:lnTo>
                  <a:lnTo>
                    <a:pt x="1309" y="864"/>
                  </a:lnTo>
                  <a:lnTo>
                    <a:pt x="1316" y="863"/>
                  </a:lnTo>
                  <a:lnTo>
                    <a:pt x="1323" y="861"/>
                  </a:lnTo>
                  <a:lnTo>
                    <a:pt x="1330" y="859"/>
                  </a:lnTo>
                  <a:lnTo>
                    <a:pt x="1337" y="856"/>
                  </a:lnTo>
                  <a:lnTo>
                    <a:pt x="1344" y="852"/>
                  </a:lnTo>
                  <a:lnTo>
                    <a:pt x="1350" y="848"/>
                  </a:lnTo>
                  <a:lnTo>
                    <a:pt x="1356" y="843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3"/>
                  </a:lnTo>
                  <a:lnTo>
                    <a:pt x="1374" y="816"/>
                  </a:lnTo>
                  <a:lnTo>
                    <a:pt x="1377" y="809"/>
                  </a:lnTo>
                  <a:lnTo>
                    <a:pt x="1379" y="801"/>
                  </a:lnTo>
                  <a:lnTo>
                    <a:pt x="1380" y="794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70"/>
                  </a:lnTo>
                  <a:lnTo>
                    <a:pt x="1378" y="763"/>
                  </a:lnTo>
                  <a:lnTo>
                    <a:pt x="1375" y="756"/>
                  </a:lnTo>
                  <a:lnTo>
                    <a:pt x="1372" y="749"/>
                  </a:lnTo>
                  <a:lnTo>
                    <a:pt x="1368" y="742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9"/>
                  </a:lnTo>
                  <a:lnTo>
                    <a:pt x="1341" y="715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7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3" name="Freeform 103"/>
            <p:cNvSpPr>
              <a:spLocks/>
            </p:cNvSpPr>
            <p:nvPr/>
          </p:nvSpPr>
          <p:spPr bwMode="auto">
            <a:xfrm>
              <a:off x="724728" y="5071840"/>
              <a:ext cx="40358" cy="28462"/>
            </a:xfrm>
            <a:custGeom>
              <a:avLst/>
              <a:gdLst>
                <a:gd name="T0" fmla="*/ 0 w 1380"/>
                <a:gd name="T1" fmla="*/ 0 h 863"/>
                <a:gd name="T2" fmla="*/ 0 w 1380"/>
                <a:gd name="T3" fmla="*/ 0 h 863"/>
                <a:gd name="T4" fmla="*/ 0 w 1380"/>
                <a:gd name="T5" fmla="*/ 0 h 863"/>
                <a:gd name="T6" fmla="*/ 0 w 1380"/>
                <a:gd name="T7" fmla="*/ 0 h 863"/>
                <a:gd name="T8" fmla="*/ 0 w 1380"/>
                <a:gd name="T9" fmla="*/ 0 h 863"/>
                <a:gd name="T10" fmla="*/ 0 w 1380"/>
                <a:gd name="T11" fmla="*/ 0 h 863"/>
                <a:gd name="T12" fmla="*/ 0 w 1380"/>
                <a:gd name="T13" fmla="*/ 0 h 863"/>
                <a:gd name="T14" fmla="*/ 0 w 1380"/>
                <a:gd name="T15" fmla="*/ 0 h 863"/>
                <a:gd name="T16" fmla="*/ 0 w 1380"/>
                <a:gd name="T17" fmla="*/ 0 h 863"/>
                <a:gd name="T18" fmla="*/ 0 w 1380"/>
                <a:gd name="T19" fmla="*/ 0 h 863"/>
                <a:gd name="T20" fmla="*/ 0 w 1380"/>
                <a:gd name="T21" fmla="*/ 0 h 863"/>
                <a:gd name="T22" fmla="*/ 0 w 1380"/>
                <a:gd name="T23" fmla="*/ 0 h 863"/>
                <a:gd name="T24" fmla="*/ 0 w 1380"/>
                <a:gd name="T25" fmla="*/ 0 h 863"/>
                <a:gd name="T26" fmla="*/ 0 w 1380"/>
                <a:gd name="T27" fmla="*/ 0 h 863"/>
                <a:gd name="T28" fmla="*/ 0 w 1380"/>
                <a:gd name="T29" fmla="*/ 0 h 863"/>
                <a:gd name="T30" fmla="*/ 0 w 1380"/>
                <a:gd name="T31" fmla="*/ 0 h 863"/>
                <a:gd name="T32" fmla="*/ 0 w 1380"/>
                <a:gd name="T33" fmla="*/ 0 h 863"/>
                <a:gd name="T34" fmla="*/ 0 w 1380"/>
                <a:gd name="T35" fmla="*/ 0 h 863"/>
                <a:gd name="T36" fmla="*/ 0 w 1380"/>
                <a:gd name="T37" fmla="*/ 0 h 863"/>
                <a:gd name="T38" fmla="*/ 0 w 1380"/>
                <a:gd name="T39" fmla="*/ 0 h 863"/>
                <a:gd name="T40" fmla="*/ 0 w 1380"/>
                <a:gd name="T41" fmla="*/ 0 h 863"/>
                <a:gd name="T42" fmla="*/ 0 w 1380"/>
                <a:gd name="T43" fmla="*/ 0 h 863"/>
                <a:gd name="T44" fmla="*/ 0 w 1380"/>
                <a:gd name="T45" fmla="*/ 0 h 863"/>
                <a:gd name="T46" fmla="*/ 0 w 1380"/>
                <a:gd name="T47" fmla="*/ 0 h 863"/>
                <a:gd name="T48" fmla="*/ 0 w 1380"/>
                <a:gd name="T49" fmla="*/ 0 h 863"/>
                <a:gd name="T50" fmla="*/ 0 w 1380"/>
                <a:gd name="T51" fmla="*/ 0 h 863"/>
                <a:gd name="T52" fmla="*/ 0 w 1380"/>
                <a:gd name="T53" fmla="*/ 0 h 863"/>
                <a:gd name="T54" fmla="*/ 0 w 1380"/>
                <a:gd name="T55" fmla="*/ 0 h 863"/>
                <a:gd name="T56" fmla="*/ 0 w 1380"/>
                <a:gd name="T57" fmla="*/ 0 h 863"/>
                <a:gd name="T58" fmla="*/ 0 w 1380"/>
                <a:gd name="T59" fmla="*/ 0 h 863"/>
                <a:gd name="T60" fmla="*/ 0 w 1380"/>
                <a:gd name="T61" fmla="*/ 0 h 863"/>
                <a:gd name="T62" fmla="*/ 0 w 1380"/>
                <a:gd name="T63" fmla="*/ 0 h 863"/>
                <a:gd name="T64" fmla="*/ 0 w 1380"/>
                <a:gd name="T65" fmla="*/ 0 h 86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0"/>
                <a:gd name="T100" fmla="*/ 0 h 863"/>
                <a:gd name="T101" fmla="*/ 1380 w 1380"/>
                <a:gd name="T102" fmla="*/ 863 h 86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0" h="863">
                  <a:moveTo>
                    <a:pt x="10" y="40"/>
                  </a:moveTo>
                  <a:lnTo>
                    <a:pt x="6" y="47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1" y="93"/>
                  </a:lnTo>
                  <a:lnTo>
                    <a:pt x="3" y="100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6" y="139"/>
                  </a:lnTo>
                  <a:lnTo>
                    <a:pt x="33" y="144"/>
                  </a:lnTo>
                  <a:lnTo>
                    <a:pt x="40" y="148"/>
                  </a:lnTo>
                  <a:lnTo>
                    <a:pt x="1263" y="853"/>
                  </a:lnTo>
                  <a:lnTo>
                    <a:pt x="1270" y="856"/>
                  </a:lnTo>
                  <a:lnTo>
                    <a:pt x="1278" y="859"/>
                  </a:lnTo>
                  <a:lnTo>
                    <a:pt x="1286" y="861"/>
                  </a:lnTo>
                  <a:lnTo>
                    <a:pt x="1294" y="862"/>
                  </a:lnTo>
                  <a:lnTo>
                    <a:pt x="1301" y="863"/>
                  </a:lnTo>
                  <a:lnTo>
                    <a:pt x="1309" y="863"/>
                  </a:lnTo>
                  <a:lnTo>
                    <a:pt x="1316" y="862"/>
                  </a:lnTo>
                  <a:lnTo>
                    <a:pt x="1323" y="860"/>
                  </a:lnTo>
                  <a:lnTo>
                    <a:pt x="1330" y="858"/>
                  </a:lnTo>
                  <a:lnTo>
                    <a:pt x="1337" y="855"/>
                  </a:lnTo>
                  <a:lnTo>
                    <a:pt x="1344" y="851"/>
                  </a:lnTo>
                  <a:lnTo>
                    <a:pt x="1350" y="847"/>
                  </a:lnTo>
                  <a:lnTo>
                    <a:pt x="1356" y="842"/>
                  </a:lnTo>
                  <a:lnTo>
                    <a:pt x="1361" y="836"/>
                  </a:lnTo>
                  <a:lnTo>
                    <a:pt x="1366" y="830"/>
                  </a:lnTo>
                  <a:lnTo>
                    <a:pt x="1371" y="822"/>
                  </a:lnTo>
                  <a:lnTo>
                    <a:pt x="1374" y="815"/>
                  </a:lnTo>
                  <a:lnTo>
                    <a:pt x="1377" y="808"/>
                  </a:lnTo>
                  <a:lnTo>
                    <a:pt x="1379" y="800"/>
                  </a:lnTo>
                  <a:lnTo>
                    <a:pt x="1380" y="793"/>
                  </a:lnTo>
                  <a:lnTo>
                    <a:pt x="1380" y="785"/>
                  </a:lnTo>
                  <a:lnTo>
                    <a:pt x="1380" y="778"/>
                  </a:lnTo>
                  <a:lnTo>
                    <a:pt x="1379" y="769"/>
                  </a:lnTo>
                  <a:lnTo>
                    <a:pt x="1378" y="762"/>
                  </a:lnTo>
                  <a:lnTo>
                    <a:pt x="1375" y="755"/>
                  </a:lnTo>
                  <a:lnTo>
                    <a:pt x="1372" y="748"/>
                  </a:lnTo>
                  <a:lnTo>
                    <a:pt x="1368" y="741"/>
                  </a:lnTo>
                  <a:lnTo>
                    <a:pt x="1364" y="735"/>
                  </a:lnTo>
                  <a:lnTo>
                    <a:pt x="1359" y="729"/>
                  </a:lnTo>
                  <a:lnTo>
                    <a:pt x="1354" y="724"/>
                  </a:lnTo>
                  <a:lnTo>
                    <a:pt x="1347" y="718"/>
                  </a:lnTo>
                  <a:lnTo>
                    <a:pt x="1341" y="714"/>
                  </a:lnTo>
                  <a:lnTo>
                    <a:pt x="116" y="10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7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4" y="1"/>
                  </a:lnTo>
                  <a:lnTo>
                    <a:pt x="57" y="2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33"/>
                  </a:lnTo>
                  <a:lnTo>
                    <a:pt x="10" y="40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4" name="Freeform 104"/>
            <p:cNvSpPr>
              <a:spLocks/>
            </p:cNvSpPr>
            <p:nvPr/>
          </p:nvSpPr>
          <p:spPr bwMode="auto">
            <a:xfrm>
              <a:off x="805443" y="5050075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7"/>
                  </a:lnTo>
                  <a:lnTo>
                    <a:pt x="1" y="64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10"/>
                  </a:lnTo>
                  <a:lnTo>
                    <a:pt x="8" y="117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3"/>
                  </a:lnTo>
                  <a:lnTo>
                    <a:pt x="2754" y="1596"/>
                  </a:lnTo>
                  <a:lnTo>
                    <a:pt x="2758" y="1589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1"/>
                  </a:lnTo>
                  <a:lnTo>
                    <a:pt x="2763" y="1543"/>
                  </a:lnTo>
                  <a:lnTo>
                    <a:pt x="2761" y="1536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7"/>
                  </a:lnTo>
                  <a:lnTo>
                    <a:pt x="2731" y="1492"/>
                  </a:lnTo>
                  <a:lnTo>
                    <a:pt x="2724" y="1488"/>
                  </a:lnTo>
                  <a:lnTo>
                    <a:pt x="116" y="11"/>
                  </a:lnTo>
                  <a:lnTo>
                    <a:pt x="108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7"/>
                  </a:lnTo>
                  <a:lnTo>
                    <a:pt x="42" y="10"/>
                  </a:lnTo>
                  <a:lnTo>
                    <a:pt x="36" y="14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5" name="Freeform 105"/>
            <p:cNvSpPr>
              <a:spLocks/>
            </p:cNvSpPr>
            <p:nvPr/>
          </p:nvSpPr>
          <p:spPr bwMode="auto">
            <a:xfrm>
              <a:off x="805443" y="5065143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8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6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6" name="Freeform 106"/>
            <p:cNvSpPr>
              <a:spLocks/>
            </p:cNvSpPr>
            <p:nvPr/>
          </p:nvSpPr>
          <p:spPr bwMode="auto">
            <a:xfrm>
              <a:off x="805443" y="5078536"/>
              <a:ext cx="82210" cy="53574"/>
            </a:xfrm>
            <a:custGeom>
              <a:avLst/>
              <a:gdLst>
                <a:gd name="T0" fmla="*/ 0 w 2764"/>
                <a:gd name="T1" fmla="*/ 0 h 1637"/>
                <a:gd name="T2" fmla="*/ 0 w 2764"/>
                <a:gd name="T3" fmla="*/ 0 h 1637"/>
                <a:gd name="T4" fmla="*/ 0 w 2764"/>
                <a:gd name="T5" fmla="*/ 0 h 1637"/>
                <a:gd name="T6" fmla="*/ 0 w 2764"/>
                <a:gd name="T7" fmla="*/ 0 h 1637"/>
                <a:gd name="T8" fmla="*/ 0 w 2764"/>
                <a:gd name="T9" fmla="*/ 0 h 1637"/>
                <a:gd name="T10" fmla="*/ 0 w 2764"/>
                <a:gd name="T11" fmla="*/ 0 h 1637"/>
                <a:gd name="T12" fmla="*/ 0 w 2764"/>
                <a:gd name="T13" fmla="*/ 0 h 1637"/>
                <a:gd name="T14" fmla="*/ 0 w 2764"/>
                <a:gd name="T15" fmla="*/ 0 h 1637"/>
                <a:gd name="T16" fmla="*/ 0 w 2764"/>
                <a:gd name="T17" fmla="*/ 0 h 1637"/>
                <a:gd name="T18" fmla="*/ 0 w 2764"/>
                <a:gd name="T19" fmla="*/ 0 h 1637"/>
                <a:gd name="T20" fmla="*/ 0 w 2764"/>
                <a:gd name="T21" fmla="*/ 0 h 1637"/>
                <a:gd name="T22" fmla="*/ 0 w 2764"/>
                <a:gd name="T23" fmla="*/ 0 h 1637"/>
                <a:gd name="T24" fmla="*/ 0 w 2764"/>
                <a:gd name="T25" fmla="*/ 0 h 1637"/>
                <a:gd name="T26" fmla="*/ 0 w 2764"/>
                <a:gd name="T27" fmla="*/ 0 h 1637"/>
                <a:gd name="T28" fmla="*/ 0 w 2764"/>
                <a:gd name="T29" fmla="*/ 0 h 1637"/>
                <a:gd name="T30" fmla="*/ 0 w 2764"/>
                <a:gd name="T31" fmla="*/ 0 h 1637"/>
                <a:gd name="T32" fmla="*/ 0 w 2764"/>
                <a:gd name="T33" fmla="*/ 0 h 1637"/>
                <a:gd name="T34" fmla="*/ 0 w 2764"/>
                <a:gd name="T35" fmla="*/ 0 h 1637"/>
                <a:gd name="T36" fmla="*/ 0 w 2764"/>
                <a:gd name="T37" fmla="*/ 0 h 1637"/>
                <a:gd name="T38" fmla="*/ 0 w 2764"/>
                <a:gd name="T39" fmla="*/ 0 h 1637"/>
                <a:gd name="T40" fmla="*/ 0 w 2764"/>
                <a:gd name="T41" fmla="*/ 0 h 1637"/>
                <a:gd name="T42" fmla="*/ 0 w 2764"/>
                <a:gd name="T43" fmla="*/ 0 h 1637"/>
                <a:gd name="T44" fmla="*/ 0 w 2764"/>
                <a:gd name="T45" fmla="*/ 0 h 1637"/>
                <a:gd name="T46" fmla="*/ 0 w 2764"/>
                <a:gd name="T47" fmla="*/ 0 h 1637"/>
                <a:gd name="T48" fmla="*/ 0 w 2764"/>
                <a:gd name="T49" fmla="*/ 0 h 1637"/>
                <a:gd name="T50" fmla="*/ 0 w 2764"/>
                <a:gd name="T51" fmla="*/ 0 h 1637"/>
                <a:gd name="T52" fmla="*/ 0 w 2764"/>
                <a:gd name="T53" fmla="*/ 0 h 1637"/>
                <a:gd name="T54" fmla="*/ 0 w 2764"/>
                <a:gd name="T55" fmla="*/ 0 h 1637"/>
                <a:gd name="T56" fmla="*/ 0 w 2764"/>
                <a:gd name="T57" fmla="*/ 0 h 1637"/>
                <a:gd name="T58" fmla="*/ 0 w 2764"/>
                <a:gd name="T59" fmla="*/ 0 h 1637"/>
                <a:gd name="T60" fmla="*/ 0 w 2764"/>
                <a:gd name="T61" fmla="*/ 0 h 1637"/>
                <a:gd name="T62" fmla="*/ 0 w 2764"/>
                <a:gd name="T63" fmla="*/ 0 h 1637"/>
                <a:gd name="T64" fmla="*/ 0 w 2764"/>
                <a:gd name="T65" fmla="*/ 0 h 163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7"/>
                <a:gd name="T101" fmla="*/ 2764 w 2764"/>
                <a:gd name="T102" fmla="*/ 1637 h 163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7">
                  <a:moveTo>
                    <a:pt x="9" y="42"/>
                  </a:moveTo>
                  <a:lnTo>
                    <a:pt x="6" y="49"/>
                  </a:lnTo>
                  <a:lnTo>
                    <a:pt x="3" y="56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80"/>
                  </a:lnTo>
                  <a:lnTo>
                    <a:pt x="0" y="87"/>
                  </a:lnTo>
                  <a:lnTo>
                    <a:pt x="1" y="95"/>
                  </a:lnTo>
                  <a:lnTo>
                    <a:pt x="3" y="102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30"/>
                  </a:lnTo>
                  <a:lnTo>
                    <a:pt x="21" y="135"/>
                  </a:lnTo>
                  <a:lnTo>
                    <a:pt x="27" y="141"/>
                  </a:lnTo>
                  <a:lnTo>
                    <a:pt x="33" y="145"/>
                  </a:lnTo>
                  <a:lnTo>
                    <a:pt x="40" y="150"/>
                  </a:lnTo>
                  <a:lnTo>
                    <a:pt x="2648" y="1627"/>
                  </a:lnTo>
                  <a:lnTo>
                    <a:pt x="2655" y="1630"/>
                  </a:lnTo>
                  <a:lnTo>
                    <a:pt x="2663" y="1633"/>
                  </a:lnTo>
                  <a:lnTo>
                    <a:pt x="2670" y="1635"/>
                  </a:lnTo>
                  <a:lnTo>
                    <a:pt x="2678" y="1636"/>
                  </a:lnTo>
                  <a:lnTo>
                    <a:pt x="2685" y="1637"/>
                  </a:lnTo>
                  <a:lnTo>
                    <a:pt x="2693" y="1636"/>
                  </a:lnTo>
                  <a:lnTo>
                    <a:pt x="2700" y="1635"/>
                  </a:lnTo>
                  <a:lnTo>
                    <a:pt x="2707" y="1633"/>
                  </a:lnTo>
                  <a:lnTo>
                    <a:pt x="2715" y="1631"/>
                  </a:lnTo>
                  <a:lnTo>
                    <a:pt x="2721" y="1628"/>
                  </a:lnTo>
                  <a:lnTo>
                    <a:pt x="2728" y="1624"/>
                  </a:lnTo>
                  <a:lnTo>
                    <a:pt x="2734" y="1620"/>
                  </a:lnTo>
                  <a:lnTo>
                    <a:pt x="2740" y="1615"/>
                  </a:lnTo>
                  <a:lnTo>
                    <a:pt x="2745" y="1609"/>
                  </a:lnTo>
                  <a:lnTo>
                    <a:pt x="2750" y="1602"/>
                  </a:lnTo>
                  <a:lnTo>
                    <a:pt x="2754" y="1595"/>
                  </a:lnTo>
                  <a:lnTo>
                    <a:pt x="2758" y="1588"/>
                  </a:lnTo>
                  <a:lnTo>
                    <a:pt x="2761" y="1581"/>
                  </a:lnTo>
                  <a:lnTo>
                    <a:pt x="2762" y="1573"/>
                  </a:lnTo>
                  <a:lnTo>
                    <a:pt x="2764" y="1566"/>
                  </a:lnTo>
                  <a:lnTo>
                    <a:pt x="2764" y="1558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5"/>
                  </a:lnTo>
                  <a:lnTo>
                    <a:pt x="2759" y="1528"/>
                  </a:lnTo>
                  <a:lnTo>
                    <a:pt x="2755" y="1521"/>
                  </a:lnTo>
                  <a:lnTo>
                    <a:pt x="2752" y="1515"/>
                  </a:lnTo>
                  <a:lnTo>
                    <a:pt x="2747" y="1508"/>
                  </a:lnTo>
                  <a:lnTo>
                    <a:pt x="2742" y="1503"/>
                  </a:lnTo>
                  <a:lnTo>
                    <a:pt x="2737" y="1496"/>
                  </a:lnTo>
                  <a:lnTo>
                    <a:pt x="2731" y="1491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1" y="1"/>
                  </a:lnTo>
                  <a:lnTo>
                    <a:pt x="63" y="2"/>
                  </a:lnTo>
                  <a:lnTo>
                    <a:pt x="56" y="3"/>
                  </a:lnTo>
                  <a:lnTo>
                    <a:pt x="49" y="6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9" y="42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7" name="Freeform 107"/>
            <p:cNvSpPr>
              <a:spLocks/>
            </p:cNvSpPr>
            <p:nvPr/>
          </p:nvSpPr>
          <p:spPr bwMode="auto">
            <a:xfrm>
              <a:off x="805443" y="5091930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4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2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8"/>
                  </a:lnTo>
                  <a:lnTo>
                    <a:pt x="2750" y="1602"/>
                  </a:lnTo>
                  <a:lnTo>
                    <a:pt x="2754" y="1596"/>
                  </a:lnTo>
                  <a:lnTo>
                    <a:pt x="2758" y="1588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7"/>
                  </a:lnTo>
                  <a:lnTo>
                    <a:pt x="2764" y="1550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7"/>
                  </a:lnTo>
                  <a:lnTo>
                    <a:pt x="2742" y="1502"/>
                  </a:lnTo>
                  <a:lnTo>
                    <a:pt x="2737" y="1496"/>
                  </a:lnTo>
                  <a:lnTo>
                    <a:pt x="2731" y="1492"/>
                  </a:lnTo>
                  <a:lnTo>
                    <a:pt x="2724" y="1487"/>
                  </a:lnTo>
                  <a:lnTo>
                    <a:pt x="116" y="10"/>
                  </a:lnTo>
                  <a:lnTo>
                    <a:pt x="108" y="7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9"/>
                  </a:lnTo>
                  <a:lnTo>
                    <a:pt x="36" y="13"/>
                  </a:lnTo>
                  <a:lnTo>
                    <a:pt x="30" y="17"/>
                  </a:lnTo>
                  <a:lnTo>
                    <a:pt x="24" y="22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8" name="Freeform 108"/>
            <p:cNvSpPr>
              <a:spLocks/>
            </p:cNvSpPr>
            <p:nvPr/>
          </p:nvSpPr>
          <p:spPr bwMode="auto">
            <a:xfrm>
              <a:off x="805443" y="5106997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8"/>
                  </a:lnTo>
                  <a:lnTo>
                    <a:pt x="21" y="133"/>
                  </a:lnTo>
                  <a:lnTo>
                    <a:pt x="27" y="139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8"/>
                  </a:lnTo>
                  <a:lnTo>
                    <a:pt x="2740" y="1613"/>
                  </a:lnTo>
                  <a:lnTo>
                    <a:pt x="2745" y="1607"/>
                  </a:lnTo>
                  <a:lnTo>
                    <a:pt x="2750" y="1601"/>
                  </a:lnTo>
                  <a:lnTo>
                    <a:pt x="2754" y="1594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4"/>
                  </a:lnTo>
                  <a:lnTo>
                    <a:pt x="2764" y="1556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3"/>
                  </a:lnTo>
                  <a:lnTo>
                    <a:pt x="2747" y="1507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7"/>
                  </a:lnTo>
                  <a:lnTo>
                    <a:pt x="14" y="33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49" name="Freeform 109"/>
            <p:cNvSpPr>
              <a:spLocks/>
            </p:cNvSpPr>
            <p:nvPr/>
          </p:nvSpPr>
          <p:spPr bwMode="auto">
            <a:xfrm>
              <a:off x="805443" y="5120391"/>
              <a:ext cx="82210" cy="53574"/>
            </a:xfrm>
            <a:custGeom>
              <a:avLst/>
              <a:gdLst>
                <a:gd name="T0" fmla="*/ 0 w 2764"/>
                <a:gd name="T1" fmla="*/ 0 h 1636"/>
                <a:gd name="T2" fmla="*/ 0 w 2764"/>
                <a:gd name="T3" fmla="*/ 0 h 1636"/>
                <a:gd name="T4" fmla="*/ 0 w 2764"/>
                <a:gd name="T5" fmla="*/ 0 h 1636"/>
                <a:gd name="T6" fmla="*/ 0 w 2764"/>
                <a:gd name="T7" fmla="*/ 0 h 1636"/>
                <a:gd name="T8" fmla="*/ 0 w 2764"/>
                <a:gd name="T9" fmla="*/ 0 h 1636"/>
                <a:gd name="T10" fmla="*/ 0 w 2764"/>
                <a:gd name="T11" fmla="*/ 0 h 1636"/>
                <a:gd name="T12" fmla="*/ 0 w 2764"/>
                <a:gd name="T13" fmla="*/ 0 h 1636"/>
                <a:gd name="T14" fmla="*/ 0 w 2764"/>
                <a:gd name="T15" fmla="*/ 0 h 1636"/>
                <a:gd name="T16" fmla="*/ 0 w 2764"/>
                <a:gd name="T17" fmla="*/ 0 h 1636"/>
                <a:gd name="T18" fmla="*/ 0 w 2764"/>
                <a:gd name="T19" fmla="*/ 0 h 1636"/>
                <a:gd name="T20" fmla="*/ 0 w 2764"/>
                <a:gd name="T21" fmla="*/ 0 h 1636"/>
                <a:gd name="T22" fmla="*/ 0 w 2764"/>
                <a:gd name="T23" fmla="*/ 0 h 1636"/>
                <a:gd name="T24" fmla="*/ 0 w 2764"/>
                <a:gd name="T25" fmla="*/ 0 h 1636"/>
                <a:gd name="T26" fmla="*/ 0 w 2764"/>
                <a:gd name="T27" fmla="*/ 0 h 1636"/>
                <a:gd name="T28" fmla="*/ 0 w 2764"/>
                <a:gd name="T29" fmla="*/ 0 h 1636"/>
                <a:gd name="T30" fmla="*/ 0 w 2764"/>
                <a:gd name="T31" fmla="*/ 0 h 1636"/>
                <a:gd name="T32" fmla="*/ 0 w 2764"/>
                <a:gd name="T33" fmla="*/ 0 h 1636"/>
                <a:gd name="T34" fmla="*/ 0 w 2764"/>
                <a:gd name="T35" fmla="*/ 0 h 1636"/>
                <a:gd name="T36" fmla="*/ 0 w 2764"/>
                <a:gd name="T37" fmla="*/ 0 h 1636"/>
                <a:gd name="T38" fmla="*/ 0 w 2764"/>
                <a:gd name="T39" fmla="*/ 0 h 1636"/>
                <a:gd name="T40" fmla="*/ 0 w 2764"/>
                <a:gd name="T41" fmla="*/ 0 h 1636"/>
                <a:gd name="T42" fmla="*/ 0 w 2764"/>
                <a:gd name="T43" fmla="*/ 0 h 1636"/>
                <a:gd name="T44" fmla="*/ 0 w 2764"/>
                <a:gd name="T45" fmla="*/ 0 h 1636"/>
                <a:gd name="T46" fmla="*/ 0 w 2764"/>
                <a:gd name="T47" fmla="*/ 0 h 1636"/>
                <a:gd name="T48" fmla="*/ 0 w 2764"/>
                <a:gd name="T49" fmla="*/ 0 h 1636"/>
                <a:gd name="T50" fmla="*/ 0 w 2764"/>
                <a:gd name="T51" fmla="*/ 0 h 1636"/>
                <a:gd name="T52" fmla="*/ 0 w 2764"/>
                <a:gd name="T53" fmla="*/ 0 h 1636"/>
                <a:gd name="T54" fmla="*/ 0 w 2764"/>
                <a:gd name="T55" fmla="*/ 0 h 1636"/>
                <a:gd name="T56" fmla="*/ 0 w 2764"/>
                <a:gd name="T57" fmla="*/ 0 h 1636"/>
                <a:gd name="T58" fmla="*/ 0 w 2764"/>
                <a:gd name="T59" fmla="*/ 0 h 1636"/>
                <a:gd name="T60" fmla="*/ 0 w 2764"/>
                <a:gd name="T61" fmla="*/ 0 h 1636"/>
                <a:gd name="T62" fmla="*/ 0 w 2764"/>
                <a:gd name="T63" fmla="*/ 0 h 1636"/>
                <a:gd name="T64" fmla="*/ 0 w 2764"/>
                <a:gd name="T65" fmla="*/ 0 h 16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64"/>
                <a:gd name="T100" fmla="*/ 0 h 1636"/>
                <a:gd name="T101" fmla="*/ 2764 w 2764"/>
                <a:gd name="T102" fmla="*/ 1636 h 16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64" h="1636">
                  <a:moveTo>
                    <a:pt x="9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3"/>
                  </a:lnTo>
                  <a:lnTo>
                    <a:pt x="0" y="70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1"/>
                  </a:lnTo>
                  <a:lnTo>
                    <a:pt x="16" y="129"/>
                  </a:lnTo>
                  <a:lnTo>
                    <a:pt x="21" y="134"/>
                  </a:lnTo>
                  <a:lnTo>
                    <a:pt x="27" y="140"/>
                  </a:lnTo>
                  <a:lnTo>
                    <a:pt x="33" y="145"/>
                  </a:lnTo>
                  <a:lnTo>
                    <a:pt x="40" y="149"/>
                  </a:lnTo>
                  <a:lnTo>
                    <a:pt x="2648" y="1626"/>
                  </a:lnTo>
                  <a:lnTo>
                    <a:pt x="2655" y="1629"/>
                  </a:lnTo>
                  <a:lnTo>
                    <a:pt x="2663" y="1632"/>
                  </a:lnTo>
                  <a:lnTo>
                    <a:pt x="2670" y="1634"/>
                  </a:lnTo>
                  <a:lnTo>
                    <a:pt x="2678" y="1635"/>
                  </a:lnTo>
                  <a:lnTo>
                    <a:pt x="2685" y="1636"/>
                  </a:lnTo>
                  <a:lnTo>
                    <a:pt x="2693" y="1635"/>
                  </a:lnTo>
                  <a:lnTo>
                    <a:pt x="2700" y="1634"/>
                  </a:lnTo>
                  <a:lnTo>
                    <a:pt x="2707" y="1633"/>
                  </a:lnTo>
                  <a:lnTo>
                    <a:pt x="2715" y="1630"/>
                  </a:lnTo>
                  <a:lnTo>
                    <a:pt x="2721" y="1627"/>
                  </a:lnTo>
                  <a:lnTo>
                    <a:pt x="2728" y="1623"/>
                  </a:lnTo>
                  <a:lnTo>
                    <a:pt x="2734" y="1619"/>
                  </a:lnTo>
                  <a:lnTo>
                    <a:pt x="2740" y="1614"/>
                  </a:lnTo>
                  <a:lnTo>
                    <a:pt x="2745" y="1609"/>
                  </a:lnTo>
                  <a:lnTo>
                    <a:pt x="2750" y="1601"/>
                  </a:lnTo>
                  <a:lnTo>
                    <a:pt x="2754" y="1595"/>
                  </a:lnTo>
                  <a:lnTo>
                    <a:pt x="2758" y="1587"/>
                  </a:lnTo>
                  <a:lnTo>
                    <a:pt x="2761" y="1580"/>
                  </a:lnTo>
                  <a:lnTo>
                    <a:pt x="2762" y="1573"/>
                  </a:lnTo>
                  <a:lnTo>
                    <a:pt x="2764" y="1565"/>
                  </a:lnTo>
                  <a:lnTo>
                    <a:pt x="2764" y="1558"/>
                  </a:lnTo>
                  <a:lnTo>
                    <a:pt x="2764" y="1549"/>
                  </a:lnTo>
                  <a:lnTo>
                    <a:pt x="2763" y="1542"/>
                  </a:lnTo>
                  <a:lnTo>
                    <a:pt x="2761" y="1534"/>
                  </a:lnTo>
                  <a:lnTo>
                    <a:pt x="2759" y="1527"/>
                  </a:lnTo>
                  <a:lnTo>
                    <a:pt x="2755" y="1520"/>
                  </a:lnTo>
                  <a:lnTo>
                    <a:pt x="2752" y="1514"/>
                  </a:lnTo>
                  <a:lnTo>
                    <a:pt x="2747" y="1508"/>
                  </a:lnTo>
                  <a:lnTo>
                    <a:pt x="2742" y="1501"/>
                  </a:lnTo>
                  <a:lnTo>
                    <a:pt x="2737" y="1495"/>
                  </a:lnTo>
                  <a:lnTo>
                    <a:pt x="2731" y="1491"/>
                  </a:lnTo>
                  <a:lnTo>
                    <a:pt x="2724" y="1486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lnTo>
                    <a:pt x="71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9" y="5"/>
                  </a:lnTo>
                  <a:lnTo>
                    <a:pt x="42" y="8"/>
                  </a:lnTo>
                  <a:lnTo>
                    <a:pt x="36" y="12"/>
                  </a:lnTo>
                  <a:lnTo>
                    <a:pt x="30" y="16"/>
                  </a:lnTo>
                  <a:lnTo>
                    <a:pt x="24" y="21"/>
                  </a:lnTo>
                  <a:lnTo>
                    <a:pt x="18" y="28"/>
                  </a:lnTo>
                  <a:lnTo>
                    <a:pt x="14" y="34"/>
                  </a:lnTo>
                  <a:lnTo>
                    <a:pt x="9" y="41"/>
                  </a:lnTo>
                  <a:close/>
                </a:path>
              </a:pathLst>
            </a:custGeom>
            <a:solidFill>
              <a:srgbClr val="9F9E9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0" name="Freeform 110"/>
            <p:cNvSpPr>
              <a:spLocks/>
            </p:cNvSpPr>
            <p:nvPr/>
          </p:nvSpPr>
          <p:spPr bwMode="auto">
            <a:xfrm>
              <a:off x="796475" y="5296180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6"/>
                  </a:lnTo>
                  <a:lnTo>
                    <a:pt x="1" y="63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8"/>
                  </a:lnTo>
                  <a:lnTo>
                    <a:pt x="8" y="115"/>
                  </a:lnTo>
                  <a:lnTo>
                    <a:pt x="12" y="122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1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7"/>
                  </a:lnTo>
                  <a:lnTo>
                    <a:pt x="3412" y="2001"/>
                  </a:lnTo>
                  <a:lnTo>
                    <a:pt x="3416" y="1995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7"/>
                  </a:lnTo>
                  <a:lnTo>
                    <a:pt x="3426" y="1949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6"/>
                  </a:lnTo>
                  <a:lnTo>
                    <a:pt x="3405" y="1901"/>
                  </a:lnTo>
                  <a:lnTo>
                    <a:pt x="3399" y="1895"/>
                  </a:lnTo>
                  <a:lnTo>
                    <a:pt x="3393" y="1890"/>
                  </a:lnTo>
                  <a:lnTo>
                    <a:pt x="3386" y="1886"/>
                  </a:lnTo>
                  <a:lnTo>
                    <a:pt x="116" y="10"/>
                  </a:lnTo>
                  <a:lnTo>
                    <a:pt x="109" y="7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6"/>
                  </a:lnTo>
                  <a:lnTo>
                    <a:pt x="43" y="9"/>
                  </a:lnTo>
                  <a:lnTo>
                    <a:pt x="36" y="12"/>
                  </a:lnTo>
                  <a:lnTo>
                    <a:pt x="30" y="17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1" name="Freeform 111"/>
            <p:cNvSpPr>
              <a:spLocks/>
            </p:cNvSpPr>
            <p:nvPr/>
          </p:nvSpPr>
          <p:spPr bwMode="auto">
            <a:xfrm>
              <a:off x="796475" y="5309574"/>
              <a:ext cx="101641" cy="66967"/>
            </a:xfrm>
            <a:custGeom>
              <a:avLst/>
              <a:gdLst>
                <a:gd name="T0" fmla="*/ 0 w 3426"/>
                <a:gd name="T1" fmla="*/ 0 h 2035"/>
                <a:gd name="T2" fmla="*/ 0 w 3426"/>
                <a:gd name="T3" fmla="*/ 0 h 2035"/>
                <a:gd name="T4" fmla="*/ 0 w 3426"/>
                <a:gd name="T5" fmla="*/ 0 h 2035"/>
                <a:gd name="T6" fmla="*/ 0 w 3426"/>
                <a:gd name="T7" fmla="*/ 0 h 2035"/>
                <a:gd name="T8" fmla="*/ 0 w 3426"/>
                <a:gd name="T9" fmla="*/ 0 h 2035"/>
                <a:gd name="T10" fmla="*/ 0 w 3426"/>
                <a:gd name="T11" fmla="*/ 0 h 2035"/>
                <a:gd name="T12" fmla="*/ 0 w 3426"/>
                <a:gd name="T13" fmla="*/ 0 h 2035"/>
                <a:gd name="T14" fmla="*/ 0 w 3426"/>
                <a:gd name="T15" fmla="*/ 0 h 2035"/>
                <a:gd name="T16" fmla="*/ 0 w 3426"/>
                <a:gd name="T17" fmla="*/ 0 h 2035"/>
                <a:gd name="T18" fmla="*/ 0 w 3426"/>
                <a:gd name="T19" fmla="*/ 0 h 2035"/>
                <a:gd name="T20" fmla="*/ 0 w 3426"/>
                <a:gd name="T21" fmla="*/ 0 h 2035"/>
                <a:gd name="T22" fmla="*/ 0 w 3426"/>
                <a:gd name="T23" fmla="*/ 0 h 2035"/>
                <a:gd name="T24" fmla="*/ 0 w 3426"/>
                <a:gd name="T25" fmla="*/ 0 h 2035"/>
                <a:gd name="T26" fmla="*/ 0 w 3426"/>
                <a:gd name="T27" fmla="*/ 0 h 2035"/>
                <a:gd name="T28" fmla="*/ 0 w 3426"/>
                <a:gd name="T29" fmla="*/ 0 h 2035"/>
                <a:gd name="T30" fmla="*/ 0 w 3426"/>
                <a:gd name="T31" fmla="*/ 0 h 2035"/>
                <a:gd name="T32" fmla="*/ 0 w 3426"/>
                <a:gd name="T33" fmla="*/ 0 h 2035"/>
                <a:gd name="T34" fmla="*/ 0 w 3426"/>
                <a:gd name="T35" fmla="*/ 0 h 2035"/>
                <a:gd name="T36" fmla="*/ 0 w 3426"/>
                <a:gd name="T37" fmla="*/ 0 h 2035"/>
                <a:gd name="T38" fmla="*/ 0 w 3426"/>
                <a:gd name="T39" fmla="*/ 0 h 2035"/>
                <a:gd name="T40" fmla="*/ 0 w 3426"/>
                <a:gd name="T41" fmla="*/ 0 h 2035"/>
                <a:gd name="T42" fmla="*/ 0 w 3426"/>
                <a:gd name="T43" fmla="*/ 0 h 2035"/>
                <a:gd name="T44" fmla="*/ 0 w 3426"/>
                <a:gd name="T45" fmla="*/ 0 h 2035"/>
                <a:gd name="T46" fmla="*/ 0 w 3426"/>
                <a:gd name="T47" fmla="*/ 0 h 2035"/>
                <a:gd name="T48" fmla="*/ 0 w 3426"/>
                <a:gd name="T49" fmla="*/ 0 h 2035"/>
                <a:gd name="T50" fmla="*/ 0 w 3426"/>
                <a:gd name="T51" fmla="*/ 0 h 2035"/>
                <a:gd name="T52" fmla="*/ 0 w 3426"/>
                <a:gd name="T53" fmla="*/ 0 h 2035"/>
                <a:gd name="T54" fmla="*/ 0 w 3426"/>
                <a:gd name="T55" fmla="*/ 0 h 2035"/>
                <a:gd name="T56" fmla="*/ 0 w 3426"/>
                <a:gd name="T57" fmla="*/ 0 h 2035"/>
                <a:gd name="T58" fmla="*/ 0 w 3426"/>
                <a:gd name="T59" fmla="*/ 0 h 2035"/>
                <a:gd name="T60" fmla="*/ 0 w 3426"/>
                <a:gd name="T61" fmla="*/ 0 h 2035"/>
                <a:gd name="T62" fmla="*/ 0 w 3426"/>
                <a:gd name="T63" fmla="*/ 0 h 2035"/>
                <a:gd name="T64" fmla="*/ 0 w 3426"/>
                <a:gd name="T65" fmla="*/ 0 h 20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26"/>
                <a:gd name="T100" fmla="*/ 0 h 2035"/>
                <a:gd name="T101" fmla="*/ 3426 w 3426"/>
                <a:gd name="T102" fmla="*/ 2035 h 20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26" h="2035">
                  <a:moveTo>
                    <a:pt x="10" y="41"/>
                  </a:moveTo>
                  <a:lnTo>
                    <a:pt x="6" y="48"/>
                  </a:lnTo>
                  <a:lnTo>
                    <a:pt x="3" y="55"/>
                  </a:lnTo>
                  <a:lnTo>
                    <a:pt x="1" y="64"/>
                  </a:lnTo>
                  <a:lnTo>
                    <a:pt x="0" y="71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1" y="94"/>
                  </a:lnTo>
                  <a:lnTo>
                    <a:pt x="3" y="101"/>
                  </a:lnTo>
                  <a:lnTo>
                    <a:pt x="5" y="109"/>
                  </a:lnTo>
                  <a:lnTo>
                    <a:pt x="8" y="116"/>
                  </a:lnTo>
                  <a:lnTo>
                    <a:pt x="12" y="123"/>
                  </a:lnTo>
                  <a:lnTo>
                    <a:pt x="16" y="129"/>
                  </a:lnTo>
                  <a:lnTo>
                    <a:pt x="21" y="135"/>
                  </a:lnTo>
                  <a:lnTo>
                    <a:pt x="26" y="140"/>
                  </a:lnTo>
                  <a:lnTo>
                    <a:pt x="33" y="145"/>
                  </a:lnTo>
                  <a:lnTo>
                    <a:pt x="39" y="149"/>
                  </a:lnTo>
                  <a:lnTo>
                    <a:pt x="3310" y="2025"/>
                  </a:lnTo>
                  <a:lnTo>
                    <a:pt x="3317" y="2029"/>
                  </a:lnTo>
                  <a:lnTo>
                    <a:pt x="3325" y="2032"/>
                  </a:lnTo>
                  <a:lnTo>
                    <a:pt x="3332" y="2034"/>
                  </a:lnTo>
                  <a:lnTo>
                    <a:pt x="3340" y="2035"/>
                  </a:lnTo>
                  <a:lnTo>
                    <a:pt x="3347" y="2035"/>
                  </a:lnTo>
                  <a:lnTo>
                    <a:pt x="3355" y="2035"/>
                  </a:lnTo>
                  <a:lnTo>
                    <a:pt x="3362" y="2034"/>
                  </a:lnTo>
                  <a:lnTo>
                    <a:pt x="3369" y="2032"/>
                  </a:lnTo>
                  <a:lnTo>
                    <a:pt x="3376" y="2030"/>
                  </a:lnTo>
                  <a:lnTo>
                    <a:pt x="3383" y="2027"/>
                  </a:lnTo>
                  <a:lnTo>
                    <a:pt x="3390" y="2023"/>
                  </a:lnTo>
                  <a:lnTo>
                    <a:pt x="3396" y="2019"/>
                  </a:lnTo>
                  <a:lnTo>
                    <a:pt x="3402" y="2014"/>
                  </a:lnTo>
                  <a:lnTo>
                    <a:pt x="3407" y="2008"/>
                  </a:lnTo>
                  <a:lnTo>
                    <a:pt x="3412" y="2002"/>
                  </a:lnTo>
                  <a:lnTo>
                    <a:pt x="3416" y="1994"/>
                  </a:lnTo>
                  <a:lnTo>
                    <a:pt x="3420" y="1987"/>
                  </a:lnTo>
                  <a:lnTo>
                    <a:pt x="3423" y="1980"/>
                  </a:lnTo>
                  <a:lnTo>
                    <a:pt x="3424" y="1973"/>
                  </a:lnTo>
                  <a:lnTo>
                    <a:pt x="3426" y="1965"/>
                  </a:lnTo>
                  <a:lnTo>
                    <a:pt x="3426" y="1958"/>
                  </a:lnTo>
                  <a:lnTo>
                    <a:pt x="3426" y="1950"/>
                  </a:lnTo>
                  <a:lnTo>
                    <a:pt x="3425" y="1942"/>
                  </a:lnTo>
                  <a:lnTo>
                    <a:pt x="3423" y="1934"/>
                  </a:lnTo>
                  <a:lnTo>
                    <a:pt x="3421" y="1927"/>
                  </a:lnTo>
                  <a:lnTo>
                    <a:pt x="3418" y="1920"/>
                  </a:lnTo>
                  <a:lnTo>
                    <a:pt x="3414" y="1914"/>
                  </a:lnTo>
                  <a:lnTo>
                    <a:pt x="3410" y="1908"/>
                  </a:lnTo>
                  <a:lnTo>
                    <a:pt x="3405" y="1902"/>
                  </a:lnTo>
                  <a:lnTo>
                    <a:pt x="3399" y="1896"/>
                  </a:lnTo>
                  <a:lnTo>
                    <a:pt x="3393" y="1891"/>
                  </a:lnTo>
                  <a:lnTo>
                    <a:pt x="3386" y="1886"/>
                  </a:lnTo>
                  <a:lnTo>
                    <a:pt x="116" y="11"/>
                  </a:lnTo>
                  <a:lnTo>
                    <a:pt x="109" y="8"/>
                  </a:lnTo>
                  <a:lnTo>
                    <a:pt x="101" y="4"/>
                  </a:lnTo>
                  <a:lnTo>
                    <a:pt x="94" y="2"/>
                  </a:lnTo>
                  <a:lnTo>
                    <a:pt x="86" y="1"/>
                  </a:lnTo>
                  <a:lnTo>
                    <a:pt x="79" y="0"/>
                  </a:lnTo>
                  <a:lnTo>
                    <a:pt x="71" y="1"/>
                  </a:lnTo>
                  <a:lnTo>
                    <a:pt x="64" y="2"/>
                  </a:lnTo>
                  <a:lnTo>
                    <a:pt x="57" y="3"/>
                  </a:lnTo>
                  <a:lnTo>
                    <a:pt x="50" y="7"/>
                  </a:lnTo>
                  <a:lnTo>
                    <a:pt x="43" y="10"/>
                  </a:lnTo>
                  <a:lnTo>
                    <a:pt x="36" y="13"/>
                  </a:lnTo>
                  <a:lnTo>
                    <a:pt x="30" y="18"/>
                  </a:lnTo>
                  <a:lnTo>
                    <a:pt x="24" y="23"/>
                  </a:lnTo>
                  <a:lnTo>
                    <a:pt x="19" y="28"/>
                  </a:lnTo>
                  <a:lnTo>
                    <a:pt x="14" y="34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B4B4B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2" name="Freeform 112"/>
            <p:cNvSpPr>
              <a:spLocks/>
            </p:cNvSpPr>
            <p:nvPr/>
          </p:nvSpPr>
          <p:spPr bwMode="auto">
            <a:xfrm>
              <a:off x="817401" y="5163919"/>
              <a:ext cx="14947" cy="18417"/>
            </a:xfrm>
            <a:custGeom>
              <a:avLst/>
              <a:gdLst>
                <a:gd name="T0" fmla="*/ 0 w 505"/>
                <a:gd name="T1" fmla="*/ 0 h 593"/>
                <a:gd name="T2" fmla="*/ 0 w 505"/>
                <a:gd name="T3" fmla="*/ 0 h 593"/>
                <a:gd name="T4" fmla="*/ 0 w 505"/>
                <a:gd name="T5" fmla="*/ 0 h 593"/>
                <a:gd name="T6" fmla="*/ 0 w 505"/>
                <a:gd name="T7" fmla="*/ 0 h 593"/>
                <a:gd name="T8" fmla="*/ 0 w 505"/>
                <a:gd name="T9" fmla="*/ 0 h 593"/>
                <a:gd name="T10" fmla="*/ 0 w 505"/>
                <a:gd name="T11" fmla="*/ 0 h 593"/>
                <a:gd name="T12" fmla="*/ 0 w 505"/>
                <a:gd name="T13" fmla="*/ 0 h 593"/>
                <a:gd name="T14" fmla="*/ 0 w 505"/>
                <a:gd name="T15" fmla="*/ 0 h 593"/>
                <a:gd name="T16" fmla="*/ 0 w 505"/>
                <a:gd name="T17" fmla="*/ 0 h 593"/>
                <a:gd name="T18" fmla="*/ 0 w 505"/>
                <a:gd name="T19" fmla="*/ 0 h 593"/>
                <a:gd name="T20" fmla="*/ 0 w 505"/>
                <a:gd name="T21" fmla="*/ 0 h 593"/>
                <a:gd name="T22" fmla="*/ 0 w 505"/>
                <a:gd name="T23" fmla="*/ 0 h 593"/>
                <a:gd name="T24" fmla="*/ 0 w 505"/>
                <a:gd name="T25" fmla="*/ 0 h 593"/>
                <a:gd name="T26" fmla="*/ 0 w 505"/>
                <a:gd name="T27" fmla="*/ 0 h 593"/>
                <a:gd name="T28" fmla="*/ 0 w 505"/>
                <a:gd name="T29" fmla="*/ 0 h 593"/>
                <a:gd name="T30" fmla="*/ 0 w 505"/>
                <a:gd name="T31" fmla="*/ 0 h 593"/>
                <a:gd name="T32" fmla="*/ 0 w 505"/>
                <a:gd name="T33" fmla="*/ 0 h 593"/>
                <a:gd name="T34" fmla="*/ 0 w 505"/>
                <a:gd name="T35" fmla="*/ 0 h 593"/>
                <a:gd name="T36" fmla="*/ 0 w 505"/>
                <a:gd name="T37" fmla="*/ 0 h 593"/>
                <a:gd name="T38" fmla="*/ 0 w 505"/>
                <a:gd name="T39" fmla="*/ 0 h 593"/>
                <a:gd name="T40" fmla="*/ 0 w 505"/>
                <a:gd name="T41" fmla="*/ 0 h 593"/>
                <a:gd name="T42" fmla="*/ 0 w 505"/>
                <a:gd name="T43" fmla="*/ 0 h 593"/>
                <a:gd name="T44" fmla="*/ 0 w 505"/>
                <a:gd name="T45" fmla="*/ 0 h 593"/>
                <a:gd name="T46" fmla="*/ 0 w 505"/>
                <a:gd name="T47" fmla="*/ 0 h 593"/>
                <a:gd name="T48" fmla="*/ 0 w 505"/>
                <a:gd name="T49" fmla="*/ 0 h 593"/>
                <a:gd name="T50" fmla="*/ 0 w 505"/>
                <a:gd name="T51" fmla="*/ 0 h 593"/>
                <a:gd name="T52" fmla="*/ 0 w 505"/>
                <a:gd name="T53" fmla="*/ 0 h 593"/>
                <a:gd name="T54" fmla="*/ 0 w 505"/>
                <a:gd name="T55" fmla="*/ 0 h 593"/>
                <a:gd name="T56" fmla="*/ 0 w 505"/>
                <a:gd name="T57" fmla="*/ 0 h 593"/>
                <a:gd name="T58" fmla="*/ 0 w 505"/>
                <a:gd name="T59" fmla="*/ 0 h 593"/>
                <a:gd name="T60" fmla="*/ 0 w 505"/>
                <a:gd name="T61" fmla="*/ 0 h 593"/>
                <a:gd name="T62" fmla="*/ 0 w 505"/>
                <a:gd name="T63" fmla="*/ 0 h 593"/>
                <a:gd name="T64" fmla="*/ 0 w 505"/>
                <a:gd name="T65" fmla="*/ 0 h 593"/>
                <a:gd name="T66" fmla="*/ 0 w 505"/>
                <a:gd name="T67" fmla="*/ 0 h 593"/>
                <a:gd name="T68" fmla="*/ 0 w 505"/>
                <a:gd name="T69" fmla="*/ 0 h 593"/>
                <a:gd name="T70" fmla="*/ 0 w 505"/>
                <a:gd name="T71" fmla="*/ 0 h 593"/>
                <a:gd name="T72" fmla="*/ 0 w 505"/>
                <a:gd name="T73" fmla="*/ 0 h 593"/>
                <a:gd name="T74" fmla="*/ 0 w 505"/>
                <a:gd name="T75" fmla="*/ 0 h 593"/>
                <a:gd name="T76" fmla="*/ 0 w 505"/>
                <a:gd name="T77" fmla="*/ 0 h 593"/>
                <a:gd name="T78" fmla="*/ 0 w 505"/>
                <a:gd name="T79" fmla="*/ 0 h 593"/>
                <a:gd name="T80" fmla="*/ 0 w 505"/>
                <a:gd name="T81" fmla="*/ 0 h 593"/>
                <a:gd name="T82" fmla="*/ 0 w 505"/>
                <a:gd name="T83" fmla="*/ 0 h 593"/>
                <a:gd name="T84" fmla="*/ 0 w 505"/>
                <a:gd name="T85" fmla="*/ 0 h 5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593"/>
                <a:gd name="T131" fmla="*/ 505 w 505"/>
                <a:gd name="T132" fmla="*/ 593 h 5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593">
                  <a:moveTo>
                    <a:pt x="505" y="320"/>
                  </a:moveTo>
                  <a:lnTo>
                    <a:pt x="505" y="335"/>
                  </a:lnTo>
                  <a:lnTo>
                    <a:pt x="505" y="350"/>
                  </a:lnTo>
                  <a:lnTo>
                    <a:pt x="504" y="365"/>
                  </a:lnTo>
                  <a:lnTo>
                    <a:pt x="503" y="379"/>
                  </a:lnTo>
                  <a:lnTo>
                    <a:pt x="501" y="394"/>
                  </a:lnTo>
                  <a:lnTo>
                    <a:pt x="498" y="407"/>
                  </a:lnTo>
                  <a:lnTo>
                    <a:pt x="495" y="420"/>
                  </a:lnTo>
                  <a:lnTo>
                    <a:pt x="491" y="433"/>
                  </a:lnTo>
                  <a:lnTo>
                    <a:pt x="487" y="446"/>
                  </a:lnTo>
                  <a:lnTo>
                    <a:pt x="482" y="458"/>
                  </a:lnTo>
                  <a:lnTo>
                    <a:pt x="476" y="470"/>
                  </a:lnTo>
                  <a:lnTo>
                    <a:pt x="470" y="481"/>
                  </a:lnTo>
                  <a:lnTo>
                    <a:pt x="464" y="492"/>
                  </a:lnTo>
                  <a:lnTo>
                    <a:pt x="457" y="503"/>
                  </a:lnTo>
                  <a:lnTo>
                    <a:pt x="450" y="513"/>
                  </a:lnTo>
                  <a:lnTo>
                    <a:pt x="442" y="522"/>
                  </a:lnTo>
                  <a:lnTo>
                    <a:pt x="434" y="531"/>
                  </a:lnTo>
                  <a:lnTo>
                    <a:pt x="425" y="539"/>
                  </a:lnTo>
                  <a:lnTo>
                    <a:pt x="416" y="548"/>
                  </a:lnTo>
                  <a:lnTo>
                    <a:pt x="406" y="555"/>
                  </a:lnTo>
                  <a:lnTo>
                    <a:pt x="397" y="562"/>
                  </a:lnTo>
                  <a:lnTo>
                    <a:pt x="386" y="568"/>
                  </a:lnTo>
                  <a:lnTo>
                    <a:pt x="376" y="573"/>
                  </a:lnTo>
                  <a:lnTo>
                    <a:pt x="365" y="578"/>
                  </a:lnTo>
                  <a:lnTo>
                    <a:pt x="354" y="582"/>
                  </a:lnTo>
                  <a:lnTo>
                    <a:pt x="342" y="586"/>
                  </a:lnTo>
                  <a:lnTo>
                    <a:pt x="331" y="588"/>
                  </a:lnTo>
                  <a:lnTo>
                    <a:pt x="319" y="590"/>
                  </a:lnTo>
                  <a:lnTo>
                    <a:pt x="306" y="592"/>
                  </a:lnTo>
                  <a:lnTo>
                    <a:pt x="294" y="593"/>
                  </a:lnTo>
                  <a:lnTo>
                    <a:pt x="281" y="593"/>
                  </a:lnTo>
                  <a:lnTo>
                    <a:pt x="268" y="592"/>
                  </a:lnTo>
                  <a:lnTo>
                    <a:pt x="255" y="590"/>
                  </a:lnTo>
                  <a:lnTo>
                    <a:pt x="242" y="588"/>
                  </a:lnTo>
                  <a:lnTo>
                    <a:pt x="229" y="585"/>
                  </a:lnTo>
                  <a:lnTo>
                    <a:pt x="217" y="581"/>
                  </a:lnTo>
                  <a:lnTo>
                    <a:pt x="204" y="577"/>
                  </a:lnTo>
                  <a:lnTo>
                    <a:pt x="192" y="572"/>
                  </a:lnTo>
                  <a:lnTo>
                    <a:pt x="180" y="566"/>
                  </a:lnTo>
                  <a:lnTo>
                    <a:pt x="169" y="560"/>
                  </a:lnTo>
                  <a:lnTo>
                    <a:pt x="157" y="553"/>
                  </a:lnTo>
                  <a:lnTo>
                    <a:pt x="146" y="546"/>
                  </a:lnTo>
                  <a:lnTo>
                    <a:pt x="135" y="537"/>
                  </a:lnTo>
                  <a:lnTo>
                    <a:pt x="124" y="528"/>
                  </a:lnTo>
                  <a:lnTo>
                    <a:pt x="114" y="519"/>
                  </a:lnTo>
                  <a:lnTo>
                    <a:pt x="104" y="510"/>
                  </a:lnTo>
                  <a:lnTo>
                    <a:pt x="94" y="500"/>
                  </a:lnTo>
                  <a:lnTo>
                    <a:pt x="85" y="488"/>
                  </a:lnTo>
                  <a:lnTo>
                    <a:pt x="76" y="478"/>
                  </a:lnTo>
                  <a:lnTo>
                    <a:pt x="68" y="466"/>
                  </a:lnTo>
                  <a:lnTo>
                    <a:pt x="60" y="455"/>
                  </a:lnTo>
                  <a:lnTo>
                    <a:pt x="52" y="443"/>
                  </a:lnTo>
                  <a:lnTo>
                    <a:pt x="45" y="429"/>
                  </a:lnTo>
                  <a:lnTo>
                    <a:pt x="38" y="417"/>
                  </a:lnTo>
                  <a:lnTo>
                    <a:pt x="32" y="404"/>
                  </a:lnTo>
                  <a:lnTo>
                    <a:pt x="26" y="389"/>
                  </a:lnTo>
                  <a:lnTo>
                    <a:pt x="21" y="376"/>
                  </a:lnTo>
                  <a:lnTo>
                    <a:pt x="16" y="362"/>
                  </a:lnTo>
                  <a:lnTo>
                    <a:pt x="12" y="348"/>
                  </a:lnTo>
                  <a:lnTo>
                    <a:pt x="8" y="333"/>
                  </a:lnTo>
                  <a:lnTo>
                    <a:pt x="5" y="318"/>
                  </a:lnTo>
                  <a:lnTo>
                    <a:pt x="3" y="304"/>
                  </a:lnTo>
                  <a:lnTo>
                    <a:pt x="1" y="288"/>
                  </a:lnTo>
                  <a:lnTo>
                    <a:pt x="0" y="273"/>
                  </a:lnTo>
                  <a:lnTo>
                    <a:pt x="0" y="258"/>
                  </a:lnTo>
                  <a:lnTo>
                    <a:pt x="0" y="243"/>
                  </a:lnTo>
                  <a:lnTo>
                    <a:pt x="1" y="228"/>
                  </a:lnTo>
                  <a:lnTo>
                    <a:pt x="2" y="214"/>
                  </a:lnTo>
                  <a:lnTo>
                    <a:pt x="4" y="200"/>
                  </a:lnTo>
                  <a:lnTo>
                    <a:pt x="7" y="186"/>
                  </a:lnTo>
                  <a:lnTo>
                    <a:pt x="10" y="173"/>
                  </a:lnTo>
                  <a:lnTo>
                    <a:pt x="14" y="160"/>
                  </a:lnTo>
                  <a:lnTo>
                    <a:pt x="18" y="147"/>
                  </a:lnTo>
                  <a:lnTo>
                    <a:pt x="23" y="134"/>
                  </a:lnTo>
                  <a:lnTo>
                    <a:pt x="29" y="123"/>
                  </a:lnTo>
                  <a:lnTo>
                    <a:pt x="35" y="112"/>
                  </a:lnTo>
                  <a:lnTo>
                    <a:pt x="41" y="101"/>
                  </a:lnTo>
                  <a:lnTo>
                    <a:pt x="48" y="91"/>
                  </a:lnTo>
                  <a:lnTo>
                    <a:pt x="55" y="80"/>
                  </a:lnTo>
                  <a:lnTo>
                    <a:pt x="63" y="71"/>
                  </a:lnTo>
                  <a:lnTo>
                    <a:pt x="71" y="62"/>
                  </a:lnTo>
                  <a:lnTo>
                    <a:pt x="80" y="54"/>
                  </a:lnTo>
                  <a:lnTo>
                    <a:pt x="89" y="46"/>
                  </a:lnTo>
                  <a:lnTo>
                    <a:pt x="99" y="39"/>
                  </a:lnTo>
                  <a:lnTo>
                    <a:pt x="108" y="31"/>
                  </a:lnTo>
                  <a:lnTo>
                    <a:pt x="119" y="25"/>
                  </a:lnTo>
                  <a:lnTo>
                    <a:pt x="129" y="20"/>
                  </a:lnTo>
                  <a:lnTo>
                    <a:pt x="140" y="15"/>
                  </a:lnTo>
                  <a:lnTo>
                    <a:pt x="151" y="11"/>
                  </a:lnTo>
                  <a:lnTo>
                    <a:pt x="163" y="7"/>
                  </a:lnTo>
                  <a:lnTo>
                    <a:pt x="174" y="4"/>
                  </a:lnTo>
                  <a:lnTo>
                    <a:pt x="187" y="2"/>
                  </a:lnTo>
                  <a:lnTo>
                    <a:pt x="199" y="1"/>
                  </a:lnTo>
                  <a:lnTo>
                    <a:pt x="211" y="0"/>
                  </a:lnTo>
                  <a:lnTo>
                    <a:pt x="224" y="0"/>
                  </a:lnTo>
                  <a:lnTo>
                    <a:pt x="237" y="1"/>
                  </a:lnTo>
                  <a:lnTo>
                    <a:pt x="250" y="2"/>
                  </a:lnTo>
                  <a:lnTo>
                    <a:pt x="263" y="5"/>
                  </a:lnTo>
                  <a:lnTo>
                    <a:pt x="276" y="8"/>
                  </a:lnTo>
                  <a:lnTo>
                    <a:pt x="288" y="11"/>
                  </a:lnTo>
                  <a:lnTo>
                    <a:pt x="301" y="16"/>
                  </a:lnTo>
                  <a:lnTo>
                    <a:pt x="313" y="21"/>
                  </a:lnTo>
                  <a:lnTo>
                    <a:pt x="325" y="27"/>
                  </a:lnTo>
                  <a:lnTo>
                    <a:pt x="337" y="33"/>
                  </a:lnTo>
                  <a:lnTo>
                    <a:pt x="348" y="41"/>
                  </a:lnTo>
                  <a:lnTo>
                    <a:pt x="359" y="48"/>
                  </a:lnTo>
                  <a:lnTo>
                    <a:pt x="370" y="56"/>
                  </a:lnTo>
                  <a:lnTo>
                    <a:pt x="381" y="64"/>
                  </a:lnTo>
                  <a:lnTo>
                    <a:pt x="391" y="73"/>
                  </a:lnTo>
                  <a:lnTo>
                    <a:pt x="401" y="83"/>
                  </a:lnTo>
                  <a:lnTo>
                    <a:pt x="411" y="94"/>
                  </a:lnTo>
                  <a:lnTo>
                    <a:pt x="420" y="104"/>
                  </a:lnTo>
                  <a:lnTo>
                    <a:pt x="429" y="115"/>
                  </a:lnTo>
                  <a:lnTo>
                    <a:pt x="437" y="126"/>
                  </a:lnTo>
                  <a:lnTo>
                    <a:pt x="445" y="139"/>
                  </a:lnTo>
                  <a:lnTo>
                    <a:pt x="453" y="151"/>
                  </a:lnTo>
                  <a:lnTo>
                    <a:pt x="460" y="163"/>
                  </a:lnTo>
                  <a:lnTo>
                    <a:pt x="467" y="176"/>
                  </a:lnTo>
                  <a:lnTo>
                    <a:pt x="473" y="190"/>
                  </a:lnTo>
                  <a:lnTo>
                    <a:pt x="479" y="203"/>
                  </a:lnTo>
                  <a:lnTo>
                    <a:pt x="484" y="217"/>
                  </a:lnTo>
                  <a:lnTo>
                    <a:pt x="489" y="231"/>
                  </a:lnTo>
                  <a:lnTo>
                    <a:pt x="493" y="246"/>
                  </a:lnTo>
                  <a:lnTo>
                    <a:pt x="497" y="260"/>
                  </a:lnTo>
                  <a:lnTo>
                    <a:pt x="499" y="275"/>
                  </a:lnTo>
                  <a:lnTo>
                    <a:pt x="502" y="290"/>
                  </a:lnTo>
                  <a:lnTo>
                    <a:pt x="504" y="305"/>
                  </a:lnTo>
                  <a:lnTo>
                    <a:pt x="505" y="3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3" name="Freeform 113"/>
            <p:cNvSpPr>
              <a:spLocks/>
            </p:cNvSpPr>
            <p:nvPr/>
          </p:nvSpPr>
          <p:spPr bwMode="auto">
            <a:xfrm>
              <a:off x="844306" y="5180661"/>
              <a:ext cx="14947" cy="20090"/>
            </a:xfrm>
            <a:custGeom>
              <a:avLst/>
              <a:gdLst>
                <a:gd name="T0" fmla="*/ 0 w 523"/>
                <a:gd name="T1" fmla="*/ 0 h 611"/>
                <a:gd name="T2" fmla="*/ 0 w 523"/>
                <a:gd name="T3" fmla="*/ 0 h 611"/>
                <a:gd name="T4" fmla="*/ 0 w 523"/>
                <a:gd name="T5" fmla="*/ 0 h 611"/>
                <a:gd name="T6" fmla="*/ 0 w 523"/>
                <a:gd name="T7" fmla="*/ 0 h 611"/>
                <a:gd name="T8" fmla="*/ 0 w 523"/>
                <a:gd name="T9" fmla="*/ 0 h 611"/>
                <a:gd name="T10" fmla="*/ 0 w 523"/>
                <a:gd name="T11" fmla="*/ 0 h 611"/>
                <a:gd name="T12" fmla="*/ 0 w 523"/>
                <a:gd name="T13" fmla="*/ 0 h 611"/>
                <a:gd name="T14" fmla="*/ 0 w 523"/>
                <a:gd name="T15" fmla="*/ 0 h 611"/>
                <a:gd name="T16" fmla="*/ 0 w 523"/>
                <a:gd name="T17" fmla="*/ 0 h 611"/>
                <a:gd name="T18" fmla="*/ 0 w 523"/>
                <a:gd name="T19" fmla="*/ 0 h 611"/>
                <a:gd name="T20" fmla="*/ 0 w 523"/>
                <a:gd name="T21" fmla="*/ 0 h 611"/>
                <a:gd name="T22" fmla="*/ 0 w 523"/>
                <a:gd name="T23" fmla="*/ 0 h 611"/>
                <a:gd name="T24" fmla="*/ 0 w 523"/>
                <a:gd name="T25" fmla="*/ 0 h 611"/>
                <a:gd name="T26" fmla="*/ 0 w 523"/>
                <a:gd name="T27" fmla="*/ 0 h 611"/>
                <a:gd name="T28" fmla="*/ 0 w 523"/>
                <a:gd name="T29" fmla="*/ 0 h 611"/>
                <a:gd name="T30" fmla="*/ 0 w 523"/>
                <a:gd name="T31" fmla="*/ 0 h 611"/>
                <a:gd name="T32" fmla="*/ 0 w 523"/>
                <a:gd name="T33" fmla="*/ 0 h 611"/>
                <a:gd name="T34" fmla="*/ 0 w 523"/>
                <a:gd name="T35" fmla="*/ 0 h 611"/>
                <a:gd name="T36" fmla="*/ 0 w 523"/>
                <a:gd name="T37" fmla="*/ 0 h 611"/>
                <a:gd name="T38" fmla="*/ 0 w 523"/>
                <a:gd name="T39" fmla="*/ 0 h 611"/>
                <a:gd name="T40" fmla="*/ 0 w 523"/>
                <a:gd name="T41" fmla="*/ 0 h 611"/>
                <a:gd name="T42" fmla="*/ 0 w 523"/>
                <a:gd name="T43" fmla="*/ 0 h 611"/>
                <a:gd name="T44" fmla="*/ 0 w 523"/>
                <a:gd name="T45" fmla="*/ 0 h 611"/>
                <a:gd name="T46" fmla="*/ 0 w 523"/>
                <a:gd name="T47" fmla="*/ 0 h 611"/>
                <a:gd name="T48" fmla="*/ 0 w 523"/>
                <a:gd name="T49" fmla="*/ 0 h 611"/>
                <a:gd name="T50" fmla="*/ 0 w 523"/>
                <a:gd name="T51" fmla="*/ 0 h 611"/>
                <a:gd name="T52" fmla="*/ 0 w 523"/>
                <a:gd name="T53" fmla="*/ 0 h 611"/>
                <a:gd name="T54" fmla="*/ 0 w 523"/>
                <a:gd name="T55" fmla="*/ 0 h 611"/>
                <a:gd name="T56" fmla="*/ 0 w 523"/>
                <a:gd name="T57" fmla="*/ 0 h 611"/>
                <a:gd name="T58" fmla="*/ 0 w 523"/>
                <a:gd name="T59" fmla="*/ 0 h 611"/>
                <a:gd name="T60" fmla="*/ 0 w 523"/>
                <a:gd name="T61" fmla="*/ 0 h 611"/>
                <a:gd name="T62" fmla="*/ 0 w 523"/>
                <a:gd name="T63" fmla="*/ 0 h 611"/>
                <a:gd name="T64" fmla="*/ 0 w 523"/>
                <a:gd name="T65" fmla="*/ 0 h 611"/>
                <a:gd name="T66" fmla="*/ 0 w 523"/>
                <a:gd name="T67" fmla="*/ 0 h 611"/>
                <a:gd name="T68" fmla="*/ 0 w 523"/>
                <a:gd name="T69" fmla="*/ 0 h 611"/>
                <a:gd name="T70" fmla="*/ 0 w 523"/>
                <a:gd name="T71" fmla="*/ 0 h 611"/>
                <a:gd name="T72" fmla="*/ 0 w 523"/>
                <a:gd name="T73" fmla="*/ 0 h 611"/>
                <a:gd name="T74" fmla="*/ 0 w 523"/>
                <a:gd name="T75" fmla="*/ 0 h 611"/>
                <a:gd name="T76" fmla="*/ 0 w 523"/>
                <a:gd name="T77" fmla="*/ 0 h 611"/>
                <a:gd name="T78" fmla="*/ 0 w 523"/>
                <a:gd name="T79" fmla="*/ 0 h 611"/>
                <a:gd name="T80" fmla="*/ 0 w 523"/>
                <a:gd name="T81" fmla="*/ 0 h 611"/>
                <a:gd name="T82" fmla="*/ 0 w 523"/>
                <a:gd name="T83" fmla="*/ 0 h 611"/>
                <a:gd name="T84" fmla="*/ 0 w 523"/>
                <a:gd name="T85" fmla="*/ 0 h 6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3"/>
                <a:gd name="T130" fmla="*/ 0 h 611"/>
                <a:gd name="T131" fmla="*/ 523 w 523"/>
                <a:gd name="T132" fmla="*/ 611 h 6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3" h="611">
                  <a:moveTo>
                    <a:pt x="522" y="329"/>
                  </a:moveTo>
                  <a:lnTo>
                    <a:pt x="523" y="345"/>
                  </a:lnTo>
                  <a:lnTo>
                    <a:pt x="523" y="361"/>
                  </a:lnTo>
                  <a:lnTo>
                    <a:pt x="522" y="376"/>
                  </a:lnTo>
                  <a:lnTo>
                    <a:pt x="520" y="390"/>
                  </a:lnTo>
                  <a:lnTo>
                    <a:pt x="518" y="405"/>
                  </a:lnTo>
                  <a:lnTo>
                    <a:pt x="515" y="419"/>
                  </a:lnTo>
                  <a:lnTo>
                    <a:pt x="512" y="433"/>
                  </a:lnTo>
                  <a:lnTo>
                    <a:pt x="508" y="446"/>
                  </a:lnTo>
                  <a:lnTo>
                    <a:pt x="504" y="460"/>
                  </a:lnTo>
                  <a:lnTo>
                    <a:pt x="498" y="472"/>
                  </a:lnTo>
                  <a:lnTo>
                    <a:pt x="493" y="484"/>
                  </a:lnTo>
                  <a:lnTo>
                    <a:pt x="487" y="495"/>
                  </a:lnTo>
                  <a:lnTo>
                    <a:pt x="480" y="507"/>
                  </a:lnTo>
                  <a:lnTo>
                    <a:pt x="473" y="518"/>
                  </a:lnTo>
                  <a:lnTo>
                    <a:pt x="465" y="528"/>
                  </a:lnTo>
                  <a:lnTo>
                    <a:pt x="457" y="538"/>
                  </a:lnTo>
                  <a:lnTo>
                    <a:pt x="449" y="547"/>
                  </a:lnTo>
                  <a:lnTo>
                    <a:pt x="440" y="556"/>
                  </a:lnTo>
                  <a:lnTo>
                    <a:pt x="430" y="564"/>
                  </a:lnTo>
                  <a:lnTo>
                    <a:pt x="421" y="572"/>
                  </a:lnTo>
                  <a:lnTo>
                    <a:pt x="410" y="578"/>
                  </a:lnTo>
                  <a:lnTo>
                    <a:pt x="400" y="585"/>
                  </a:lnTo>
                  <a:lnTo>
                    <a:pt x="389" y="590"/>
                  </a:lnTo>
                  <a:lnTo>
                    <a:pt x="378" y="595"/>
                  </a:lnTo>
                  <a:lnTo>
                    <a:pt x="366" y="599"/>
                  </a:lnTo>
                  <a:lnTo>
                    <a:pt x="354" y="604"/>
                  </a:lnTo>
                  <a:lnTo>
                    <a:pt x="342" y="607"/>
                  </a:lnTo>
                  <a:lnTo>
                    <a:pt x="330" y="609"/>
                  </a:lnTo>
                  <a:lnTo>
                    <a:pt x="317" y="610"/>
                  </a:lnTo>
                  <a:lnTo>
                    <a:pt x="304" y="611"/>
                  </a:lnTo>
                  <a:lnTo>
                    <a:pt x="291" y="611"/>
                  </a:lnTo>
                  <a:lnTo>
                    <a:pt x="277" y="610"/>
                  </a:lnTo>
                  <a:lnTo>
                    <a:pt x="264" y="609"/>
                  </a:lnTo>
                  <a:lnTo>
                    <a:pt x="251" y="606"/>
                  </a:lnTo>
                  <a:lnTo>
                    <a:pt x="237" y="603"/>
                  </a:lnTo>
                  <a:lnTo>
                    <a:pt x="224" y="598"/>
                  </a:lnTo>
                  <a:lnTo>
                    <a:pt x="212" y="594"/>
                  </a:lnTo>
                  <a:lnTo>
                    <a:pt x="199" y="589"/>
                  </a:lnTo>
                  <a:lnTo>
                    <a:pt x="187" y="583"/>
                  </a:lnTo>
                  <a:lnTo>
                    <a:pt x="174" y="576"/>
                  </a:lnTo>
                  <a:lnTo>
                    <a:pt x="163" y="569"/>
                  </a:lnTo>
                  <a:lnTo>
                    <a:pt x="151" y="562"/>
                  </a:lnTo>
                  <a:lnTo>
                    <a:pt x="140" y="554"/>
                  </a:lnTo>
                  <a:lnTo>
                    <a:pt x="129" y="544"/>
                  </a:lnTo>
                  <a:lnTo>
                    <a:pt x="118" y="535"/>
                  </a:lnTo>
                  <a:lnTo>
                    <a:pt x="108" y="525"/>
                  </a:lnTo>
                  <a:lnTo>
                    <a:pt x="98" y="515"/>
                  </a:lnTo>
                  <a:lnTo>
                    <a:pt x="88" y="504"/>
                  </a:lnTo>
                  <a:lnTo>
                    <a:pt x="79" y="492"/>
                  </a:lnTo>
                  <a:lnTo>
                    <a:pt x="70" y="480"/>
                  </a:lnTo>
                  <a:lnTo>
                    <a:pt x="62" y="468"/>
                  </a:lnTo>
                  <a:lnTo>
                    <a:pt x="54" y="456"/>
                  </a:lnTo>
                  <a:lnTo>
                    <a:pt x="46" y="442"/>
                  </a:lnTo>
                  <a:lnTo>
                    <a:pt x="39" y="429"/>
                  </a:lnTo>
                  <a:lnTo>
                    <a:pt x="33" y="416"/>
                  </a:lnTo>
                  <a:lnTo>
                    <a:pt x="27" y="402"/>
                  </a:lnTo>
                  <a:lnTo>
                    <a:pt x="22" y="387"/>
                  </a:lnTo>
                  <a:lnTo>
                    <a:pt x="17" y="373"/>
                  </a:lnTo>
                  <a:lnTo>
                    <a:pt x="12" y="358"/>
                  </a:lnTo>
                  <a:lnTo>
                    <a:pt x="9" y="343"/>
                  </a:lnTo>
                  <a:lnTo>
                    <a:pt x="6" y="328"/>
                  </a:lnTo>
                  <a:lnTo>
                    <a:pt x="3" y="313"/>
                  </a:lnTo>
                  <a:lnTo>
                    <a:pt x="1" y="297"/>
                  </a:lnTo>
                  <a:lnTo>
                    <a:pt x="0" y="281"/>
                  </a:lnTo>
                  <a:lnTo>
                    <a:pt x="0" y="266"/>
                  </a:lnTo>
                  <a:lnTo>
                    <a:pt x="0" y="250"/>
                  </a:lnTo>
                  <a:lnTo>
                    <a:pt x="1" y="235"/>
                  </a:lnTo>
                  <a:lnTo>
                    <a:pt x="2" y="220"/>
                  </a:lnTo>
                  <a:lnTo>
                    <a:pt x="4" y="206"/>
                  </a:lnTo>
                  <a:lnTo>
                    <a:pt x="7" y="191"/>
                  </a:lnTo>
                  <a:lnTo>
                    <a:pt x="11" y="178"/>
                  </a:lnTo>
                  <a:lnTo>
                    <a:pt x="15" y="165"/>
                  </a:lnTo>
                  <a:lnTo>
                    <a:pt x="19" y="152"/>
                  </a:lnTo>
                  <a:lnTo>
                    <a:pt x="24" y="139"/>
                  </a:lnTo>
                  <a:lnTo>
                    <a:pt x="30" y="127"/>
                  </a:lnTo>
                  <a:lnTo>
                    <a:pt x="36" y="115"/>
                  </a:lnTo>
                  <a:lnTo>
                    <a:pt x="43" y="104"/>
                  </a:lnTo>
                  <a:lnTo>
                    <a:pt x="50" y="93"/>
                  </a:lnTo>
                  <a:lnTo>
                    <a:pt x="57" y="82"/>
                  </a:lnTo>
                  <a:lnTo>
                    <a:pt x="65" y="73"/>
                  </a:lnTo>
                  <a:lnTo>
                    <a:pt x="74" y="64"/>
                  </a:lnTo>
                  <a:lnTo>
                    <a:pt x="83" y="55"/>
                  </a:lnTo>
                  <a:lnTo>
                    <a:pt x="92" y="47"/>
                  </a:lnTo>
                  <a:lnTo>
                    <a:pt x="102" y="39"/>
                  </a:lnTo>
                  <a:lnTo>
                    <a:pt x="112" y="32"/>
                  </a:lnTo>
                  <a:lnTo>
                    <a:pt x="123" y="26"/>
                  </a:lnTo>
                  <a:lnTo>
                    <a:pt x="134" y="20"/>
                  </a:lnTo>
                  <a:lnTo>
                    <a:pt x="145" y="15"/>
                  </a:lnTo>
                  <a:lnTo>
                    <a:pt x="157" y="11"/>
                  </a:lnTo>
                  <a:lnTo>
                    <a:pt x="168" y="7"/>
                  </a:lnTo>
                  <a:lnTo>
                    <a:pt x="181" y="5"/>
                  </a:lnTo>
                  <a:lnTo>
                    <a:pt x="193" y="2"/>
                  </a:lnTo>
                  <a:lnTo>
                    <a:pt x="206" y="1"/>
                  </a:lnTo>
                  <a:lnTo>
                    <a:pt x="219" y="0"/>
                  </a:lnTo>
                  <a:lnTo>
                    <a:pt x="232" y="0"/>
                  </a:lnTo>
                  <a:lnTo>
                    <a:pt x="245" y="1"/>
                  </a:lnTo>
                  <a:lnTo>
                    <a:pt x="259" y="3"/>
                  </a:lnTo>
                  <a:lnTo>
                    <a:pt x="272" y="5"/>
                  </a:lnTo>
                  <a:lnTo>
                    <a:pt x="285" y="8"/>
                  </a:lnTo>
                  <a:lnTo>
                    <a:pt x="298" y="12"/>
                  </a:lnTo>
                  <a:lnTo>
                    <a:pt x="311" y="16"/>
                  </a:lnTo>
                  <a:lnTo>
                    <a:pt x="324" y="22"/>
                  </a:lnTo>
                  <a:lnTo>
                    <a:pt x="336" y="27"/>
                  </a:lnTo>
                  <a:lnTo>
                    <a:pt x="348" y="34"/>
                  </a:lnTo>
                  <a:lnTo>
                    <a:pt x="360" y="42"/>
                  </a:lnTo>
                  <a:lnTo>
                    <a:pt x="372" y="50"/>
                  </a:lnTo>
                  <a:lnTo>
                    <a:pt x="383" y="58"/>
                  </a:lnTo>
                  <a:lnTo>
                    <a:pt x="394" y="66"/>
                  </a:lnTo>
                  <a:lnTo>
                    <a:pt x="405" y="76"/>
                  </a:lnTo>
                  <a:lnTo>
                    <a:pt x="415" y="85"/>
                  </a:lnTo>
                  <a:lnTo>
                    <a:pt x="425" y="97"/>
                  </a:lnTo>
                  <a:lnTo>
                    <a:pt x="435" y="107"/>
                  </a:lnTo>
                  <a:lnTo>
                    <a:pt x="444" y="119"/>
                  </a:lnTo>
                  <a:lnTo>
                    <a:pt x="453" y="130"/>
                  </a:lnTo>
                  <a:lnTo>
                    <a:pt x="461" y="143"/>
                  </a:lnTo>
                  <a:lnTo>
                    <a:pt x="469" y="155"/>
                  </a:lnTo>
                  <a:lnTo>
                    <a:pt x="476" y="168"/>
                  </a:lnTo>
                  <a:lnTo>
                    <a:pt x="483" y="181"/>
                  </a:lnTo>
                  <a:lnTo>
                    <a:pt x="490" y="196"/>
                  </a:lnTo>
                  <a:lnTo>
                    <a:pt x="496" y="209"/>
                  </a:lnTo>
                  <a:lnTo>
                    <a:pt x="501" y="223"/>
                  </a:lnTo>
                  <a:lnTo>
                    <a:pt x="506" y="238"/>
                  </a:lnTo>
                  <a:lnTo>
                    <a:pt x="510" y="253"/>
                  </a:lnTo>
                  <a:lnTo>
                    <a:pt x="514" y="268"/>
                  </a:lnTo>
                  <a:lnTo>
                    <a:pt x="517" y="283"/>
                  </a:lnTo>
                  <a:lnTo>
                    <a:pt x="519" y="299"/>
                  </a:lnTo>
                  <a:lnTo>
                    <a:pt x="521" y="314"/>
                  </a:lnTo>
                  <a:lnTo>
                    <a:pt x="522" y="3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4" name="Freeform 114"/>
            <p:cNvSpPr>
              <a:spLocks/>
            </p:cNvSpPr>
            <p:nvPr/>
          </p:nvSpPr>
          <p:spPr bwMode="auto">
            <a:xfrm>
              <a:off x="815906" y="5163919"/>
              <a:ext cx="14947" cy="16742"/>
            </a:xfrm>
            <a:custGeom>
              <a:avLst/>
              <a:gdLst>
                <a:gd name="T0" fmla="*/ 0 w 464"/>
                <a:gd name="T1" fmla="*/ 0 h 542"/>
                <a:gd name="T2" fmla="*/ 0 w 464"/>
                <a:gd name="T3" fmla="*/ 0 h 542"/>
                <a:gd name="T4" fmla="*/ 0 w 464"/>
                <a:gd name="T5" fmla="*/ 0 h 542"/>
                <a:gd name="T6" fmla="*/ 0 w 464"/>
                <a:gd name="T7" fmla="*/ 0 h 542"/>
                <a:gd name="T8" fmla="*/ 0 w 464"/>
                <a:gd name="T9" fmla="*/ 0 h 542"/>
                <a:gd name="T10" fmla="*/ 0 w 464"/>
                <a:gd name="T11" fmla="*/ 0 h 542"/>
                <a:gd name="T12" fmla="*/ 0 w 464"/>
                <a:gd name="T13" fmla="*/ 0 h 542"/>
                <a:gd name="T14" fmla="*/ 0 w 464"/>
                <a:gd name="T15" fmla="*/ 0 h 542"/>
                <a:gd name="T16" fmla="*/ 0 w 464"/>
                <a:gd name="T17" fmla="*/ 0 h 542"/>
                <a:gd name="T18" fmla="*/ 0 w 464"/>
                <a:gd name="T19" fmla="*/ 0 h 542"/>
                <a:gd name="T20" fmla="*/ 0 w 464"/>
                <a:gd name="T21" fmla="*/ 0 h 542"/>
                <a:gd name="T22" fmla="*/ 0 w 464"/>
                <a:gd name="T23" fmla="*/ 0 h 542"/>
                <a:gd name="T24" fmla="*/ 0 w 464"/>
                <a:gd name="T25" fmla="*/ 0 h 542"/>
                <a:gd name="T26" fmla="*/ 0 w 464"/>
                <a:gd name="T27" fmla="*/ 0 h 542"/>
                <a:gd name="T28" fmla="*/ 0 w 464"/>
                <a:gd name="T29" fmla="*/ 0 h 542"/>
                <a:gd name="T30" fmla="*/ 0 w 464"/>
                <a:gd name="T31" fmla="*/ 0 h 542"/>
                <a:gd name="T32" fmla="*/ 0 w 464"/>
                <a:gd name="T33" fmla="*/ 0 h 542"/>
                <a:gd name="T34" fmla="*/ 0 w 464"/>
                <a:gd name="T35" fmla="*/ 0 h 542"/>
                <a:gd name="T36" fmla="*/ 0 w 464"/>
                <a:gd name="T37" fmla="*/ 0 h 542"/>
                <a:gd name="T38" fmla="*/ 0 w 464"/>
                <a:gd name="T39" fmla="*/ 0 h 542"/>
                <a:gd name="T40" fmla="*/ 0 w 464"/>
                <a:gd name="T41" fmla="*/ 0 h 542"/>
                <a:gd name="T42" fmla="*/ 0 w 464"/>
                <a:gd name="T43" fmla="*/ 0 h 542"/>
                <a:gd name="T44" fmla="*/ 0 w 464"/>
                <a:gd name="T45" fmla="*/ 0 h 542"/>
                <a:gd name="T46" fmla="*/ 0 w 464"/>
                <a:gd name="T47" fmla="*/ 0 h 542"/>
                <a:gd name="T48" fmla="*/ 0 w 464"/>
                <a:gd name="T49" fmla="*/ 0 h 542"/>
                <a:gd name="T50" fmla="*/ 0 w 464"/>
                <a:gd name="T51" fmla="*/ 0 h 542"/>
                <a:gd name="T52" fmla="*/ 0 w 464"/>
                <a:gd name="T53" fmla="*/ 0 h 542"/>
                <a:gd name="T54" fmla="*/ 0 w 464"/>
                <a:gd name="T55" fmla="*/ 0 h 542"/>
                <a:gd name="T56" fmla="*/ 0 w 464"/>
                <a:gd name="T57" fmla="*/ 0 h 542"/>
                <a:gd name="T58" fmla="*/ 0 w 464"/>
                <a:gd name="T59" fmla="*/ 0 h 542"/>
                <a:gd name="T60" fmla="*/ 0 w 464"/>
                <a:gd name="T61" fmla="*/ 0 h 542"/>
                <a:gd name="T62" fmla="*/ 0 w 464"/>
                <a:gd name="T63" fmla="*/ 0 h 542"/>
                <a:gd name="T64" fmla="*/ 0 w 464"/>
                <a:gd name="T65" fmla="*/ 0 h 542"/>
                <a:gd name="T66" fmla="*/ 0 w 464"/>
                <a:gd name="T67" fmla="*/ 0 h 542"/>
                <a:gd name="T68" fmla="*/ 0 w 464"/>
                <a:gd name="T69" fmla="*/ 0 h 542"/>
                <a:gd name="T70" fmla="*/ 0 w 464"/>
                <a:gd name="T71" fmla="*/ 0 h 542"/>
                <a:gd name="T72" fmla="*/ 0 w 464"/>
                <a:gd name="T73" fmla="*/ 0 h 542"/>
                <a:gd name="T74" fmla="*/ 0 w 464"/>
                <a:gd name="T75" fmla="*/ 0 h 542"/>
                <a:gd name="T76" fmla="*/ 0 w 464"/>
                <a:gd name="T77" fmla="*/ 0 h 542"/>
                <a:gd name="T78" fmla="*/ 0 w 464"/>
                <a:gd name="T79" fmla="*/ 0 h 542"/>
                <a:gd name="T80" fmla="*/ 0 w 464"/>
                <a:gd name="T81" fmla="*/ 0 h 542"/>
                <a:gd name="T82" fmla="*/ 0 w 464"/>
                <a:gd name="T83" fmla="*/ 0 h 542"/>
                <a:gd name="T84" fmla="*/ 0 w 464"/>
                <a:gd name="T85" fmla="*/ 0 h 542"/>
                <a:gd name="T86" fmla="*/ 0 w 464"/>
                <a:gd name="T87" fmla="*/ 0 h 542"/>
                <a:gd name="T88" fmla="*/ 0 w 464"/>
                <a:gd name="T89" fmla="*/ 0 h 542"/>
                <a:gd name="T90" fmla="*/ 0 w 464"/>
                <a:gd name="T91" fmla="*/ 0 h 542"/>
                <a:gd name="T92" fmla="*/ 0 w 464"/>
                <a:gd name="T93" fmla="*/ 0 h 542"/>
                <a:gd name="T94" fmla="*/ 0 w 464"/>
                <a:gd name="T95" fmla="*/ 0 h 542"/>
                <a:gd name="T96" fmla="*/ 0 w 464"/>
                <a:gd name="T97" fmla="*/ 0 h 542"/>
                <a:gd name="T98" fmla="*/ 0 w 464"/>
                <a:gd name="T99" fmla="*/ 0 h 542"/>
                <a:gd name="T100" fmla="*/ 0 w 464"/>
                <a:gd name="T101" fmla="*/ 0 h 542"/>
                <a:gd name="T102" fmla="*/ 0 w 464"/>
                <a:gd name="T103" fmla="*/ 0 h 542"/>
                <a:gd name="T104" fmla="*/ 0 w 464"/>
                <a:gd name="T105" fmla="*/ 0 h 542"/>
                <a:gd name="T106" fmla="*/ 0 w 464"/>
                <a:gd name="T107" fmla="*/ 0 h 542"/>
                <a:gd name="T108" fmla="*/ 0 w 464"/>
                <a:gd name="T109" fmla="*/ 0 h 542"/>
                <a:gd name="T110" fmla="*/ 0 w 464"/>
                <a:gd name="T111" fmla="*/ 0 h 542"/>
                <a:gd name="T112" fmla="*/ 0 w 464"/>
                <a:gd name="T113" fmla="*/ 0 h 542"/>
                <a:gd name="T114" fmla="*/ 0 w 464"/>
                <a:gd name="T115" fmla="*/ 0 h 542"/>
                <a:gd name="T116" fmla="*/ 0 w 464"/>
                <a:gd name="T117" fmla="*/ 0 h 542"/>
                <a:gd name="T118" fmla="*/ 0 w 464"/>
                <a:gd name="T119" fmla="*/ 0 h 542"/>
                <a:gd name="T120" fmla="*/ 0 w 464"/>
                <a:gd name="T121" fmla="*/ 0 h 542"/>
                <a:gd name="T122" fmla="*/ 0 w 464"/>
                <a:gd name="T123" fmla="*/ 0 h 542"/>
                <a:gd name="T124" fmla="*/ 0 w 464"/>
                <a:gd name="T125" fmla="*/ 0 h 54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2"/>
                <a:gd name="T191" fmla="*/ 464 w 464"/>
                <a:gd name="T192" fmla="*/ 542 h 54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2">
                  <a:moveTo>
                    <a:pt x="464" y="292"/>
                  </a:moveTo>
                  <a:lnTo>
                    <a:pt x="464" y="307"/>
                  </a:lnTo>
                  <a:lnTo>
                    <a:pt x="464" y="320"/>
                  </a:lnTo>
                  <a:lnTo>
                    <a:pt x="463" y="333"/>
                  </a:lnTo>
                  <a:lnTo>
                    <a:pt x="462" y="346"/>
                  </a:lnTo>
                  <a:lnTo>
                    <a:pt x="460" y="360"/>
                  </a:lnTo>
                  <a:lnTo>
                    <a:pt x="457" y="372"/>
                  </a:lnTo>
                  <a:lnTo>
                    <a:pt x="454" y="384"/>
                  </a:lnTo>
                  <a:lnTo>
                    <a:pt x="451" y="396"/>
                  </a:lnTo>
                  <a:lnTo>
                    <a:pt x="447" y="408"/>
                  </a:lnTo>
                  <a:lnTo>
                    <a:pt x="442" y="419"/>
                  </a:lnTo>
                  <a:lnTo>
                    <a:pt x="437" y="429"/>
                  </a:lnTo>
                  <a:lnTo>
                    <a:pt x="432" y="440"/>
                  </a:lnTo>
                  <a:lnTo>
                    <a:pt x="426" y="449"/>
                  </a:lnTo>
                  <a:lnTo>
                    <a:pt x="420" y="460"/>
                  </a:lnTo>
                  <a:lnTo>
                    <a:pt x="413" y="469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3"/>
                  </a:lnTo>
                  <a:lnTo>
                    <a:pt x="382" y="500"/>
                  </a:lnTo>
                  <a:lnTo>
                    <a:pt x="373" y="507"/>
                  </a:lnTo>
                  <a:lnTo>
                    <a:pt x="364" y="514"/>
                  </a:lnTo>
                  <a:lnTo>
                    <a:pt x="355" y="519"/>
                  </a:lnTo>
                  <a:lnTo>
                    <a:pt x="345" y="524"/>
                  </a:lnTo>
                  <a:lnTo>
                    <a:pt x="335" y="528"/>
                  </a:lnTo>
                  <a:lnTo>
                    <a:pt x="325" y="532"/>
                  </a:lnTo>
                  <a:lnTo>
                    <a:pt x="314" y="535"/>
                  </a:lnTo>
                  <a:lnTo>
                    <a:pt x="304" y="538"/>
                  </a:lnTo>
                  <a:lnTo>
                    <a:pt x="293" y="540"/>
                  </a:lnTo>
                  <a:lnTo>
                    <a:pt x="281" y="541"/>
                  </a:lnTo>
                  <a:lnTo>
                    <a:pt x="270" y="542"/>
                  </a:lnTo>
                  <a:lnTo>
                    <a:pt x="258" y="542"/>
                  </a:lnTo>
                  <a:lnTo>
                    <a:pt x="246" y="541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5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3"/>
                  </a:lnTo>
                  <a:lnTo>
                    <a:pt x="166" y="518"/>
                  </a:lnTo>
                  <a:lnTo>
                    <a:pt x="155" y="512"/>
                  </a:lnTo>
                  <a:lnTo>
                    <a:pt x="144" y="506"/>
                  </a:lnTo>
                  <a:lnTo>
                    <a:pt x="134" y="498"/>
                  </a:lnTo>
                  <a:lnTo>
                    <a:pt x="124" y="491"/>
                  </a:lnTo>
                  <a:lnTo>
                    <a:pt x="114" y="483"/>
                  </a:lnTo>
                  <a:lnTo>
                    <a:pt x="105" y="475"/>
                  </a:lnTo>
                  <a:lnTo>
                    <a:pt x="96" y="466"/>
                  </a:lnTo>
                  <a:lnTo>
                    <a:pt x="87" y="457"/>
                  </a:lnTo>
                  <a:lnTo>
                    <a:pt x="78" y="446"/>
                  </a:lnTo>
                  <a:lnTo>
                    <a:pt x="70" y="437"/>
                  </a:lnTo>
                  <a:lnTo>
                    <a:pt x="62" y="426"/>
                  </a:lnTo>
                  <a:lnTo>
                    <a:pt x="55" y="416"/>
                  </a:lnTo>
                  <a:lnTo>
                    <a:pt x="48" y="405"/>
                  </a:lnTo>
                  <a:lnTo>
                    <a:pt x="41" y="392"/>
                  </a:lnTo>
                  <a:lnTo>
                    <a:pt x="35" y="381"/>
                  </a:lnTo>
                  <a:lnTo>
                    <a:pt x="29" y="369"/>
                  </a:lnTo>
                  <a:lnTo>
                    <a:pt x="24" y="357"/>
                  </a:lnTo>
                  <a:lnTo>
                    <a:pt x="19" y="343"/>
                  </a:lnTo>
                  <a:lnTo>
                    <a:pt x="15" y="331"/>
                  </a:lnTo>
                  <a:lnTo>
                    <a:pt x="11" y="318"/>
                  </a:lnTo>
                  <a:lnTo>
                    <a:pt x="8" y="305"/>
                  </a:lnTo>
                  <a:lnTo>
                    <a:pt x="5" y="291"/>
                  </a:lnTo>
                  <a:lnTo>
                    <a:pt x="3" y="277"/>
                  </a:lnTo>
                  <a:lnTo>
                    <a:pt x="1" y="264"/>
                  </a:lnTo>
                  <a:lnTo>
                    <a:pt x="0" y="250"/>
                  </a:lnTo>
                  <a:lnTo>
                    <a:pt x="0" y="236"/>
                  </a:lnTo>
                  <a:lnTo>
                    <a:pt x="0" y="222"/>
                  </a:lnTo>
                  <a:lnTo>
                    <a:pt x="1" y="209"/>
                  </a:lnTo>
                  <a:lnTo>
                    <a:pt x="2" y="196"/>
                  </a:lnTo>
                  <a:lnTo>
                    <a:pt x="4" y="183"/>
                  </a:lnTo>
                  <a:lnTo>
                    <a:pt x="7" y="170"/>
                  </a:lnTo>
                  <a:lnTo>
                    <a:pt x="10" y="158"/>
                  </a:lnTo>
                  <a:lnTo>
                    <a:pt x="13" y="147"/>
                  </a:lnTo>
                  <a:lnTo>
                    <a:pt x="17" y="134"/>
                  </a:lnTo>
                  <a:lnTo>
                    <a:pt x="22" y="123"/>
                  </a:lnTo>
                  <a:lnTo>
                    <a:pt x="27" y="113"/>
                  </a:lnTo>
                  <a:lnTo>
                    <a:pt x="32" y="103"/>
                  </a:lnTo>
                  <a:lnTo>
                    <a:pt x="38" y="92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5"/>
                  </a:lnTo>
                  <a:lnTo>
                    <a:pt x="66" y="57"/>
                  </a:lnTo>
                  <a:lnTo>
                    <a:pt x="74" y="49"/>
                  </a:lnTo>
                  <a:lnTo>
                    <a:pt x="82" y="41"/>
                  </a:lnTo>
                  <a:lnTo>
                    <a:pt x="91" y="35"/>
                  </a:lnTo>
                  <a:lnTo>
                    <a:pt x="100" y="29"/>
                  </a:lnTo>
                  <a:lnTo>
                    <a:pt x="109" y="23"/>
                  </a:lnTo>
                  <a:lnTo>
                    <a:pt x="119" y="18"/>
                  </a:lnTo>
                  <a:lnTo>
                    <a:pt x="129" y="14"/>
                  </a:lnTo>
                  <a:lnTo>
                    <a:pt x="139" y="10"/>
                  </a:lnTo>
                  <a:lnTo>
                    <a:pt x="150" y="7"/>
                  </a:lnTo>
                  <a:lnTo>
                    <a:pt x="160" y="4"/>
                  </a:lnTo>
                  <a:lnTo>
                    <a:pt x="172" y="2"/>
                  </a:lnTo>
                  <a:lnTo>
                    <a:pt x="183" y="1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1"/>
                  </a:lnTo>
                  <a:lnTo>
                    <a:pt x="230" y="3"/>
                  </a:lnTo>
                  <a:lnTo>
                    <a:pt x="242" y="5"/>
                  </a:lnTo>
                  <a:lnTo>
                    <a:pt x="253" y="7"/>
                  </a:lnTo>
                  <a:lnTo>
                    <a:pt x="265" y="11"/>
                  </a:lnTo>
                  <a:lnTo>
                    <a:pt x="276" y="15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30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2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6"/>
                  </a:lnTo>
                  <a:lnTo>
                    <a:pt x="377" y="85"/>
                  </a:lnTo>
                  <a:lnTo>
                    <a:pt x="386" y="96"/>
                  </a:lnTo>
                  <a:lnTo>
                    <a:pt x="402" y="116"/>
                  </a:lnTo>
                  <a:lnTo>
                    <a:pt x="416" y="138"/>
                  </a:lnTo>
                  <a:lnTo>
                    <a:pt x="423" y="150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9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2"/>
                  </a:lnTo>
                  <a:lnTo>
                    <a:pt x="461" y="265"/>
                  </a:lnTo>
                  <a:lnTo>
                    <a:pt x="462" y="278"/>
                  </a:lnTo>
                  <a:lnTo>
                    <a:pt x="464" y="292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5" name="Freeform 115"/>
            <p:cNvSpPr>
              <a:spLocks/>
            </p:cNvSpPr>
            <p:nvPr/>
          </p:nvSpPr>
          <p:spPr bwMode="auto">
            <a:xfrm>
              <a:off x="844306" y="5180661"/>
              <a:ext cx="13453" cy="16742"/>
            </a:xfrm>
            <a:custGeom>
              <a:avLst/>
              <a:gdLst>
                <a:gd name="T0" fmla="*/ 0 w 464"/>
                <a:gd name="T1" fmla="*/ 0 h 541"/>
                <a:gd name="T2" fmla="*/ 0 w 464"/>
                <a:gd name="T3" fmla="*/ 0 h 541"/>
                <a:gd name="T4" fmla="*/ 0 w 464"/>
                <a:gd name="T5" fmla="*/ 0 h 541"/>
                <a:gd name="T6" fmla="*/ 0 w 464"/>
                <a:gd name="T7" fmla="*/ 0 h 541"/>
                <a:gd name="T8" fmla="*/ 0 w 464"/>
                <a:gd name="T9" fmla="*/ 0 h 541"/>
                <a:gd name="T10" fmla="*/ 0 w 464"/>
                <a:gd name="T11" fmla="*/ 0 h 541"/>
                <a:gd name="T12" fmla="*/ 0 w 464"/>
                <a:gd name="T13" fmla="*/ 0 h 541"/>
                <a:gd name="T14" fmla="*/ 0 w 464"/>
                <a:gd name="T15" fmla="*/ 0 h 541"/>
                <a:gd name="T16" fmla="*/ 0 w 464"/>
                <a:gd name="T17" fmla="*/ 0 h 541"/>
                <a:gd name="T18" fmla="*/ 0 w 464"/>
                <a:gd name="T19" fmla="*/ 0 h 541"/>
                <a:gd name="T20" fmla="*/ 0 w 464"/>
                <a:gd name="T21" fmla="*/ 0 h 541"/>
                <a:gd name="T22" fmla="*/ 0 w 464"/>
                <a:gd name="T23" fmla="*/ 0 h 541"/>
                <a:gd name="T24" fmla="*/ 0 w 464"/>
                <a:gd name="T25" fmla="*/ 0 h 541"/>
                <a:gd name="T26" fmla="*/ 0 w 464"/>
                <a:gd name="T27" fmla="*/ 0 h 541"/>
                <a:gd name="T28" fmla="*/ 0 w 464"/>
                <a:gd name="T29" fmla="*/ 0 h 541"/>
                <a:gd name="T30" fmla="*/ 0 w 464"/>
                <a:gd name="T31" fmla="*/ 0 h 541"/>
                <a:gd name="T32" fmla="*/ 0 w 464"/>
                <a:gd name="T33" fmla="*/ 0 h 541"/>
                <a:gd name="T34" fmla="*/ 0 w 464"/>
                <a:gd name="T35" fmla="*/ 0 h 541"/>
                <a:gd name="T36" fmla="*/ 0 w 464"/>
                <a:gd name="T37" fmla="*/ 0 h 541"/>
                <a:gd name="T38" fmla="*/ 0 w 464"/>
                <a:gd name="T39" fmla="*/ 0 h 541"/>
                <a:gd name="T40" fmla="*/ 0 w 464"/>
                <a:gd name="T41" fmla="*/ 0 h 541"/>
                <a:gd name="T42" fmla="*/ 0 w 464"/>
                <a:gd name="T43" fmla="*/ 0 h 541"/>
                <a:gd name="T44" fmla="*/ 0 w 464"/>
                <a:gd name="T45" fmla="*/ 0 h 541"/>
                <a:gd name="T46" fmla="*/ 0 w 464"/>
                <a:gd name="T47" fmla="*/ 0 h 541"/>
                <a:gd name="T48" fmla="*/ 0 w 464"/>
                <a:gd name="T49" fmla="*/ 0 h 541"/>
                <a:gd name="T50" fmla="*/ 0 w 464"/>
                <a:gd name="T51" fmla="*/ 0 h 541"/>
                <a:gd name="T52" fmla="*/ 0 w 464"/>
                <a:gd name="T53" fmla="*/ 0 h 541"/>
                <a:gd name="T54" fmla="*/ 0 w 464"/>
                <a:gd name="T55" fmla="*/ 0 h 541"/>
                <a:gd name="T56" fmla="*/ 0 w 464"/>
                <a:gd name="T57" fmla="*/ 0 h 541"/>
                <a:gd name="T58" fmla="*/ 0 w 464"/>
                <a:gd name="T59" fmla="*/ 0 h 541"/>
                <a:gd name="T60" fmla="*/ 0 w 464"/>
                <a:gd name="T61" fmla="*/ 0 h 541"/>
                <a:gd name="T62" fmla="*/ 0 w 464"/>
                <a:gd name="T63" fmla="*/ 0 h 541"/>
                <a:gd name="T64" fmla="*/ 0 w 464"/>
                <a:gd name="T65" fmla="*/ 0 h 541"/>
                <a:gd name="T66" fmla="*/ 0 w 464"/>
                <a:gd name="T67" fmla="*/ 0 h 541"/>
                <a:gd name="T68" fmla="*/ 0 w 464"/>
                <a:gd name="T69" fmla="*/ 0 h 541"/>
                <a:gd name="T70" fmla="*/ 0 w 464"/>
                <a:gd name="T71" fmla="*/ 0 h 541"/>
                <a:gd name="T72" fmla="*/ 0 w 464"/>
                <a:gd name="T73" fmla="*/ 0 h 541"/>
                <a:gd name="T74" fmla="*/ 0 w 464"/>
                <a:gd name="T75" fmla="*/ 0 h 541"/>
                <a:gd name="T76" fmla="*/ 0 w 464"/>
                <a:gd name="T77" fmla="*/ 0 h 541"/>
                <a:gd name="T78" fmla="*/ 0 w 464"/>
                <a:gd name="T79" fmla="*/ 0 h 541"/>
                <a:gd name="T80" fmla="*/ 0 w 464"/>
                <a:gd name="T81" fmla="*/ 0 h 541"/>
                <a:gd name="T82" fmla="*/ 0 w 464"/>
                <a:gd name="T83" fmla="*/ 0 h 541"/>
                <a:gd name="T84" fmla="*/ 0 w 464"/>
                <a:gd name="T85" fmla="*/ 0 h 541"/>
                <a:gd name="T86" fmla="*/ 0 w 464"/>
                <a:gd name="T87" fmla="*/ 0 h 541"/>
                <a:gd name="T88" fmla="*/ 0 w 464"/>
                <a:gd name="T89" fmla="*/ 0 h 541"/>
                <a:gd name="T90" fmla="*/ 0 w 464"/>
                <a:gd name="T91" fmla="*/ 0 h 541"/>
                <a:gd name="T92" fmla="*/ 0 w 464"/>
                <a:gd name="T93" fmla="*/ 0 h 541"/>
                <a:gd name="T94" fmla="*/ 0 w 464"/>
                <a:gd name="T95" fmla="*/ 0 h 541"/>
                <a:gd name="T96" fmla="*/ 0 w 464"/>
                <a:gd name="T97" fmla="*/ 0 h 541"/>
                <a:gd name="T98" fmla="*/ 0 w 464"/>
                <a:gd name="T99" fmla="*/ 0 h 541"/>
                <a:gd name="T100" fmla="*/ 0 w 464"/>
                <a:gd name="T101" fmla="*/ 0 h 541"/>
                <a:gd name="T102" fmla="*/ 0 w 464"/>
                <a:gd name="T103" fmla="*/ 0 h 541"/>
                <a:gd name="T104" fmla="*/ 0 w 464"/>
                <a:gd name="T105" fmla="*/ 0 h 541"/>
                <a:gd name="T106" fmla="*/ 0 w 464"/>
                <a:gd name="T107" fmla="*/ 0 h 541"/>
                <a:gd name="T108" fmla="*/ 0 w 464"/>
                <a:gd name="T109" fmla="*/ 0 h 541"/>
                <a:gd name="T110" fmla="*/ 0 w 464"/>
                <a:gd name="T111" fmla="*/ 0 h 541"/>
                <a:gd name="T112" fmla="*/ 0 w 464"/>
                <a:gd name="T113" fmla="*/ 0 h 541"/>
                <a:gd name="T114" fmla="*/ 0 w 464"/>
                <a:gd name="T115" fmla="*/ 0 h 541"/>
                <a:gd name="T116" fmla="*/ 0 w 464"/>
                <a:gd name="T117" fmla="*/ 0 h 541"/>
                <a:gd name="T118" fmla="*/ 0 w 464"/>
                <a:gd name="T119" fmla="*/ 0 h 541"/>
                <a:gd name="T120" fmla="*/ 0 w 464"/>
                <a:gd name="T121" fmla="*/ 0 h 541"/>
                <a:gd name="T122" fmla="*/ 0 w 464"/>
                <a:gd name="T123" fmla="*/ 0 h 541"/>
                <a:gd name="T124" fmla="*/ 0 w 464"/>
                <a:gd name="T125" fmla="*/ 0 h 54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4"/>
                <a:gd name="T190" fmla="*/ 0 h 541"/>
                <a:gd name="T191" fmla="*/ 464 w 464"/>
                <a:gd name="T192" fmla="*/ 541 h 54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4" h="541">
                  <a:moveTo>
                    <a:pt x="464" y="291"/>
                  </a:moveTo>
                  <a:lnTo>
                    <a:pt x="464" y="306"/>
                  </a:lnTo>
                  <a:lnTo>
                    <a:pt x="464" y="319"/>
                  </a:lnTo>
                  <a:lnTo>
                    <a:pt x="463" y="333"/>
                  </a:lnTo>
                  <a:lnTo>
                    <a:pt x="462" y="345"/>
                  </a:lnTo>
                  <a:lnTo>
                    <a:pt x="460" y="359"/>
                  </a:lnTo>
                  <a:lnTo>
                    <a:pt x="457" y="371"/>
                  </a:lnTo>
                  <a:lnTo>
                    <a:pt x="454" y="383"/>
                  </a:lnTo>
                  <a:lnTo>
                    <a:pt x="451" y="395"/>
                  </a:lnTo>
                  <a:lnTo>
                    <a:pt x="447" y="407"/>
                  </a:lnTo>
                  <a:lnTo>
                    <a:pt x="442" y="418"/>
                  </a:lnTo>
                  <a:lnTo>
                    <a:pt x="437" y="429"/>
                  </a:lnTo>
                  <a:lnTo>
                    <a:pt x="432" y="439"/>
                  </a:lnTo>
                  <a:lnTo>
                    <a:pt x="426" y="450"/>
                  </a:lnTo>
                  <a:lnTo>
                    <a:pt x="420" y="459"/>
                  </a:lnTo>
                  <a:lnTo>
                    <a:pt x="413" y="468"/>
                  </a:lnTo>
                  <a:lnTo>
                    <a:pt x="406" y="477"/>
                  </a:lnTo>
                  <a:lnTo>
                    <a:pt x="398" y="485"/>
                  </a:lnTo>
                  <a:lnTo>
                    <a:pt x="390" y="492"/>
                  </a:lnTo>
                  <a:lnTo>
                    <a:pt x="382" y="499"/>
                  </a:lnTo>
                  <a:lnTo>
                    <a:pt x="373" y="507"/>
                  </a:lnTo>
                  <a:lnTo>
                    <a:pt x="364" y="513"/>
                  </a:lnTo>
                  <a:lnTo>
                    <a:pt x="355" y="518"/>
                  </a:lnTo>
                  <a:lnTo>
                    <a:pt x="345" y="523"/>
                  </a:lnTo>
                  <a:lnTo>
                    <a:pt x="335" y="528"/>
                  </a:lnTo>
                  <a:lnTo>
                    <a:pt x="325" y="531"/>
                  </a:lnTo>
                  <a:lnTo>
                    <a:pt x="314" y="535"/>
                  </a:lnTo>
                  <a:lnTo>
                    <a:pt x="304" y="537"/>
                  </a:lnTo>
                  <a:lnTo>
                    <a:pt x="293" y="539"/>
                  </a:lnTo>
                  <a:lnTo>
                    <a:pt x="281" y="540"/>
                  </a:lnTo>
                  <a:lnTo>
                    <a:pt x="270" y="541"/>
                  </a:lnTo>
                  <a:lnTo>
                    <a:pt x="258" y="541"/>
                  </a:lnTo>
                  <a:lnTo>
                    <a:pt x="246" y="540"/>
                  </a:lnTo>
                  <a:lnTo>
                    <a:pt x="234" y="539"/>
                  </a:lnTo>
                  <a:lnTo>
                    <a:pt x="222" y="537"/>
                  </a:lnTo>
                  <a:lnTo>
                    <a:pt x="211" y="534"/>
                  </a:lnTo>
                  <a:lnTo>
                    <a:pt x="199" y="531"/>
                  </a:lnTo>
                  <a:lnTo>
                    <a:pt x="188" y="527"/>
                  </a:lnTo>
                  <a:lnTo>
                    <a:pt x="177" y="522"/>
                  </a:lnTo>
                  <a:lnTo>
                    <a:pt x="166" y="517"/>
                  </a:lnTo>
                  <a:lnTo>
                    <a:pt x="155" y="511"/>
                  </a:lnTo>
                  <a:lnTo>
                    <a:pt x="144" y="505"/>
                  </a:lnTo>
                  <a:lnTo>
                    <a:pt x="134" y="497"/>
                  </a:lnTo>
                  <a:lnTo>
                    <a:pt x="124" y="490"/>
                  </a:lnTo>
                  <a:lnTo>
                    <a:pt x="114" y="482"/>
                  </a:lnTo>
                  <a:lnTo>
                    <a:pt x="105" y="474"/>
                  </a:lnTo>
                  <a:lnTo>
                    <a:pt x="96" y="465"/>
                  </a:lnTo>
                  <a:lnTo>
                    <a:pt x="87" y="456"/>
                  </a:lnTo>
                  <a:lnTo>
                    <a:pt x="78" y="446"/>
                  </a:lnTo>
                  <a:lnTo>
                    <a:pt x="70" y="436"/>
                  </a:lnTo>
                  <a:lnTo>
                    <a:pt x="62" y="426"/>
                  </a:lnTo>
                  <a:lnTo>
                    <a:pt x="55" y="415"/>
                  </a:lnTo>
                  <a:lnTo>
                    <a:pt x="48" y="404"/>
                  </a:lnTo>
                  <a:lnTo>
                    <a:pt x="41" y="392"/>
                  </a:lnTo>
                  <a:lnTo>
                    <a:pt x="35" y="380"/>
                  </a:lnTo>
                  <a:lnTo>
                    <a:pt x="30" y="368"/>
                  </a:lnTo>
                  <a:lnTo>
                    <a:pt x="24" y="356"/>
                  </a:lnTo>
                  <a:lnTo>
                    <a:pt x="19" y="343"/>
                  </a:lnTo>
                  <a:lnTo>
                    <a:pt x="15" y="330"/>
                  </a:lnTo>
                  <a:lnTo>
                    <a:pt x="11" y="317"/>
                  </a:lnTo>
                  <a:lnTo>
                    <a:pt x="8" y="304"/>
                  </a:lnTo>
                  <a:lnTo>
                    <a:pt x="5" y="290"/>
                  </a:lnTo>
                  <a:lnTo>
                    <a:pt x="3" y="276"/>
                  </a:lnTo>
                  <a:lnTo>
                    <a:pt x="1" y="263"/>
                  </a:lnTo>
                  <a:lnTo>
                    <a:pt x="1" y="249"/>
                  </a:lnTo>
                  <a:lnTo>
                    <a:pt x="0" y="235"/>
                  </a:lnTo>
                  <a:lnTo>
                    <a:pt x="0" y="221"/>
                  </a:lnTo>
                  <a:lnTo>
                    <a:pt x="1" y="208"/>
                  </a:lnTo>
                  <a:lnTo>
                    <a:pt x="2" y="195"/>
                  </a:lnTo>
                  <a:lnTo>
                    <a:pt x="4" y="182"/>
                  </a:lnTo>
                  <a:lnTo>
                    <a:pt x="7" y="169"/>
                  </a:lnTo>
                  <a:lnTo>
                    <a:pt x="10" y="157"/>
                  </a:lnTo>
                  <a:lnTo>
                    <a:pt x="13" y="146"/>
                  </a:lnTo>
                  <a:lnTo>
                    <a:pt x="17" y="133"/>
                  </a:lnTo>
                  <a:lnTo>
                    <a:pt x="22" y="123"/>
                  </a:lnTo>
                  <a:lnTo>
                    <a:pt x="27" y="112"/>
                  </a:lnTo>
                  <a:lnTo>
                    <a:pt x="32" y="102"/>
                  </a:lnTo>
                  <a:lnTo>
                    <a:pt x="38" y="91"/>
                  </a:lnTo>
                  <a:lnTo>
                    <a:pt x="44" y="82"/>
                  </a:lnTo>
                  <a:lnTo>
                    <a:pt x="51" y="73"/>
                  </a:lnTo>
                  <a:lnTo>
                    <a:pt x="58" y="64"/>
                  </a:lnTo>
                  <a:lnTo>
                    <a:pt x="66" y="56"/>
                  </a:lnTo>
                  <a:lnTo>
                    <a:pt x="74" y="49"/>
                  </a:lnTo>
                  <a:lnTo>
                    <a:pt x="82" y="40"/>
                  </a:lnTo>
                  <a:lnTo>
                    <a:pt x="91" y="34"/>
                  </a:lnTo>
                  <a:lnTo>
                    <a:pt x="100" y="28"/>
                  </a:lnTo>
                  <a:lnTo>
                    <a:pt x="109" y="22"/>
                  </a:lnTo>
                  <a:lnTo>
                    <a:pt x="119" y="17"/>
                  </a:lnTo>
                  <a:lnTo>
                    <a:pt x="129" y="13"/>
                  </a:lnTo>
                  <a:lnTo>
                    <a:pt x="139" y="9"/>
                  </a:lnTo>
                  <a:lnTo>
                    <a:pt x="150" y="6"/>
                  </a:lnTo>
                  <a:lnTo>
                    <a:pt x="160" y="4"/>
                  </a:lnTo>
                  <a:lnTo>
                    <a:pt x="171" y="1"/>
                  </a:lnTo>
                  <a:lnTo>
                    <a:pt x="183" y="0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30" y="2"/>
                  </a:lnTo>
                  <a:lnTo>
                    <a:pt x="242" y="4"/>
                  </a:lnTo>
                  <a:lnTo>
                    <a:pt x="253" y="7"/>
                  </a:lnTo>
                  <a:lnTo>
                    <a:pt x="265" y="10"/>
                  </a:lnTo>
                  <a:lnTo>
                    <a:pt x="276" y="14"/>
                  </a:lnTo>
                  <a:lnTo>
                    <a:pt x="287" y="19"/>
                  </a:lnTo>
                  <a:lnTo>
                    <a:pt x="298" y="24"/>
                  </a:lnTo>
                  <a:lnTo>
                    <a:pt x="309" y="29"/>
                  </a:lnTo>
                  <a:lnTo>
                    <a:pt x="320" y="36"/>
                  </a:lnTo>
                  <a:lnTo>
                    <a:pt x="330" y="44"/>
                  </a:lnTo>
                  <a:lnTo>
                    <a:pt x="340" y="51"/>
                  </a:lnTo>
                  <a:lnTo>
                    <a:pt x="350" y="59"/>
                  </a:lnTo>
                  <a:lnTo>
                    <a:pt x="359" y="67"/>
                  </a:lnTo>
                  <a:lnTo>
                    <a:pt x="368" y="75"/>
                  </a:lnTo>
                  <a:lnTo>
                    <a:pt x="377" y="85"/>
                  </a:lnTo>
                  <a:lnTo>
                    <a:pt x="386" y="95"/>
                  </a:lnTo>
                  <a:lnTo>
                    <a:pt x="402" y="115"/>
                  </a:lnTo>
                  <a:lnTo>
                    <a:pt x="416" y="137"/>
                  </a:lnTo>
                  <a:lnTo>
                    <a:pt x="423" y="149"/>
                  </a:lnTo>
                  <a:lnTo>
                    <a:pt x="429" y="161"/>
                  </a:lnTo>
                  <a:lnTo>
                    <a:pt x="435" y="173"/>
                  </a:lnTo>
                  <a:lnTo>
                    <a:pt x="440" y="185"/>
                  </a:lnTo>
                  <a:lnTo>
                    <a:pt x="445" y="198"/>
                  </a:lnTo>
                  <a:lnTo>
                    <a:pt x="449" y="211"/>
                  </a:lnTo>
                  <a:lnTo>
                    <a:pt x="453" y="224"/>
                  </a:lnTo>
                  <a:lnTo>
                    <a:pt x="456" y="237"/>
                  </a:lnTo>
                  <a:lnTo>
                    <a:pt x="459" y="251"/>
                  </a:lnTo>
                  <a:lnTo>
                    <a:pt x="461" y="264"/>
                  </a:lnTo>
                  <a:lnTo>
                    <a:pt x="463" y="278"/>
                  </a:lnTo>
                  <a:lnTo>
                    <a:pt x="464" y="291"/>
                  </a:lnTo>
                  <a:close/>
                </a:path>
              </a:pathLst>
            </a:custGeom>
            <a:solidFill>
              <a:srgbClr val="B567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6" name="Freeform 116"/>
            <p:cNvSpPr>
              <a:spLocks/>
            </p:cNvSpPr>
            <p:nvPr/>
          </p:nvSpPr>
          <p:spPr bwMode="auto">
            <a:xfrm>
              <a:off x="715760" y="4891028"/>
              <a:ext cx="312398" cy="200902"/>
            </a:xfrm>
            <a:custGeom>
              <a:avLst/>
              <a:gdLst>
                <a:gd name="T0" fmla="*/ 0 w 10451"/>
                <a:gd name="T1" fmla="*/ 0 h 6136"/>
                <a:gd name="T2" fmla="*/ 0 w 10451"/>
                <a:gd name="T3" fmla="*/ 0 h 6136"/>
                <a:gd name="T4" fmla="*/ 0 w 10451"/>
                <a:gd name="T5" fmla="*/ 0 h 6136"/>
                <a:gd name="T6" fmla="*/ 0 w 10451"/>
                <a:gd name="T7" fmla="*/ 0 h 6136"/>
                <a:gd name="T8" fmla="*/ 0 w 10451"/>
                <a:gd name="T9" fmla="*/ 0 h 6136"/>
                <a:gd name="T10" fmla="*/ 0 w 10451"/>
                <a:gd name="T11" fmla="*/ 0 h 6136"/>
                <a:gd name="T12" fmla="*/ 0 w 10451"/>
                <a:gd name="T13" fmla="*/ 0 h 6136"/>
                <a:gd name="T14" fmla="*/ 0 w 10451"/>
                <a:gd name="T15" fmla="*/ 0 h 6136"/>
                <a:gd name="T16" fmla="*/ 0 w 10451"/>
                <a:gd name="T17" fmla="*/ 0 h 6136"/>
                <a:gd name="T18" fmla="*/ 0 w 10451"/>
                <a:gd name="T19" fmla="*/ 0 h 6136"/>
                <a:gd name="T20" fmla="*/ 0 w 10451"/>
                <a:gd name="T21" fmla="*/ 0 h 6136"/>
                <a:gd name="T22" fmla="*/ 0 w 10451"/>
                <a:gd name="T23" fmla="*/ 0 h 6136"/>
                <a:gd name="T24" fmla="*/ 0 w 10451"/>
                <a:gd name="T25" fmla="*/ 0 h 6136"/>
                <a:gd name="T26" fmla="*/ 0 w 10451"/>
                <a:gd name="T27" fmla="*/ 0 h 6136"/>
                <a:gd name="T28" fmla="*/ 0 w 10451"/>
                <a:gd name="T29" fmla="*/ 0 h 6136"/>
                <a:gd name="T30" fmla="*/ 0 w 10451"/>
                <a:gd name="T31" fmla="*/ 0 h 6136"/>
                <a:gd name="T32" fmla="*/ 0 w 10451"/>
                <a:gd name="T33" fmla="*/ 0 h 6136"/>
                <a:gd name="T34" fmla="*/ 0 w 10451"/>
                <a:gd name="T35" fmla="*/ 0 h 6136"/>
                <a:gd name="T36" fmla="*/ 0 w 10451"/>
                <a:gd name="T37" fmla="*/ 0 h 6136"/>
                <a:gd name="T38" fmla="*/ 0 w 10451"/>
                <a:gd name="T39" fmla="*/ 0 h 6136"/>
                <a:gd name="T40" fmla="*/ 0 w 10451"/>
                <a:gd name="T41" fmla="*/ 0 h 6136"/>
                <a:gd name="T42" fmla="*/ 0 w 10451"/>
                <a:gd name="T43" fmla="*/ 0 h 6136"/>
                <a:gd name="T44" fmla="*/ 0 w 10451"/>
                <a:gd name="T45" fmla="*/ 0 h 6136"/>
                <a:gd name="T46" fmla="*/ 0 w 10451"/>
                <a:gd name="T47" fmla="*/ 0 h 6136"/>
                <a:gd name="T48" fmla="*/ 0 w 10451"/>
                <a:gd name="T49" fmla="*/ 0 h 6136"/>
                <a:gd name="T50" fmla="*/ 0 w 10451"/>
                <a:gd name="T51" fmla="*/ 0 h 6136"/>
                <a:gd name="T52" fmla="*/ 0 w 10451"/>
                <a:gd name="T53" fmla="*/ 0 h 6136"/>
                <a:gd name="T54" fmla="*/ 0 w 10451"/>
                <a:gd name="T55" fmla="*/ 0 h 6136"/>
                <a:gd name="T56" fmla="*/ 0 w 10451"/>
                <a:gd name="T57" fmla="*/ 0 h 6136"/>
                <a:gd name="T58" fmla="*/ 0 w 10451"/>
                <a:gd name="T59" fmla="*/ 0 h 6136"/>
                <a:gd name="T60" fmla="*/ 0 w 10451"/>
                <a:gd name="T61" fmla="*/ 0 h 6136"/>
                <a:gd name="T62" fmla="*/ 0 w 10451"/>
                <a:gd name="T63" fmla="*/ 0 h 6136"/>
                <a:gd name="T64" fmla="*/ 0 w 10451"/>
                <a:gd name="T65" fmla="*/ 0 h 6136"/>
                <a:gd name="T66" fmla="*/ 0 w 10451"/>
                <a:gd name="T67" fmla="*/ 0 h 6136"/>
                <a:gd name="T68" fmla="*/ 0 w 10451"/>
                <a:gd name="T69" fmla="*/ 0 h 6136"/>
                <a:gd name="T70" fmla="*/ 0 w 10451"/>
                <a:gd name="T71" fmla="*/ 0 h 6136"/>
                <a:gd name="T72" fmla="*/ 0 w 10451"/>
                <a:gd name="T73" fmla="*/ 0 h 6136"/>
                <a:gd name="T74" fmla="*/ 0 w 10451"/>
                <a:gd name="T75" fmla="*/ 0 h 6136"/>
                <a:gd name="T76" fmla="*/ 0 w 10451"/>
                <a:gd name="T77" fmla="*/ 0 h 6136"/>
                <a:gd name="T78" fmla="*/ 0 w 10451"/>
                <a:gd name="T79" fmla="*/ 0 h 6136"/>
                <a:gd name="T80" fmla="*/ 0 w 10451"/>
                <a:gd name="T81" fmla="*/ 0 h 6136"/>
                <a:gd name="T82" fmla="*/ 0 w 10451"/>
                <a:gd name="T83" fmla="*/ 0 h 6136"/>
                <a:gd name="T84" fmla="*/ 0 w 10451"/>
                <a:gd name="T85" fmla="*/ 0 h 6136"/>
                <a:gd name="T86" fmla="*/ 0 w 10451"/>
                <a:gd name="T87" fmla="*/ 0 h 6136"/>
                <a:gd name="T88" fmla="*/ 0 w 10451"/>
                <a:gd name="T89" fmla="*/ 0 h 6136"/>
                <a:gd name="T90" fmla="*/ 0 w 10451"/>
                <a:gd name="T91" fmla="*/ 0 h 6136"/>
                <a:gd name="T92" fmla="*/ 0 w 10451"/>
                <a:gd name="T93" fmla="*/ 0 h 6136"/>
                <a:gd name="T94" fmla="*/ 0 w 10451"/>
                <a:gd name="T95" fmla="*/ 0 h 6136"/>
                <a:gd name="T96" fmla="*/ 0 w 10451"/>
                <a:gd name="T97" fmla="*/ 0 h 6136"/>
                <a:gd name="T98" fmla="*/ 0 w 10451"/>
                <a:gd name="T99" fmla="*/ 0 h 6136"/>
                <a:gd name="T100" fmla="*/ 0 w 10451"/>
                <a:gd name="T101" fmla="*/ 0 h 6136"/>
                <a:gd name="T102" fmla="*/ 0 w 10451"/>
                <a:gd name="T103" fmla="*/ 0 h 6136"/>
                <a:gd name="T104" fmla="*/ 0 w 10451"/>
                <a:gd name="T105" fmla="*/ 0 h 6136"/>
                <a:gd name="T106" fmla="*/ 0 w 10451"/>
                <a:gd name="T107" fmla="*/ 0 h 6136"/>
                <a:gd name="T108" fmla="*/ 0 w 10451"/>
                <a:gd name="T109" fmla="*/ 0 h 6136"/>
                <a:gd name="T110" fmla="*/ 0 w 10451"/>
                <a:gd name="T111" fmla="*/ 0 h 6136"/>
                <a:gd name="T112" fmla="*/ 0 w 10451"/>
                <a:gd name="T113" fmla="*/ 0 h 6136"/>
                <a:gd name="T114" fmla="*/ 0 w 10451"/>
                <a:gd name="T115" fmla="*/ 0 h 6136"/>
                <a:gd name="T116" fmla="*/ 0 w 10451"/>
                <a:gd name="T117" fmla="*/ 0 h 6136"/>
                <a:gd name="T118" fmla="*/ 0 w 10451"/>
                <a:gd name="T119" fmla="*/ 0 h 6136"/>
                <a:gd name="T120" fmla="*/ 0 w 10451"/>
                <a:gd name="T121" fmla="*/ 0 h 6136"/>
                <a:gd name="T122" fmla="*/ 0 w 10451"/>
                <a:gd name="T123" fmla="*/ 0 h 6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51"/>
                <a:gd name="T187" fmla="*/ 0 h 6136"/>
                <a:gd name="T188" fmla="*/ 10451 w 10451"/>
                <a:gd name="T189" fmla="*/ 6136 h 6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51" h="6136">
                  <a:moveTo>
                    <a:pt x="0" y="2565"/>
                  </a:moveTo>
                  <a:lnTo>
                    <a:pt x="4484" y="0"/>
                  </a:lnTo>
                  <a:lnTo>
                    <a:pt x="10451" y="3430"/>
                  </a:lnTo>
                  <a:lnTo>
                    <a:pt x="6099" y="6136"/>
                  </a:lnTo>
                  <a:lnTo>
                    <a:pt x="2735" y="4102"/>
                  </a:lnTo>
                  <a:lnTo>
                    <a:pt x="2742" y="4098"/>
                  </a:lnTo>
                  <a:lnTo>
                    <a:pt x="2763" y="4087"/>
                  </a:lnTo>
                  <a:lnTo>
                    <a:pt x="2793" y="4070"/>
                  </a:lnTo>
                  <a:lnTo>
                    <a:pt x="2830" y="4045"/>
                  </a:lnTo>
                  <a:lnTo>
                    <a:pt x="2851" y="4031"/>
                  </a:lnTo>
                  <a:lnTo>
                    <a:pt x="2872" y="4016"/>
                  </a:lnTo>
                  <a:lnTo>
                    <a:pt x="2894" y="3998"/>
                  </a:lnTo>
                  <a:lnTo>
                    <a:pt x="2917" y="3980"/>
                  </a:lnTo>
                  <a:lnTo>
                    <a:pt x="2939" y="3962"/>
                  </a:lnTo>
                  <a:lnTo>
                    <a:pt x="2960" y="3941"/>
                  </a:lnTo>
                  <a:lnTo>
                    <a:pt x="2981" y="3920"/>
                  </a:lnTo>
                  <a:lnTo>
                    <a:pt x="3001" y="3897"/>
                  </a:lnTo>
                  <a:lnTo>
                    <a:pt x="3019" y="3874"/>
                  </a:lnTo>
                  <a:lnTo>
                    <a:pt x="3035" y="3851"/>
                  </a:lnTo>
                  <a:lnTo>
                    <a:pt x="3049" y="3825"/>
                  </a:lnTo>
                  <a:lnTo>
                    <a:pt x="3061" y="3801"/>
                  </a:lnTo>
                  <a:lnTo>
                    <a:pt x="3069" y="3774"/>
                  </a:lnTo>
                  <a:lnTo>
                    <a:pt x="3075" y="3747"/>
                  </a:lnTo>
                  <a:lnTo>
                    <a:pt x="3077" y="3721"/>
                  </a:lnTo>
                  <a:lnTo>
                    <a:pt x="3075" y="3693"/>
                  </a:lnTo>
                  <a:lnTo>
                    <a:pt x="3069" y="3666"/>
                  </a:lnTo>
                  <a:lnTo>
                    <a:pt x="3059" y="3638"/>
                  </a:lnTo>
                  <a:lnTo>
                    <a:pt x="3043" y="3610"/>
                  </a:lnTo>
                  <a:lnTo>
                    <a:pt x="3023" y="3581"/>
                  </a:lnTo>
                  <a:lnTo>
                    <a:pt x="2997" y="3554"/>
                  </a:lnTo>
                  <a:lnTo>
                    <a:pt x="2965" y="3525"/>
                  </a:lnTo>
                  <a:lnTo>
                    <a:pt x="2927" y="3497"/>
                  </a:lnTo>
                  <a:lnTo>
                    <a:pt x="2882" y="3469"/>
                  </a:lnTo>
                  <a:lnTo>
                    <a:pt x="2877" y="3465"/>
                  </a:lnTo>
                  <a:lnTo>
                    <a:pt x="2861" y="3456"/>
                  </a:lnTo>
                  <a:lnTo>
                    <a:pt x="2836" y="3440"/>
                  </a:lnTo>
                  <a:lnTo>
                    <a:pt x="2801" y="3424"/>
                  </a:lnTo>
                  <a:lnTo>
                    <a:pt x="2780" y="3415"/>
                  </a:lnTo>
                  <a:lnTo>
                    <a:pt x="2757" y="3406"/>
                  </a:lnTo>
                  <a:lnTo>
                    <a:pt x="2732" y="3397"/>
                  </a:lnTo>
                  <a:lnTo>
                    <a:pt x="2705" y="3388"/>
                  </a:lnTo>
                  <a:lnTo>
                    <a:pt x="2676" y="3381"/>
                  </a:lnTo>
                  <a:lnTo>
                    <a:pt x="2645" y="3374"/>
                  </a:lnTo>
                  <a:lnTo>
                    <a:pt x="2612" y="3368"/>
                  </a:lnTo>
                  <a:lnTo>
                    <a:pt x="2577" y="3363"/>
                  </a:lnTo>
                  <a:lnTo>
                    <a:pt x="2540" y="3361"/>
                  </a:lnTo>
                  <a:lnTo>
                    <a:pt x="2502" y="3359"/>
                  </a:lnTo>
                  <a:lnTo>
                    <a:pt x="2462" y="3360"/>
                  </a:lnTo>
                  <a:lnTo>
                    <a:pt x="2420" y="3362"/>
                  </a:lnTo>
                  <a:lnTo>
                    <a:pt x="2377" y="3367"/>
                  </a:lnTo>
                  <a:lnTo>
                    <a:pt x="2332" y="3375"/>
                  </a:lnTo>
                  <a:lnTo>
                    <a:pt x="2286" y="3385"/>
                  </a:lnTo>
                  <a:lnTo>
                    <a:pt x="2239" y="3400"/>
                  </a:lnTo>
                  <a:lnTo>
                    <a:pt x="2190" y="3416"/>
                  </a:lnTo>
                  <a:lnTo>
                    <a:pt x="2140" y="3436"/>
                  </a:lnTo>
                  <a:lnTo>
                    <a:pt x="2089" y="3460"/>
                  </a:lnTo>
                  <a:lnTo>
                    <a:pt x="2037" y="3488"/>
                  </a:lnTo>
                  <a:lnTo>
                    <a:pt x="1983" y="3520"/>
                  </a:lnTo>
                  <a:lnTo>
                    <a:pt x="1929" y="3556"/>
                  </a:lnTo>
                  <a:lnTo>
                    <a:pt x="1873" y="3598"/>
                  </a:lnTo>
                  <a:lnTo>
                    <a:pt x="1817" y="3642"/>
                  </a:lnTo>
                  <a:lnTo>
                    <a:pt x="0" y="2565"/>
                  </a:lnTo>
                  <a:close/>
                </a:path>
              </a:pathLst>
            </a:custGeom>
            <a:solidFill>
              <a:srgbClr val="EBEBE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7" name="Freeform 117"/>
            <p:cNvSpPr>
              <a:spLocks/>
            </p:cNvSpPr>
            <p:nvPr/>
          </p:nvSpPr>
          <p:spPr bwMode="auto">
            <a:xfrm>
              <a:off x="797970" y="4999849"/>
              <a:ext cx="230188" cy="92081"/>
            </a:xfrm>
            <a:custGeom>
              <a:avLst/>
              <a:gdLst>
                <a:gd name="T0" fmla="*/ 0 w 7716"/>
                <a:gd name="T1" fmla="*/ 0 h 2814"/>
                <a:gd name="T2" fmla="*/ 0 w 7716"/>
                <a:gd name="T3" fmla="*/ 0 h 2814"/>
                <a:gd name="T4" fmla="*/ 0 w 7716"/>
                <a:gd name="T5" fmla="*/ 0 h 2814"/>
                <a:gd name="T6" fmla="*/ 0 w 7716"/>
                <a:gd name="T7" fmla="*/ 0 h 2814"/>
                <a:gd name="T8" fmla="*/ 0 w 7716"/>
                <a:gd name="T9" fmla="*/ 0 h 2814"/>
                <a:gd name="T10" fmla="*/ 0 w 7716"/>
                <a:gd name="T11" fmla="*/ 0 h 2814"/>
                <a:gd name="T12" fmla="*/ 0 w 7716"/>
                <a:gd name="T13" fmla="*/ 0 h 28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16"/>
                <a:gd name="T22" fmla="*/ 0 h 2814"/>
                <a:gd name="T23" fmla="*/ 7716 w 7716"/>
                <a:gd name="T24" fmla="*/ 2814 h 28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16" h="2814">
                  <a:moveTo>
                    <a:pt x="0" y="780"/>
                  </a:moveTo>
                  <a:lnTo>
                    <a:pt x="3364" y="2814"/>
                  </a:lnTo>
                  <a:lnTo>
                    <a:pt x="7716" y="108"/>
                  </a:lnTo>
                  <a:lnTo>
                    <a:pt x="7527" y="0"/>
                  </a:lnTo>
                  <a:lnTo>
                    <a:pt x="3362" y="2429"/>
                  </a:lnTo>
                  <a:lnTo>
                    <a:pt x="183" y="692"/>
                  </a:lnTo>
                  <a:lnTo>
                    <a:pt x="0" y="7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8" name="Freeform 118"/>
            <p:cNvSpPr>
              <a:spLocks/>
            </p:cNvSpPr>
            <p:nvPr/>
          </p:nvSpPr>
          <p:spPr bwMode="auto">
            <a:xfrm>
              <a:off x="898116" y="5004872"/>
              <a:ext cx="128546" cy="219319"/>
            </a:xfrm>
            <a:custGeom>
              <a:avLst/>
              <a:gdLst>
                <a:gd name="T0" fmla="*/ 0 w 4309"/>
                <a:gd name="T1" fmla="*/ 0 h 6670"/>
                <a:gd name="T2" fmla="*/ 0 w 4309"/>
                <a:gd name="T3" fmla="*/ 0 h 6670"/>
                <a:gd name="T4" fmla="*/ 0 w 4309"/>
                <a:gd name="T5" fmla="*/ 0 h 6670"/>
                <a:gd name="T6" fmla="*/ 0 w 4309"/>
                <a:gd name="T7" fmla="*/ 0 h 6670"/>
                <a:gd name="T8" fmla="*/ 0 w 4309"/>
                <a:gd name="T9" fmla="*/ 0 h 6670"/>
                <a:gd name="T10" fmla="*/ 0 w 4309"/>
                <a:gd name="T11" fmla="*/ 0 h 6670"/>
                <a:gd name="T12" fmla="*/ 0 w 4309"/>
                <a:gd name="T13" fmla="*/ 0 h 6670"/>
                <a:gd name="T14" fmla="*/ 0 w 4309"/>
                <a:gd name="T15" fmla="*/ 0 h 6670"/>
                <a:gd name="T16" fmla="*/ 0 w 4309"/>
                <a:gd name="T17" fmla="*/ 0 h 6670"/>
                <a:gd name="T18" fmla="*/ 0 w 4309"/>
                <a:gd name="T19" fmla="*/ 0 h 6670"/>
                <a:gd name="T20" fmla="*/ 0 w 4309"/>
                <a:gd name="T21" fmla="*/ 0 h 6670"/>
                <a:gd name="T22" fmla="*/ 0 w 4309"/>
                <a:gd name="T23" fmla="*/ 0 h 6670"/>
                <a:gd name="T24" fmla="*/ 0 w 4309"/>
                <a:gd name="T25" fmla="*/ 0 h 6670"/>
                <a:gd name="T26" fmla="*/ 0 w 4309"/>
                <a:gd name="T27" fmla="*/ 0 h 6670"/>
                <a:gd name="T28" fmla="*/ 0 w 4309"/>
                <a:gd name="T29" fmla="*/ 0 h 6670"/>
                <a:gd name="T30" fmla="*/ 0 w 4309"/>
                <a:gd name="T31" fmla="*/ 0 h 6670"/>
                <a:gd name="T32" fmla="*/ 0 w 4309"/>
                <a:gd name="T33" fmla="*/ 0 h 6670"/>
                <a:gd name="T34" fmla="*/ 0 w 4309"/>
                <a:gd name="T35" fmla="*/ 0 h 6670"/>
                <a:gd name="T36" fmla="*/ 0 w 4309"/>
                <a:gd name="T37" fmla="*/ 0 h 6670"/>
                <a:gd name="T38" fmla="*/ 0 w 4309"/>
                <a:gd name="T39" fmla="*/ 0 h 6670"/>
                <a:gd name="T40" fmla="*/ 0 w 4309"/>
                <a:gd name="T41" fmla="*/ 0 h 6670"/>
                <a:gd name="T42" fmla="*/ 0 w 4309"/>
                <a:gd name="T43" fmla="*/ 0 h 6670"/>
                <a:gd name="T44" fmla="*/ 0 w 4309"/>
                <a:gd name="T45" fmla="*/ 0 h 6670"/>
                <a:gd name="T46" fmla="*/ 0 w 4309"/>
                <a:gd name="T47" fmla="*/ 0 h 6670"/>
                <a:gd name="T48" fmla="*/ 0 w 4309"/>
                <a:gd name="T49" fmla="*/ 0 h 6670"/>
                <a:gd name="T50" fmla="*/ 0 w 4309"/>
                <a:gd name="T51" fmla="*/ 0 h 6670"/>
                <a:gd name="T52" fmla="*/ 0 w 4309"/>
                <a:gd name="T53" fmla="*/ 0 h 6670"/>
                <a:gd name="T54" fmla="*/ 0 w 4309"/>
                <a:gd name="T55" fmla="*/ 0 h 6670"/>
                <a:gd name="T56" fmla="*/ 0 w 4309"/>
                <a:gd name="T57" fmla="*/ 0 h 6670"/>
                <a:gd name="T58" fmla="*/ 0 w 4309"/>
                <a:gd name="T59" fmla="*/ 0 h 6670"/>
                <a:gd name="T60" fmla="*/ 0 w 4309"/>
                <a:gd name="T61" fmla="*/ 0 h 6670"/>
                <a:gd name="T62" fmla="*/ 0 w 4309"/>
                <a:gd name="T63" fmla="*/ 0 h 6670"/>
                <a:gd name="T64" fmla="*/ 0 w 4309"/>
                <a:gd name="T65" fmla="*/ 0 h 6670"/>
                <a:gd name="T66" fmla="*/ 0 w 4309"/>
                <a:gd name="T67" fmla="*/ 0 h 6670"/>
                <a:gd name="T68" fmla="*/ 0 w 4309"/>
                <a:gd name="T69" fmla="*/ 0 h 6670"/>
                <a:gd name="T70" fmla="*/ 0 w 4309"/>
                <a:gd name="T71" fmla="*/ 0 h 6670"/>
                <a:gd name="T72" fmla="*/ 0 w 4309"/>
                <a:gd name="T73" fmla="*/ 0 h 6670"/>
                <a:gd name="T74" fmla="*/ 0 w 4309"/>
                <a:gd name="T75" fmla="*/ 0 h 6670"/>
                <a:gd name="T76" fmla="*/ 0 w 4309"/>
                <a:gd name="T77" fmla="*/ 0 h 6670"/>
                <a:gd name="T78" fmla="*/ 0 w 4309"/>
                <a:gd name="T79" fmla="*/ 0 h 6670"/>
                <a:gd name="T80" fmla="*/ 0 w 4309"/>
                <a:gd name="T81" fmla="*/ 0 h 6670"/>
                <a:gd name="T82" fmla="*/ 0 w 4309"/>
                <a:gd name="T83" fmla="*/ 0 h 6670"/>
                <a:gd name="T84" fmla="*/ 0 w 4309"/>
                <a:gd name="T85" fmla="*/ 0 h 6670"/>
                <a:gd name="T86" fmla="*/ 0 w 4309"/>
                <a:gd name="T87" fmla="*/ 0 h 6670"/>
                <a:gd name="T88" fmla="*/ 0 w 4309"/>
                <a:gd name="T89" fmla="*/ 0 h 6670"/>
                <a:gd name="T90" fmla="*/ 0 w 4309"/>
                <a:gd name="T91" fmla="*/ 0 h 6670"/>
                <a:gd name="T92" fmla="*/ 0 w 4309"/>
                <a:gd name="T93" fmla="*/ 0 h 6670"/>
                <a:gd name="T94" fmla="*/ 0 w 4309"/>
                <a:gd name="T95" fmla="*/ 0 h 6670"/>
                <a:gd name="T96" fmla="*/ 0 w 4309"/>
                <a:gd name="T97" fmla="*/ 0 h 6670"/>
                <a:gd name="T98" fmla="*/ 0 w 4309"/>
                <a:gd name="T99" fmla="*/ 0 h 6670"/>
                <a:gd name="T100" fmla="*/ 0 w 4309"/>
                <a:gd name="T101" fmla="*/ 0 h 6670"/>
                <a:gd name="T102" fmla="*/ 0 w 4309"/>
                <a:gd name="T103" fmla="*/ 0 h 6670"/>
                <a:gd name="T104" fmla="*/ 0 w 4309"/>
                <a:gd name="T105" fmla="*/ 0 h 6670"/>
                <a:gd name="T106" fmla="*/ 0 w 4309"/>
                <a:gd name="T107" fmla="*/ 0 h 6670"/>
                <a:gd name="T108" fmla="*/ 0 w 4309"/>
                <a:gd name="T109" fmla="*/ 0 h 6670"/>
                <a:gd name="T110" fmla="*/ 0 w 4309"/>
                <a:gd name="T111" fmla="*/ 0 h 6670"/>
                <a:gd name="T112" fmla="*/ 0 w 4309"/>
                <a:gd name="T113" fmla="*/ 0 h 6670"/>
                <a:gd name="T114" fmla="*/ 0 w 4309"/>
                <a:gd name="T115" fmla="*/ 0 h 6670"/>
                <a:gd name="T116" fmla="*/ 0 w 4309"/>
                <a:gd name="T117" fmla="*/ 0 h 6670"/>
                <a:gd name="T118" fmla="*/ 0 w 4309"/>
                <a:gd name="T119" fmla="*/ 0 h 6670"/>
                <a:gd name="T120" fmla="*/ 0 w 4309"/>
                <a:gd name="T121" fmla="*/ 0 h 66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309"/>
                <a:gd name="T184" fmla="*/ 0 h 6670"/>
                <a:gd name="T185" fmla="*/ 4309 w 4309"/>
                <a:gd name="T186" fmla="*/ 6670 h 667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309" h="6670">
                  <a:moveTo>
                    <a:pt x="4309" y="0"/>
                  </a:moveTo>
                  <a:lnTo>
                    <a:pt x="0" y="2672"/>
                  </a:lnTo>
                  <a:lnTo>
                    <a:pt x="24" y="6670"/>
                  </a:lnTo>
                  <a:lnTo>
                    <a:pt x="25" y="6644"/>
                  </a:lnTo>
                  <a:lnTo>
                    <a:pt x="30" y="6573"/>
                  </a:lnTo>
                  <a:lnTo>
                    <a:pt x="39" y="6460"/>
                  </a:lnTo>
                  <a:lnTo>
                    <a:pt x="53" y="6310"/>
                  </a:lnTo>
                  <a:lnTo>
                    <a:pt x="62" y="6222"/>
                  </a:lnTo>
                  <a:lnTo>
                    <a:pt x="72" y="6127"/>
                  </a:lnTo>
                  <a:lnTo>
                    <a:pt x="84" y="6026"/>
                  </a:lnTo>
                  <a:lnTo>
                    <a:pt x="98" y="5919"/>
                  </a:lnTo>
                  <a:lnTo>
                    <a:pt x="114" y="5806"/>
                  </a:lnTo>
                  <a:lnTo>
                    <a:pt x="131" y="5687"/>
                  </a:lnTo>
                  <a:lnTo>
                    <a:pt x="151" y="5565"/>
                  </a:lnTo>
                  <a:lnTo>
                    <a:pt x="172" y="5439"/>
                  </a:lnTo>
                  <a:lnTo>
                    <a:pt x="196" y="5310"/>
                  </a:lnTo>
                  <a:lnTo>
                    <a:pt x="222" y="5178"/>
                  </a:lnTo>
                  <a:lnTo>
                    <a:pt x="250" y="5045"/>
                  </a:lnTo>
                  <a:lnTo>
                    <a:pt x="281" y="4910"/>
                  </a:lnTo>
                  <a:lnTo>
                    <a:pt x="314" y="4775"/>
                  </a:lnTo>
                  <a:lnTo>
                    <a:pt x="350" y="4640"/>
                  </a:lnTo>
                  <a:lnTo>
                    <a:pt x="389" y="4504"/>
                  </a:lnTo>
                  <a:lnTo>
                    <a:pt x="431" y="4371"/>
                  </a:lnTo>
                  <a:lnTo>
                    <a:pt x="475" y="4239"/>
                  </a:lnTo>
                  <a:lnTo>
                    <a:pt x="523" y="4110"/>
                  </a:lnTo>
                  <a:lnTo>
                    <a:pt x="573" y="3984"/>
                  </a:lnTo>
                  <a:lnTo>
                    <a:pt x="627" y="3861"/>
                  </a:lnTo>
                  <a:lnTo>
                    <a:pt x="684" y="3742"/>
                  </a:lnTo>
                  <a:lnTo>
                    <a:pt x="745" y="3629"/>
                  </a:lnTo>
                  <a:lnTo>
                    <a:pt x="809" y="3521"/>
                  </a:lnTo>
                  <a:lnTo>
                    <a:pt x="876" y="3419"/>
                  </a:lnTo>
                  <a:lnTo>
                    <a:pt x="889" y="3398"/>
                  </a:lnTo>
                  <a:lnTo>
                    <a:pt x="925" y="3335"/>
                  </a:lnTo>
                  <a:lnTo>
                    <a:pt x="953" y="3289"/>
                  </a:lnTo>
                  <a:lnTo>
                    <a:pt x="987" y="3235"/>
                  </a:lnTo>
                  <a:lnTo>
                    <a:pt x="1028" y="3172"/>
                  </a:lnTo>
                  <a:lnTo>
                    <a:pt x="1075" y="3101"/>
                  </a:lnTo>
                  <a:lnTo>
                    <a:pt x="1128" y="3021"/>
                  </a:lnTo>
                  <a:lnTo>
                    <a:pt x="1189" y="2934"/>
                  </a:lnTo>
                  <a:lnTo>
                    <a:pt x="1255" y="2842"/>
                  </a:lnTo>
                  <a:lnTo>
                    <a:pt x="1329" y="2742"/>
                  </a:lnTo>
                  <a:lnTo>
                    <a:pt x="1409" y="2636"/>
                  </a:lnTo>
                  <a:lnTo>
                    <a:pt x="1497" y="2523"/>
                  </a:lnTo>
                  <a:lnTo>
                    <a:pt x="1591" y="2406"/>
                  </a:lnTo>
                  <a:lnTo>
                    <a:pt x="1692" y="2285"/>
                  </a:lnTo>
                  <a:lnTo>
                    <a:pt x="1800" y="2158"/>
                  </a:lnTo>
                  <a:lnTo>
                    <a:pt x="1915" y="2028"/>
                  </a:lnTo>
                  <a:lnTo>
                    <a:pt x="2037" y="1893"/>
                  </a:lnTo>
                  <a:lnTo>
                    <a:pt x="2167" y="1755"/>
                  </a:lnTo>
                  <a:lnTo>
                    <a:pt x="2304" y="1616"/>
                  </a:lnTo>
                  <a:lnTo>
                    <a:pt x="2448" y="1473"/>
                  </a:lnTo>
                  <a:lnTo>
                    <a:pt x="2600" y="1327"/>
                  </a:lnTo>
                  <a:lnTo>
                    <a:pt x="2759" y="1181"/>
                  </a:lnTo>
                  <a:lnTo>
                    <a:pt x="2926" y="1033"/>
                  </a:lnTo>
                  <a:lnTo>
                    <a:pt x="3101" y="884"/>
                  </a:lnTo>
                  <a:lnTo>
                    <a:pt x="3282" y="735"/>
                  </a:lnTo>
                  <a:lnTo>
                    <a:pt x="3472" y="586"/>
                  </a:lnTo>
                  <a:lnTo>
                    <a:pt x="3669" y="439"/>
                  </a:lnTo>
                  <a:lnTo>
                    <a:pt x="3875" y="291"/>
                  </a:lnTo>
                  <a:lnTo>
                    <a:pt x="4088" y="145"/>
                  </a:lnTo>
                  <a:lnTo>
                    <a:pt x="4309" y="0"/>
                  </a:lnTo>
                  <a:close/>
                </a:path>
              </a:pathLst>
            </a:custGeom>
            <a:solidFill>
              <a:srgbClr val="ABAAA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59" name="AutoShape 23" descr="채우기4"/>
            <p:cNvSpPr>
              <a:spLocks noChangeArrowheads="1"/>
            </p:cNvSpPr>
            <p:nvPr/>
          </p:nvSpPr>
          <p:spPr bwMode="auto">
            <a:xfrm>
              <a:off x="924546" y="4898704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en-US" altLang="ko-KR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BPR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60" name="Text Box 119"/>
            <p:cNvSpPr txBox="1">
              <a:spLocks noChangeArrowheads="1"/>
            </p:cNvSpPr>
            <p:nvPr/>
          </p:nvSpPr>
          <p:spPr bwMode="auto">
            <a:xfrm>
              <a:off x="336960" y="4837393"/>
              <a:ext cx="201978" cy="1374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나눔바른고딕" pitchFamily="50" charset="-127"/>
                  <a:ea typeface="KoPub돋움체 Light" panose="00000300000000000000"/>
                </a:rPr>
                <a:t>기타</a:t>
              </a:r>
              <a:endParaRPr kumimoji="0" lang="ko-KR" altLang="ko-KR" sz="900" kern="0" dirty="0">
                <a:solidFill>
                  <a:srgbClr val="000000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61" name="AutoShape 23" descr="채우기4"/>
            <p:cNvSpPr>
              <a:spLocks noChangeArrowheads="1"/>
            </p:cNvSpPr>
            <p:nvPr/>
          </p:nvSpPr>
          <p:spPr bwMode="auto">
            <a:xfrm>
              <a:off x="924546" y="5056224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국외점포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62" name="AutoShape 23" descr="채우기4"/>
            <p:cNvSpPr>
              <a:spLocks noChangeArrowheads="1"/>
            </p:cNvSpPr>
            <p:nvPr/>
          </p:nvSpPr>
          <p:spPr bwMode="auto">
            <a:xfrm>
              <a:off x="924546" y="5213744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국제금융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63" name="AutoShape 23" descr="채우기4"/>
            <p:cNvSpPr>
              <a:spLocks noChangeArrowheads="1"/>
            </p:cNvSpPr>
            <p:nvPr/>
          </p:nvSpPr>
          <p:spPr bwMode="auto">
            <a:xfrm>
              <a:off x="279580" y="5056224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인사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sp>
          <p:nvSpPr>
            <p:cNvPr id="364" name="AutoShape 23" descr="채우기4"/>
            <p:cNvSpPr>
              <a:spLocks noChangeArrowheads="1"/>
            </p:cNvSpPr>
            <p:nvPr/>
          </p:nvSpPr>
          <p:spPr bwMode="auto">
            <a:xfrm>
              <a:off x="279580" y="5213744"/>
              <a:ext cx="521921" cy="136441"/>
            </a:xfrm>
            <a:prstGeom prst="roundRect">
              <a:avLst>
                <a:gd name="adj" fmla="val 9204"/>
              </a:avLst>
            </a:prstGeom>
            <a:gradFill rotWithShape="1">
              <a:gsLst>
                <a:gs pos="0">
                  <a:srgbClr val="2C5D98"/>
                </a:gs>
                <a:gs pos="80000">
                  <a:srgbClr val="3C7BC7"/>
                </a:gs>
                <a:gs pos="100000">
                  <a:srgbClr val="3A7CCB"/>
                </a:gs>
              </a:gsLst>
              <a:lin ang="16200000"/>
            </a:gradFill>
            <a:ln w="9525" algn="ctr">
              <a:solidFill>
                <a:srgbClr val="4A7EBB"/>
              </a:solidFill>
              <a:miter lim="800000"/>
              <a:headEnd/>
              <a:tailEnd/>
            </a:ln>
            <a:effectLst>
              <a:outerShdw dist="23000" dir="5400000" rotWithShape="0">
                <a:srgbClr val="B2B2B2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defRPr/>
              </a:pPr>
              <a:r>
                <a:rPr lang="ko-KR" altLang="en-US" sz="700" dirty="0" smtClean="0">
                  <a:solidFill>
                    <a:srgbClr val="FFFFFF"/>
                  </a:solidFill>
                  <a:latin typeface="나눔바른고딕" pitchFamily="50" charset="-127"/>
                  <a:ea typeface="KoPub돋움체 Light" panose="00000300000000000000"/>
                </a:rPr>
                <a:t>그룹웨어</a:t>
              </a:r>
              <a:endParaRPr lang="ko-KR" altLang="ko-KR" sz="700" dirty="0">
                <a:solidFill>
                  <a:srgbClr val="FFFFFF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</p:grpSp>
      <p:sp>
        <p:nvSpPr>
          <p:cNvPr id="371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7956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을 위해 컨설팅 결과와 고객사의 요건 분석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반으로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마트를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각의 영역으로 구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세분화하여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36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6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68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1547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6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구축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6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5686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5" y="2060848"/>
            <a:ext cx="6696000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6.4 </a:t>
            </a:r>
            <a:r>
              <a:rPr lang="en-US" altLang="ko-KR" dirty="0"/>
              <a:t>Data Lineage</a:t>
            </a:r>
            <a:endParaRPr lang="ko-KR" altLang="en-US" dirty="0"/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Data Lineage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60" name="그림 5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8216" y="5121590"/>
            <a:ext cx="3072740" cy="124000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B2B2B2"/>
            </a:solidFill>
            <a:prstDash val="solid"/>
            <a:miter lim="800000"/>
          </a:ln>
          <a:effectLst/>
        </p:spPr>
      </p:pic>
      <p:grpSp>
        <p:nvGrpSpPr>
          <p:cNvPr id="3" name="그룹 2"/>
          <p:cNvGrpSpPr/>
          <p:nvPr/>
        </p:nvGrpSpPr>
        <p:grpSpPr>
          <a:xfrm>
            <a:off x="422195" y="2240869"/>
            <a:ext cx="6295001" cy="4059418"/>
            <a:chOff x="422195" y="2240869"/>
            <a:chExt cx="6295001" cy="4059418"/>
          </a:xfrm>
        </p:grpSpPr>
        <p:sp>
          <p:nvSpPr>
            <p:cNvPr id="22" name="직사각형 21"/>
            <p:cNvSpPr/>
            <p:nvPr/>
          </p:nvSpPr>
          <p:spPr>
            <a:xfrm>
              <a:off x="428133" y="2490816"/>
              <a:ext cx="1166764" cy="191853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B2B2B2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) (STR/CTR) 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실시간 거래 데이터 체크</a:t>
              </a: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- ETL 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추출 로직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소스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2) 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전 일자 변경 분</a:t>
              </a:r>
              <a:r>
                <a:rPr kumimoji="0" lang="ko-KR" altLang="en-US" sz="800" b="0" i="0" u="none" strike="noStrike" kern="0" cap="none" spc="0" normalizeH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데이터 체크</a:t>
              </a: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- 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건수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계수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금액 검증</a:t>
              </a: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1707966" y="2490816"/>
              <a:ext cx="1166764" cy="191853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B2B2B2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</a:t>
              </a: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공통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: </a:t>
              </a:r>
              <a:r>
                <a:rPr kumimoji="0" lang="ko-KR" altLang="en-US" sz="8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원장성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이블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2) STR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추출을 위한 집계 테이블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: (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</a:t>
              </a: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계좌</a:t>
              </a: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</a:t>
              </a: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이블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3) RBA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: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월별 스냅샷 자료 적재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</a:t>
              </a: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-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배치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</a:t>
              </a: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- 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계수</a:t>
              </a:r>
              <a:r>
                <a:rPr kumimoji="0"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kumimoji="0"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건수 검증</a:t>
              </a: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2987799" y="2490816"/>
              <a:ext cx="1166764" cy="191853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B2B2B2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) (STR/CTR)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실시간 거래 데이터 체크</a:t>
              </a:r>
              <a:endParaRPr lang="en-US" altLang="ko-KR" sz="8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- ETL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추출 로직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소스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</a:p>
            <a:p>
              <a:pPr>
                <a:defRPr/>
              </a:pPr>
              <a:endParaRPr lang="en-US" altLang="ko-KR" sz="8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2)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전 일자 변경 분 데이터 체크</a:t>
              </a:r>
              <a:endParaRPr lang="en-US" altLang="ko-KR" sz="8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-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건수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계수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금액 검증</a:t>
              </a: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4267632" y="2490816"/>
              <a:ext cx="1166764" cy="778689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B2B2B2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) STR(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배분 포함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</a:p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-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배치 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추출 건수</a:t>
              </a: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5547463" y="2490816"/>
              <a:ext cx="1166764" cy="191853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B2B2B2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)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최종 추출 값과 화면 표시 값 검증</a:t>
              </a: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4267632" y="3625690"/>
              <a:ext cx="1166764" cy="77760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B2B2B2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>
                <a:defRPr/>
              </a:pP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)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엑셀 산식을 통한 산출 로직 검증 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표준 정규 분포 값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누적 확률 값</a:t>
              </a:r>
              <a:r>
                <a:rPr lang="en-US" altLang="ko-KR" sz="8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</a:p>
          </p:txBody>
        </p:sp>
        <p:sp>
          <p:nvSpPr>
            <p:cNvPr id="29" name="AutoShape 110"/>
            <p:cNvSpPr>
              <a:spLocks noChangeArrowheads="1"/>
            </p:cNvSpPr>
            <p:nvPr/>
          </p:nvSpPr>
          <p:spPr bwMode="gray">
            <a:xfrm rot="10800000" flipH="1" flipV="1">
              <a:off x="422195" y="2240869"/>
              <a:ext cx="1172702" cy="222059"/>
            </a:xfrm>
            <a:prstGeom prst="rect">
              <a:avLst/>
            </a:pr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latinLnBrk="0"/>
              <a:r>
                <a:rPr lang="en-US" altLang="ko-KR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Staging</a:t>
              </a:r>
              <a:endParaRPr lang="ko-KR" altLang="en-US" sz="90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endParaRPr>
            </a:p>
          </p:txBody>
        </p:sp>
        <p:sp>
          <p:nvSpPr>
            <p:cNvPr id="30" name="AutoShape 110"/>
            <p:cNvSpPr>
              <a:spLocks noChangeArrowheads="1"/>
            </p:cNvSpPr>
            <p:nvPr/>
          </p:nvSpPr>
          <p:spPr bwMode="gray">
            <a:xfrm rot="10800000" flipH="1" flipV="1">
              <a:off x="1702028" y="2240869"/>
              <a:ext cx="1172702" cy="222059"/>
            </a:xfrm>
            <a:prstGeom prst="rect">
              <a:avLst/>
            </a:prstGeom>
            <a:solidFill>
              <a:srgbClr val="8A8A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latinLnBrk="0"/>
              <a:r>
                <a:rPr lang="en-US" altLang="ko-KR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RBA/AML </a:t>
              </a:r>
              <a:r>
                <a:rPr lang="ko-KR" altLang="en-US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마트</a:t>
              </a:r>
              <a:endParaRPr lang="ko-KR" altLang="en-US" sz="90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endParaRPr>
            </a:p>
          </p:txBody>
        </p:sp>
        <p:sp>
          <p:nvSpPr>
            <p:cNvPr id="31" name="AutoShape 110"/>
            <p:cNvSpPr>
              <a:spLocks noChangeArrowheads="1"/>
            </p:cNvSpPr>
            <p:nvPr/>
          </p:nvSpPr>
          <p:spPr bwMode="gray">
            <a:xfrm rot="10800000" flipH="1" flipV="1">
              <a:off x="2981861" y="2240869"/>
              <a:ext cx="1172702" cy="222059"/>
            </a:xfrm>
            <a:prstGeom prst="rect">
              <a:avLst/>
            </a:pr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latinLnBrk="0"/>
              <a:r>
                <a:rPr lang="en-US" altLang="ko-KR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Rule/(RBA) </a:t>
              </a:r>
              <a:r>
                <a:rPr lang="ko-KR" altLang="en-US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지표 산출</a:t>
              </a:r>
              <a:endParaRPr lang="ko-KR" altLang="en-US" sz="90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endParaRPr>
            </a:p>
          </p:txBody>
        </p:sp>
        <p:sp>
          <p:nvSpPr>
            <p:cNvPr id="32" name="AutoShape 110"/>
            <p:cNvSpPr>
              <a:spLocks noChangeArrowheads="1"/>
            </p:cNvSpPr>
            <p:nvPr/>
          </p:nvSpPr>
          <p:spPr bwMode="gray">
            <a:xfrm rot="10800000" flipH="1" flipV="1">
              <a:off x="4261694" y="2240869"/>
              <a:ext cx="1172702" cy="22205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latinLnBrk="0"/>
              <a:r>
                <a:rPr lang="en-US" altLang="ko-KR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STR </a:t>
              </a:r>
              <a:r>
                <a:rPr lang="ko-KR" altLang="en-US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보고서 정보</a:t>
              </a:r>
              <a:endParaRPr lang="ko-KR" altLang="en-US" sz="90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endParaRPr>
            </a:p>
          </p:txBody>
        </p:sp>
        <p:sp>
          <p:nvSpPr>
            <p:cNvPr id="33" name="AutoShape 110"/>
            <p:cNvSpPr>
              <a:spLocks noChangeArrowheads="1"/>
            </p:cNvSpPr>
            <p:nvPr/>
          </p:nvSpPr>
          <p:spPr bwMode="gray">
            <a:xfrm rot="10800000" flipH="1" flipV="1">
              <a:off x="4261694" y="3361974"/>
              <a:ext cx="1172702" cy="22205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latinLnBrk="0"/>
              <a:r>
                <a:rPr lang="en-US" altLang="ko-KR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RBA </a:t>
              </a:r>
              <a:r>
                <a:rPr lang="ko-KR" altLang="en-US" sz="90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지표 산출 로직</a:t>
              </a:r>
              <a:endParaRPr lang="ko-KR" altLang="en-US" sz="90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endParaRPr>
            </a:p>
          </p:txBody>
        </p:sp>
        <p:sp>
          <p:nvSpPr>
            <p:cNvPr id="34" name="AutoShape 110"/>
            <p:cNvSpPr>
              <a:spLocks noChangeArrowheads="1"/>
            </p:cNvSpPr>
            <p:nvPr/>
          </p:nvSpPr>
          <p:spPr bwMode="gray">
            <a:xfrm rot="10800000" flipH="1" flipV="1">
              <a:off x="5544494" y="2240869"/>
              <a:ext cx="1172702" cy="222059"/>
            </a:xfrm>
            <a:prstGeom prst="rect">
              <a:avLst/>
            </a:pr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/>
              <a:r>
                <a:rPr lang="ko-KR" altLang="en-US" sz="900" dirty="0" smtClean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사용자 화면</a:t>
              </a:r>
              <a:endParaRPr lang="ko-KR" altLang="en-US" sz="9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endParaRPr>
            </a:p>
          </p:txBody>
        </p:sp>
        <p:sp>
          <p:nvSpPr>
            <p:cNvPr id="35" name="오른쪽 화살표 34"/>
            <p:cNvSpPr/>
            <p:nvPr/>
          </p:nvSpPr>
          <p:spPr bwMode="auto">
            <a:xfrm rot="10800000" flipH="1" flipV="1">
              <a:off x="1443007" y="4078711"/>
              <a:ext cx="468000" cy="288000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FF6600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endParaRPr lang="ko-KR" altLang="en-US" sz="1950" dirty="0">
                <a:latin typeface="나눔고딕" panose="020D0604000000000000" pitchFamily="50" charset="-127"/>
                <a:ea typeface="KoPub돋움체 Light" panose="00000300000000000000"/>
              </a:endParaRPr>
            </a:p>
          </p:txBody>
        </p:sp>
        <p:sp>
          <p:nvSpPr>
            <p:cNvPr id="36" name="오른쪽 화살표 35"/>
            <p:cNvSpPr/>
            <p:nvPr/>
          </p:nvSpPr>
          <p:spPr bwMode="auto">
            <a:xfrm rot="10800000" flipH="1" flipV="1">
              <a:off x="2703596" y="4078711"/>
              <a:ext cx="468000" cy="288000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FF6600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endParaRPr lang="ko-KR" altLang="en-US" sz="1950" dirty="0">
                <a:latin typeface="나눔고딕" panose="020D0604000000000000" pitchFamily="50" charset="-127"/>
                <a:ea typeface="KoPub돋움체 Light" panose="00000300000000000000"/>
              </a:endParaRPr>
            </a:p>
          </p:txBody>
        </p:sp>
        <p:sp>
          <p:nvSpPr>
            <p:cNvPr id="37" name="오른쪽 화살표 36"/>
            <p:cNvSpPr/>
            <p:nvPr/>
          </p:nvSpPr>
          <p:spPr bwMode="auto">
            <a:xfrm rot="10800000" flipH="1" flipV="1">
              <a:off x="3964184" y="4078711"/>
              <a:ext cx="468000" cy="288000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FF6600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endParaRPr lang="ko-KR" altLang="en-US" sz="1950" dirty="0">
                <a:latin typeface="나눔고딕" panose="020D0604000000000000" pitchFamily="50" charset="-127"/>
                <a:ea typeface="KoPub돋움체 Light" panose="00000300000000000000"/>
              </a:endParaRPr>
            </a:p>
          </p:txBody>
        </p:sp>
        <p:sp>
          <p:nvSpPr>
            <p:cNvPr id="38" name="오른쪽 화살표 37"/>
            <p:cNvSpPr/>
            <p:nvPr/>
          </p:nvSpPr>
          <p:spPr bwMode="auto">
            <a:xfrm rot="10800000" flipH="1" flipV="1">
              <a:off x="5318365" y="4078711"/>
              <a:ext cx="468000" cy="288000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FF6600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endParaRPr lang="ko-KR" altLang="en-US" sz="1950" dirty="0">
                <a:latin typeface="나눔고딕" panose="020D0604000000000000" pitchFamily="50" charset="-127"/>
                <a:ea typeface="KoPub돋움체 Light" panose="00000300000000000000"/>
              </a:endParaRPr>
            </a:p>
          </p:txBody>
        </p:sp>
        <p:sp>
          <p:nvSpPr>
            <p:cNvPr id="39" name="Rectangle 153"/>
            <p:cNvSpPr>
              <a:spLocks noChangeArrowheads="1"/>
            </p:cNvSpPr>
            <p:nvPr/>
          </p:nvSpPr>
          <p:spPr bwMode="gray">
            <a:xfrm>
              <a:off x="422195" y="4932135"/>
              <a:ext cx="1172702" cy="1368152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63500" algn="c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algn="ctr" defTabSz="1043056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 kern="0" dirty="0">
                <a:solidFill>
                  <a:prstClr val="white"/>
                </a:solidFill>
                <a:latin typeface="나눔바른고딕" pitchFamily="50" charset="-127"/>
                <a:ea typeface="KoPub돋움체 Light" panose="00000300000000000000"/>
              </a:endParaRPr>
            </a:p>
          </p:txBody>
        </p:sp>
        <p:pic>
          <p:nvPicPr>
            <p:cNvPr id="40" name="Picture 159" descr="Untitled-13-14"/>
            <p:cNvPicPr>
              <a:picLocks noChangeAspect="1" noChangeArrowheads="1"/>
            </p:cNvPicPr>
            <p:nvPr/>
          </p:nvPicPr>
          <p:blipFill>
            <a:blip r:embed="rId3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120" y="5866380"/>
              <a:ext cx="720852" cy="365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직사각형 40"/>
            <p:cNvSpPr/>
            <p:nvPr/>
          </p:nvSpPr>
          <p:spPr>
            <a:xfrm>
              <a:off x="790463" y="6012412"/>
              <a:ext cx="436166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1103770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4081547" algn="l"/>
                </a:tabLst>
              </a:pPr>
              <a:r>
                <a:rPr kumimoji="0" lang="en-US" altLang="ko-KR" sz="900" dirty="0" smtClean="0">
                  <a:ln w="0"/>
                  <a:solidFill>
                    <a:prstClr val="black"/>
                  </a:solidFill>
                  <a:latin typeface="나눔바른고딕" panose="020B0603020101020101" pitchFamily="50" charset="-127"/>
                  <a:ea typeface="KoPub돋움체 Light" panose="00000300000000000000"/>
                </a:rPr>
                <a:t>BPR</a:t>
              </a:r>
              <a:endParaRPr kumimoji="0" lang="en-US" altLang="ko-KR" sz="900" dirty="0">
                <a:ln w="0"/>
                <a:solidFill>
                  <a:prstClr val="black"/>
                </a:solidFill>
                <a:latin typeface="나눔바른고딕" panose="020B0603020101020101" pitchFamily="50" charset="-127"/>
                <a:ea typeface="KoPub돋움체 Light" panose="00000300000000000000"/>
              </a:endParaRPr>
            </a:p>
          </p:txBody>
        </p:sp>
        <p:pic>
          <p:nvPicPr>
            <p:cNvPr id="42" name="Picture 159" descr="Untitled-13-14"/>
            <p:cNvPicPr>
              <a:picLocks noChangeAspect="1" noChangeArrowheads="1"/>
            </p:cNvPicPr>
            <p:nvPr/>
          </p:nvPicPr>
          <p:blipFill>
            <a:blip r:embed="rId3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120" y="5595558"/>
              <a:ext cx="720852" cy="365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직사각형 42"/>
            <p:cNvSpPr/>
            <p:nvPr/>
          </p:nvSpPr>
          <p:spPr>
            <a:xfrm>
              <a:off x="574085" y="5741591"/>
              <a:ext cx="868922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1103770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4081547" algn="l"/>
                </a:tabLst>
              </a:pPr>
              <a:r>
                <a:rPr kumimoji="0" lang="ko-KR" altLang="en-US" sz="900" dirty="0" smtClean="0">
                  <a:ln w="0"/>
                  <a:solidFill>
                    <a:prstClr val="black"/>
                  </a:solidFill>
                  <a:latin typeface="나눔바른고딕" panose="020B0603020101020101" pitchFamily="50" charset="-127"/>
                  <a:ea typeface="KoPub돋움체 Light" panose="00000300000000000000"/>
                </a:rPr>
                <a:t>종합감사</a:t>
              </a:r>
              <a:endParaRPr kumimoji="0" lang="en-US" altLang="ko-KR" sz="900" dirty="0">
                <a:ln w="0"/>
                <a:solidFill>
                  <a:prstClr val="black"/>
                </a:solidFill>
                <a:latin typeface="나눔바른고딕" panose="020B0603020101020101" pitchFamily="50" charset="-127"/>
                <a:ea typeface="KoPub돋움체 Light" panose="00000300000000000000"/>
              </a:endParaRPr>
            </a:p>
          </p:txBody>
        </p:sp>
        <p:pic>
          <p:nvPicPr>
            <p:cNvPr id="44" name="Picture 159" descr="Untitled-13-14"/>
            <p:cNvPicPr>
              <a:picLocks noChangeAspect="1" noChangeArrowheads="1"/>
            </p:cNvPicPr>
            <p:nvPr/>
          </p:nvPicPr>
          <p:blipFill>
            <a:blip r:embed="rId3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120" y="5326320"/>
              <a:ext cx="720852" cy="365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직사각형 44"/>
            <p:cNvSpPr/>
            <p:nvPr/>
          </p:nvSpPr>
          <p:spPr>
            <a:xfrm>
              <a:off x="790463" y="5472352"/>
              <a:ext cx="436166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1103770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4081547" algn="l"/>
                </a:tabLst>
              </a:pPr>
              <a:r>
                <a:rPr kumimoji="0" lang="ko-KR" altLang="en-US" sz="900" dirty="0" smtClean="0">
                  <a:ln w="0"/>
                  <a:solidFill>
                    <a:prstClr val="black"/>
                  </a:solidFill>
                  <a:latin typeface="나눔바른고딕" panose="020B0603020101020101" pitchFamily="50" charset="-127"/>
                  <a:ea typeface="KoPub돋움체 Light" panose="00000300000000000000"/>
                </a:rPr>
                <a:t>정보계</a:t>
              </a:r>
              <a:endParaRPr kumimoji="0" lang="en-US" altLang="ko-KR" sz="900" dirty="0">
                <a:ln w="0"/>
                <a:solidFill>
                  <a:prstClr val="black"/>
                </a:solidFill>
                <a:latin typeface="나눔바른고딕" panose="020B0603020101020101" pitchFamily="50" charset="-127"/>
                <a:ea typeface="KoPub돋움체 Light" panose="00000300000000000000"/>
              </a:endParaRPr>
            </a:p>
          </p:txBody>
        </p:sp>
        <p:pic>
          <p:nvPicPr>
            <p:cNvPr id="46" name="Picture 159" descr="Untitled-13-14"/>
            <p:cNvPicPr>
              <a:picLocks noChangeAspect="1" noChangeArrowheads="1"/>
            </p:cNvPicPr>
            <p:nvPr/>
          </p:nvPicPr>
          <p:blipFill>
            <a:blip r:embed="rId3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120" y="5043496"/>
              <a:ext cx="720852" cy="365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직사각형 46"/>
            <p:cNvSpPr/>
            <p:nvPr/>
          </p:nvSpPr>
          <p:spPr>
            <a:xfrm>
              <a:off x="790463" y="5176466"/>
              <a:ext cx="436166" cy="1384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1103770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4081547" algn="l"/>
                </a:tabLst>
              </a:pPr>
              <a:r>
                <a:rPr kumimoji="0" lang="ko-KR" altLang="en-US" sz="900" dirty="0">
                  <a:ln w="0"/>
                  <a:solidFill>
                    <a:prstClr val="black"/>
                  </a:solidFill>
                  <a:latin typeface="나눔바른고딕" panose="020B0603020101020101" pitchFamily="50" charset="-127"/>
                  <a:ea typeface="KoPub돋움체 Light" panose="00000300000000000000"/>
                </a:rPr>
                <a:t>계정계</a:t>
              </a:r>
              <a:endParaRPr kumimoji="0" lang="en-US" altLang="ko-KR" sz="900" dirty="0">
                <a:ln w="0"/>
                <a:solidFill>
                  <a:prstClr val="black"/>
                </a:solidFill>
                <a:latin typeface="나눔바른고딕" panose="020B0603020101020101" pitchFamily="50" charset="-127"/>
                <a:ea typeface="KoPub돋움체 Light" panose="00000300000000000000"/>
              </a:endParaRPr>
            </a:p>
          </p:txBody>
        </p:sp>
        <p:sp>
          <p:nvSpPr>
            <p:cNvPr id="48" name="오른쪽 화살표 47"/>
            <p:cNvSpPr/>
            <p:nvPr/>
          </p:nvSpPr>
          <p:spPr bwMode="auto">
            <a:xfrm rot="5400000" flipH="1" flipV="1">
              <a:off x="777516" y="4338111"/>
              <a:ext cx="468000" cy="288000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FF6600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endParaRPr lang="ko-KR" altLang="en-US" sz="1950" dirty="0">
                <a:latin typeface="나눔고딕" panose="020D0604000000000000" pitchFamily="50" charset="-127"/>
                <a:ea typeface="KoPub돋움체 Light" panose="00000300000000000000"/>
              </a:endParaRPr>
            </a:p>
          </p:txBody>
        </p:sp>
        <p:sp>
          <p:nvSpPr>
            <p:cNvPr id="49" name="AutoShape 362" descr="TCP-52"/>
            <p:cNvSpPr>
              <a:spLocks noChangeArrowheads="1"/>
            </p:cNvSpPr>
            <p:nvPr/>
          </p:nvSpPr>
          <p:spPr bwMode="auto">
            <a:xfrm>
              <a:off x="429204" y="4689168"/>
              <a:ext cx="1165693" cy="252000"/>
            </a:xfrm>
            <a:prstGeom prst="roundRect">
              <a:avLst>
                <a:gd name="adj" fmla="val 50000"/>
              </a:avLst>
            </a:prstGeom>
            <a:solidFill>
              <a:srgbClr val="0074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r>
                <a:rPr lang="en-US" altLang="ko-KR" sz="900" dirty="0" smtClean="0">
                  <a:solidFill>
                    <a:srgbClr val="F8F8F8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CDC / ETL / EAI</a:t>
              </a:r>
              <a:endParaRPr lang="ko-KR" altLang="ko-KR" sz="900" dirty="0"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grpSp>
          <p:nvGrpSpPr>
            <p:cNvPr id="61" name="그룹 60"/>
            <p:cNvGrpSpPr/>
            <p:nvPr/>
          </p:nvGrpSpPr>
          <p:grpSpPr>
            <a:xfrm>
              <a:off x="1878216" y="4920881"/>
              <a:ext cx="1008000" cy="188600"/>
              <a:chOff x="1035928" y="4823224"/>
              <a:chExt cx="3093892" cy="316874"/>
            </a:xfrm>
          </p:grpSpPr>
          <p:sp>
            <p:nvSpPr>
              <p:cNvPr id="62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823224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63" name="Rt40" descr="도식1"/>
              <p:cNvSpPr>
                <a:spLocks noChangeArrowheads="1"/>
              </p:cNvSpPr>
              <p:nvPr/>
            </p:nvSpPr>
            <p:spPr bwMode="auto">
              <a:xfrm>
                <a:off x="1791375" y="4856447"/>
                <a:ext cx="1480968" cy="258553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spc="-150" dirty="0" smtClean="0">
                    <a:solidFill>
                      <a:srgbClr val="F8F8F8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매핑 정의서</a:t>
                </a:r>
              </a:p>
            </p:txBody>
          </p:sp>
        </p:grpSp>
        <p:pic>
          <p:nvPicPr>
            <p:cNvPr id="65" name="그림 64"/>
            <p:cNvPicPr>
              <a:picLocks noChangeAspect="1"/>
            </p:cNvPicPr>
            <p:nvPr/>
          </p:nvPicPr>
          <p:blipFill rotWithShape="1">
            <a:blip r:embed="rId4"/>
            <a:srcRect l="2077" t="1327" r="1"/>
            <a:stretch/>
          </p:blipFill>
          <p:spPr>
            <a:xfrm>
              <a:off x="4472935" y="4788119"/>
              <a:ext cx="2226656" cy="148503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B2B2B2"/>
              </a:solidFill>
              <a:prstDash val="solid"/>
              <a:miter lim="800000"/>
            </a:ln>
            <a:effectLst/>
          </p:spPr>
        </p:pic>
        <p:grpSp>
          <p:nvGrpSpPr>
            <p:cNvPr id="66" name="그룹 65"/>
            <p:cNvGrpSpPr/>
            <p:nvPr/>
          </p:nvGrpSpPr>
          <p:grpSpPr>
            <a:xfrm>
              <a:off x="4461339" y="4575653"/>
              <a:ext cx="1008000" cy="188600"/>
              <a:chOff x="1035928" y="4768356"/>
              <a:chExt cx="3093892" cy="316874"/>
            </a:xfrm>
          </p:grpSpPr>
          <p:sp>
            <p:nvSpPr>
              <p:cNvPr id="67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68" name="Rt40" descr="도식1"/>
              <p:cNvSpPr>
                <a:spLocks noChangeArrowheads="1"/>
              </p:cNvSpPr>
              <p:nvPr/>
            </p:nvSpPr>
            <p:spPr bwMode="auto">
              <a:xfrm>
                <a:off x="1699718" y="4800579"/>
                <a:ext cx="1766339" cy="258553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spc="-150" dirty="0" smtClean="0">
                    <a:solidFill>
                      <a:srgbClr val="F8F8F8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데이터 흐름도</a:t>
                </a:r>
              </a:p>
            </p:txBody>
          </p:sp>
        </p:grpSp>
        <p:sp>
          <p:nvSpPr>
            <p:cNvPr id="69" name="오른쪽 화살표 68"/>
            <p:cNvSpPr/>
            <p:nvPr/>
          </p:nvSpPr>
          <p:spPr bwMode="auto">
            <a:xfrm rot="10800000" flipH="1" flipV="1">
              <a:off x="3964184" y="2898516"/>
              <a:ext cx="468000" cy="288000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FF6600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endParaRPr lang="ko-KR" altLang="en-US" sz="1950" dirty="0">
                <a:latin typeface="나눔고딕" panose="020D0604000000000000" pitchFamily="50" charset="-127"/>
                <a:ea typeface="KoPub돋움체 Light" panose="00000300000000000000"/>
              </a:endParaRPr>
            </a:p>
          </p:txBody>
        </p:sp>
        <p:sp>
          <p:nvSpPr>
            <p:cNvPr id="70" name="오른쪽 화살표 69"/>
            <p:cNvSpPr/>
            <p:nvPr/>
          </p:nvSpPr>
          <p:spPr bwMode="auto">
            <a:xfrm rot="10800000" flipH="1" flipV="1">
              <a:off x="5318365" y="2898516"/>
              <a:ext cx="468000" cy="288000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FF6600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033" tIns="49517" rIns="99033" bIns="49517" rtlCol="0" anchor="ctr"/>
            <a:lstStyle/>
            <a:p>
              <a:pPr algn="ctr"/>
              <a:endParaRPr lang="ko-KR" altLang="en-US" sz="1950" dirty="0">
                <a:latin typeface="나눔고딕" panose="020D0604000000000000" pitchFamily="50" charset="-127"/>
                <a:ea typeface="KoPub돋움체 Light" panose="00000300000000000000"/>
              </a:endParaRPr>
            </a:p>
          </p:txBody>
        </p:sp>
      </p:grpSp>
      <p:sp>
        <p:nvSpPr>
          <p:cNvPr id="76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5585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원천 시스템에서 적재된 데이터를 대상으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tag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터 사용자 화면까지 데이터의 흐름을 검증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4832A5FE-031B-485A-A309-BE2A0750944F}"/>
              </a:ext>
            </a:extLst>
          </p:cNvPr>
          <p:cNvSpPr/>
          <p:nvPr/>
        </p:nvSpPr>
        <p:spPr>
          <a:xfrm>
            <a:off x="6955778" y="2069250"/>
            <a:ext cx="2717340" cy="4420090"/>
          </a:xfrm>
          <a:prstGeom prst="rect">
            <a:avLst/>
          </a:prstGeom>
          <a:solidFill>
            <a:srgbClr val="ECF7FE"/>
          </a:solidFill>
          <a:ln w="1270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3F28A4B1-C03E-420A-AAB1-A57E91C95B98}"/>
              </a:ext>
            </a:extLst>
          </p:cNvPr>
          <p:cNvGrpSpPr/>
          <p:nvPr/>
        </p:nvGrpSpPr>
        <p:grpSpPr>
          <a:xfrm>
            <a:off x="6955778" y="2069250"/>
            <a:ext cx="2717684" cy="299934"/>
            <a:chOff x="6951840" y="2030557"/>
            <a:chExt cx="2717684" cy="288032"/>
          </a:xfrm>
        </p:grpSpPr>
        <p:sp>
          <p:nvSpPr>
            <p:cNvPr id="80" name="양쪽 모서리가 둥근 사각형 517">
              <a:extLst>
                <a:ext uri="{FF2B5EF4-FFF2-40B4-BE49-F238E27FC236}">
                  <a16:creationId xmlns:a16="http://schemas.microsoft.com/office/drawing/2014/main" id="{3E3D28BE-959C-480B-8AD1-3B8A1BB208AE}"/>
                </a:ext>
              </a:extLst>
            </p:cNvPr>
            <p:cNvSpPr/>
            <p:nvPr/>
          </p:nvSpPr>
          <p:spPr>
            <a:xfrm>
              <a:off x="6951840" y="2030557"/>
              <a:ext cx="2717340" cy="288032"/>
            </a:xfrm>
            <a:prstGeom prst="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구현 방안</a:t>
              </a:r>
              <a:endPara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81" name="양쪽 모서리가 둥근 사각형 517">
              <a:extLst>
                <a:ext uri="{FF2B5EF4-FFF2-40B4-BE49-F238E27FC236}">
                  <a16:creationId xmlns:a16="http://schemas.microsoft.com/office/drawing/2014/main" id="{44EC17C8-AF98-4F87-8AE2-101CBA21F03A}"/>
                </a:ext>
              </a:extLst>
            </p:cNvPr>
            <p:cNvSpPr/>
            <p:nvPr/>
          </p:nvSpPr>
          <p:spPr>
            <a:xfrm>
              <a:off x="6951882" y="2030561"/>
              <a:ext cx="2717642" cy="144016"/>
            </a:xfrm>
            <a:prstGeom prst="rect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</p:grpSp>
      <p:sp>
        <p:nvSpPr>
          <p:cNvPr id="82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4455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산출물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흐름도를 통한 데이터 추적의 용이성을 강화</a:t>
            </a:r>
          </a:p>
        </p:txBody>
      </p:sp>
      <p:sp>
        <p:nvSpPr>
          <p:cNvPr id="83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201343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소스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vs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타겟 테이블에 대해서 컬럼 매핑 규칙을 정의</a:t>
            </a:r>
          </a:p>
        </p:txBody>
      </p:sp>
      <p:sp>
        <p:nvSpPr>
          <p:cNvPr id="85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101694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데이터</a:t>
            </a: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(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테이블</a:t>
            </a: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)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흐름</a:t>
            </a:r>
          </a:p>
        </p:txBody>
      </p:sp>
      <p:pic>
        <p:nvPicPr>
          <p:cNvPr id="86" name="그림 85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sp>
        <p:nvSpPr>
          <p:cNvPr id="8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894086"/>
            <a:ext cx="103297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테이블 간 컬럼 매핑</a:t>
            </a:r>
          </a:p>
        </p:txBody>
      </p:sp>
      <p:pic>
        <p:nvPicPr>
          <p:cNvPr id="89" name="그림 8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3487" y="3888507"/>
            <a:ext cx="318769" cy="318769"/>
          </a:xfrm>
          <a:prstGeom prst="rect">
            <a:avLst/>
          </a:prstGeom>
        </p:spPr>
      </p:pic>
      <p:cxnSp>
        <p:nvCxnSpPr>
          <p:cNvPr id="90" name="직선 연결선 8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53701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1" name="직선 연결선 90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869160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3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226616"/>
            <a:ext cx="103297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구간 별 데이터 검증</a:t>
            </a:r>
          </a:p>
        </p:txBody>
      </p:sp>
      <p:pic>
        <p:nvPicPr>
          <p:cNvPr id="94" name="그림 93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3487" y="5223224"/>
            <a:ext cx="320400" cy="320400"/>
          </a:xfrm>
          <a:prstGeom prst="rect">
            <a:avLst/>
          </a:prstGeom>
        </p:spPr>
      </p:pic>
      <p:sp>
        <p:nvSpPr>
          <p:cNvPr id="95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533975"/>
            <a:ext cx="2123304" cy="48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작성된 산출물을 기반으로 구간 별 데이터 검증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증 결과에 대한 공식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비공식 산출물 생성</a:t>
            </a:r>
          </a:p>
        </p:txBody>
      </p:sp>
      <p:sp>
        <p:nvSpPr>
          <p:cNvPr id="7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7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99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859432" y="499191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75028" y="4662560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1547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6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구축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3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651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52693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7.1 </a:t>
            </a:r>
            <a:r>
              <a:rPr lang="ko-KR" altLang="en-US" dirty="0" smtClean="0"/>
              <a:t>외부기관 연계</a:t>
            </a:r>
            <a:endParaRPr lang="ko-KR" altLang="en-US" dirty="0"/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1278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7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인터페이스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외부기관 연계 내용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5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39139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외부기관 연계 구축을 위해서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위험평가 결과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TR/C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서를 대외기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KoFIU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은행연합회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전송하는 체계를 수립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외부 리스트 제공업체로부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를 제공받아 관리하는 기능을 구현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117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118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19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20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1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22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3" name="Rectangle 131"/>
          <p:cNvSpPr>
            <a:spLocks noChangeArrowheads="1"/>
          </p:cNvSpPr>
          <p:nvPr/>
        </p:nvSpPr>
        <p:spPr bwMode="auto">
          <a:xfrm>
            <a:off x="3580363" y="2321124"/>
            <a:ext cx="3136833" cy="20328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2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52216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6" name="Rectangle 127"/>
          <p:cNvSpPr>
            <a:spLocks noChangeArrowheads="1"/>
          </p:cNvSpPr>
          <p:nvPr/>
        </p:nvSpPr>
        <p:spPr bwMode="gray">
          <a:xfrm>
            <a:off x="248199" y="2326718"/>
            <a:ext cx="31608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27" name="AutoShape 128"/>
          <p:cNvSpPr>
            <a:spLocks noChangeArrowheads="1"/>
          </p:cNvSpPr>
          <p:nvPr/>
        </p:nvSpPr>
        <p:spPr bwMode="gray">
          <a:xfrm>
            <a:off x="891650" y="2326718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28" name="Rectangle 11"/>
          <p:cNvSpPr>
            <a:spLocks noChangeAspect="1" noChangeArrowheads="1"/>
          </p:cNvSpPr>
          <p:nvPr/>
        </p:nvSpPr>
        <p:spPr bwMode="auto">
          <a:xfrm>
            <a:off x="1129740" y="2371530"/>
            <a:ext cx="14234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BA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반 </a:t>
            </a: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 연계</a:t>
            </a:r>
          </a:p>
        </p:txBody>
      </p:sp>
      <p:sp>
        <p:nvSpPr>
          <p:cNvPr id="129" name="AutoShape 133"/>
          <p:cNvSpPr>
            <a:spLocks noChangeArrowheads="1"/>
          </p:cNvSpPr>
          <p:nvPr/>
        </p:nvSpPr>
        <p:spPr bwMode="gray">
          <a:xfrm>
            <a:off x="4159734" y="2326718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30" name="Rectangle 11"/>
          <p:cNvSpPr>
            <a:spLocks noChangeAspect="1" noChangeArrowheads="1"/>
          </p:cNvSpPr>
          <p:nvPr/>
        </p:nvSpPr>
        <p:spPr bwMode="auto">
          <a:xfrm>
            <a:off x="4671942" y="2371530"/>
            <a:ext cx="87684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atch List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연계</a:t>
            </a:r>
          </a:p>
        </p:txBody>
      </p:sp>
      <p:sp>
        <p:nvSpPr>
          <p:cNvPr id="131" name="Rectangle 132"/>
          <p:cNvSpPr>
            <a:spLocks noChangeArrowheads="1"/>
          </p:cNvSpPr>
          <p:nvPr/>
        </p:nvSpPr>
        <p:spPr bwMode="gray">
          <a:xfrm>
            <a:off x="3580363" y="2326718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32" name="Rectangle 127"/>
          <p:cNvSpPr>
            <a:spLocks noChangeArrowheads="1"/>
          </p:cNvSpPr>
          <p:nvPr/>
        </p:nvSpPr>
        <p:spPr bwMode="gray">
          <a:xfrm>
            <a:off x="248199" y="4329100"/>
            <a:ext cx="31536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33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34" name="Rectangle 11"/>
          <p:cNvSpPr>
            <a:spLocks noChangeAspect="1" noChangeArrowheads="1"/>
          </p:cNvSpPr>
          <p:nvPr/>
        </p:nvSpPr>
        <p:spPr bwMode="auto">
          <a:xfrm>
            <a:off x="1463966" y="4373913"/>
            <a:ext cx="75501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TR </a:t>
            </a:r>
            <a:r>
              <a:rPr lang="ko-KR" altLang="en-US" sz="10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 연계</a:t>
            </a:r>
          </a:p>
        </p:txBody>
      </p:sp>
      <p:sp>
        <p:nvSpPr>
          <p:cNvPr id="135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36" name="Rectangle 11"/>
          <p:cNvSpPr>
            <a:spLocks noChangeAspect="1" noChangeArrowheads="1"/>
          </p:cNvSpPr>
          <p:nvPr/>
        </p:nvSpPr>
        <p:spPr bwMode="auto">
          <a:xfrm>
            <a:off x="4728849" y="4373913"/>
            <a:ext cx="76302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TR </a:t>
            </a:r>
            <a:r>
              <a:rPr lang="ko-KR" altLang="en-US" sz="10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 연계</a:t>
            </a:r>
          </a:p>
        </p:txBody>
      </p:sp>
      <p:sp>
        <p:nvSpPr>
          <p:cNvPr id="137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205" name="직사각형 204">
            <a:extLst>
              <a:ext uri="{FF2B5EF4-FFF2-40B4-BE49-F238E27FC236}">
                <a16:creationId xmlns:a16="http://schemas.microsoft.com/office/drawing/2014/main" id="{4832A5FE-031B-485A-A309-BE2A0750944F}"/>
              </a:ext>
            </a:extLst>
          </p:cNvPr>
          <p:cNvSpPr/>
          <p:nvPr/>
        </p:nvSpPr>
        <p:spPr>
          <a:xfrm>
            <a:off x="6955778" y="2069250"/>
            <a:ext cx="2717340" cy="4420090"/>
          </a:xfrm>
          <a:prstGeom prst="rect">
            <a:avLst/>
          </a:prstGeom>
          <a:solidFill>
            <a:srgbClr val="ECF7FE"/>
          </a:solidFill>
          <a:ln w="1270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07" name="양쪽 모서리가 둥근 사각형 517">
            <a:extLst>
              <a:ext uri="{FF2B5EF4-FFF2-40B4-BE49-F238E27FC236}">
                <a16:creationId xmlns:a16="http://schemas.microsoft.com/office/drawing/2014/main" id="{3E3D28BE-959C-480B-8AD1-3B8A1BB208AE}"/>
              </a:ext>
            </a:extLst>
          </p:cNvPr>
          <p:cNvSpPr/>
          <p:nvPr/>
        </p:nvSpPr>
        <p:spPr>
          <a:xfrm>
            <a:off x="6955778" y="2069250"/>
            <a:ext cx="2717340" cy="299934"/>
          </a:xfrm>
          <a:prstGeom prst="rect">
            <a:avLst/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/>
            <a:r>
              <a:rPr lang="ko-KR" altLang="en-US" sz="12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구현 방안</a:t>
            </a:r>
            <a:endParaRPr lang="ko-KR" altLang="en-US" sz="12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8" name="양쪽 모서리가 둥근 사각형 517">
            <a:extLst>
              <a:ext uri="{FF2B5EF4-FFF2-40B4-BE49-F238E27FC236}">
                <a16:creationId xmlns:a16="http://schemas.microsoft.com/office/drawing/2014/main" id="{44EC17C8-AF98-4F87-8AE2-101CBA21F03A}"/>
              </a:ext>
            </a:extLst>
          </p:cNvPr>
          <p:cNvSpPr/>
          <p:nvPr/>
        </p:nvSpPr>
        <p:spPr>
          <a:xfrm>
            <a:off x="6955820" y="2069254"/>
            <a:ext cx="2717642" cy="149967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sp>
        <p:nvSpPr>
          <p:cNvPr id="209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437666"/>
            <a:ext cx="114614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BA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반 </a:t>
            </a: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</a:t>
            </a:r>
          </a:p>
        </p:txBody>
      </p:sp>
      <p:sp>
        <p:nvSpPr>
          <p:cNvPr id="210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628523"/>
            <a:ext cx="2259454" cy="533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  <a:buClr>
                <a:srgbClr val="969696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산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결과  엑셀 보고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생성</a:t>
            </a:r>
          </a:p>
          <a:p>
            <a:pPr marL="87313" indent="-84138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  <a:buClr>
                <a:srgbClr val="969696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외부망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PC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에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프로그램을 실행하여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 산출 보고서 전송</a:t>
            </a:r>
          </a:p>
        </p:txBody>
      </p:sp>
      <p:cxnSp>
        <p:nvCxnSpPr>
          <p:cNvPr id="211" name="직선 연결선 210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29416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12" name="그림 211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437666"/>
            <a:ext cx="318769" cy="318769"/>
          </a:xfrm>
          <a:prstGeom prst="rect">
            <a:avLst/>
          </a:prstGeom>
        </p:spPr>
      </p:pic>
      <p:sp>
        <p:nvSpPr>
          <p:cNvPr id="214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371749"/>
            <a:ext cx="62581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atch List </a:t>
            </a:r>
          </a:p>
        </p:txBody>
      </p:sp>
      <p:sp>
        <p:nvSpPr>
          <p:cNvPr id="215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3582194"/>
            <a:ext cx="2201264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Watch List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 화면 또는 프로그램을 통해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로드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외부 리스트 제공업체로부터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List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받음</a:t>
            </a:r>
            <a:b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FATF, OFAC, PEPs, CIA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리스트 등 </a:t>
            </a:r>
          </a:p>
        </p:txBody>
      </p:sp>
      <p:pic>
        <p:nvPicPr>
          <p:cNvPr id="216" name="그림 215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366170"/>
            <a:ext cx="318769" cy="318769"/>
          </a:xfrm>
          <a:prstGeom prst="rect">
            <a:avLst/>
          </a:prstGeom>
        </p:spPr>
      </p:pic>
      <p:cxnSp>
        <p:nvCxnSpPr>
          <p:cNvPr id="217" name="직선 연결선 21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8387" y="439333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9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2857" y="4506984"/>
            <a:ext cx="49116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TR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</a:t>
            </a:r>
          </a:p>
        </p:txBody>
      </p:sp>
      <p:sp>
        <p:nvSpPr>
          <p:cNvPr id="220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2857" y="4738921"/>
            <a:ext cx="2201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작성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서를 포맷에 맞게 생성</a:t>
            </a:r>
            <a:b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XML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일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21" name="그림 220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487" y="4508256"/>
            <a:ext cx="320400" cy="320400"/>
          </a:xfrm>
          <a:prstGeom prst="rect">
            <a:avLst/>
          </a:prstGeom>
        </p:spPr>
      </p:pic>
      <p:cxnSp>
        <p:nvCxnSpPr>
          <p:cNvPr id="222" name="직선 연결선 221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8387" y="525533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4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2857" y="5364174"/>
            <a:ext cx="49917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TR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</a:t>
            </a:r>
          </a:p>
        </p:txBody>
      </p:sp>
      <p:sp>
        <p:nvSpPr>
          <p:cNvPr id="225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2857" y="5596111"/>
            <a:ext cx="2201264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작성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서를 포맷에 맞게 생성</a:t>
            </a:r>
            <a:b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SND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일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용망을 통해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계 기관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은행연합회에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량 보고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송</a:t>
            </a:r>
          </a:p>
        </p:txBody>
      </p:sp>
      <p:pic>
        <p:nvPicPr>
          <p:cNvPr id="226" name="그림 225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8304" y="5365446"/>
            <a:ext cx="320400" cy="320400"/>
          </a:xfrm>
          <a:prstGeom prst="rect">
            <a:avLst/>
          </a:prstGeom>
        </p:spPr>
      </p:pic>
      <p:grpSp>
        <p:nvGrpSpPr>
          <p:cNvPr id="2" name="그룹 1"/>
          <p:cNvGrpSpPr/>
          <p:nvPr/>
        </p:nvGrpSpPr>
        <p:grpSpPr>
          <a:xfrm>
            <a:off x="504803" y="2791899"/>
            <a:ext cx="2694555" cy="722983"/>
            <a:chOff x="507804" y="2742021"/>
            <a:chExt cx="2694555" cy="722983"/>
          </a:xfrm>
        </p:grpSpPr>
        <p:pic>
          <p:nvPicPr>
            <p:cNvPr id="232" name="Picture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371" y="2742021"/>
              <a:ext cx="490493" cy="490493"/>
            </a:xfrm>
            <a:prstGeom prst="rect">
              <a:avLst/>
            </a:prstGeom>
          </p:spPr>
        </p:pic>
        <p:sp>
          <p:nvSpPr>
            <p:cNvPr id="233" name="TextBox 649"/>
            <p:cNvSpPr txBox="1">
              <a:spLocks noChangeArrowheads="1"/>
            </p:cNvSpPr>
            <p:nvPr/>
          </p:nvSpPr>
          <p:spPr bwMode="auto">
            <a:xfrm>
              <a:off x="507804" y="3326505"/>
              <a:ext cx="77425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auto" latinLnBrk="0">
                <a:spcBef>
                  <a:spcPct val="10000"/>
                </a:spcBef>
                <a:spcAft>
                  <a:spcPct val="10000"/>
                </a:spcAft>
                <a:defRPr/>
              </a:pPr>
              <a:r>
                <a:rPr kumimoji="0" lang="ko-KR" altLang="en-US" sz="900" b="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Arial" pitchFamily="34" charset="0"/>
                </a:rPr>
                <a:t>지표 산출 보고서</a:t>
              </a:r>
              <a:endParaRPr kumimoji="0" lang="en-US" altLang="ko-KR" sz="900" b="0" kern="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Arial" pitchFamily="34" charset="0"/>
              </a:endParaRPr>
            </a:p>
          </p:txBody>
        </p:sp>
        <p:pic>
          <p:nvPicPr>
            <p:cNvPr id="234" name="Picture 1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6605" y="2886180"/>
              <a:ext cx="1045754" cy="288253"/>
            </a:xfrm>
            <a:prstGeom prst="rect">
              <a:avLst/>
            </a:prstGeom>
          </p:spPr>
        </p:pic>
        <p:sp>
          <p:nvSpPr>
            <p:cNvPr id="235" name="Right Arrow 11"/>
            <p:cNvSpPr/>
            <p:nvPr/>
          </p:nvSpPr>
          <p:spPr bwMode="auto">
            <a:xfrm>
              <a:off x="1258150" y="2980980"/>
              <a:ext cx="861134" cy="150920"/>
            </a:xfrm>
            <a:prstGeom prst="rightArrow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solidFill>
                <a:srgbClr val="76C1E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pic>
          <p:nvPicPr>
            <p:cNvPr id="236" name="Picture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9032" y="2814204"/>
              <a:ext cx="507088" cy="507088"/>
            </a:xfrm>
            <a:prstGeom prst="rect">
              <a:avLst/>
            </a:prstGeom>
          </p:spPr>
        </p:pic>
      </p:grpSp>
      <p:sp>
        <p:nvSpPr>
          <p:cNvPr id="237" name="Rs27"/>
          <p:cNvSpPr>
            <a:spLocks noChangeAspect="1" noChangeArrowheads="1"/>
          </p:cNvSpPr>
          <p:nvPr/>
        </p:nvSpPr>
        <p:spPr bwMode="auto">
          <a:xfrm>
            <a:off x="347091" y="3723477"/>
            <a:ext cx="302173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 fontAlgn="auto" latinLnBrk="0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kumimoji="0"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지표 산출 보고서 생성 및 내부 보고용 정형화 보고서 작성 지원</a:t>
            </a:r>
            <a:endParaRPr kumimoji="0" lang="en-US" altLang="ko-KR" sz="900" kern="0" dirty="0" smtClean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92075" indent="-92075" defTabSz="879475" fontAlgn="auto" latinLnBrk="0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kumimoji="0"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 시스템 연계</a:t>
            </a:r>
            <a:r>
              <a:rPr kumimoji="0"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(KoFIU </a:t>
            </a:r>
            <a:r>
              <a:rPr kumimoji="0"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 프로그램 사용</a:t>
            </a:r>
            <a:r>
              <a:rPr kumimoji="0"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)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3876600" y="2748714"/>
            <a:ext cx="2408087" cy="782357"/>
            <a:chOff x="3945091" y="2698836"/>
            <a:chExt cx="2408087" cy="782357"/>
          </a:xfrm>
        </p:grpSpPr>
        <p:sp>
          <p:nvSpPr>
            <p:cNvPr id="239" name="TextBox 649"/>
            <p:cNvSpPr txBox="1">
              <a:spLocks noChangeArrowheads="1"/>
            </p:cNvSpPr>
            <p:nvPr/>
          </p:nvSpPr>
          <p:spPr bwMode="auto">
            <a:xfrm>
              <a:off x="3945091" y="3238836"/>
              <a:ext cx="56265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auto" latinLnBrk="0">
                <a:spcBef>
                  <a:spcPct val="10000"/>
                </a:spcBef>
                <a:spcAft>
                  <a:spcPct val="10000"/>
                </a:spcAft>
                <a:defRPr/>
              </a:pPr>
              <a:r>
                <a:rPr kumimoji="0" lang="en-US" altLang="ko-KR" sz="900" b="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Arial" pitchFamily="34" charset="0"/>
                </a:rPr>
                <a:t>Watch List</a:t>
              </a:r>
            </a:p>
          </p:txBody>
        </p:sp>
        <p:sp>
          <p:nvSpPr>
            <p:cNvPr id="240" name="Right Arrow 11"/>
            <p:cNvSpPr/>
            <p:nvPr/>
          </p:nvSpPr>
          <p:spPr bwMode="auto">
            <a:xfrm>
              <a:off x="4589637" y="2893311"/>
              <a:ext cx="861134" cy="150920"/>
            </a:xfrm>
            <a:prstGeom prst="rightArrow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solidFill>
                <a:srgbClr val="76C1E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241" name="Group 86"/>
            <p:cNvGrpSpPr>
              <a:grpSpLocks noChangeAspect="1"/>
            </p:cNvGrpSpPr>
            <p:nvPr/>
          </p:nvGrpSpPr>
          <p:grpSpPr bwMode="auto">
            <a:xfrm>
              <a:off x="5693948" y="2698836"/>
              <a:ext cx="327345" cy="540000"/>
              <a:chOff x="420" y="1780"/>
              <a:chExt cx="219" cy="320"/>
            </a:xfrm>
          </p:grpSpPr>
          <p:sp>
            <p:nvSpPr>
              <p:cNvPr id="242" name="AutoShape 87"/>
              <p:cNvSpPr>
                <a:spLocks noChangeAspect="1" noChangeArrowheads="1"/>
              </p:cNvSpPr>
              <p:nvPr/>
            </p:nvSpPr>
            <p:spPr bwMode="auto">
              <a:xfrm>
                <a:off x="420" y="1780"/>
                <a:ext cx="219" cy="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43" name="Freeform 88"/>
              <p:cNvSpPr>
                <a:spLocks/>
              </p:cNvSpPr>
              <p:nvPr/>
            </p:nvSpPr>
            <p:spPr bwMode="auto">
              <a:xfrm>
                <a:off x="420" y="1780"/>
                <a:ext cx="219" cy="320"/>
              </a:xfrm>
              <a:custGeom>
                <a:avLst/>
                <a:gdLst>
                  <a:gd name="T0" fmla="*/ 0 w 10950"/>
                  <a:gd name="T1" fmla="*/ 0 h 16320"/>
                  <a:gd name="T2" fmla="*/ 0 w 10950"/>
                  <a:gd name="T3" fmla="*/ 0 h 16320"/>
                  <a:gd name="T4" fmla="*/ 0 w 10950"/>
                  <a:gd name="T5" fmla="*/ 0 h 16320"/>
                  <a:gd name="T6" fmla="*/ 0 w 10950"/>
                  <a:gd name="T7" fmla="*/ 0 h 16320"/>
                  <a:gd name="T8" fmla="*/ 0 w 10950"/>
                  <a:gd name="T9" fmla="*/ 0 h 16320"/>
                  <a:gd name="T10" fmla="*/ 0 w 10950"/>
                  <a:gd name="T11" fmla="*/ 0 h 16320"/>
                  <a:gd name="T12" fmla="*/ 0 w 10950"/>
                  <a:gd name="T13" fmla="*/ 0 h 16320"/>
                  <a:gd name="T14" fmla="*/ 0 w 10950"/>
                  <a:gd name="T15" fmla="*/ 0 h 16320"/>
                  <a:gd name="T16" fmla="*/ 0 w 10950"/>
                  <a:gd name="T17" fmla="*/ 0 h 16320"/>
                  <a:gd name="T18" fmla="*/ 0 w 10950"/>
                  <a:gd name="T19" fmla="*/ 0 h 16320"/>
                  <a:gd name="T20" fmla="*/ 0 w 10950"/>
                  <a:gd name="T21" fmla="*/ 0 h 16320"/>
                  <a:gd name="T22" fmla="*/ 0 w 10950"/>
                  <a:gd name="T23" fmla="*/ 0 h 16320"/>
                  <a:gd name="T24" fmla="*/ 0 w 10950"/>
                  <a:gd name="T25" fmla="*/ 0 h 16320"/>
                  <a:gd name="T26" fmla="*/ 0 w 10950"/>
                  <a:gd name="T27" fmla="*/ 0 h 16320"/>
                  <a:gd name="T28" fmla="*/ 0 w 10950"/>
                  <a:gd name="T29" fmla="*/ 0 h 16320"/>
                  <a:gd name="T30" fmla="*/ 0 w 10950"/>
                  <a:gd name="T31" fmla="*/ 0 h 16320"/>
                  <a:gd name="T32" fmla="*/ 0 w 10950"/>
                  <a:gd name="T33" fmla="*/ 0 h 16320"/>
                  <a:gd name="T34" fmla="*/ 0 w 10950"/>
                  <a:gd name="T35" fmla="*/ 0 h 16320"/>
                  <a:gd name="T36" fmla="*/ 0 w 10950"/>
                  <a:gd name="T37" fmla="*/ 0 h 16320"/>
                  <a:gd name="T38" fmla="*/ 0 w 10950"/>
                  <a:gd name="T39" fmla="*/ 0 h 16320"/>
                  <a:gd name="T40" fmla="*/ 0 w 10950"/>
                  <a:gd name="T41" fmla="*/ 0 h 16320"/>
                  <a:gd name="T42" fmla="*/ 0 w 10950"/>
                  <a:gd name="T43" fmla="*/ 0 h 16320"/>
                  <a:gd name="T44" fmla="*/ 0 w 10950"/>
                  <a:gd name="T45" fmla="*/ 0 h 16320"/>
                  <a:gd name="T46" fmla="*/ 0 w 10950"/>
                  <a:gd name="T47" fmla="*/ 0 h 16320"/>
                  <a:gd name="T48" fmla="*/ 0 w 10950"/>
                  <a:gd name="T49" fmla="*/ 0 h 16320"/>
                  <a:gd name="T50" fmla="*/ 0 w 10950"/>
                  <a:gd name="T51" fmla="*/ 0 h 16320"/>
                  <a:gd name="T52" fmla="*/ 0 w 10950"/>
                  <a:gd name="T53" fmla="*/ 0 h 16320"/>
                  <a:gd name="T54" fmla="*/ 0 w 10950"/>
                  <a:gd name="T55" fmla="*/ 0 h 16320"/>
                  <a:gd name="T56" fmla="*/ 0 w 10950"/>
                  <a:gd name="T57" fmla="*/ 0 h 16320"/>
                  <a:gd name="T58" fmla="*/ 0 w 10950"/>
                  <a:gd name="T59" fmla="*/ 0 h 16320"/>
                  <a:gd name="T60" fmla="*/ 0 w 10950"/>
                  <a:gd name="T61" fmla="*/ 0 h 16320"/>
                  <a:gd name="T62" fmla="*/ 0 w 10950"/>
                  <a:gd name="T63" fmla="*/ 0 h 16320"/>
                  <a:gd name="T64" fmla="*/ 0 w 10950"/>
                  <a:gd name="T65" fmla="*/ 0 h 16320"/>
                  <a:gd name="T66" fmla="*/ 0 w 10950"/>
                  <a:gd name="T67" fmla="*/ 0 h 16320"/>
                  <a:gd name="T68" fmla="*/ 0 w 10950"/>
                  <a:gd name="T69" fmla="*/ 0 h 16320"/>
                  <a:gd name="T70" fmla="*/ 0 w 10950"/>
                  <a:gd name="T71" fmla="*/ 0 h 16320"/>
                  <a:gd name="T72" fmla="*/ 0 w 10950"/>
                  <a:gd name="T73" fmla="*/ 0 h 16320"/>
                  <a:gd name="T74" fmla="*/ 0 w 10950"/>
                  <a:gd name="T75" fmla="*/ 0 h 16320"/>
                  <a:gd name="T76" fmla="*/ 0 w 10950"/>
                  <a:gd name="T77" fmla="*/ 0 h 16320"/>
                  <a:gd name="T78" fmla="*/ 0 w 10950"/>
                  <a:gd name="T79" fmla="*/ 0 h 16320"/>
                  <a:gd name="T80" fmla="*/ 0 w 10950"/>
                  <a:gd name="T81" fmla="*/ 0 h 16320"/>
                  <a:gd name="T82" fmla="*/ 0 w 10950"/>
                  <a:gd name="T83" fmla="*/ 0 h 16320"/>
                  <a:gd name="T84" fmla="*/ 0 w 10950"/>
                  <a:gd name="T85" fmla="*/ 0 h 16320"/>
                  <a:gd name="T86" fmla="*/ 0 w 10950"/>
                  <a:gd name="T87" fmla="*/ 0 h 16320"/>
                  <a:gd name="T88" fmla="*/ 0 w 10950"/>
                  <a:gd name="T89" fmla="*/ 0 h 16320"/>
                  <a:gd name="T90" fmla="*/ 0 w 10950"/>
                  <a:gd name="T91" fmla="*/ 0 h 16320"/>
                  <a:gd name="T92" fmla="*/ 0 w 10950"/>
                  <a:gd name="T93" fmla="*/ 0 h 16320"/>
                  <a:gd name="T94" fmla="*/ 0 w 10950"/>
                  <a:gd name="T95" fmla="*/ 0 h 16320"/>
                  <a:gd name="T96" fmla="*/ 0 w 10950"/>
                  <a:gd name="T97" fmla="*/ 0 h 16320"/>
                  <a:gd name="T98" fmla="*/ 0 w 10950"/>
                  <a:gd name="T99" fmla="*/ 0 h 16320"/>
                  <a:gd name="T100" fmla="*/ 0 w 10950"/>
                  <a:gd name="T101" fmla="*/ 0 h 16320"/>
                  <a:gd name="T102" fmla="*/ 0 w 10950"/>
                  <a:gd name="T103" fmla="*/ 0 h 16320"/>
                  <a:gd name="T104" fmla="*/ 0 w 10950"/>
                  <a:gd name="T105" fmla="*/ 0 h 16320"/>
                  <a:gd name="T106" fmla="*/ 0 w 10950"/>
                  <a:gd name="T107" fmla="*/ 0 h 16320"/>
                  <a:gd name="T108" fmla="*/ 0 w 10950"/>
                  <a:gd name="T109" fmla="*/ 0 h 1632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950"/>
                  <a:gd name="T166" fmla="*/ 0 h 16320"/>
                  <a:gd name="T167" fmla="*/ 10950 w 10950"/>
                  <a:gd name="T168" fmla="*/ 16320 h 1632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950" h="16320">
                    <a:moveTo>
                      <a:pt x="154" y="2649"/>
                    </a:moveTo>
                    <a:lnTo>
                      <a:pt x="4466" y="72"/>
                    </a:lnTo>
                    <a:lnTo>
                      <a:pt x="4477" y="65"/>
                    </a:lnTo>
                    <a:lnTo>
                      <a:pt x="4508" y="48"/>
                    </a:lnTo>
                    <a:lnTo>
                      <a:pt x="4531" y="38"/>
                    </a:lnTo>
                    <a:lnTo>
                      <a:pt x="4558" y="27"/>
                    </a:lnTo>
                    <a:lnTo>
                      <a:pt x="4573" y="21"/>
                    </a:lnTo>
                    <a:lnTo>
                      <a:pt x="4589" y="17"/>
                    </a:lnTo>
                    <a:lnTo>
                      <a:pt x="4606" y="12"/>
                    </a:lnTo>
                    <a:lnTo>
                      <a:pt x="4624" y="8"/>
                    </a:lnTo>
                    <a:lnTo>
                      <a:pt x="4643" y="5"/>
                    </a:lnTo>
                    <a:lnTo>
                      <a:pt x="4662" y="3"/>
                    </a:lnTo>
                    <a:lnTo>
                      <a:pt x="4682" y="1"/>
                    </a:lnTo>
                    <a:lnTo>
                      <a:pt x="4703" y="0"/>
                    </a:lnTo>
                    <a:lnTo>
                      <a:pt x="4725" y="0"/>
                    </a:lnTo>
                    <a:lnTo>
                      <a:pt x="4748" y="1"/>
                    </a:lnTo>
                    <a:lnTo>
                      <a:pt x="4771" y="4"/>
                    </a:lnTo>
                    <a:lnTo>
                      <a:pt x="4794" y="8"/>
                    </a:lnTo>
                    <a:lnTo>
                      <a:pt x="4819" y="13"/>
                    </a:lnTo>
                    <a:lnTo>
                      <a:pt x="4843" y="20"/>
                    </a:lnTo>
                    <a:lnTo>
                      <a:pt x="4869" y="29"/>
                    </a:lnTo>
                    <a:lnTo>
                      <a:pt x="4894" y="39"/>
                    </a:lnTo>
                    <a:lnTo>
                      <a:pt x="4921" y="51"/>
                    </a:lnTo>
                    <a:lnTo>
                      <a:pt x="4947" y="64"/>
                    </a:lnTo>
                    <a:lnTo>
                      <a:pt x="4974" y="81"/>
                    </a:lnTo>
                    <a:lnTo>
                      <a:pt x="5002" y="99"/>
                    </a:lnTo>
                    <a:lnTo>
                      <a:pt x="10615" y="3377"/>
                    </a:lnTo>
                    <a:lnTo>
                      <a:pt x="10629" y="3382"/>
                    </a:lnTo>
                    <a:lnTo>
                      <a:pt x="10665" y="3398"/>
                    </a:lnTo>
                    <a:lnTo>
                      <a:pt x="10689" y="3411"/>
                    </a:lnTo>
                    <a:lnTo>
                      <a:pt x="10717" y="3426"/>
                    </a:lnTo>
                    <a:lnTo>
                      <a:pt x="10731" y="3435"/>
                    </a:lnTo>
                    <a:lnTo>
                      <a:pt x="10746" y="3446"/>
                    </a:lnTo>
                    <a:lnTo>
                      <a:pt x="10761" y="3457"/>
                    </a:lnTo>
                    <a:lnTo>
                      <a:pt x="10776" y="3469"/>
                    </a:lnTo>
                    <a:lnTo>
                      <a:pt x="10791" y="3482"/>
                    </a:lnTo>
                    <a:lnTo>
                      <a:pt x="10807" y="3497"/>
                    </a:lnTo>
                    <a:lnTo>
                      <a:pt x="10821" y="3512"/>
                    </a:lnTo>
                    <a:lnTo>
                      <a:pt x="10836" y="3528"/>
                    </a:lnTo>
                    <a:lnTo>
                      <a:pt x="10850" y="3546"/>
                    </a:lnTo>
                    <a:lnTo>
                      <a:pt x="10864" y="3564"/>
                    </a:lnTo>
                    <a:lnTo>
                      <a:pt x="10877" y="3584"/>
                    </a:lnTo>
                    <a:lnTo>
                      <a:pt x="10890" y="3605"/>
                    </a:lnTo>
                    <a:lnTo>
                      <a:pt x="10901" y="3627"/>
                    </a:lnTo>
                    <a:lnTo>
                      <a:pt x="10911" y="3651"/>
                    </a:lnTo>
                    <a:lnTo>
                      <a:pt x="10921" y="3675"/>
                    </a:lnTo>
                    <a:lnTo>
                      <a:pt x="10929" y="3702"/>
                    </a:lnTo>
                    <a:lnTo>
                      <a:pt x="10936" y="3729"/>
                    </a:lnTo>
                    <a:lnTo>
                      <a:pt x="10941" y="3758"/>
                    </a:lnTo>
                    <a:lnTo>
                      <a:pt x="10945" y="3788"/>
                    </a:lnTo>
                    <a:lnTo>
                      <a:pt x="10947" y="3819"/>
                    </a:lnTo>
                    <a:lnTo>
                      <a:pt x="10947" y="13186"/>
                    </a:lnTo>
                    <a:lnTo>
                      <a:pt x="10948" y="13202"/>
                    </a:lnTo>
                    <a:lnTo>
                      <a:pt x="10950" y="13246"/>
                    </a:lnTo>
                    <a:lnTo>
                      <a:pt x="10949" y="13275"/>
                    </a:lnTo>
                    <a:lnTo>
                      <a:pt x="10947" y="13311"/>
                    </a:lnTo>
                    <a:lnTo>
                      <a:pt x="10945" y="13329"/>
                    </a:lnTo>
                    <a:lnTo>
                      <a:pt x="10942" y="13349"/>
                    </a:lnTo>
                    <a:lnTo>
                      <a:pt x="10938" y="13369"/>
                    </a:lnTo>
                    <a:lnTo>
                      <a:pt x="10934" y="13391"/>
                    </a:lnTo>
                    <a:lnTo>
                      <a:pt x="10929" y="13412"/>
                    </a:lnTo>
                    <a:lnTo>
                      <a:pt x="10923" y="13434"/>
                    </a:lnTo>
                    <a:lnTo>
                      <a:pt x="10915" y="13457"/>
                    </a:lnTo>
                    <a:lnTo>
                      <a:pt x="10907" y="13479"/>
                    </a:lnTo>
                    <a:lnTo>
                      <a:pt x="10897" y="13502"/>
                    </a:lnTo>
                    <a:lnTo>
                      <a:pt x="10886" y="13525"/>
                    </a:lnTo>
                    <a:lnTo>
                      <a:pt x="10874" y="13548"/>
                    </a:lnTo>
                    <a:lnTo>
                      <a:pt x="10861" y="13570"/>
                    </a:lnTo>
                    <a:lnTo>
                      <a:pt x="10845" y="13593"/>
                    </a:lnTo>
                    <a:lnTo>
                      <a:pt x="10829" y="13614"/>
                    </a:lnTo>
                    <a:lnTo>
                      <a:pt x="10810" y="13635"/>
                    </a:lnTo>
                    <a:lnTo>
                      <a:pt x="10790" y="13657"/>
                    </a:lnTo>
                    <a:lnTo>
                      <a:pt x="10769" y="13677"/>
                    </a:lnTo>
                    <a:lnTo>
                      <a:pt x="10745" y="13697"/>
                    </a:lnTo>
                    <a:lnTo>
                      <a:pt x="10719" y="13715"/>
                    </a:lnTo>
                    <a:lnTo>
                      <a:pt x="10692" y="13732"/>
                    </a:lnTo>
                    <a:lnTo>
                      <a:pt x="6559" y="16230"/>
                    </a:lnTo>
                    <a:lnTo>
                      <a:pt x="6550" y="16237"/>
                    </a:lnTo>
                    <a:lnTo>
                      <a:pt x="6525" y="16256"/>
                    </a:lnTo>
                    <a:lnTo>
                      <a:pt x="6507" y="16268"/>
                    </a:lnTo>
                    <a:lnTo>
                      <a:pt x="6486" y="16280"/>
                    </a:lnTo>
                    <a:lnTo>
                      <a:pt x="6474" y="16286"/>
                    </a:lnTo>
                    <a:lnTo>
                      <a:pt x="6461" y="16291"/>
                    </a:lnTo>
                    <a:lnTo>
                      <a:pt x="6447" y="16298"/>
                    </a:lnTo>
                    <a:lnTo>
                      <a:pt x="6433" y="16303"/>
                    </a:lnTo>
                    <a:lnTo>
                      <a:pt x="6418" y="16307"/>
                    </a:lnTo>
                    <a:lnTo>
                      <a:pt x="6402" y="16311"/>
                    </a:lnTo>
                    <a:lnTo>
                      <a:pt x="6386" y="16315"/>
                    </a:lnTo>
                    <a:lnTo>
                      <a:pt x="6369" y="16317"/>
                    </a:lnTo>
                    <a:lnTo>
                      <a:pt x="6351" y="16319"/>
                    </a:lnTo>
                    <a:lnTo>
                      <a:pt x="6333" y="16320"/>
                    </a:lnTo>
                    <a:lnTo>
                      <a:pt x="6315" y="16320"/>
                    </a:lnTo>
                    <a:lnTo>
                      <a:pt x="6295" y="16319"/>
                    </a:lnTo>
                    <a:lnTo>
                      <a:pt x="6275" y="16316"/>
                    </a:lnTo>
                    <a:lnTo>
                      <a:pt x="6255" y="16313"/>
                    </a:lnTo>
                    <a:lnTo>
                      <a:pt x="6235" y="16307"/>
                    </a:lnTo>
                    <a:lnTo>
                      <a:pt x="6213" y="16301"/>
                    </a:lnTo>
                    <a:lnTo>
                      <a:pt x="6192" y="16292"/>
                    </a:lnTo>
                    <a:lnTo>
                      <a:pt x="6170" y="16282"/>
                    </a:lnTo>
                    <a:lnTo>
                      <a:pt x="6148" y="16270"/>
                    </a:lnTo>
                    <a:lnTo>
                      <a:pt x="6125" y="16256"/>
                    </a:lnTo>
                    <a:lnTo>
                      <a:pt x="2904" y="14418"/>
                    </a:lnTo>
                    <a:lnTo>
                      <a:pt x="2896" y="14415"/>
                    </a:lnTo>
                    <a:lnTo>
                      <a:pt x="2877" y="14401"/>
                    </a:lnTo>
                    <a:lnTo>
                      <a:pt x="2864" y="14391"/>
                    </a:lnTo>
                    <a:lnTo>
                      <a:pt x="2850" y="14378"/>
                    </a:lnTo>
                    <a:lnTo>
                      <a:pt x="2835" y="14363"/>
                    </a:lnTo>
                    <a:lnTo>
                      <a:pt x="2820" y="14343"/>
                    </a:lnTo>
                    <a:lnTo>
                      <a:pt x="2812" y="14332"/>
                    </a:lnTo>
                    <a:lnTo>
                      <a:pt x="2805" y="14320"/>
                    </a:lnTo>
                    <a:lnTo>
                      <a:pt x="2798" y="14308"/>
                    </a:lnTo>
                    <a:lnTo>
                      <a:pt x="2791" y="14293"/>
                    </a:lnTo>
                    <a:lnTo>
                      <a:pt x="2784" y="14279"/>
                    </a:lnTo>
                    <a:lnTo>
                      <a:pt x="2778" y="14263"/>
                    </a:lnTo>
                    <a:lnTo>
                      <a:pt x="2773" y="14246"/>
                    </a:lnTo>
                    <a:lnTo>
                      <a:pt x="2768" y="14228"/>
                    </a:lnTo>
                    <a:lnTo>
                      <a:pt x="2763" y="14210"/>
                    </a:lnTo>
                    <a:lnTo>
                      <a:pt x="2760" y="14189"/>
                    </a:lnTo>
                    <a:lnTo>
                      <a:pt x="2757" y="14168"/>
                    </a:lnTo>
                    <a:lnTo>
                      <a:pt x="2755" y="14146"/>
                    </a:lnTo>
                    <a:lnTo>
                      <a:pt x="2754" y="14123"/>
                    </a:lnTo>
                    <a:lnTo>
                      <a:pt x="2754" y="14097"/>
                    </a:lnTo>
                    <a:lnTo>
                      <a:pt x="2755" y="14072"/>
                    </a:lnTo>
                    <a:lnTo>
                      <a:pt x="2757" y="14044"/>
                    </a:lnTo>
                    <a:lnTo>
                      <a:pt x="2757" y="13668"/>
                    </a:lnTo>
                    <a:lnTo>
                      <a:pt x="2742" y="13662"/>
                    </a:lnTo>
                    <a:lnTo>
                      <a:pt x="2702" y="13647"/>
                    </a:lnTo>
                    <a:lnTo>
                      <a:pt x="2673" y="13638"/>
                    </a:lnTo>
                    <a:lnTo>
                      <a:pt x="2641" y="13630"/>
                    </a:lnTo>
                    <a:lnTo>
                      <a:pt x="2623" y="13626"/>
                    </a:lnTo>
                    <a:lnTo>
                      <a:pt x="2604" y="13623"/>
                    </a:lnTo>
                    <a:lnTo>
                      <a:pt x="2585" y="13621"/>
                    </a:lnTo>
                    <a:lnTo>
                      <a:pt x="2565" y="13619"/>
                    </a:lnTo>
                    <a:lnTo>
                      <a:pt x="2544" y="13619"/>
                    </a:lnTo>
                    <a:lnTo>
                      <a:pt x="2523" y="13619"/>
                    </a:lnTo>
                    <a:lnTo>
                      <a:pt x="2501" y="13620"/>
                    </a:lnTo>
                    <a:lnTo>
                      <a:pt x="2479" y="13622"/>
                    </a:lnTo>
                    <a:lnTo>
                      <a:pt x="2457" y="13626"/>
                    </a:lnTo>
                    <a:lnTo>
                      <a:pt x="2435" y="13631"/>
                    </a:lnTo>
                    <a:lnTo>
                      <a:pt x="2412" y="13637"/>
                    </a:lnTo>
                    <a:lnTo>
                      <a:pt x="2390" y="13646"/>
                    </a:lnTo>
                    <a:lnTo>
                      <a:pt x="2368" y="13656"/>
                    </a:lnTo>
                    <a:lnTo>
                      <a:pt x="2345" y="13668"/>
                    </a:lnTo>
                    <a:lnTo>
                      <a:pt x="2324" y="13681"/>
                    </a:lnTo>
                    <a:lnTo>
                      <a:pt x="2302" y="13698"/>
                    </a:lnTo>
                    <a:lnTo>
                      <a:pt x="2281" y="13716"/>
                    </a:lnTo>
                    <a:lnTo>
                      <a:pt x="2260" y="13736"/>
                    </a:lnTo>
                    <a:lnTo>
                      <a:pt x="2240" y="13759"/>
                    </a:lnTo>
                    <a:lnTo>
                      <a:pt x="2221" y="13784"/>
                    </a:lnTo>
                    <a:lnTo>
                      <a:pt x="2214" y="13793"/>
                    </a:lnTo>
                    <a:lnTo>
                      <a:pt x="2192" y="13817"/>
                    </a:lnTo>
                    <a:lnTo>
                      <a:pt x="2177" y="13831"/>
                    </a:lnTo>
                    <a:lnTo>
                      <a:pt x="2158" y="13847"/>
                    </a:lnTo>
                    <a:lnTo>
                      <a:pt x="2147" y="13854"/>
                    </a:lnTo>
                    <a:lnTo>
                      <a:pt x="2135" y="13862"/>
                    </a:lnTo>
                    <a:lnTo>
                      <a:pt x="2123" y="13869"/>
                    </a:lnTo>
                    <a:lnTo>
                      <a:pt x="2110" y="13875"/>
                    </a:lnTo>
                    <a:lnTo>
                      <a:pt x="2097" y="13881"/>
                    </a:lnTo>
                    <a:lnTo>
                      <a:pt x="2082" y="13887"/>
                    </a:lnTo>
                    <a:lnTo>
                      <a:pt x="2067" y="13892"/>
                    </a:lnTo>
                    <a:lnTo>
                      <a:pt x="2051" y="13896"/>
                    </a:lnTo>
                    <a:lnTo>
                      <a:pt x="2035" y="13900"/>
                    </a:lnTo>
                    <a:lnTo>
                      <a:pt x="2018" y="13902"/>
                    </a:lnTo>
                    <a:lnTo>
                      <a:pt x="2000" y="13902"/>
                    </a:lnTo>
                    <a:lnTo>
                      <a:pt x="1982" y="13902"/>
                    </a:lnTo>
                    <a:lnTo>
                      <a:pt x="1963" y="13900"/>
                    </a:lnTo>
                    <a:lnTo>
                      <a:pt x="1943" y="13896"/>
                    </a:lnTo>
                    <a:lnTo>
                      <a:pt x="1923" y="13890"/>
                    </a:lnTo>
                    <a:lnTo>
                      <a:pt x="1902" y="13884"/>
                    </a:lnTo>
                    <a:lnTo>
                      <a:pt x="1880" y="13875"/>
                    </a:lnTo>
                    <a:lnTo>
                      <a:pt x="1859" y="13864"/>
                    </a:lnTo>
                    <a:lnTo>
                      <a:pt x="1836" y="13852"/>
                    </a:lnTo>
                    <a:lnTo>
                      <a:pt x="1812" y="13836"/>
                    </a:lnTo>
                    <a:lnTo>
                      <a:pt x="281" y="12895"/>
                    </a:lnTo>
                    <a:lnTo>
                      <a:pt x="270" y="12891"/>
                    </a:lnTo>
                    <a:lnTo>
                      <a:pt x="239" y="12878"/>
                    </a:lnTo>
                    <a:lnTo>
                      <a:pt x="218" y="12866"/>
                    </a:lnTo>
                    <a:lnTo>
                      <a:pt x="194" y="12853"/>
                    </a:lnTo>
                    <a:lnTo>
                      <a:pt x="170" y="12838"/>
                    </a:lnTo>
                    <a:lnTo>
                      <a:pt x="144" y="12818"/>
                    </a:lnTo>
                    <a:lnTo>
                      <a:pt x="131" y="12807"/>
                    </a:lnTo>
                    <a:lnTo>
                      <a:pt x="118" y="12796"/>
                    </a:lnTo>
                    <a:lnTo>
                      <a:pt x="105" y="12784"/>
                    </a:lnTo>
                    <a:lnTo>
                      <a:pt x="93" y="12771"/>
                    </a:lnTo>
                    <a:lnTo>
                      <a:pt x="81" y="12757"/>
                    </a:lnTo>
                    <a:lnTo>
                      <a:pt x="69" y="12743"/>
                    </a:lnTo>
                    <a:lnTo>
                      <a:pt x="58" y="12727"/>
                    </a:lnTo>
                    <a:lnTo>
                      <a:pt x="48" y="12710"/>
                    </a:lnTo>
                    <a:lnTo>
                      <a:pt x="38" y="12694"/>
                    </a:lnTo>
                    <a:lnTo>
                      <a:pt x="30" y="12676"/>
                    </a:lnTo>
                    <a:lnTo>
                      <a:pt x="22" y="12656"/>
                    </a:lnTo>
                    <a:lnTo>
                      <a:pt x="15" y="12637"/>
                    </a:lnTo>
                    <a:lnTo>
                      <a:pt x="10" y="12615"/>
                    </a:lnTo>
                    <a:lnTo>
                      <a:pt x="6" y="12594"/>
                    </a:lnTo>
                    <a:lnTo>
                      <a:pt x="3" y="12570"/>
                    </a:lnTo>
                    <a:lnTo>
                      <a:pt x="2" y="12547"/>
                    </a:lnTo>
                    <a:lnTo>
                      <a:pt x="1" y="12525"/>
                    </a:lnTo>
                    <a:lnTo>
                      <a:pt x="1" y="12495"/>
                    </a:lnTo>
                    <a:lnTo>
                      <a:pt x="1" y="12468"/>
                    </a:lnTo>
                    <a:lnTo>
                      <a:pt x="1" y="12457"/>
                    </a:lnTo>
                    <a:lnTo>
                      <a:pt x="1" y="2909"/>
                    </a:lnTo>
                    <a:lnTo>
                      <a:pt x="0" y="2901"/>
                    </a:lnTo>
                    <a:lnTo>
                      <a:pt x="0" y="2879"/>
                    </a:lnTo>
                    <a:lnTo>
                      <a:pt x="1" y="2864"/>
                    </a:lnTo>
                    <a:lnTo>
                      <a:pt x="3" y="2847"/>
                    </a:lnTo>
                    <a:lnTo>
                      <a:pt x="6" y="2828"/>
                    </a:lnTo>
                    <a:lnTo>
                      <a:pt x="11" y="2808"/>
                    </a:lnTo>
                    <a:lnTo>
                      <a:pt x="14" y="2798"/>
                    </a:lnTo>
                    <a:lnTo>
                      <a:pt x="18" y="2787"/>
                    </a:lnTo>
                    <a:lnTo>
                      <a:pt x="22" y="2776"/>
                    </a:lnTo>
                    <a:lnTo>
                      <a:pt x="27" y="2765"/>
                    </a:lnTo>
                    <a:lnTo>
                      <a:pt x="33" y="2754"/>
                    </a:lnTo>
                    <a:lnTo>
                      <a:pt x="40" y="2744"/>
                    </a:lnTo>
                    <a:lnTo>
                      <a:pt x="47" y="2733"/>
                    </a:lnTo>
                    <a:lnTo>
                      <a:pt x="55" y="2722"/>
                    </a:lnTo>
                    <a:lnTo>
                      <a:pt x="64" y="2712"/>
                    </a:lnTo>
                    <a:lnTo>
                      <a:pt x="74" y="2702"/>
                    </a:lnTo>
                    <a:lnTo>
                      <a:pt x="85" y="2692"/>
                    </a:lnTo>
                    <a:lnTo>
                      <a:pt x="96" y="2683"/>
                    </a:lnTo>
                    <a:lnTo>
                      <a:pt x="109" y="2673"/>
                    </a:lnTo>
                    <a:lnTo>
                      <a:pt x="123" y="2664"/>
                    </a:lnTo>
                    <a:lnTo>
                      <a:pt x="138" y="2656"/>
                    </a:lnTo>
                    <a:lnTo>
                      <a:pt x="154" y="2649"/>
                    </a:lnTo>
                    <a:close/>
                  </a:path>
                </a:pathLst>
              </a:custGeom>
              <a:solidFill>
                <a:srgbClr val="8E8D8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44" name="Freeform 89"/>
              <p:cNvSpPr>
                <a:spLocks/>
              </p:cNvSpPr>
              <p:nvPr/>
            </p:nvSpPr>
            <p:spPr bwMode="auto">
              <a:xfrm>
                <a:off x="446" y="1845"/>
                <a:ext cx="24" cy="202"/>
              </a:xfrm>
              <a:custGeom>
                <a:avLst/>
                <a:gdLst>
                  <a:gd name="T0" fmla="*/ 0 w 1157"/>
                  <a:gd name="T1" fmla="*/ 0 h 10318"/>
                  <a:gd name="T2" fmla="*/ 0 w 1157"/>
                  <a:gd name="T3" fmla="*/ 0 h 10318"/>
                  <a:gd name="T4" fmla="*/ 0 w 1157"/>
                  <a:gd name="T5" fmla="*/ 0 h 10318"/>
                  <a:gd name="T6" fmla="*/ 0 w 1157"/>
                  <a:gd name="T7" fmla="*/ 0 h 10318"/>
                  <a:gd name="T8" fmla="*/ 0 w 1157"/>
                  <a:gd name="T9" fmla="*/ 0 h 10318"/>
                  <a:gd name="T10" fmla="*/ 0 w 1157"/>
                  <a:gd name="T11" fmla="*/ 0 h 10318"/>
                  <a:gd name="T12" fmla="*/ 0 w 1157"/>
                  <a:gd name="T13" fmla="*/ 0 h 10318"/>
                  <a:gd name="T14" fmla="*/ 0 w 1157"/>
                  <a:gd name="T15" fmla="*/ 0 h 10318"/>
                  <a:gd name="T16" fmla="*/ 0 w 1157"/>
                  <a:gd name="T17" fmla="*/ 0 h 10318"/>
                  <a:gd name="T18" fmla="*/ 0 w 1157"/>
                  <a:gd name="T19" fmla="*/ 0 h 10318"/>
                  <a:gd name="T20" fmla="*/ 0 w 1157"/>
                  <a:gd name="T21" fmla="*/ 0 h 10318"/>
                  <a:gd name="T22" fmla="*/ 0 w 1157"/>
                  <a:gd name="T23" fmla="*/ 0 h 10318"/>
                  <a:gd name="T24" fmla="*/ 0 w 1157"/>
                  <a:gd name="T25" fmla="*/ 0 h 10318"/>
                  <a:gd name="T26" fmla="*/ 0 w 1157"/>
                  <a:gd name="T27" fmla="*/ 0 h 10318"/>
                  <a:gd name="T28" fmla="*/ 0 w 1157"/>
                  <a:gd name="T29" fmla="*/ 0 h 10318"/>
                  <a:gd name="T30" fmla="*/ 0 w 1157"/>
                  <a:gd name="T31" fmla="*/ 0 h 10318"/>
                  <a:gd name="T32" fmla="*/ 0 w 1157"/>
                  <a:gd name="T33" fmla="*/ 0 h 10318"/>
                  <a:gd name="T34" fmla="*/ 0 w 1157"/>
                  <a:gd name="T35" fmla="*/ 0 h 10318"/>
                  <a:gd name="T36" fmla="*/ 0 w 1157"/>
                  <a:gd name="T37" fmla="*/ 0 h 10318"/>
                  <a:gd name="T38" fmla="*/ 0 w 1157"/>
                  <a:gd name="T39" fmla="*/ 0 h 10318"/>
                  <a:gd name="T40" fmla="*/ 0 w 1157"/>
                  <a:gd name="T41" fmla="*/ 0 h 10318"/>
                  <a:gd name="T42" fmla="*/ 0 w 1157"/>
                  <a:gd name="T43" fmla="*/ 0 h 10318"/>
                  <a:gd name="T44" fmla="*/ 0 w 1157"/>
                  <a:gd name="T45" fmla="*/ 0 h 10318"/>
                  <a:gd name="T46" fmla="*/ 0 w 1157"/>
                  <a:gd name="T47" fmla="*/ 0 h 10318"/>
                  <a:gd name="T48" fmla="*/ 0 w 1157"/>
                  <a:gd name="T49" fmla="*/ 0 h 10318"/>
                  <a:gd name="T50" fmla="*/ 0 w 1157"/>
                  <a:gd name="T51" fmla="*/ 0 h 10318"/>
                  <a:gd name="T52" fmla="*/ 0 w 1157"/>
                  <a:gd name="T53" fmla="*/ 0 h 10318"/>
                  <a:gd name="T54" fmla="*/ 0 w 1157"/>
                  <a:gd name="T55" fmla="*/ 0 h 10318"/>
                  <a:gd name="T56" fmla="*/ 0 w 1157"/>
                  <a:gd name="T57" fmla="*/ 0 h 10318"/>
                  <a:gd name="T58" fmla="*/ 0 w 1157"/>
                  <a:gd name="T59" fmla="*/ 0 h 1031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157"/>
                  <a:gd name="T91" fmla="*/ 0 h 10318"/>
                  <a:gd name="T92" fmla="*/ 1157 w 1157"/>
                  <a:gd name="T93" fmla="*/ 10318 h 1031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157" h="10318">
                    <a:moveTo>
                      <a:pt x="0" y="677"/>
                    </a:moveTo>
                    <a:lnTo>
                      <a:pt x="754" y="10318"/>
                    </a:lnTo>
                    <a:lnTo>
                      <a:pt x="757" y="10310"/>
                    </a:lnTo>
                    <a:lnTo>
                      <a:pt x="762" y="10299"/>
                    </a:lnTo>
                    <a:lnTo>
                      <a:pt x="768" y="10285"/>
                    </a:lnTo>
                    <a:lnTo>
                      <a:pt x="777" y="10271"/>
                    </a:lnTo>
                    <a:lnTo>
                      <a:pt x="788" y="10256"/>
                    </a:lnTo>
                    <a:lnTo>
                      <a:pt x="802" y="10239"/>
                    </a:lnTo>
                    <a:lnTo>
                      <a:pt x="810" y="10230"/>
                    </a:lnTo>
                    <a:lnTo>
                      <a:pt x="818" y="10221"/>
                    </a:lnTo>
                    <a:lnTo>
                      <a:pt x="828" y="10212"/>
                    </a:lnTo>
                    <a:lnTo>
                      <a:pt x="839" y="10204"/>
                    </a:lnTo>
                    <a:lnTo>
                      <a:pt x="850" y="10195"/>
                    </a:lnTo>
                    <a:lnTo>
                      <a:pt x="862" y="10187"/>
                    </a:lnTo>
                    <a:lnTo>
                      <a:pt x="876" y="10177"/>
                    </a:lnTo>
                    <a:lnTo>
                      <a:pt x="890" y="10169"/>
                    </a:lnTo>
                    <a:lnTo>
                      <a:pt x="906" y="10160"/>
                    </a:lnTo>
                    <a:lnTo>
                      <a:pt x="922" y="10152"/>
                    </a:lnTo>
                    <a:lnTo>
                      <a:pt x="940" y="10144"/>
                    </a:lnTo>
                    <a:lnTo>
                      <a:pt x="959" y="10137"/>
                    </a:lnTo>
                    <a:lnTo>
                      <a:pt x="979" y="10129"/>
                    </a:lnTo>
                    <a:lnTo>
                      <a:pt x="1001" y="10122"/>
                    </a:lnTo>
                    <a:lnTo>
                      <a:pt x="1023" y="10115"/>
                    </a:lnTo>
                    <a:lnTo>
                      <a:pt x="1047" y="10109"/>
                    </a:lnTo>
                    <a:lnTo>
                      <a:pt x="1073" y="10104"/>
                    </a:lnTo>
                    <a:lnTo>
                      <a:pt x="1099" y="10099"/>
                    </a:lnTo>
                    <a:lnTo>
                      <a:pt x="1127" y="10094"/>
                    </a:lnTo>
                    <a:lnTo>
                      <a:pt x="1157" y="10090"/>
                    </a:lnTo>
                    <a:lnTo>
                      <a:pt x="1157" y="0"/>
                    </a:lnTo>
                    <a:lnTo>
                      <a:pt x="0" y="677"/>
                    </a:lnTo>
                    <a:close/>
                  </a:path>
                </a:pathLst>
              </a:custGeom>
              <a:solidFill>
                <a:srgbClr val="B5B5B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45" name="Freeform 90"/>
              <p:cNvSpPr>
                <a:spLocks/>
              </p:cNvSpPr>
              <p:nvPr/>
            </p:nvSpPr>
            <p:spPr bwMode="auto">
              <a:xfrm>
                <a:off x="461" y="2047"/>
                <a:ext cx="1" cy="1"/>
              </a:xfrm>
              <a:custGeom>
                <a:avLst/>
                <a:gdLst>
                  <a:gd name="T0" fmla="*/ 0 w 3"/>
                  <a:gd name="T1" fmla="*/ 0 h 11"/>
                  <a:gd name="T2" fmla="*/ 0 w 3"/>
                  <a:gd name="T3" fmla="*/ 0 h 11"/>
                  <a:gd name="T4" fmla="*/ 0 w 3"/>
                  <a:gd name="T5" fmla="*/ 0 h 11"/>
                  <a:gd name="T6" fmla="*/ 0 w 3"/>
                  <a:gd name="T7" fmla="*/ 0 h 11"/>
                  <a:gd name="T8" fmla="*/ 0 w 3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1"/>
                  <a:gd name="T17" fmla="*/ 3 w 3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1">
                    <a:moveTo>
                      <a:pt x="3" y="5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C1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46" name="Freeform 91"/>
              <p:cNvSpPr>
                <a:spLocks/>
              </p:cNvSpPr>
              <p:nvPr/>
            </p:nvSpPr>
            <p:spPr bwMode="auto">
              <a:xfrm>
                <a:off x="470" y="1841"/>
                <a:ext cx="29" cy="206"/>
              </a:xfrm>
              <a:custGeom>
                <a:avLst/>
                <a:gdLst>
                  <a:gd name="T0" fmla="*/ 0 w 1458"/>
                  <a:gd name="T1" fmla="*/ 0 h 10522"/>
                  <a:gd name="T2" fmla="*/ 0 w 1458"/>
                  <a:gd name="T3" fmla="*/ 0 h 10522"/>
                  <a:gd name="T4" fmla="*/ 0 w 1458"/>
                  <a:gd name="T5" fmla="*/ 0 h 10522"/>
                  <a:gd name="T6" fmla="*/ 0 w 1458"/>
                  <a:gd name="T7" fmla="*/ 0 h 10522"/>
                  <a:gd name="T8" fmla="*/ 0 w 1458"/>
                  <a:gd name="T9" fmla="*/ 0 h 10522"/>
                  <a:gd name="T10" fmla="*/ 0 w 1458"/>
                  <a:gd name="T11" fmla="*/ 0 h 10522"/>
                  <a:gd name="T12" fmla="*/ 0 w 1458"/>
                  <a:gd name="T13" fmla="*/ 0 h 10522"/>
                  <a:gd name="T14" fmla="*/ 0 w 1458"/>
                  <a:gd name="T15" fmla="*/ 0 h 10522"/>
                  <a:gd name="T16" fmla="*/ 0 w 1458"/>
                  <a:gd name="T17" fmla="*/ 0 h 10522"/>
                  <a:gd name="T18" fmla="*/ 0 w 1458"/>
                  <a:gd name="T19" fmla="*/ 0 h 10522"/>
                  <a:gd name="T20" fmla="*/ 0 w 1458"/>
                  <a:gd name="T21" fmla="*/ 0 h 10522"/>
                  <a:gd name="T22" fmla="*/ 0 w 1458"/>
                  <a:gd name="T23" fmla="*/ 0 h 10522"/>
                  <a:gd name="T24" fmla="*/ 0 w 1458"/>
                  <a:gd name="T25" fmla="*/ 0 h 10522"/>
                  <a:gd name="T26" fmla="*/ 0 w 1458"/>
                  <a:gd name="T27" fmla="*/ 0 h 10522"/>
                  <a:gd name="T28" fmla="*/ 0 w 1458"/>
                  <a:gd name="T29" fmla="*/ 0 h 10522"/>
                  <a:gd name="T30" fmla="*/ 0 w 1458"/>
                  <a:gd name="T31" fmla="*/ 0 h 10522"/>
                  <a:gd name="T32" fmla="*/ 0 w 1458"/>
                  <a:gd name="T33" fmla="*/ 0 h 10522"/>
                  <a:gd name="T34" fmla="*/ 0 w 1458"/>
                  <a:gd name="T35" fmla="*/ 0 h 10522"/>
                  <a:gd name="T36" fmla="*/ 0 w 1458"/>
                  <a:gd name="T37" fmla="*/ 0 h 10522"/>
                  <a:gd name="T38" fmla="*/ 0 w 1458"/>
                  <a:gd name="T39" fmla="*/ 0 h 10522"/>
                  <a:gd name="T40" fmla="*/ 0 w 1458"/>
                  <a:gd name="T41" fmla="*/ 0 h 10522"/>
                  <a:gd name="T42" fmla="*/ 0 w 1458"/>
                  <a:gd name="T43" fmla="*/ 0 h 10522"/>
                  <a:gd name="T44" fmla="*/ 0 w 1458"/>
                  <a:gd name="T45" fmla="*/ 0 h 10522"/>
                  <a:gd name="T46" fmla="*/ 0 w 1458"/>
                  <a:gd name="T47" fmla="*/ 0 h 10522"/>
                  <a:gd name="T48" fmla="*/ 0 w 1458"/>
                  <a:gd name="T49" fmla="*/ 0 h 10522"/>
                  <a:gd name="T50" fmla="*/ 0 w 1458"/>
                  <a:gd name="T51" fmla="*/ 0 h 10522"/>
                  <a:gd name="T52" fmla="*/ 0 w 1458"/>
                  <a:gd name="T53" fmla="*/ 0 h 10522"/>
                  <a:gd name="T54" fmla="*/ 0 w 1458"/>
                  <a:gd name="T55" fmla="*/ 0 h 10522"/>
                  <a:gd name="T56" fmla="*/ 0 w 1458"/>
                  <a:gd name="T57" fmla="*/ 0 h 10522"/>
                  <a:gd name="T58" fmla="*/ 0 w 1458"/>
                  <a:gd name="T59" fmla="*/ 0 h 10522"/>
                  <a:gd name="T60" fmla="*/ 0 w 1458"/>
                  <a:gd name="T61" fmla="*/ 0 h 10522"/>
                  <a:gd name="T62" fmla="*/ 0 w 1458"/>
                  <a:gd name="T63" fmla="*/ 0 h 10522"/>
                  <a:gd name="T64" fmla="*/ 0 w 1458"/>
                  <a:gd name="T65" fmla="*/ 0 h 10522"/>
                  <a:gd name="T66" fmla="*/ 0 w 1458"/>
                  <a:gd name="T67" fmla="*/ 0 h 10522"/>
                  <a:gd name="T68" fmla="*/ 0 w 1458"/>
                  <a:gd name="T69" fmla="*/ 0 h 1052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458"/>
                  <a:gd name="T106" fmla="*/ 0 h 10522"/>
                  <a:gd name="T107" fmla="*/ 1458 w 1458"/>
                  <a:gd name="T108" fmla="*/ 10522 h 1052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458" h="10522">
                    <a:moveTo>
                      <a:pt x="362" y="0"/>
                    </a:moveTo>
                    <a:lnTo>
                      <a:pt x="0" y="212"/>
                    </a:lnTo>
                    <a:lnTo>
                      <a:pt x="0" y="10302"/>
                    </a:lnTo>
                    <a:lnTo>
                      <a:pt x="19" y="10300"/>
                    </a:lnTo>
                    <a:lnTo>
                      <a:pt x="38" y="10299"/>
                    </a:lnTo>
                    <a:lnTo>
                      <a:pt x="58" y="10297"/>
                    </a:lnTo>
                    <a:lnTo>
                      <a:pt x="78" y="10296"/>
                    </a:lnTo>
                    <a:lnTo>
                      <a:pt x="99" y="10295"/>
                    </a:lnTo>
                    <a:lnTo>
                      <a:pt x="120" y="10293"/>
                    </a:lnTo>
                    <a:lnTo>
                      <a:pt x="143" y="10292"/>
                    </a:lnTo>
                    <a:lnTo>
                      <a:pt x="165" y="10292"/>
                    </a:lnTo>
                    <a:lnTo>
                      <a:pt x="178" y="10291"/>
                    </a:lnTo>
                    <a:lnTo>
                      <a:pt x="212" y="10292"/>
                    </a:lnTo>
                    <a:lnTo>
                      <a:pt x="236" y="10293"/>
                    </a:lnTo>
                    <a:lnTo>
                      <a:pt x="265" y="10298"/>
                    </a:lnTo>
                    <a:lnTo>
                      <a:pt x="296" y="10303"/>
                    </a:lnTo>
                    <a:lnTo>
                      <a:pt x="330" y="10311"/>
                    </a:lnTo>
                    <a:lnTo>
                      <a:pt x="348" y="10316"/>
                    </a:lnTo>
                    <a:lnTo>
                      <a:pt x="367" y="10322"/>
                    </a:lnTo>
                    <a:lnTo>
                      <a:pt x="386" y="10328"/>
                    </a:lnTo>
                    <a:lnTo>
                      <a:pt x="405" y="10336"/>
                    </a:lnTo>
                    <a:lnTo>
                      <a:pt x="425" y="10344"/>
                    </a:lnTo>
                    <a:lnTo>
                      <a:pt x="445" y="10355"/>
                    </a:lnTo>
                    <a:lnTo>
                      <a:pt x="465" y="10365"/>
                    </a:lnTo>
                    <a:lnTo>
                      <a:pt x="485" y="10377"/>
                    </a:lnTo>
                    <a:lnTo>
                      <a:pt x="506" y="10390"/>
                    </a:lnTo>
                    <a:lnTo>
                      <a:pt x="526" y="10405"/>
                    </a:lnTo>
                    <a:lnTo>
                      <a:pt x="546" y="10421"/>
                    </a:lnTo>
                    <a:lnTo>
                      <a:pt x="566" y="10438"/>
                    </a:lnTo>
                    <a:lnTo>
                      <a:pt x="586" y="10457"/>
                    </a:lnTo>
                    <a:lnTo>
                      <a:pt x="605" y="10477"/>
                    </a:lnTo>
                    <a:lnTo>
                      <a:pt x="624" y="10499"/>
                    </a:lnTo>
                    <a:lnTo>
                      <a:pt x="643" y="10522"/>
                    </a:lnTo>
                    <a:lnTo>
                      <a:pt x="1458" y="631"/>
                    </a:lnTo>
                    <a:lnTo>
                      <a:pt x="362" y="0"/>
                    </a:lnTo>
                    <a:close/>
                  </a:path>
                </a:pathLst>
              </a:custGeom>
              <a:solidFill>
                <a:srgbClr val="C1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47" name="Freeform 92"/>
              <p:cNvSpPr>
                <a:spLocks/>
              </p:cNvSpPr>
              <p:nvPr/>
            </p:nvSpPr>
            <p:spPr bwMode="auto">
              <a:xfrm>
                <a:off x="545" y="1852"/>
                <a:ext cx="89" cy="243"/>
              </a:xfrm>
              <a:custGeom>
                <a:avLst/>
                <a:gdLst>
                  <a:gd name="T0" fmla="*/ 0 w 4414"/>
                  <a:gd name="T1" fmla="*/ 0 h 12417"/>
                  <a:gd name="T2" fmla="*/ 0 w 4414"/>
                  <a:gd name="T3" fmla="*/ 0 h 12417"/>
                  <a:gd name="T4" fmla="*/ 0 w 4414"/>
                  <a:gd name="T5" fmla="*/ 0 h 12417"/>
                  <a:gd name="T6" fmla="*/ 0 w 4414"/>
                  <a:gd name="T7" fmla="*/ 0 h 12417"/>
                  <a:gd name="T8" fmla="*/ 0 w 4414"/>
                  <a:gd name="T9" fmla="*/ 0 h 124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14"/>
                  <a:gd name="T16" fmla="*/ 0 h 12417"/>
                  <a:gd name="T17" fmla="*/ 4414 w 4414"/>
                  <a:gd name="T18" fmla="*/ 12417 h 124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14" h="12417">
                    <a:moveTo>
                      <a:pt x="0" y="2752"/>
                    </a:moveTo>
                    <a:lnTo>
                      <a:pt x="4414" y="0"/>
                    </a:lnTo>
                    <a:lnTo>
                      <a:pt x="4414" y="9747"/>
                    </a:lnTo>
                    <a:lnTo>
                      <a:pt x="60" y="12417"/>
                    </a:lnTo>
                    <a:lnTo>
                      <a:pt x="0" y="2752"/>
                    </a:lnTo>
                    <a:close/>
                  </a:path>
                </a:pathLst>
              </a:custGeom>
              <a:solidFill>
                <a:srgbClr val="B9B9B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48" name="Freeform 93"/>
              <p:cNvSpPr>
                <a:spLocks/>
              </p:cNvSpPr>
              <p:nvPr/>
            </p:nvSpPr>
            <p:spPr bwMode="auto">
              <a:xfrm>
                <a:off x="479" y="1866"/>
                <a:ext cx="68" cy="229"/>
              </a:xfrm>
              <a:custGeom>
                <a:avLst/>
                <a:gdLst>
                  <a:gd name="T0" fmla="*/ 0 w 3381"/>
                  <a:gd name="T1" fmla="*/ 0 h 11718"/>
                  <a:gd name="T2" fmla="*/ 0 w 3381"/>
                  <a:gd name="T3" fmla="*/ 0 h 11718"/>
                  <a:gd name="T4" fmla="*/ 0 w 3381"/>
                  <a:gd name="T5" fmla="*/ 0 h 11718"/>
                  <a:gd name="T6" fmla="*/ 0 w 3381"/>
                  <a:gd name="T7" fmla="*/ 0 h 11718"/>
                  <a:gd name="T8" fmla="*/ 0 w 3381"/>
                  <a:gd name="T9" fmla="*/ 0 h 117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81"/>
                  <a:gd name="T16" fmla="*/ 0 h 11718"/>
                  <a:gd name="T17" fmla="*/ 3381 w 3381"/>
                  <a:gd name="T18" fmla="*/ 11718 h 117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81" h="11718">
                    <a:moveTo>
                      <a:pt x="3381" y="2029"/>
                    </a:moveTo>
                    <a:lnTo>
                      <a:pt x="0" y="0"/>
                    </a:lnTo>
                    <a:lnTo>
                      <a:pt x="0" y="9779"/>
                    </a:lnTo>
                    <a:lnTo>
                      <a:pt x="3381" y="11718"/>
                    </a:lnTo>
                    <a:lnTo>
                      <a:pt x="3381" y="2029"/>
                    </a:lnTo>
                    <a:close/>
                  </a:path>
                </a:pathLst>
              </a:custGeom>
              <a:solidFill>
                <a:srgbClr val="F3F3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49" name="Freeform 94"/>
              <p:cNvSpPr>
                <a:spLocks/>
              </p:cNvSpPr>
              <p:nvPr/>
            </p:nvSpPr>
            <p:spPr bwMode="auto">
              <a:xfrm>
                <a:off x="485" y="1880"/>
                <a:ext cx="54" cy="78"/>
              </a:xfrm>
              <a:custGeom>
                <a:avLst/>
                <a:gdLst>
                  <a:gd name="T0" fmla="*/ 0 w 2733"/>
                  <a:gd name="T1" fmla="*/ 0 h 3953"/>
                  <a:gd name="T2" fmla="*/ 0 w 2733"/>
                  <a:gd name="T3" fmla="*/ 0 h 3953"/>
                  <a:gd name="T4" fmla="*/ 0 w 2733"/>
                  <a:gd name="T5" fmla="*/ 0 h 3953"/>
                  <a:gd name="T6" fmla="*/ 0 w 2733"/>
                  <a:gd name="T7" fmla="*/ 0 h 3953"/>
                  <a:gd name="T8" fmla="*/ 0 w 2733"/>
                  <a:gd name="T9" fmla="*/ 0 h 39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33"/>
                  <a:gd name="T16" fmla="*/ 0 h 3953"/>
                  <a:gd name="T17" fmla="*/ 2733 w 2733"/>
                  <a:gd name="T18" fmla="*/ 3953 h 395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33" h="3953">
                    <a:moveTo>
                      <a:pt x="0" y="0"/>
                    </a:moveTo>
                    <a:lnTo>
                      <a:pt x="0" y="2385"/>
                    </a:lnTo>
                    <a:lnTo>
                      <a:pt x="2733" y="3953"/>
                    </a:lnTo>
                    <a:lnTo>
                      <a:pt x="2733" y="15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0" name="Freeform 95"/>
              <p:cNvSpPr>
                <a:spLocks/>
              </p:cNvSpPr>
              <p:nvPr/>
            </p:nvSpPr>
            <p:spPr bwMode="auto">
              <a:xfrm>
                <a:off x="425" y="1835"/>
                <a:ext cx="36" cy="212"/>
              </a:xfrm>
              <a:custGeom>
                <a:avLst/>
                <a:gdLst>
                  <a:gd name="T0" fmla="*/ 0 w 1839"/>
                  <a:gd name="T1" fmla="*/ 0 h 10814"/>
                  <a:gd name="T2" fmla="*/ 0 w 1839"/>
                  <a:gd name="T3" fmla="*/ 0 h 10814"/>
                  <a:gd name="T4" fmla="*/ 0 w 1839"/>
                  <a:gd name="T5" fmla="*/ 0 h 10814"/>
                  <a:gd name="T6" fmla="*/ 0 w 1839"/>
                  <a:gd name="T7" fmla="*/ 0 h 10814"/>
                  <a:gd name="T8" fmla="*/ 0 w 1839"/>
                  <a:gd name="T9" fmla="*/ 0 h 108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39"/>
                  <a:gd name="T16" fmla="*/ 0 h 10814"/>
                  <a:gd name="T17" fmla="*/ 1839 w 1839"/>
                  <a:gd name="T18" fmla="*/ 10814 h 108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39" h="10814">
                    <a:moveTo>
                      <a:pt x="5" y="0"/>
                    </a:moveTo>
                    <a:lnTo>
                      <a:pt x="0" y="9760"/>
                    </a:lnTo>
                    <a:lnTo>
                      <a:pt x="1839" y="10814"/>
                    </a:lnTo>
                    <a:lnTo>
                      <a:pt x="1839" y="101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3F3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1" name="Freeform 96"/>
              <p:cNvSpPr>
                <a:spLocks/>
              </p:cNvSpPr>
              <p:nvPr/>
            </p:nvSpPr>
            <p:spPr bwMode="auto">
              <a:xfrm>
                <a:off x="431" y="1850"/>
                <a:ext cx="27" cy="65"/>
              </a:xfrm>
              <a:custGeom>
                <a:avLst/>
                <a:gdLst>
                  <a:gd name="T0" fmla="*/ 0 w 1368"/>
                  <a:gd name="T1" fmla="*/ 0 h 3287"/>
                  <a:gd name="T2" fmla="*/ 0 w 1368"/>
                  <a:gd name="T3" fmla="*/ 0 h 3287"/>
                  <a:gd name="T4" fmla="*/ 0 w 1368"/>
                  <a:gd name="T5" fmla="*/ 0 h 3287"/>
                  <a:gd name="T6" fmla="*/ 0 w 1368"/>
                  <a:gd name="T7" fmla="*/ 0 h 3287"/>
                  <a:gd name="T8" fmla="*/ 0 w 1368"/>
                  <a:gd name="T9" fmla="*/ 0 h 328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68"/>
                  <a:gd name="T16" fmla="*/ 0 h 3287"/>
                  <a:gd name="T17" fmla="*/ 1368 w 1368"/>
                  <a:gd name="T18" fmla="*/ 3287 h 328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68" h="3287">
                    <a:moveTo>
                      <a:pt x="0" y="0"/>
                    </a:moveTo>
                    <a:lnTo>
                      <a:pt x="0" y="2516"/>
                    </a:lnTo>
                    <a:lnTo>
                      <a:pt x="1368" y="3287"/>
                    </a:lnTo>
                    <a:lnTo>
                      <a:pt x="1368" y="7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2" name="Freeform 97"/>
              <p:cNvSpPr>
                <a:spLocks/>
              </p:cNvSpPr>
              <p:nvPr/>
            </p:nvSpPr>
            <p:spPr bwMode="auto">
              <a:xfrm>
                <a:off x="484" y="1937"/>
                <a:ext cx="54" cy="47"/>
              </a:xfrm>
              <a:custGeom>
                <a:avLst/>
                <a:gdLst>
                  <a:gd name="T0" fmla="*/ 0 w 2688"/>
                  <a:gd name="T1" fmla="*/ 0 h 2433"/>
                  <a:gd name="T2" fmla="*/ 0 w 2688"/>
                  <a:gd name="T3" fmla="*/ 0 h 2433"/>
                  <a:gd name="T4" fmla="*/ 0 w 2688"/>
                  <a:gd name="T5" fmla="*/ 0 h 2433"/>
                  <a:gd name="T6" fmla="*/ 0 w 2688"/>
                  <a:gd name="T7" fmla="*/ 0 h 2433"/>
                  <a:gd name="T8" fmla="*/ 0 w 2688"/>
                  <a:gd name="T9" fmla="*/ 0 h 2433"/>
                  <a:gd name="T10" fmla="*/ 0 w 2688"/>
                  <a:gd name="T11" fmla="*/ 0 h 2433"/>
                  <a:gd name="T12" fmla="*/ 0 w 2688"/>
                  <a:gd name="T13" fmla="*/ 0 h 2433"/>
                  <a:gd name="T14" fmla="*/ 0 w 2688"/>
                  <a:gd name="T15" fmla="*/ 0 h 2433"/>
                  <a:gd name="T16" fmla="*/ 0 w 2688"/>
                  <a:gd name="T17" fmla="*/ 0 h 2433"/>
                  <a:gd name="T18" fmla="*/ 0 w 2688"/>
                  <a:gd name="T19" fmla="*/ 0 h 2433"/>
                  <a:gd name="T20" fmla="*/ 0 w 2688"/>
                  <a:gd name="T21" fmla="*/ 0 h 2433"/>
                  <a:gd name="T22" fmla="*/ 0 w 2688"/>
                  <a:gd name="T23" fmla="*/ 0 h 2433"/>
                  <a:gd name="T24" fmla="*/ 0 w 2688"/>
                  <a:gd name="T25" fmla="*/ 0 h 2433"/>
                  <a:gd name="T26" fmla="*/ 0 w 2688"/>
                  <a:gd name="T27" fmla="*/ 0 h 2433"/>
                  <a:gd name="T28" fmla="*/ 0 w 2688"/>
                  <a:gd name="T29" fmla="*/ 0 h 2433"/>
                  <a:gd name="T30" fmla="*/ 0 w 2688"/>
                  <a:gd name="T31" fmla="*/ 0 h 2433"/>
                  <a:gd name="T32" fmla="*/ 0 w 2688"/>
                  <a:gd name="T33" fmla="*/ 0 h 2433"/>
                  <a:gd name="T34" fmla="*/ 0 w 2688"/>
                  <a:gd name="T35" fmla="*/ 0 h 2433"/>
                  <a:gd name="T36" fmla="*/ 0 w 2688"/>
                  <a:gd name="T37" fmla="*/ 0 h 2433"/>
                  <a:gd name="T38" fmla="*/ 0 w 2688"/>
                  <a:gd name="T39" fmla="*/ 0 h 2433"/>
                  <a:gd name="T40" fmla="*/ 0 w 2688"/>
                  <a:gd name="T41" fmla="*/ 0 h 2433"/>
                  <a:gd name="T42" fmla="*/ 0 w 2688"/>
                  <a:gd name="T43" fmla="*/ 0 h 2433"/>
                  <a:gd name="T44" fmla="*/ 0 w 2688"/>
                  <a:gd name="T45" fmla="*/ 0 h 2433"/>
                  <a:gd name="T46" fmla="*/ 0 w 2688"/>
                  <a:gd name="T47" fmla="*/ 0 h 2433"/>
                  <a:gd name="T48" fmla="*/ 0 w 2688"/>
                  <a:gd name="T49" fmla="*/ 0 h 2433"/>
                  <a:gd name="T50" fmla="*/ 0 w 2688"/>
                  <a:gd name="T51" fmla="*/ 0 h 2433"/>
                  <a:gd name="T52" fmla="*/ 0 w 2688"/>
                  <a:gd name="T53" fmla="*/ 0 h 2433"/>
                  <a:gd name="T54" fmla="*/ 0 w 2688"/>
                  <a:gd name="T55" fmla="*/ 0 h 2433"/>
                  <a:gd name="T56" fmla="*/ 0 w 2688"/>
                  <a:gd name="T57" fmla="*/ 0 h 2433"/>
                  <a:gd name="T58" fmla="*/ 0 w 2688"/>
                  <a:gd name="T59" fmla="*/ 0 h 2433"/>
                  <a:gd name="T60" fmla="*/ 0 w 2688"/>
                  <a:gd name="T61" fmla="*/ 0 h 2433"/>
                  <a:gd name="T62" fmla="*/ 0 w 2688"/>
                  <a:gd name="T63" fmla="*/ 0 h 2433"/>
                  <a:gd name="T64" fmla="*/ 0 w 2688"/>
                  <a:gd name="T65" fmla="*/ 0 h 2433"/>
                  <a:gd name="T66" fmla="*/ 0 w 2688"/>
                  <a:gd name="T67" fmla="*/ 0 h 2433"/>
                  <a:gd name="T68" fmla="*/ 0 w 2688"/>
                  <a:gd name="T69" fmla="*/ 0 h 2433"/>
                  <a:gd name="T70" fmla="*/ 0 w 2688"/>
                  <a:gd name="T71" fmla="*/ 0 h 2433"/>
                  <a:gd name="T72" fmla="*/ 0 w 2688"/>
                  <a:gd name="T73" fmla="*/ 0 h 2433"/>
                  <a:gd name="T74" fmla="*/ 0 w 2688"/>
                  <a:gd name="T75" fmla="*/ 0 h 2433"/>
                  <a:gd name="T76" fmla="*/ 0 w 2688"/>
                  <a:gd name="T77" fmla="*/ 0 h 2433"/>
                  <a:gd name="T78" fmla="*/ 0 w 2688"/>
                  <a:gd name="T79" fmla="*/ 0 h 2433"/>
                  <a:gd name="T80" fmla="*/ 0 w 2688"/>
                  <a:gd name="T81" fmla="*/ 0 h 2433"/>
                  <a:gd name="T82" fmla="*/ 0 w 2688"/>
                  <a:gd name="T83" fmla="*/ 0 h 2433"/>
                  <a:gd name="T84" fmla="*/ 0 w 2688"/>
                  <a:gd name="T85" fmla="*/ 0 h 2433"/>
                  <a:gd name="T86" fmla="*/ 0 w 2688"/>
                  <a:gd name="T87" fmla="*/ 0 h 2433"/>
                  <a:gd name="T88" fmla="*/ 0 w 2688"/>
                  <a:gd name="T89" fmla="*/ 0 h 2433"/>
                  <a:gd name="T90" fmla="*/ 0 w 2688"/>
                  <a:gd name="T91" fmla="*/ 0 h 243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688"/>
                  <a:gd name="T139" fmla="*/ 0 h 2433"/>
                  <a:gd name="T140" fmla="*/ 2688 w 2688"/>
                  <a:gd name="T141" fmla="*/ 2433 h 243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688" h="2433">
                    <a:moveTo>
                      <a:pt x="2688" y="2312"/>
                    </a:moveTo>
                    <a:lnTo>
                      <a:pt x="2688" y="2322"/>
                    </a:lnTo>
                    <a:lnTo>
                      <a:pt x="2687" y="2332"/>
                    </a:lnTo>
                    <a:lnTo>
                      <a:pt x="2686" y="2342"/>
                    </a:lnTo>
                    <a:lnTo>
                      <a:pt x="2684" y="2351"/>
                    </a:lnTo>
                    <a:lnTo>
                      <a:pt x="2682" y="2359"/>
                    </a:lnTo>
                    <a:lnTo>
                      <a:pt x="2679" y="2367"/>
                    </a:lnTo>
                    <a:lnTo>
                      <a:pt x="2676" y="2375"/>
                    </a:lnTo>
                    <a:lnTo>
                      <a:pt x="2673" y="2382"/>
                    </a:lnTo>
                    <a:lnTo>
                      <a:pt x="2669" y="2390"/>
                    </a:lnTo>
                    <a:lnTo>
                      <a:pt x="2664" y="2396"/>
                    </a:lnTo>
                    <a:lnTo>
                      <a:pt x="2660" y="2402"/>
                    </a:lnTo>
                    <a:lnTo>
                      <a:pt x="2655" y="2407"/>
                    </a:lnTo>
                    <a:lnTo>
                      <a:pt x="2649" y="2412"/>
                    </a:lnTo>
                    <a:lnTo>
                      <a:pt x="2643" y="2416"/>
                    </a:lnTo>
                    <a:lnTo>
                      <a:pt x="2637" y="2420"/>
                    </a:lnTo>
                    <a:lnTo>
                      <a:pt x="2631" y="2424"/>
                    </a:lnTo>
                    <a:lnTo>
                      <a:pt x="2624" y="2426"/>
                    </a:lnTo>
                    <a:lnTo>
                      <a:pt x="2617" y="2429"/>
                    </a:lnTo>
                    <a:lnTo>
                      <a:pt x="2609" y="2431"/>
                    </a:lnTo>
                    <a:lnTo>
                      <a:pt x="2602" y="2432"/>
                    </a:lnTo>
                    <a:lnTo>
                      <a:pt x="2594" y="2433"/>
                    </a:lnTo>
                    <a:lnTo>
                      <a:pt x="2586" y="2433"/>
                    </a:lnTo>
                    <a:lnTo>
                      <a:pt x="2577" y="2433"/>
                    </a:lnTo>
                    <a:lnTo>
                      <a:pt x="2569" y="2433"/>
                    </a:lnTo>
                    <a:lnTo>
                      <a:pt x="2551" y="2429"/>
                    </a:lnTo>
                    <a:lnTo>
                      <a:pt x="2532" y="2424"/>
                    </a:lnTo>
                    <a:lnTo>
                      <a:pt x="2513" y="2417"/>
                    </a:lnTo>
                    <a:lnTo>
                      <a:pt x="2493" y="2407"/>
                    </a:lnTo>
                    <a:lnTo>
                      <a:pt x="196" y="1138"/>
                    </a:lnTo>
                    <a:lnTo>
                      <a:pt x="176" y="1127"/>
                    </a:lnTo>
                    <a:lnTo>
                      <a:pt x="156" y="1113"/>
                    </a:lnTo>
                    <a:lnTo>
                      <a:pt x="138" y="1097"/>
                    </a:lnTo>
                    <a:lnTo>
                      <a:pt x="120" y="1081"/>
                    </a:lnTo>
                    <a:lnTo>
                      <a:pt x="103" y="1063"/>
                    </a:lnTo>
                    <a:lnTo>
                      <a:pt x="86" y="1043"/>
                    </a:lnTo>
                    <a:lnTo>
                      <a:pt x="71" y="1024"/>
                    </a:lnTo>
                    <a:lnTo>
                      <a:pt x="58" y="1002"/>
                    </a:lnTo>
                    <a:lnTo>
                      <a:pt x="45" y="981"/>
                    </a:lnTo>
                    <a:lnTo>
                      <a:pt x="34" y="960"/>
                    </a:lnTo>
                    <a:lnTo>
                      <a:pt x="24" y="937"/>
                    </a:lnTo>
                    <a:lnTo>
                      <a:pt x="16" y="915"/>
                    </a:lnTo>
                    <a:lnTo>
                      <a:pt x="9" y="892"/>
                    </a:lnTo>
                    <a:lnTo>
                      <a:pt x="4" y="871"/>
                    </a:lnTo>
                    <a:lnTo>
                      <a:pt x="1" y="848"/>
                    </a:lnTo>
                    <a:lnTo>
                      <a:pt x="0" y="827"/>
                    </a:lnTo>
                    <a:lnTo>
                      <a:pt x="0" y="122"/>
                    </a:lnTo>
                    <a:lnTo>
                      <a:pt x="1" y="112"/>
                    </a:lnTo>
                    <a:lnTo>
                      <a:pt x="1" y="102"/>
                    </a:lnTo>
                    <a:lnTo>
                      <a:pt x="3" y="93"/>
                    </a:lnTo>
                    <a:lnTo>
                      <a:pt x="4" y="83"/>
                    </a:lnTo>
                    <a:lnTo>
                      <a:pt x="6" y="74"/>
                    </a:lnTo>
                    <a:lnTo>
                      <a:pt x="9" y="66"/>
                    </a:lnTo>
                    <a:lnTo>
                      <a:pt x="12" y="59"/>
                    </a:lnTo>
                    <a:lnTo>
                      <a:pt x="16" y="52"/>
                    </a:lnTo>
                    <a:lnTo>
                      <a:pt x="20" y="45"/>
                    </a:lnTo>
                    <a:lnTo>
                      <a:pt x="24" y="38"/>
                    </a:lnTo>
                    <a:lnTo>
                      <a:pt x="29" y="32"/>
                    </a:lnTo>
                    <a:lnTo>
                      <a:pt x="34" y="27"/>
                    </a:lnTo>
                    <a:lnTo>
                      <a:pt x="39" y="22"/>
                    </a:lnTo>
                    <a:lnTo>
                      <a:pt x="45" y="17"/>
                    </a:lnTo>
                    <a:lnTo>
                      <a:pt x="51" y="13"/>
                    </a:lnTo>
                    <a:lnTo>
                      <a:pt x="58" y="10"/>
                    </a:lnTo>
                    <a:lnTo>
                      <a:pt x="64" y="7"/>
                    </a:lnTo>
                    <a:lnTo>
                      <a:pt x="71" y="5"/>
                    </a:lnTo>
                    <a:lnTo>
                      <a:pt x="79" y="3"/>
                    </a:lnTo>
                    <a:lnTo>
                      <a:pt x="86" y="1"/>
                    </a:lnTo>
                    <a:lnTo>
                      <a:pt x="94" y="1"/>
                    </a:lnTo>
                    <a:lnTo>
                      <a:pt x="103" y="0"/>
                    </a:lnTo>
                    <a:lnTo>
                      <a:pt x="111" y="0"/>
                    </a:lnTo>
                    <a:lnTo>
                      <a:pt x="120" y="1"/>
                    </a:lnTo>
                    <a:lnTo>
                      <a:pt x="138" y="4"/>
                    </a:lnTo>
                    <a:lnTo>
                      <a:pt x="156" y="9"/>
                    </a:lnTo>
                    <a:lnTo>
                      <a:pt x="176" y="17"/>
                    </a:lnTo>
                    <a:lnTo>
                      <a:pt x="196" y="26"/>
                    </a:lnTo>
                    <a:lnTo>
                      <a:pt x="2493" y="1295"/>
                    </a:lnTo>
                    <a:lnTo>
                      <a:pt x="2513" y="1307"/>
                    </a:lnTo>
                    <a:lnTo>
                      <a:pt x="2532" y="1321"/>
                    </a:lnTo>
                    <a:lnTo>
                      <a:pt x="2551" y="1336"/>
                    </a:lnTo>
                    <a:lnTo>
                      <a:pt x="2569" y="1353"/>
                    </a:lnTo>
                    <a:lnTo>
                      <a:pt x="2586" y="1372"/>
                    </a:lnTo>
                    <a:lnTo>
                      <a:pt x="2602" y="1390"/>
                    </a:lnTo>
                    <a:lnTo>
                      <a:pt x="2617" y="1410"/>
                    </a:lnTo>
                    <a:lnTo>
                      <a:pt x="2631" y="1431"/>
                    </a:lnTo>
                    <a:lnTo>
                      <a:pt x="2643" y="1452"/>
                    </a:lnTo>
                    <a:lnTo>
                      <a:pt x="2655" y="1475"/>
                    </a:lnTo>
                    <a:lnTo>
                      <a:pt x="2664" y="1496"/>
                    </a:lnTo>
                    <a:lnTo>
                      <a:pt x="2673" y="1518"/>
                    </a:lnTo>
                    <a:lnTo>
                      <a:pt x="2679" y="1541"/>
                    </a:lnTo>
                    <a:lnTo>
                      <a:pt x="2684" y="1563"/>
                    </a:lnTo>
                    <a:lnTo>
                      <a:pt x="2687" y="1585"/>
                    </a:lnTo>
                    <a:lnTo>
                      <a:pt x="2688" y="1606"/>
                    </a:lnTo>
                    <a:lnTo>
                      <a:pt x="2688" y="2312"/>
                    </a:lnTo>
                    <a:close/>
                  </a:path>
                </a:pathLst>
              </a:custGeom>
              <a:solidFill>
                <a:srgbClr val="EDA74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3" name="Freeform 98"/>
              <p:cNvSpPr>
                <a:spLocks/>
              </p:cNvSpPr>
              <p:nvPr/>
            </p:nvSpPr>
            <p:spPr bwMode="auto">
              <a:xfrm>
                <a:off x="431" y="1852"/>
                <a:ext cx="27" cy="17"/>
              </a:xfrm>
              <a:custGeom>
                <a:avLst/>
                <a:gdLst>
                  <a:gd name="T0" fmla="*/ 0 w 1380"/>
                  <a:gd name="T1" fmla="*/ 0 h 864"/>
                  <a:gd name="T2" fmla="*/ 0 w 1380"/>
                  <a:gd name="T3" fmla="*/ 0 h 864"/>
                  <a:gd name="T4" fmla="*/ 0 w 1380"/>
                  <a:gd name="T5" fmla="*/ 0 h 864"/>
                  <a:gd name="T6" fmla="*/ 0 w 1380"/>
                  <a:gd name="T7" fmla="*/ 0 h 864"/>
                  <a:gd name="T8" fmla="*/ 0 w 1380"/>
                  <a:gd name="T9" fmla="*/ 0 h 864"/>
                  <a:gd name="T10" fmla="*/ 0 w 1380"/>
                  <a:gd name="T11" fmla="*/ 0 h 864"/>
                  <a:gd name="T12" fmla="*/ 0 w 1380"/>
                  <a:gd name="T13" fmla="*/ 0 h 864"/>
                  <a:gd name="T14" fmla="*/ 0 w 1380"/>
                  <a:gd name="T15" fmla="*/ 0 h 864"/>
                  <a:gd name="T16" fmla="*/ 0 w 1380"/>
                  <a:gd name="T17" fmla="*/ 0 h 864"/>
                  <a:gd name="T18" fmla="*/ 0 w 1380"/>
                  <a:gd name="T19" fmla="*/ 0 h 864"/>
                  <a:gd name="T20" fmla="*/ 0 w 1380"/>
                  <a:gd name="T21" fmla="*/ 0 h 864"/>
                  <a:gd name="T22" fmla="*/ 0 w 1380"/>
                  <a:gd name="T23" fmla="*/ 0 h 864"/>
                  <a:gd name="T24" fmla="*/ 0 w 1380"/>
                  <a:gd name="T25" fmla="*/ 0 h 864"/>
                  <a:gd name="T26" fmla="*/ 0 w 1380"/>
                  <a:gd name="T27" fmla="*/ 0 h 864"/>
                  <a:gd name="T28" fmla="*/ 0 w 1380"/>
                  <a:gd name="T29" fmla="*/ 0 h 864"/>
                  <a:gd name="T30" fmla="*/ 0 w 1380"/>
                  <a:gd name="T31" fmla="*/ 0 h 864"/>
                  <a:gd name="T32" fmla="*/ 0 w 1380"/>
                  <a:gd name="T33" fmla="*/ 0 h 864"/>
                  <a:gd name="T34" fmla="*/ 0 w 1380"/>
                  <a:gd name="T35" fmla="*/ 0 h 864"/>
                  <a:gd name="T36" fmla="*/ 0 w 1380"/>
                  <a:gd name="T37" fmla="*/ 0 h 864"/>
                  <a:gd name="T38" fmla="*/ 0 w 1380"/>
                  <a:gd name="T39" fmla="*/ 0 h 864"/>
                  <a:gd name="T40" fmla="*/ 0 w 1380"/>
                  <a:gd name="T41" fmla="*/ 0 h 864"/>
                  <a:gd name="T42" fmla="*/ 0 w 1380"/>
                  <a:gd name="T43" fmla="*/ 0 h 864"/>
                  <a:gd name="T44" fmla="*/ 0 w 1380"/>
                  <a:gd name="T45" fmla="*/ 0 h 864"/>
                  <a:gd name="T46" fmla="*/ 0 w 1380"/>
                  <a:gd name="T47" fmla="*/ 0 h 864"/>
                  <a:gd name="T48" fmla="*/ 0 w 1380"/>
                  <a:gd name="T49" fmla="*/ 0 h 864"/>
                  <a:gd name="T50" fmla="*/ 0 w 1380"/>
                  <a:gd name="T51" fmla="*/ 0 h 864"/>
                  <a:gd name="T52" fmla="*/ 0 w 1380"/>
                  <a:gd name="T53" fmla="*/ 0 h 864"/>
                  <a:gd name="T54" fmla="*/ 0 w 1380"/>
                  <a:gd name="T55" fmla="*/ 0 h 864"/>
                  <a:gd name="T56" fmla="*/ 0 w 1380"/>
                  <a:gd name="T57" fmla="*/ 0 h 864"/>
                  <a:gd name="T58" fmla="*/ 0 w 1380"/>
                  <a:gd name="T59" fmla="*/ 0 h 864"/>
                  <a:gd name="T60" fmla="*/ 0 w 1380"/>
                  <a:gd name="T61" fmla="*/ 0 h 864"/>
                  <a:gd name="T62" fmla="*/ 0 w 1380"/>
                  <a:gd name="T63" fmla="*/ 0 h 864"/>
                  <a:gd name="T64" fmla="*/ 0 w 1380"/>
                  <a:gd name="T65" fmla="*/ 0 h 8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80"/>
                  <a:gd name="T100" fmla="*/ 0 h 864"/>
                  <a:gd name="T101" fmla="*/ 1380 w 1380"/>
                  <a:gd name="T102" fmla="*/ 864 h 86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80" h="864">
                    <a:moveTo>
                      <a:pt x="10" y="41"/>
                    </a:moveTo>
                    <a:lnTo>
                      <a:pt x="6" y="48"/>
                    </a:lnTo>
                    <a:lnTo>
                      <a:pt x="3" y="55"/>
                    </a:lnTo>
                    <a:lnTo>
                      <a:pt x="1" y="63"/>
                    </a:lnTo>
                    <a:lnTo>
                      <a:pt x="0" y="70"/>
                    </a:lnTo>
                    <a:lnTo>
                      <a:pt x="0" y="78"/>
                    </a:lnTo>
                    <a:lnTo>
                      <a:pt x="0" y="85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2"/>
                    </a:lnTo>
                    <a:lnTo>
                      <a:pt x="16" y="128"/>
                    </a:lnTo>
                    <a:lnTo>
                      <a:pt x="21" y="134"/>
                    </a:lnTo>
                    <a:lnTo>
                      <a:pt x="26" y="139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1263" y="852"/>
                    </a:lnTo>
                    <a:lnTo>
                      <a:pt x="1270" y="857"/>
                    </a:lnTo>
                    <a:lnTo>
                      <a:pt x="1278" y="860"/>
                    </a:lnTo>
                    <a:lnTo>
                      <a:pt x="1286" y="862"/>
                    </a:lnTo>
                    <a:lnTo>
                      <a:pt x="1294" y="863"/>
                    </a:lnTo>
                    <a:lnTo>
                      <a:pt x="1301" y="864"/>
                    </a:lnTo>
                    <a:lnTo>
                      <a:pt x="1309" y="863"/>
                    </a:lnTo>
                    <a:lnTo>
                      <a:pt x="1316" y="862"/>
                    </a:lnTo>
                    <a:lnTo>
                      <a:pt x="1323" y="861"/>
                    </a:lnTo>
                    <a:lnTo>
                      <a:pt x="1330" y="858"/>
                    </a:lnTo>
                    <a:lnTo>
                      <a:pt x="1337" y="855"/>
                    </a:lnTo>
                    <a:lnTo>
                      <a:pt x="1344" y="851"/>
                    </a:lnTo>
                    <a:lnTo>
                      <a:pt x="1350" y="846"/>
                    </a:lnTo>
                    <a:lnTo>
                      <a:pt x="1356" y="841"/>
                    </a:lnTo>
                    <a:lnTo>
                      <a:pt x="1361" y="836"/>
                    </a:lnTo>
                    <a:lnTo>
                      <a:pt x="1366" y="830"/>
                    </a:lnTo>
                    <a:lnTo>
                      <a:pt x="1371" y="823"/>
                    </a:lnTo>
                    <a:lnTo>
                      <a:pt x="1374" y="816"/>
                    </a:lnTo>
                    <a:lnTo>
                      <a:pt x="1377" y="808"/>
                    </a:lnTo>
                    <a:lnTo>
                      <a:pt x="1379" y="800"/>
                    </a:lnTo>
                    <a:lnTo>
                      <a:pt x="1380" y="792"/>
                    </a:lnTo>
                    <a:lnTo>
                      <a:pt x="1380" y="785"/>
                    </a:lnTo>
                    <a:lnTo>
                      <a:pt x="1380" y="777"/>
                    </a:lnTo>
                    <a:lnTo>
                      <a:pt x="1379" y="770"/>
                    </a:lnTo>
                    <a:lnTo>
                      <a:pt x="1378" y="763"/>
                    </a:lnTo>
                    <a:lnTo>
                      <a:pt x="1375" y="756"/>
                    </a:lnTo>
                    <a:lnTo>
                      <a:pt x="1372" y="748"/>
                    </a:lnTo>
                    <a:lnTo>
                      <a:pt x="1368" y="741"/>
                    </a:lnTo>
                    <a:lnTo>
                      <a:pt x="1364" y="735"/>
                    </a:lnTo>
                    <a:lnTo>
                      <a:pt x="1359" y="729"/>
                    </a:lnTo>
                    <a:lnTo>
                      <a:pt x="1354" y="724"/>
                    </a:lnTo>
                    <a:lnTo>
                      <a:pt x="1347" y="719"/>
                    </a:lnTo>
                    <a:lnTo>
                      <a:pt x="1341" y="715"/>
                    </a:lnTo>
                    <a:lnTo>
                      <a:pt x="116" y="10"/>
                    </a:lnTo>
                    <a:lnTo>
                      <a:pt x="109" y="7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7" y="1"/>
                    </a:lnTo>
                    <a:lnTo>
                      <a:pt x="79" y="0"/>
                    </a:lnTo>
                    <a:lnTo>
                      <a:pt x="71" y="0"/>
                    </a:lnTo>
                    <a:lnTo>
                      <a:pt x="64" y="1"/>
                    </a:lnTo>
                    <a:lnTo>
                      <a:pt x="57" y="3"/>
                    </a:lnTo>
                    <a:lnTo>
                      <a:pt x="50" y="5"/>
                    </a:lnTo>
                    <a:lnTo>
                      <a:pt x="43" y="8"/>
                    </a:lnTo>
                    <a:lnTo>
                      <a:pt x="36" y="12"/>
                    </a:lnTo>
                    <a:lnTo>
                      <a:pt x="30" y="16"/>
                    </a:lnTo>
                    <a:lnTo>
                      <a:pt x="24" y="21"/>
                    </a:lnTo>
                    <a:lnTo>
                      <a:pt x="19" y="27"/>
                    </a:lnTo>
                    <a:lnTo>
                      <a:pt x="14" y="33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4" name="Freeform 99"/>
              <p:cNvSpPr>
                <a:spLocks/>
              </p:cNvSpPr>
              <p:nvPr/>
            </p:nvSpPr>
            <p:spPr bwMode="auto">
              <a:xfrm>
                <a:off x="431" y="1860"/>
                <a:ext cx="27" cy="17"/>
              </a:xfrm>
              <a:custGeom>
                <a:avLst/>
                <a:gdLst>
                  <a:gd name="T0" fmla="*/ 0 w 1380"/>
                  <a:gd name="T1" fmla="*/ 0 h 864"/>
                  <a:gd name="T2" fmla="*/ 0 w 1380"/>
                  <a:gd name="T3" fmla="*/ 0 h 864"/>
                  <a:gd name="T4" fmla="*/ 0 w 1380"/>
                  <a:gd name="T5" fmla="*/ 0 h 864"/>
                  <a:gd name="T6" fmla="*/ 0 w 1380"/>
                  <a:gd name="T7" fmla="*/ 0 h 864"/>
                  <a:gd name="T8" fmla="*/ 0 w 1380"/>
                  <a:gd name="T9" fmla="*/ 0 h 864"/>
                  <a:gd name="T10" fmla="*/ 0 w 1380"/>
                  <a:gd name="T11" fmla="*/ 0 h 864"/>
                  <a:gd name="T12" fmla="*/ 0 w 1380"/>
                  <a:gd name="T13" fmla="*/ 0 h 864"/>
                  <a:gd name="T14" fmla="*/ 0 w 1380"/>
                  <a:gd name="T15" fmla="*/ 0 h 864"/>
                  <a:gd name="T16" fmla="*/ 0 w 1380"/>
                  <a:gd name="T17" fmla="*/ 0 h 864"/>
                  <a:gd name="T18" fmla="*/ 0 w 1380"/>
                  <a:gd name="T19" fmla="*/ 0 h 864"/>
                  <a:gd name="T20" fmla="*/ 0 w 1380"/>
                  <a:gd name="T21" fmla="*/ 0 h 864"/>
                  <a:gd name="T22" fmla="*/ 0 w 1380"/>
                  <a:gd name="T23" fmla="*/ 0 h 864"/>
                  <a:gd name="T24" fmla="*/ 0 w 1380"/>
                  <a:gd name="T25" fmla="*/ 0 h 864"/>
                  <a:gd name="T26" fmla="*/ 0 w 1380"/>
                  <a:gd name="T27" fmla="*/ 0 h 864"/>
                  <a:gd name="T28" fmla="*/ 0 w 1380"/>
                  <a:gd name="T29" fmla="*/ 0 h 864"/>
                  <a:gd name="T30" fmla="*/ 0 w 1380"/>
                  <a:gd name="T31" fmla="*/ 0 h 864"/>
                  <a:gd name="T32" fmla="*/ 0 w 1380"/>
                  <a:gd name="T33" fmla="*/ 0 h 864"/>
                  <a:gd name="T34" fmla="*/ 0 w 1380"/>
                  <a:gd name="T35" fmla="*/ 0 h 864"/>
                  <a:gd name="T36" fmla="*/ 0 w 1380"/>
                  <a:gd name="T37" fmla="*/ 0 h 864"/>
                  <a:gd name="T38" fmla="*/ 0 w 1380"/>
                  <a:gd name="T39" fmla="*/ 0 h 864"/>
                  <a:gd name="T40" fmla="*/ 0 w 1380"/>
                  <a:gd name="T41" fmla="*/ 0 h 864"/>
                  <a:gd name="T42" fmla="*/ 0 w 1380"/>
                  <a:gd name="T43" fmla="*/ 0 h 864"/>
                  <a:gd name="T44" fmla="*/ 0 w 1380"/>
                  <a:gd name="T45" fmla="*/ 0 h 864"/>
                  <a:gd name="T46" fmla="*/ 0 w 1380"/>
                  <a:gd name="T47" fmla="*/ 0 h 864"/>
                  <a:gd name="T48" fmla="*/ 0 w 1380"/>
                  <a:gd name="T49" fmla="*/ 0 h 864"/>
                  <a:gd name="T50" fmla="*/ 0 w 1380"/>
                  <a:gd name="T51" fmla="*/ 0 h 864"/>
                  <a:gd name="T52" fmla="*/ 0 w 1380"/>
                  <a:gd name="T53" fmla="*/ 0 h 864"/>
                  <a:gd name="T54" fmla="*/ 0 w 1380"/>
                  <a:gd name="T55" fmla="*/ 0 h 864"/>
                  <a:gd name="T56" fmla="*/ 0 w 1380"/>
                  <a:gd name="T57" fmla="*/ 0 h 864"/>
                  <a:gd name="T58" fmla="*/ 0 w 1380"/>
                  <a:gd name="T59" fmla="*/ 0 h 864"/>
                  <a:gd name="T60" fmla="*/ 0 w 1380"/>
                  <a:gd name="T61" fmla="*/ 0 h 864"/>
                  <a:gd name="T62" fmla="*/ 0 w 1380"/>
                  <a:gd name="T63" fmla="*/ 0 h 864"/>
                  <a:gd name="T64" fmla="*/ 0 w 1380"/>
                  <a:gd name="T65" fmla="*/ 0 h 8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80"/>
                  <a:gd name="T100" fmla="*/ 0 h 864"/>
                  <a:gd name="T101" fmla="*/ 1380 w 1380"/>
                  <a:gd name="T102" fmla="*/ 864 h 86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80" h="864">
                    <a:moveTo>
                      <a:pt x="10" y="41"/>
                    </a:moveTo>
                    <a:lnTo>
                      <a:pt x="6" y="48"/>
                    </a:lnTo>
                    <a:lnTo>
                      <a:pt x="3" y="55"/>
                    </a:lnTo>
                    <a:lnTo>
                      <a:pt x="1" y="63"/>
                    </a:lnTo>
                    <a:lnTo>
                      <a:pt x="0" y="70"/>
                    </a:lnTo>
                    <a:lnTo>
                      <a:pt x="0" y="79"/>
                    </a:lnTo>
                    <a:lnTo>
                      <a:pt x="0" y="86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2"/>
                    </a:lnTo>
                    <a:lnTo>
                      <a:pt x="16" y="129"/>
                    </a:lnTo>
                    <a:lnTo>
                      <a:pt x="21" y="135"/>
                    </a:lnTo>
                    <a:lnTo>
                      <a:pt x="26" y="140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1263" y="853"/>
                    </a:lnTo>
                    <a:lnTo>
                      <a:pt x="1270" y="857"/>
                    </a:lnTo>
                    <a:lnTo>
                      <a:pt x="1278" y="860"/>
                    </a:lnTo>
                    <a:lnTo>
                      <a:pt x="1286" y="862"/>
                    </a:lnTo>
                    <a:lnTo>
                      <a:pt x="1294" y="863"/>
                    </a:lnTo>
                    <a:lnTo>
                      <a:pt x="1301" y="864"/>
                    </a:lnTo>
                    <a:lnTo>
                      <a:pt x="1309" y="863"/>
                    </a:lnTo>
                    <a:lnTo>
                      <a:pt x="1316" y="862"/>
                    </a:lnTo>
                    <a:lnTo>
                      <a:pt x="1323" y="861"/>
                    </a:lnTo>
                    <a:lnTo>
                      <a:pt x="1330" y="858"/>
                    </a:lnTo>
                    <a:lnTo>
                      <a:pt x="1337" y="855"/>
                    </a:lnTo>
                    <a:lnTo>
                      <a:pt x="1344" y="852"/>
                    </a:lnTo>
                    <a:lnTo>
                      <a:pt x="1350" y="847"/>
                    </a:lnTo>
                    <a:lnTo>
                      <a:pt x="1356" y="842"/>
                    </a:lnTo>
                    <a:lnTo>
                      <a:pt x="1361" y="836"/>
                    </a:lnTo>
                    <a:lnTo>
                      <a:pt x="1366" y="830"/>
                    </a:lnTo>
                    <a:lnTo>
                      <a:pt x="1371" y="823"/>
                    </a:lnTo>
                    <a:lnTo>
                      <a:pt x="1374" y="816"/>
                    </a:lnTo>
                    <a:lnTo>
                      <a:pt x="1377" y="808"/>
                    </a:lnTo>
                    <a:lnTo>
                      <a:pt x="1379" y="801"/>
                    </a:lnTo>
                    <a:lnTo>
                      <a:pt x="1380" y="793"/>
                    </a:lnTo>
                    <a:lnTo>
                      <a:pt x="1380" y="785"/>
                    </a:lnTo>
                    <a:lnTo>
                      <a:pt x="1380" y="777"/>
                    </a:lnTo>
                    <a:lnTo>
                      <a:pt x="1379" y="770"/>
                    </a:lnTo>
                    <a:lnTo>
                      <a:pt x="1378" y="763"/>
                    </a:lnTo>
                    <a:lnTo>
                      <a:pt x="1375" y="756"/>
                    </a:lnTo>
                    <a:lnTo>
                      <a:pt x="1372" y="749"/>
                    </a:lnTo>
                    <a:lnTo>
                      <a:pt x="1368" y="742"/>
                    </a:lnTo>
                    <a:lnTo>
                      <a:pt x="1364" y="735"/>
                    </a:lnTo>
                    <a:lnTo>
                      <a:pt x="1359" y="729"/>
                    </a:lnTo>
                    <a:lnTo>
                      <a:pt x="1354" y="724"/>
                    </a:lnTo>
                    <a:lnTo>
                      <a:pt x="1347" y="719"/>
                    </a:lnTo>
                    <a:lnTo>
                      <a:pt x="1341" y="715"/>
                    </a:lnTo>
                    <a:lnTo>
                      <a:pt x="116" y="10"/>
                    </a:lnTo>
                    <a:lnTo>
                      <a:pt x="109" y="7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7" y="1"/>
                    </a:lnTo>
                    <a:lnTo>
                      <a:pt x="79" y="0"/>
                    </a:lnTo>
                    <a:lnTo>
                      <a:pt x="71" y="1"/>
                    </a:lnTo>
                    <a:lnTo>
                      <a:pt x="64" y="1"/>
                    </a:lnTo>
                    <a:lnTo>
                      <a:pt x="57" y="3"/>
                    </a:lnTo>
                    <a:lnTo>
                      <a:pt x="50" y="5"/>
                    </a:lnTo>
                    <a:lnTo>
                      <a:pt x="43" y="8"/>
                    </a:lnTo>
                    <a:lnTo>
                      <a:pt x="36" y="12"/>
                    </a:lnTo>
                    <a:lnTo>
                      <a:pt x="30" y="16"/>
                    </a:lnTo>
                    <a:lnTo>
                      <a:pt x="24" y="21"/>
                    </a:lnTo>
                    <a:lnTo>
                      <a:pt x="19" y="28"/>
                    </a:lnTo>
                    <a:lnTo>
                      <a:pt x="14" y="34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5" name="Freeform 100"/>
              <p:cNvSpPr>
                <a:spLocks/>
              </p:cNvSpPr>
              <p:nvPr/>
            </p:nvSpPr>
            <p:spPr bwMode="auto">
              <a:xfrm>
                <a:off x="431" y="1868"/>
                <a:ext cx="27" cy="17"/>
              </a:xfrm>
              <a:custGeom>
                <a:avLst/>
                <a:gdLst>
                  <a:gd name="T0" fmla="*/ 0 w 1380"/>
                  <a:gd name="T1" fmla="*/ 0 h 864"/>
                  <a:gd name="T2" fmla="*/ 0 w 1380"/>
                  <a:gd name="T3" fmla="*/ 0 h 864"/>
                  <a:gd name="T4" fmla="*/ 0 w 1380"/>
                  <a:gd name="T5" fmla="*/ 0 h 864"/>
                  <a:gd name="T6" fmla="*/ 0 w 1380"/>
                  <a:gd name="T7" fmla="*/ 0 h 864"/>
                  <a:gd name="T8" fmla="*/ 0 w 1380"/>
                  <a:gd name="T9" fmla="*/ 0 h 864"/>
                  <a:gd name="T10" fmla="*/ 0 w 1380"/>
                  <a:gd name="T11" fmla="*/ 0 h 864"/>
                  <a:gd name="T12" fmla="*/ 0 w 1380"/>
                  <a:gd name="T13" fmla="*/ 0 h 864"/>
                  <a:gd name="T14" fmla="*/ 0 w 1380"/>
                  <a:gd name="T15" fmla="*/ 0 h 864"/>
                  <a:gd name="T16" fmla="*/ 0 w 1380"/>
                  <a:gd name="T17" fmla="*/ 0 h 864"/>
                  <a:gd name="T18" fmla="*/ 0 w 1380"/>
                  <a:gd name="T19" fmla="*/ 0 h 864"/>
                  <a:gd name="T20" fmla="*/ 0 w 1380"/>
                  <a:gd name="T21" fmla="*/ 0 h 864"/>
                  <a:gd name="T22" fmla="*/ 0 w 1380"/>
                  <a:gd name="T23" fmla="*/ 0 h 864"/>
                  <a:gd name="T24" fmla="*/ 0 w 1380"/>
                  <a:gd name="T25" fmla="*/ 0 h 864"/>
                  <a:gd name="T26" fmla="*/ 0 w 1380"/>
                  <a:gd name="T27" fmla="*/ 0 h 864"/>
                  <a:gd name="T28" fmla="*/ 0 w 1380"/>
                  <a:gd name="T29" fmla="*/ 0 h 864"/>
                  <a:gd name="T30" fmla="*/ 0 w 1380"/>
                  <a:gd name="T31" fmla="*/ 0 h 864"/>
                  <a:gd name="T32" fmla="*/ 0 w 1380"/>
                  <a:gd name="T33" fmla="*/ 0 h 864"/>
                  <a:gd name="T34" fmla="*/ 0 w 1380"/>
                  <a:gd name="T35" fmla="*/ 0 h 864"/>
                  <a:gd name="T36" fmla="*/ 0 w 1380"/>
                  <a:gd name="T37" fmla="*/ 0 h 864"/>
                  <a:gd name="T38" fmla="*/ 0 w 1380"/>
                  <a:gd name="T39" fmla="*/ 0 h 864"/>
                  <a:gd name="T40" fmla="*/ 0 w 1380"/>
                  <a:gd name="T41" fmla="*/ 0 h 864"/>
                  <a:gd name="T42" fmla="*/ 0 w 1380"/>
                  <a:gd name="T43" fmla="*/ 0 h 864"/>
                  <a:gd name="T44" fmla="*/ 0 w 1380"/>
                  <a:gd name="T45" fmla="*/ 0 h 864"/>
                  <a:gd name="T46" fmla="*/ 0 w 1380"/>
                  <a:gd name="T47" fmla="*/ 0 h 864"/>
                  <a:gd name="T48" fmla="*/ 0 w 1380"/>
                  <a:gd name="T49" fmla="*/ 0 h 864"/>
                  <a:gd name="T50" fmla="*/ 0 w 1380"/>
                  <a:gd name="T51" fmla="*/ 0 h 864"/>
                  <a:gd name="T52" fmla="*/ 0 w 1380"/>
                  <a:gd name="T53" fmla="*/ 0 h 864"/>
                  <a:gd name="T54" fmla="*/ 0 w 1380"/>
                  <a:gd name="T55" fmla="*/ 0 h 864"/>
                  <a:gd name="T56" fmla="*/ 0 w 1380"/>
                  <a:gd name="T57" fmla="*/ 0 h 864"/>
                  <a:gd name="T58" fmla="*/ 0 w 1380"/>
                  <a:gd name="T59" fmla="*/ 0 h 864"/>
                  <a:gd name="T60" fmla="*/ 0 w 1380"/>
                  <a:gd name="T61" fmla="*/ 0 h 864"/>
                  <a:gd name="T62" fmla="*/ 0 w 1380"/>
                  <a:gd name="T63" fmla="*/ 0 h 864"/>
                  <a:gd name="T64" fmla="*/ 0 w 1380"/>
                  <a:gd name="T65" fmla="*/ 0 h 8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80"/>
                  <a:gd name="T100" fmla="*/ 0 h 864"/>
                  <a:gd name="T101" fmla="*/ 1380 w 1380"/>
                  <a:gd name="T102" fmla="*/ 864 h 86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80" h="864">
                    <a:moveTo>
                      <a:pt x="10" y="41"/>
                    </a:moveTo>
                    <a:lnTo>
                      <a:pt x="6" y="48"/>
                    </a:lnTo>
                    <a:lnTo>
                      <a:pt x="3" y="56"/>
                    </a:lnTo>
                    <a:lnTo>
                      <a:pt x="1" y="64"/>
                    </a:lnTo>
                    <a:lnTo>
                      <a:pt x="0" y="71"/>
                    </a:lnTo>
                    <a:lnTo>
                      <a:pt x="0" y="79"/>
                    </a:lnTo>
                    <a:lnTo>
                      <a:pt x="0" y="87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9"/>
                    </a:lnTo>
                    <a:lnTo>
                      <a:pt x="8" y="116"/>
                    </a:lnTo>
                    <a:lnTo>
                      <a:pt x="12" y="123"/>
                    </a:lnTo>
                    <a:lnTo>
                      <a:pt x="16" y="129"/>
                    </a:lnTo>
                    <a:lnTo>
                      <a:pt x="21" y="135"/>
                    </a:lnTo>
                    <a:lnTo>
                      <a:pt x="26" y="140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1263" y="853"/>
                    </a:lnTo>
                    <a:lnTo>
                      <a:pt x="1270" y="857"/>
                    </a:lnTo>
                    <a:lnTo>
                      <a:pt x="1278" y="860"/>
                    </a:lnTo>
                    <a:lnTo>
                      <a:pt x="1286" y="862"/>
                    </a:lnTo>
                    <a:lnTo>
                      <a:pt x="1294" y="863"/>
                    </a:lnTo>
                    <a:lnTo>
                      <a:pt x="1301" y="864"/>
                    </a:lnTo>
                    <a:lnTo>
                      <a:pt x="1309" y="863"/>
                    </a:lnTo>
                    <a:lnTo>
                      <a:pt x="1316" y="862"/>
                    </a:lnTo>
                    <a:lnTo>
                      <a:pt x="1323" y="861"/>
                    </a:lnTo>
                    <a:lnTo>
                      <a:pt x="1330" y="858"/>
                    </a:lnTo>
                    <a:lnTo>
                      <a:pt x="1337" y="855"/>
                    </a:lnTo>
                    <a:lnTo>
                      <a:pt x="1344" y="852"/>
                    </a:lnTo>
                    <a:lnTo>
                      <a:pt x="1350" y="847"/>
                    </a:lnTo>
                    <a:lnTo>
                      <a:pt x="1356" y="842"/>
                    </a:lnTo>
                    <a:lnTo>
                      <a:pt x="1361" y="837"/>
                    </a:lnTo>
                    <a:lnTo>
                      <a:pt x="1366" y="831"/>
                    </a:lnTo>
                    <a:lnTo>
                      <a:pt x="1371" y="824"/>
                    </a:lnTo>
                    <a:lnTo>
                      <a:pt x="1374" y="816"/>
                    </a:lnTo>
                    <a:lnTo>
                      <a:pt x="1377" y="808"/>
                    </a:lnTo>
                    <a:lnTo>
                      <a:pt x="1379" y="801"/>
                    </a:lnTo>
                    <a:lnTo>
                      <a:pt x="1380" y="793"/>
                    </a:lnTo>
                    <a:lnTo>
                      <a:pt x="1380" y="786"/>
                    </a:lnTo>
                    <a:lnTo>
                      <a:pt x="1380" y="778"/>
                    </a:lnTo>
                    <a:lnTo>
                      <a:pt x="1379" y="770"/>
                    </a:lnTo>
                    <a:lnTo>
                      <a:pt x="1378" y="763"/>
                    </a:lnTo>
                    <a:lnTo>
                      <a:pt x="1375" y="756"/>
                    </a:lnTo>
                    <a:lnTo>
                      <a:pt x="1372" y="749"/>
                    </a:lnTo>
                    <a:lnTo>
                      <a:pt x="1368" y="742"/>
                    </a:lnTo>
                    <a:lnTo>
                      <a:pt x="1364" y="736"/>
                    </a:lnTo>
                    <a:lnTo>
                      <a:pt x="1359" y="730"/>
                    </a:lnTo>
                    <a:lnTo>
                      <a:pt x="1354" y="725"/>
                    </a:lnTo>
                    <a:lnTo>
                      <a:pt x="1347" y="719"/>
                    </a:lnTo>
                    <a:lnTo>
                      <a:pt x="1341" y="715"/>
                    </a:lnTo>
                    <a:lnTo>
                      <a:pt x="116" y="11"/>
                    </a:lnTo>
                    <a:lnTo>
                      <a:pt x="109" y="8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7" y="1"/>
                    </a:lnTo>
                    <a:lnTo>
                      <a:pt x="79" y="0"/>
                    </a:lnTo>
                    <a:lnTo>
                      <a:pt x="71" y="1"/>
                    </a:lnTo>
                    <a:lnTo>
                      <a:pt x="64" y="1"/>
                    </a:lnTo>
                    <a:lnTo>
                      <a:pt x="57" y="3"/>
                    </a:lnTo>
                    <a:lnTo>
                      <a:pt x="50" y="5"/>
                    </a:lnTo>
                    <a:lnTo>
                      <a:pt x="43" y="10"/>
                    </a:lnTo>
                    <a:lnTo>
                      <a:pt x="36" y="13"/>
                    </a:lnTo>
                    <a:lnTo>
                      <a:pt x="30" y="18"/>
                    </a:lnTo>
                    <a:lnTo>
                      <a:pt x="24" y="23"/>
                    </a:lnTo>
                    <a:lnTo>
                      <a:pt x="19" y="28"/>
                    </a:lnTo>
                    <a:lnTo>
                      <a:pt x="14" y="34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6" name="Freeform 101"/>
              <p:cNvSpPr>
                <a:spLocks/>
              </p:cNvSpPr>
              <p:nvPr/>
            </p:nvSpPr>
            <p:spPr bwMode="auto">
              <a:xfrm>
                <a:off x="431" y="1877"/>
                <a:ext cx="27" cy="17"/>
              </a:xfrm>
              <a:custGeom>
                <a:avLst/>
                <a:gdLst>
                  <a:gd name="T0" fmla="*/ 0 w 1380"/>
                  <a:gd name="T1" fmla="*/ 0 h 864"/>
                  <a:gd name="T2" fmla="*/ 0 w 1380"/>
                  <a:gd name="T3" fmla="*/ 0 h 864"/>
                  <a:gd name="T4" fmla="*/ 0 w 1380"/>
                  <a:gd name="T5" fmla="*/ 0 h 864"/>
                  <a:gd name="T6" fmla="*/ 0 w 1380"/>
                  <a:gd name="T7" fmla="*/ 0 h 864"/>
                  <a:gd name="T8" fmla="*/ 0 w 1380"/>
                  <a:gd name="T9" fmla="*/ 0 h 864"/>
                  <a:gd name="T10" fmla="*/ 0 w 1380"/>
                  <a:gd name="T11" fmla="*/ 0 h 864"/>
                  <a:gd name="T12" fmla="*/ 0 w 1380"/>
                  <a:gd name="T13" fmla="*/ 0 h 864"/>
                  <a:gd name="T14" fmla="*/ 0 w 1380"/>
                  <a:gd name="T15" fmla="*/ 0 h 864"/>
                  <a:gd name="T16" fmla="*/ 0 w 1380"/>
                  <a:gd name="T17" fmla="*/ 0 h 864"/>
                  <a:gd name="T18" fmla="*/ 0 w 1380"/>
                  <a:gd name="T19" fmla="*/ 0 h 864"/>
                  <a:gd name="T20" fmla="*/ 0 w 1380"/>
                  <a:gd name="T21" fmla="*/ 0 h 864"/>
                  <a:gd name="T22" fmla="*/ 0 w 1380"/>
                  <a:gd name="T23" fmla="*/ 0 h 864"/>
                  <a:gd name="T24" fmla="*/ 0 w 1380"/>
                  <a:gd name="T25" fmla="*/ 0 h 864"/>
                  <a:gd name="T26" fmla="*/ 0 w 1380"/>
                  <a:gd name="T27" fmla="*/ 0 h 864"/>
                  <a:gd name="T28" fmla="*/ 0 w 1380"/>
                  <a:gd name="T29" fmla="*/ 0 h 864"/>
                  <a:gd name="T30" fmla="*/ 0 w 1380"/>
                  <a:gd name="T31" fmla="*/ 0 h 864"/>
                  <a:gd name="T32" fmla="*/ 0 w 1380"/>
                  <a:gd name="T33" fmla="*/ 0 h 864"/>
                  <a:gd name="T34" fmla="*/ 0 w 1380"/>
                  <a:gd name="T35" fmla="*/ 0 h 864"/>
                  <a:gd name="T36" fmla="*/ 0 w 1380"/>
                  <a:gd name="T37" fmla="*/ 0 h 864"/>
                  <a:gd name="T38" fmla="*/ 0 w 1380"/>
                  <a:gd name="T39" fmla="*/ 0 h 864"/>
                  <a:gd name="T40" fmla="*/ 0 w 1380"/>
                  <a:gd name="T41" fmla="*/ 0 h 864"/>
                  <a:gd name="T42" fmla="*/ 0 w 1380"/>
                  <a:gd name="T43" fmla="*/ 0 h 864"/>
                  <a:gd name="T44" fmla="*/ 0 w 1380"/>
                  <a:gd name="T45" fmla="*/ 0 h 864"/>
                  <a:gd name="T46" fmla="*/ 0 w 1380"/>
                  <a:gd name="T47" fmla="*/ 0 h 864"/>
                  <a:gd name="T48" fmla="*/ 0 w 1380"/>
                  <a:gd name="T49" fmla="*/ 0 h 864"/>
                  <a:gd name="T50" fmla="*/ 0 w 1380"/>
                  <a:gd name="T51" fmla="*/ 0 h 864"/>
                  <a:gd name="T52" fmla="*/ 0 w 1380"/>
                  <a:gd name="T53" fmla="*/ 0 h 864"/>
                  <a:gd name="T54" fmla="*/ 0 w 1380"/>
                  <a:gd name="T55" fmla="*/ 0 h 864"/>
                  <a:gd name="T56" fmla="*/ 0 w 1380"/>
                  <a:gd name="T57" fmla="*/ 0 h 864"/>
                  <a:gd name="T58" fmla="*/ 0 w 1380"/>
                  <a:gd name="T59" fmla="*/ 0 h 864"/>
                  <a:gd name="T60" fmla="*/ 0 w 1380"/>
                  <a:gd name="T61" fmla="*/ 0 h 864"/>
                  <a:gd name="T62" fmla="*/ 0 w 1380"/>
                  <a:gd name="T63" fmla="*/ 0 h 864"/>
                  <a:gd name="T64" fmla="*/ 0 w 1380"/>
                  <a:gd name="T65" fmla="*/ 0 h 8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80"/>
                  <a:gd name="T100" fmla="*/ 0 h 864"/>
                  <a:gd name="T101" fmla="*/ 1380 w 1380"/>
                  <a:gd name="T102" fmla="*/ 864 h 86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80" h="864">
                    <a:moveTo>
                      <a:pt x="10" y="41"/>
                    </a:moveTo>
                    <a:lnTo>
                      <a:pt x="6" y="48"/>
                    </a:lnTo>
                    <a:lnTo>
                      <a:pt x="3" y="56"/>
                    </a:lnTo>
                    <a:lnTo>
                      <a:pt x="1" y="63"/>
                    </a:lnTo>
                    <a:lnTo>
                      <a:pt x="0" y="71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2"/>
                    </a:lnTo>
                    <a:lnTo>
                      <a:pt x="16" y="128"/>
                    </a:lnTo>
                    <a:lnTo>
                      <a:pt x="21" y="134"/>
                    </a:lnTo>
                    <a:lnTo>
                      <a:pt x="26" y="139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1263" y="853"/>
                    </a:lnTo>
                    <a:lnTo>
                      <a:pt x="1270" y="857"/>
                    </a:lnTo>
                    <a:lnTo>
                      <a:pt x="1278" y="860"/>
                    </a:lnTo>
                    <a:lnTo>
                      <a:pt x="1286" y="862"/>
                    </a:lnTo>
                    <a:lnTo>
                      <a:pt x="1294" y="863"/>
                    </a:lnTo>
                    <a:lnTo>
                      <a:pt x="1301" y="864"/>
                    </a:lnTo>
                    <a:lnTo>
                      <a:pt x="1309" y="863"/>
                    </a:lnTo>
                    <a:lnTo>
                      <a:pt x="1316" y="863"/>
                    </a:lnTo>
                    <a:lnTo>
                      <a:pt x="1323" y="861"/>
                    </a:lnTo>
                    <a:lnTo>
                      <a:pt x="1330" y="859"/>
                    </a:lnTo>
                    <a:lnTo>
                      <a:pt x="1337" y="854"/>
                    </a:lnTo>
                    <a:lnTo>
                      <a:pt x="1344" y="851"/>
                    </a:lnTo>
                    <a:lnTo>
                      <a:pt x="1350" y="846"/>
                    </a:lnTo>
                    <a:lnTo>
                      <a:pt x="1356" y="841"/>
                    </a:lnTo>
                    <a:lnTo>
                      <a:pt x="1361" y="836"/>
                    </a:lnTo>
                    <a:lnTo>
                      <a:pt x="1366" y="830"/>
                    </a:lnTo>
                    <a:lnTo>
                      <a:pt x="1371" y="823"/>
                    </a:lnTo>
                    <a:lnTo>
                      <a:pt x="1374" y="816"/>
                    </a:lnTo>
                    <a:lnTo>
                      <a:pt x="1377" y="809"/>
                    </a:lnTo>
                    <a:lnTo>
                      <a:pt x="1379" y="800"/>
                    </a:lnTo>
                    <a:lnTo>
                      <a:pt x="1380" y="793"/>
                    </a:lnTo>
                    <a:lnTo>
                      <a:pt x="1380" y="785"/>
                    </a:lnTo>
                    <a:lnTo>
                      <a:pt x="1380" y="778"/>
                    </a:lnTo>
                    <a:lnTo>
                      <a:pt x="1379" y="770"/>
                    </a:lnTo>
                    <a:lnTo>
                      <a:pt x="1378" y="763"/>
                    </a:lnTo>
                    <a:lnTo>
                      <a:pt x="1375" y="756"/>
                    </a:lnTo>
                    <a:lnTo>
                      <a:pt x="1372" y="748"/>
                    </a:lnTo>
                    <a:lnTo>
                      <a:pt x="1368" y="741"/>
                    </a:lnTo>
                    <a:lnTo>
                      <a:pt x="1364" y="735"/>
                    </a:lnTo>
                    <a:lnTo>
                      <a:pt x="1359" y="729"/>
                    </a:lnTo>
                    <a:lnTo>
                      <a:pt x="1354" y="724"/>
                    </a:lnTo>
                    <a:lnTo>
                      <a:pt x="1347" y="719"/>
                    </a:lnTo>
                    <a:lnTo>
                      <a:pt x="1341" y="715"/>
                    </a:lnTo>
                    <a:lnTo>
                      <a:pt x="116" y="10"/>
                    </a:lnTo>
                    <a:lnTo>
                      <a:pt x="109" y="7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7" y="1"/>
                    </a:lnTo>
                    <a:lnTo>
                      <a:pt x="79" y="0"/>
                    </a:lnTo>
                    <a:lnTo>
                      <a:pt x="71" y="1"/>
                    </a:lnTo>
                    <a:lnTo>
                      <a:pt x="64" y="2"/>
                    </a:lnTo>
                    <a:lnTo>
                      <a:pt x="57" y="3"/>
                    </a:lnTo>
                    <a:lnTo>
                      <a:pt x="50" y="6"/>
                    </a:lnTo>
                    <a:lnTo>
                      <a:pt x="43" y="9"/>
                    </a:lnTo>
                    <a:lnTo>
                      <a:pt x="36" y="12"/>
                    </a:lnTo>
                    <a:lnTo>
                      <a:pt x="30" y="17"/>
                    </a:lnTo>
                    <a:lnTo>
                      <a:pt x="24" y="22"/>
                    </a:lnTo>
                    <a:lnTo>
                      <a:pt x="19" y="27"/>
                    </a:lnTo>
                    <a:lnTo>
                      <a:pt x="14" y="33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7" name="Freeform 102"/>
              <p:cNvSpPr>
                <a:spLocks/>
              </p:cNvSpPr>
              <p:nvPr/>
            </p:nvSpPr>
            <p:spPr bwMode="auto">
              <a:xfrm>
                <a:off x="431" y="1885"/>
                <a:ext cx="27" cy="17"/>
              </a:xfrm>
              <a:custGeom>
                <a:avLst/>
                <a:gdLst>
                  <a:gd name="T0" fmla="*/ 0 w 1380"/>
                  <a:gd name="T1" fmla="*/ 0 h 864"/>
                  <a:gd name="T2" fmla="*/ 0 w 1380"/>
                  <a:gd name="T3" fmla="*/ 0 h 864"/>
                  <a:gd name="T4" fmla="*/ 0 w 1380"/>
                  <a:gd name="T5" fmla="*/ 0 h 864"/>
                  <a:gd name="T6" fmla="*/ 0 w 1380"/>
                  <a:gd name="T7" fmla="*/ 0 h 864"/>
                  <a:gd name="T8" fmla="*/ 0 w 1380"/>
                  <a:gd name="T9" fmla="*/ 0 h 864"/>
                  <a:gd name="T10" fmla="*/ 0 w 1380"/>
                  <a:gd name="T11" fmla="*/ 0 h 864"/>
                  <a:gd name="T12" fmla="*/ 0 w 1380"/>
                  <a:gd name="T13" fmla="*/ 0 h 864"/>
                  <a:gd name="T14" fmla="*/ 0 w 1380"/>
                  <a:gd name="T15" fmla="*/ 0 h 864"/>
                  <a:gd name="T16" fmla="*/ 0 w 1380"/>
                  <a:gd name="T17" fmla="*/ 0 h 864"/>
                  <a:gd name="T18" fmla="*/ 0 w 1380"/>
                  <a:gd name="T19" fmla="*/ 0 h 864"/>
                  <a:gd name="T20" fmla="*/ 0 w 1380"/>
                  <a:gd name="T21" fmla="*/ 0 h 864"/>
                  <a:gd name="T22" fmla="*/ 0 w 1380"/>
                  <a:gd name="T23" fmla="*/ 0 h 864"/>
                  <a:gd name="T24" fmla="*/ 0 w 1380"/>
                  <a:gd name="T25" fmla="*/ 0 h 864"/>
                  <a:gd name="T26" fmla="*/ 0 w 1380"/>
                  <a:gd name="T27" fmla="*/ 0 h 864"/>
                  <a:gd name="T28" fmla="*/ 0 w 1380"/>
                  <a:gd name="T29" fmla="*/ 0 h 864"/>
                  <a:gd name="T30" fmla="*/ 0 w 1380"/>
                  <a:gd name="T31" fmla="*/ 0 h 864"/>
                  <a:gd name="T32" fmla="*/ 0 w 1380"/>
                  <a:gd name="T33" fmla="*/ 0 h 864"/>
                  <a:gd name="T34" fmla="*/ 0 w 1380"/>
                  <a:gd name="T35" fmla="*/ 0 h 864"/>
                  <a:gd name="T36" fmla="*/ 0 w 1380"/>
                  <a:gd name="T37" fmla="*/ 0 h 864"/>
                  <a:gd name="T38" fmla="*/ 0 w 1380"/>
                  <a:gd name="T39" fmla="*/ 0 h 864"/>
                  <a:gd name="T40" fmla="*/ 0 w 1380"/>
                  <a:gd name="T41" fmla="*/ 0 h 864"/>
                  <a:gd name="T42" fmla="*/ 0 w 1380"/>
                  <a:gd name="T43" fmla="*/ 0 h 864"/>
                  <a:gd name="T44" fmla="*/ 0 w 1380"/>
                  <a:gd name="T45" fmla="*/ 0 h 864"/>
                  <a:gd name="T46" fmla="*/ 0 w 1380"/>
                  <a:gd name="T47" fmla="*/ 0 h 864"/>
                  <a:gd name="T48" fmla="*/ 0 w 1380"/>
                  <a:gd name="T49" fmla="*/ 0 h 864"/>
                  <a:gd name="T50" fmla="*/ 0 w 1380"/>
                  <a:gd name="T51" fmla="*/ 0 h 864"/>
                  <a:gd name="T52" fmla="*/ 0 w 1380"/>
                  <a:gd name="T53" fmla="*/ 0 h 864"/>
                  <a:gd name="T54" fmla="*/ 0 w 1380"/>
                  <a:gd name="T55" fmla="*/ 0 h 864"/>
                  <a:gd name="T56" fmla="*/ 0 w 1380"/>
                  <a:gd name="T57" fmla="*/ 0 h 864"/>
                  <a:gd name="T58" fmla="*/ 0 w 1380"/>
                  <a:gd name="T59" fmla="*/ 0 h 864"/>
                  <a:gd name="T60" fmla="*/ 0 w 1380"/>
                  <a:gd name="T61" fmla="*/ 0 h 864"/>
                  <a:gd name="T62" fmla="*/ 0 w 1380"/>
                  <a:gd name="T63" fmla="*/ 0 h 864"/>
                  <a:gd name="T64" fmla="*/ 0 w 1380"/>
                  <a:gd name="T65" fmla="*/ 0 h 8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80"/>
                  <a:gd name="T100" fmla="*/ 0 h 864"/>
                  <a:gd name="T101" fmla="*/ 1380 w 1380"/>
                  <a:gd name="T102" fmla="*/ 864 h 86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80" h="864">
                    <a:moveTo>
                      <a:pt x="10" y="41"/>
                    </a:moveTo>
                    <a:lnTo>
                      <a:pt x="6" y="48"/>
                    </a:lnTo>
                    <a:lnTo>
                      <a:pt x="3" y="56"/>
                    </a:lnTo>
                    <a:lnTo>
                      <a:pt x="1" y="63"/>
                    </a:lnTo>
                    <a:lnTo>
                      <a:pt x="0" y="71"/>
                    </a:lnTo>
                    <a:lnTo>
                      <a:pt x="0" y="79"/>
                    </a:lnTo>
                    <a:lnTo>
                      <a:pt x="0" y="87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2"/>
                    </a:lnTo>
                    <a:lnTo>
                      <a:pt x="16" y="129"/>
                    </a:lnTo>
                    <a:lnTo>
                      <a:pt x="21" y="135"/>
                    </a:lnTo>
                    <a:lnTo>
                      <a:pt x="26" y="140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1263" y="854"/>
                    </a:lnTo>
                    <a:lnTo>
                      <a:pt x="1270" y="857"/>
                    </a:lnTo>
                    <a:lnTo>
                      <a:pt x="1278" y="860"/>
                    </a:lnTo>
                    <a:lnTo>
                      <a:pt x="1286" y="862"/>
                    </a:lnTo>
                    <a:lnTo>
                      <a:pt x="1294" y="863"/>
                    </a:lnTo>
                    <a:lnTo>
                      <a:pt x="1301" y="864"/>
                    </a:lnTo>
                    <a:lnTo>
                      <a:pt x="1309" y="864"/>
                    </a:lnTo>
                    <a:lnTo>
                      <a:pt x="1316" y="863"/>
                    </a:lnTo>
                    <a:lnTo>
                      <a:pt x="1323" y="861"/>
                    </a:lnTo>
                    <a:lnTo>
                      <a:pt x="1330" y="859"/>
                    </a:lnTo>
                    <a:lnTo>
                      <a:pt x="1337" y="856"/>
                    </a:lnTo>
                    <a:lnTo>
                      <a:pt x="1344" y="852"/>
                    </a:lnTo>
                    <a:lnTo>
                      <a:pt x="1350" y="848"/>
                    </a:lnTo>
                    <a:lnTo>
                      <a:pt x="1356" y="843"/>
                    </a:lnTo>
                    <a:lnTo>
                      <a:pt x="1361" y="836"/>
                    </a:lnTo>
                    <a:lnTo>
                      <a:pt x="1366" y="830"/>
                    </a:lnTo>
                    <a:lnTo>
                      <a:pt x="1371" y="823"/>
                    </a:lnTo>
                    <a:lnTo>
                      <a:pt x="1374" y="816"/>
                    </a:lnTo>
                    <a:lnTo>
                      <a:pt x="1377" y="809"/>
                    </a:lnTo>
                    <a:lnTo>
                      <a:pt x="1379" y="801"/>
                    </a:lnTo>
                    <a:lnTo>
                      <a:pt x="1380" y="794"/>
                    </a:lnTo>
                    <a:lnTo>
                      <a:pt x="1380" y="785"/>
                    </a:lnTo>
                    <a:lnTo>
                      <a:pt x="1380" y="778"/>
                    </a:lnTo>
                    <a:lnTo>
                      <a:pt x="1379" y="770"/>
                    </a:lnTo>
                    <a:lnTo>
                      <a:pt x="1378" y="763"/>
                    </a:lnTo>
                    <a:lnTo>
                      <a:pt x="1375" y="756"/>
                    </a:lnTo>
                    <a:lnTo>
                      <a:pt x="1372" y="749"/>
                    </a:lnTo>
                    <a:lnTo>
                      <a:pt x="1368" y="742"/>
                    </a:lnTo>
                    <a:lnTo>
                      <a:pt x="1364" y="735"/>
                    </a:lnTo>
                    <a:lnTo>
                      <a:pt x="1359" y="729"/>
                    </a:lnTo>
                    <a:lnTo>
                      <a:pt x="1354" y="724"/>
                    </a:lnTo>
                    <a:lnTo>
                      <a:pt x="1347" y="719"/>
                    </a:lnTo>
                    <a:lnTo>
                      <a:pt x="1341" y="715"/>
                    </a:lnTo>
                    <a:lnTo>
                      <a:pt x="116" y="10"/>
                    </a:lnTo>
                    <a:lnTo>
                      <a:pt x="109" y="7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7" y="1"/>
                    </a:lnTo>
                    <a:lnTo>
                      <a:pt x="79" y="0"/>
                    </a:lnTo>
                    <a:lnTo>
                      <a:pt x="71" y="1"/>
                    </a:lnTo>
                    <a:lnTo>
                      <a:pt x="64" y="2"/>
                    </a:lnTo>
                    <a:lnTo>
                      <a:pt x="57" y="3"/>
                    </a:lnTo>
                    <a:lnTo>
                      <a:pt x="50" y="6"/>
                    </a:lnTo>
                    <a:lnTo>
                      <a:pt x="43" y="9"/>
                    </a:lnTo>
                    <a:lnTo>
                      <a:pt x="36" y="12"/>
                    </a:lnTo>
                    <a:lnTo>
                      <a:pt x="30" y="17"/>
                    </a:lnTo>
                    <a:lnTo>
                      <a:pt x="24" y="22"/>
                    </a:lnTo>
                    <a:lnTo>
                      <a:pt x="19" y="28"/>
                    </a:lnTo>
                    <a:lnTo>
                      <a:pt x="14" y="34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8" name="Freeform 103"/>
              <p:cNvSpPr>
                <a:spLocks/>
              </p:cNvSpPr>
              <p:nvPr/>
            </p:nvSpPr>
            <p:spPr bwMode="auto">
              <a:xfrm>
                <a:off x="431" y="1893"/>
                <a:ext cx="27" cy="17"/>
              </a:xfrm>
              <a:custGeom>
                <a:avLst/>
                <a:gdLst>
                  <a:gd name="T0" fmla="*/ 0 w 1380"/>
                  <a:gd name="T1" fmla="*/ 0 h 863"/>
                  <a:gd name="T2" fmla="*/ 0 w 1380"/>
                  <a:gd name="T3" fmla="*/ 0 h 863"/>
                  <a:gd name="T4" fmla="*/ 0 w 1380"/>
                  <a:gd name="T5" fmla="*/ 0 h 863"/>
                  <a:gd name="T6" fmla="*/ 0 w 1380"/>
                  <a:gd name="T7" fmla="*/ 0 h 863"/>
                  <a:gd name="T8" fmla="*/ 0 w 1380"/>
                  <a:gd name="T9" fmla="*/ 0 h 863"/>
                  <a:gd name="T10" fmla="*/ 0 w 1380"/>
                  <a:gd name="T11" fmla="*/ 0 h 863"/>
                  <a:gd name="T12" fmla="*/ 0 w 1380"/>
                  <a:gd name="T13" fmla="*/ 0 h 863"/>
                  <a:gd name="T14" fmla="*/ 0 w 1380"/>
                  <a:gd name="T15" fmla="*/ 0 h 863"/>
                  <a:gd name="T16" fmla="*/ 0 w 1380"/>
                  <a:gd name="T17" fmla="*/ 0 h 863"/>
                  <a:gd name="T18" fmla="*/ 0 w 1380"/>
                  <a:gd name="T19" fmla="*/ 0 h 863"/>
                  <a:gd name="T20" fmla="*/ 0 w 1380"/>
                  <a:gd name="T21" fmla="*/ 0 h 863"/>
                  <a:gd name="T22" fmla="*/ 0 w 1380"/>
                  <a:gd name="T23" fmla="*/ 0 h 863"/>
                  <a:gd name="T24" fmla="*/ 0 w 1380"/>
                  <a:gd name="T25" fmla="*/ 0 h 863"/>
                  <a:gd name="T26" fmla="*/ 0 w 1380"/>
                  <a:gd name="T27" fmla="*/ 0 h 863"/>
                  <a:gd name="T28" fmla="*/ 0 w 1380"/>
                  <a:gd name="T29" fmla="*/ 0 h 863"/>
                  <a:gd name="T30" fmla="*/ 0 w 1380"/>
                  <a:gd name="T31" fmla="*/ 0 h 863"/>
                  <a:gd name="T32" fmla="*/ 0 w 1380"/>
                  <a:gd name="T33" fmla="*/ 0 h 863"/>
                  <a:gd name="T34" fmla="*/ 0 w 1380"/>
                  <a:gd name="T35" fmla="*/ 0 h 863"/>
                  <a:gd name="T36" fmla="*/ 0 w 1380"/>
                  <a:gd name="T37" fmla="*/ 0 h 863"/>
                  <a:gd name="T38" fmla="*/ 0 w 1380"/>
                  <a:gd name="T39" fmla="*/ 0 h 863"/>
                  <a:gd name="T40" fmla="*/ 0 w 1380"/>
                  <a:gd name="T41" fmla="*/ 0 h 863"/>
                  <a:gd name="T42" fmla="*/ 0 w 1380"/>
                  <a:gd name="T43" fmla="*/ 0 h 863"/>
                  <a:gd name="T44" fmla="*/ 0 w 1380"/>
                  <a:gd name="T45" fmla="*/ 0 h 863"/>
                  <a:gd name="T46" fmla="*/ 0 w 1380"/>
                  <a:gd name="T47" fmla="*/ 0 h 863"/>
                  <a:gd name="T48" fmla="*/ 0 w 1380"/>
                  <a:gd name="T49" fmla="*/ 0 h 863"/>
                  <a:gd name="T50" fmla="*/ 0 w 1380"/>
                  <a:gd name="T51" fmla="*/ 0 h 863"/>
                  <a:gd name="T52" fmla="*/ 0 w 1380"/>
                  <a:gd name="T53" fmla="*/ 0 h 863"/>
                  <a:gd name="T54" fmla="*/ 0 w 1380"/>
                  <a:gd name="T55" fmla="*/ 0 h 863"/>
                  <a:gd name="T56" fmla="*/ 0 w 1380"/>
                  <a:gd name="T57" fmla="*/ 0 h 863"/>
                  <a:gd name="T58" fmla="*/ 0 w 1380"/>
                  <a:gd name="T59" fmla="*/ 0 h 863"/>
                  <a:gd name="T60" fmla="*/ 0 w 1380"/>
                  <a:gd name="T61" fmla="*/ 0 h 863"/>
                  <a:gd name="T62" fmla="*/ 0 w 1380"/>
                  <a:gd name="T63" fmla="*/ 0 h 863"/>
                  <a:gd name="T64" fmla="*/ 0 w 1380"/>
                  <a:gd name="T65" fmla="*/ 0 h 86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80"/>
                  <a:gd name="T100" fmla="*/ 0 h 863"/>
                  <a:gd name="T101" fmla="*/ 1380 w 1380"/>
                  <a:gd name="T102" fmla="*/ 863 h 86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80" h="863">
                    <a:moveTo>
                      <a:pt x="10" y="40"/>
                    </a:moveTo>
                    <a:lnTo>
                      <a:pt x="6" y="47"/>
                    </a:lnTo>
                    <a:lnTo>
                      <a:pt x="3" y="55"/>
                    </a:lnTo>
                    <a:lnTo>
                      <a:pt x="1" y="63"/>
                    </a:lnTo>
                    <a:lnTo>
                      <a:pt x="0" y="71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1" y="93"/>
                    </a:lnTo>
                    <a:lnTo>
                      <a:pt x="3" y="100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2"/>
                    </a:lnTo>
                    <a:lnTo>
                      <a:pt x="16" y="128"/>
                    </a:lnTo>
                    <a:lnTo>
                      <a:pt x="21" y="134"/>
                    </a:lnTo>
                    <a:lnTo>
                      <a:pt x="26" y="139"/>
                    </a:lnTo>
                    <a:lnTo>
                      <a:pt x="33" y="144"/>
                    </a:lnTo>
                    <a:lnTo>
                      <a:pt x="40" y="148"/>
                    </a:lnTo>
                    <a:lnTo>
                      <a:pt x="1263" y="853"/>
                    </a:lnTo>
                    <a:lnTo>
                      <a:pt x="1270" y="856"/>
                    </a:lnTo>
                    <a:lnTo>
                      <a:pt x="1278" y="859"/>
                    </a:lnTo>
                    <a:lnTo>
                      <a:pt x="1286" y="861"/>
                    </a:lnTo>
                    <a:lnTo>
                      <a:pt x="1294" y="862"/>
                    </a:lnTo>
                    <a:lnTo>
                      <a:pt x="1301" y="863"/>
                    </a:lnTo>
                    <a:lnTo>
                      <a:pt x="1309" y="863"/>
                    </a:lnTo>
                    <a:lnTo>
                      <a:pt x="1316" y="862"/>
                    </a:lnTo>
                    <a:lnTo>
                      <a:pt x="1323" y="860"/>
                    </a:lnTo>
                    <a:lnTo>
                      <a:pt x="1330" y="858"/>
                    </a:lnTo>
                    <a:lnTo>
                      <a:pt x="1337" y="855"/>
                    </a:lnTo>
                    <a:lnTo>
                      <a:pt x="1344" y="851"/>
                    </a:lnTo>
                    <a:lnTo>
                      <a:pt x="1350" y="847"/>
                    </a:lnTo>
                    <a:lnTo>
                      <a:pt x="1356" y="842"/>
                    </a:lnTo>
                    <a:lnTo>
                      <a:pt x="1361" y="836"/>
                    </a:lnTo>
                    <a:lnTo>
                      <a:pt x="1366" y="830"/>
                    </a:lnTo>
                    <a:lnTo>
                      <a:pt x="1371" y="822"/>
                    </a:lnTo>
                    <a:lnTo>
                      <a:pt x="1374" y="815"/>
                    </a:lnTo>
                    <a:lnTo>
                      <a:pt x="1377" y="808"/>
                    </a:lnTo>
                    <a:lnTo>
                      <a:pt x="1379" y="800"/>
                    </a:lnTo>
                    <a:lnTo>
                      <a:pt x="1380" y="793"/>
                    </a:lnTo>
                    <a:lnTo>
                      <a:pt x="1380" y="785"/>
                    </a:lnTo>
                    <a:lnTo>
                      <a:pt x="1380" y="778"/>
                    </a:lnTo>
                    <a:lnTo>
                      <a:pt x="1379" y="769"/>
                    </a:lnTo>
                    <a:lnTo>
                      <a:pt x="1378" y="762"/>
                    </a:lnTo>
                    <a:lnTo>
                      <a:pt x="1375" y="755"/>
                    </a:lnTo>
                    <a:lnTo>
                      <a:pt x="1372" y="748"/>
                    </a:lnTo>
                    <a:lnTo>
                      <a:pt x="1368" y="741"/>
                    </a:lnTo>
                    <a:lnTo>
                      <a:pt x="1364" y="735"/>
                    </a:lnTo>
                    <a:lnTo>
                      <a:pt x="1359" y="729"/>
                    </a:lnTo>
                    <a:lnTo>
                      <a:pt x="1354" y="724"/>
                    </a:lnTo>
                    <a:lnTo>
                      <a:pt x="1347" y="718"/>
                    </a:lnTo>
                    <a:lnTo>
                      <a:pt x="1341" y="714"/>
                    </a:lnTo>
                    <a:lnTo>
                      <a:pt x="116" y="10"/>
                    </a:lnTo>
                    <a:lnTo>
                      <a:pt x="109" y="6"/>
                    </a:lnTo>
                    <a:lnTo>
                      <a:pt x="101" y="3"/>
                    </a:lnTo>
                    <a:lnTo>
                      <a:pt x="94" y="1"/>
                    </a:lnTo>
                    <a:lnTo>
                      <a:pt x="87" y="0"/>
                    </a:lnTo>
                    <a:lnTo>
                      <a:pt x="79" y="0"/>
                    </a:lnTo>
                    <a:lnTo>
                      <a:pt x="71" y="0"/>
                    </a:lnTo>
                    <a:lnTo>
                      <a:pt x="64" y="1"/>
                    </a:lnTo>
                    <a:lnTo>
                      <a:pt x="57" y="2"/>
                    </a:lnTo>
                    <a:lnTo>
                      <a:pt x="50" y="5"/>
                    </a:lnTo>
                    <a:lnTo>
                      <a:pt x="43" y="9"/>
                    </a:lnTo>
                    <a:lnTo>
                      <a:pt x="36" y="12"/>
                    </a:lnTo>
                    <a:lnTo>
                      <a:pt x="30" y="17"/>
                    </a:lnTo>
                    <a:lnTo>
                      <a:pt x="24" y="22"/>
                    </a:lnTo>
                    <a:lnTo>
                      <a:pt x="19" y="27"/>
                    </a:lnTo>
                    <a:lnTo>
                      <a:pt x="14" y="33"/>
                    </a:lnTo>
                    <a:lnTo>
                      <a:pt x="10" y="40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59" name="Freeform 104"/>
              <p:cNvSpPr>
                <a:spLocks/>
              </p:cNvSpPr>
              <p:nvPr/>
            </p:nvSpPr>
            <p:spPr bwMode="auto">
              <a:xfrm>
                <a:off x="485" y="1880"/>
                <a:ext cx="55" cy="32"/>
              </a:xfrm>
              <a:custGeom>
                <a:avLst/>
                <a:gdLst>
                  <a:gd name="T0" fmla="*/ 0 w 2764"/>
                  <a:gd name="T1" fmla="*/ 0 h 1636"/>
                  <a:gd name="T2" fmla="*/ 0 w 2764"/>
                  <a:gd name="T3" fmla="*/ 0 h 1636"/>
                  <a:gd name="T4" fmla="*/ 0 w 2764"/>
                  <a:gd name="T5" fmla="*/ 0 h 1636"/>
                  <a:gd name="T6" fmla="*/ 0 w 2764"/>
                  <a:gd name="T7" fmla="*/ 0 h 1636"/>
                  <a:gd name="T8" fmla="*/ 0 w 2764"/>
                  <a:gd name="T9" fmla="*/ 0 h 1636"/>
                  <a:gd name="T10" fmla="*/ 0 w 2764"/>
                  <a:gd name="T11" fmla="*/ 0 h 1636"/>
                  <a:gd name="T12" fmla="*/ 0 w 2764"/>
                  <a:gd name="T13" fmla="*/ 0 h 1636"/>
                  <a:gd name="T14" fmla="*/ 0 w 2764"/>
                  <a:gd name="T15" fmla="*/ 0 h 1636"/>
                  <a:gd name="T16" fmla="*/ 0 w 2764"/>
                  <a:gd name="T17" fmla="*/ 0 h 1636"/>
                  <a:gd name="T18" fmla="*/ 0 w 2764"/>
                  <a:gd name="T19" fmla="*/ 0 h 1636"/>
                  <a:gd name="T20" fmla="*/ 0 w 2764"/>
                  <a:gd name="T21" fmla="*/ 0 h 1636"/>
                  <a:gd name="T22" fmla="*/ 0 w 2764"/>
                  <a:gd name="T23" fmla="*/ 0 h 1636"/>
                  <a:gd name="T24" fmla="*/ 0 w 2764"/>
                  <a:gd name="T25" fmla="*/ 0 h 1636"/>
                  <a:gd name="T26" fmla="*/ 0 w 2764"/>
                  <a:gd name="T27" fmla="*/ 0 h 1636"/>
                  <a:gd name="T28" fmla="*/ 0 w 2764"/>
                  <a:gd name="T29" fmla="*/ 0 h 1636"/>
                  <a:gd name="T30" fmla="*/ 0 w 2764"/>
                  <a:gd name="T31" fmla="*/ 0 h 1636"/>
                  <a:gd name="T32" fmla="*/ 0 w 2764"/>
                  <a:gd name="T33" fmla="*/ 0 h 1636"/>
                  <a:gd name="T34" fmla="*/ 0 w 2764"/>
                  <a:gd name="T35" fmla="*/ 0 h 1636"/>
                  <a:gd name="T36" fmla="*/ 0 w 2764"/>
                  <a:gd name="T37" fmla="*/ 0 h 1636"/>
                  <a:gd name="T38" fmla="*/ 0 w 2764"/>
                  <a:gd name="T39" fmla="*/ 0 h 1636"/>
                  <a:gd name="T40" fmla="*/ 0 w 2764"/>
                  <a:gd name="T41" fmla="*/ 0 h 1636"/>
                  <a:gd name="T42" fmla="*/ 0 w 2764"/>
                  <a:gd name="T43" fmla="*/ 0 h 1636"/>
                  <a:gd name="T44" fmla="*/ 0 w 2764"/>
                  <a:gd name="T45" fmla="*/ 0 h 1636"/>
                  <a:gd name="T46" fmla="*/ 0 w 2764"/>
                  <a:gd name="T47" fmla="*/ 0 h 1636"/>
                  <a:gd name="T48" fmla="*/ 0 w 2764"/>
                  <a:gd name="T49" fmla="*/ 0 h 1636"/>
                  <a:gd name="T50" fmla="*/ 0 w 2764"/>
                  <a:gd name="T51" fmla="*/ 0 h 1636"/>
                  <a:gd name="T52" fmla="*/ 0 w 2764"/>
                  <a:gd name="T53" fmla="*/ 0 h 1636"/>
                  <a:gd name="T54" fmla="*/ 0 w 2764"/>
                  <a:gd name="T55" fmla="*/ 0 h 1636"/>
                  <a:gd name="T56" fmla="*/ 0 w 2764"/>
                  <a:gd name="T57" fmla="*/ 0 h 1636"/>
                  <a:gd name="T58" fmla="*/ 0 w 2764"/>
                  <a:gd name="T59" fmla="*/ 0 h 1636"/>
                  <a:gd name="T60" fmla="*/ 0 w 2764"/>
                  <a:gd name="T61" fmla="*/ 0 h 1636"/>
                  <a:gd name="T62" fmla="*/ 0 w 2764"/>
                  <a:gd name="T63" fmla="*/ 0 h 1636"/>
                  <a:gd name="T64" fmla="*/ 0 w 2764"/>
                  <a:gd name="T65" fmla="*/ 0 h 16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64"/>
                  <a:gd name="T100" fmla="*/ 0 h 1636"/>
                  <a:gd name="T101" fmla="*/ 2764 w 2764"/>
                  <a:gd name="T102" fmla="*/ 1636 h 16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64" h="1636">
                    <a:moveTo>
                      <a:pt x="9" y="41"/>
                    </a:moveTo>
                    <a:lnTo>
                      <a:pt x="6" y="49"/>
                    </a:lnTo>
                    <a:lnTo>
                      <a:pt x="3" y="57"/>
                    </a:lnTo>
                    <a:lnTo>
                      <a:pt x="1" y="64"/>
                    </a:lnTo>
                    <a:lnTo>
                      <a:pt x="0" y="72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1" y="95"/>
                    </a:lnTo>
                    <a:lnTo>
                      <a:pt x="3" y="102"/>
                    </a:lnTo>
                    <a:lnTo>
                      <a:pt x="5" y="110"/>
                    </a:lnTo>
                    <a:lnTo>
                      <a:pt x="8" y="117"/>
                    </a:lnTo>
                    <a:lnTo>
                      <a:pt x="12" y="123"/>
                    </a:lnTo>
                    <a:lnTo>
                      <a:pt x="16" y="129"/>
                    </a:lnTo>
                    <a:lnTo>
                      <a:pt x="21" y="135"/>
                    </a:lnTo>
                    <a:lnTo>
                      <a:pt x="27" y="141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2648" y="1627"/>
                    </a:lnTo>
                    <a:lnTo>
                      <a:pt x="2655" y="1630"/>
                    </a:lnTo>
                    <a:lnTo>
                      <a:pt x="2663" y="1633"/>
                    </a:lnTo>
                    <a:lnTo>
                      <a:pt x="2670" y="1635"/>
                    </a:lnTo>
                    <a:lnTo>
                      <a:pt x="2678" y="1636"/>
                    </a:lnTo>
                    <a:lnTo>
                      <a:pt x="2685" y="1636"/>
                    </a:lnTo>
                    <a:lnTo>
                      <a:pt x="2693" y="1636"/>
                    </a:lnTo>
                    <a:lnTo>
                      <a:pt x="2700" y="1635"/>
                    </a:lnTo>
                    <a:lnTo>
                      <a:pt x="2707" y="1633"/>
                    </a:lnTo>
                    <a:lnTo>
                      <a:pt x="2715" y="1631"/>
                    </a:lnTo>
                    <a:lnTo>
                      <a:pt x="2721" y="1628"/>
                    </a:lnTo>
                    <a:lnTo>
                      <a:pt x="2728" y="1624"/>
                    </a:lnTo>
                    <a:lnTo>
                      <a:pt x="2734" y="1620"/>
                    </a:lnTo>
                    <a:lnTo>
                      <a:pt x="2740" y="1615"/>
                    </a:lnTo>
                    <a:lnTo>
                      <a:pt x="2745" y="1609"/>
                    </a:lnTo>
                    <a:lnTo>
                      <a:pt x="2750" y="1603"/>
                    </a:lnTo>
                    <a:lnTo>
                      <a:pt x="2754" y="1596"/>
                    </a:lnTo>
                    <a:lnTo>
                      <a:pt x="2758" y="1589"/>
                    </a:lnTo>
                    <a:lnTo>
                      <a:pt x="2761" y="1581"/>
                    </a:lnTo>
                    <a:lnTo>
                      <a:pt x="2762" y="1573"/>
                    </a:lnTo>
                    <a:lnTo>
                      <a:pt x="2764" y="1566"/>
                    </a:lnTo>
                    <a:lnTo>
                      <a:pt x="2764" y="1558"/>
                    </a:lnTo>
                    <a:lnTo>
                      <a:pt x="2764" y="1551"/>
                    </a:lnTo>
                    <a:lnTo>
                      <a:pt x="2763" y="1543"/>
                    </a:lnTo>
                    <a:lnTo>
                      <a:pt x="2761" y="1536"/>
                    </a:lnTo>
                    <a:lnTo>
                      <a:pt x="2759" y="1528"/>
                    </a:lnTo>
                    <a:lnTo>
                      <a:pt x="2755" y="1521"/>
                    </a:lnTo>
                    <a:lnTo>
                      <a:pt x="2752" y="1515"/>
                    </a:lnTo>
                    <a:lnTo>
                      <a:pt x="2747" y="1508"/>
                    </a:lnTo>
                    <a:lnTo>
                      <a:pt x="2742" y="1503"/>
                    </a:lnTo>
                    <a:lnTo>
                      <a:pt x="2737" y="1497"/>
                    </a:lnTo>
                    <a:lnTo>
                      <a:pt x="2731" y="1492"/>
                    </a:lnTo>
                    <a:lnTo>
                      <a:pt x="2724" y="1488"/>
                    </a:lnTo>
                    <a:lnTo>
                      <a:pt x="116" y="11"/>
                    </a:lnTo>
                    <a:lnTo>
                      <a:pt x="108" y="8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6" y="1"/>
                    </a:lnTo>
                    <a:lnTo>
                      <a:pt x="78" y="0"/>
                    </a:lnTo>
                    <a:lnTo>
                      <a:pt x="71" y="1"/>
                    </a:lnTo>
                    <a:lnTo>
                      <a:pt x="63" y="2"/>
                    </a:lnTo>
                    <a:lnTo>
                      <a:pt x="56" y="3"/>
                    </a:lnTo>
                    <a:lnTo>
                      <a:pt x="49" y="7"/>
                    </a:lnTo>
                    <a:lnTo>
                      <a:pt x="42" y="10"/>
                    </a:lnTo>
                    <a:lnTo>
                      <a:pt x="36" y="14"/>
                    </a:lnTo>
                    <a:lnTo>
                      <a:pt x="30" y="18"/>
                    </a:lnTo>
                    <a:lnTo>
                      <a:pt x="24" y="23"/>
                    </a:lnTo>
                    <a:lnTo>
                      <a:pt x="18" y="29"/>
                    </a:lnTo>
                    <a:lnTo>
                      <a:pt x="14" y="35"/>
                    </a:lnTo>
                    <a:lnTo>
                      <a:pt x="9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0" name="Freeform 105"/>
              <p:cNvSpPr>
                <a:spLocks/>
              </p:cNvSpPr>
              <p:nvPr/>
            </p:nvSpPr>
            <p:spPr bwMode="auto">
              <a:xfrm>
                <a:off x="485" y="1889"/>
                <a:ext cx="55" cy="32"/>
              </a:xfrm>
              <a:custGeom>
                <a:avLst/>
                <a:gdLst>
                  <a:gd name="T0" fmla="*/ 0 w 2764"/>
                  <a:gd name="T1" fmla="*/ 0 h 1636"/>
                  <a:gd name="T2" fmla="*/ 0 w 2764"/>
                  <a:gd name="T3" fmla="*/ 0 h 1636"/>
                  <a:gd name="T4" fmla="*/ 0 w 2764"/>
                  <a:gd name="T5" fmla="*/ 0 h 1636"/>
                  <a:gd name="T6" fmla="*/ 0 w 2764"/>
                  <a:gd name="T7" fmla="*/ 0 h 1636"/>
                  <a:gd name="T8" fmla="*/ 0 w 2764"/>
                  <a:gd name="T9" fmla="*/ 0 h 1636"/>
                  <a:gd name="T10" fmla="*/ 0 w 2764"/>
                  <a:gd name="T11" fmla="*/ 0 h 1636"/>
                  <a:gd name="T12" fmla="*/ 0 w 2764"/>
                  <a:gd name="T13" fmla="*/ 0 h 1636"/>
                  <a:gd name="T14" fmla="*/ 0 w 2764"/>
                  <a:gd name="T15" fmla="*/ 0 h 1636"/>
                  <a:gd name="T16" fmla="*/ 0 w 2764"/>
                  <a:gd name="T17" fmla="*/ 0 h 1636"/>
                  <a:gd name="T18" fmla="*/ 0 w 2764"/>
                  <a:gd name="T19" fmla="*/ 0 h 1636"/>
                  <a:gd name="T20" fmla="*/ 0 w 2764"/>
                  <a:gd name="T21" fmla="*/ 0 h 1636"/>
                  <a:gd name="T22" fmla="*/ 0 w 2764"/>
                  <a:gd name="T23" fmla="*/ 0 h 1636"/>
                  <a:gd name="T24" fmla="*/ 0 w 2764"/>
                  <a:gd name="T25" fmla="*/ 0 h 1636"/>
                  <a:gd name="T26" fmla="*/ 0 w 2764"/>
                  <a:gd name="T27" fmla="*/ 0 h 1636"/>
                  <a:gd name="T28" fmla="*/ 0 w 2764"/>
                  <a:gd name="T29" fmla="*/ 0 h 1636"/>
                  <a:gd name="T30" fmla="*/ 0 w 2764"/>
                  <a:gd name="T31" fmla="*/ 0 h 1636"/>
                  <a:gd name="T32" fmla="*/ 0 w 2764"/>
                  <a:gd name="T33" fmla="*/ 0 h 1636"/>
                  <a:gd name="T34" fmla="*/ 0 w 2764"/>
                  <a:gd name="T35" fmla="*/ 0 h 1636"/>
                  <a:gd name="T36" fmla="*/ 0 w 2764"/>
                  <a:gd name="T37" fmla="*/ 0 h 1636"/>
                  <a:gd name="T38" fmla="*/ 0 w 2764"/>
                  <a:gd name="T39" fmla="*/ 0 h 1636"/>
                  <a:gd name="T40" fmla="*/ 0 w 2764"/>
                  <a:gd name="T41" fmla="*/ 0 h 1636"/>
                  <a:gd name="T42" fmla="*/ 0 w 2764"/>
                  <a:gd name="T43" fmla="*/ 0 h 1636"/>
                  <a:gd name="T44" fmla="*/ 0 w 2764"/>
                  <a:gd name="T45" fmla="*/ 0 h 1636"/>
                  <a:gd name="T46" fmla="*/ 0 w 2764"/>
                  <a:gd name="T47" fmla="*/ 0 h 1636"/>
                  <a:gd name="T48" fmla="*/ 0 w 2764"/>
                  <a:gd name="T49" fmla="*/ 0 h 1636"/>
                  <a:gd name="T50" fmla="*/ 0 w 2764"/>
                  <a:gd name="T51" fmla="*/ 0 h 1636"/>
                  <a:gd name="T52" fmla="*/ 0 w 2764"/>
                  <a:gd name="T53" fmla="*/ 0 h 1636"/>
                  <a:gd name="T54" fmla="*/ 0 w 2764"/>
                  <a:gd name="T55" fmla="*/ 0 h 1636"/>
                  <a:gd name="T56" fmla="*/ 0 w 2764"/>
                  <a:gd name="T57" fmla="*/ 0 h 1636"/>
                  <a:gd name="T58" fmla="*/ 0 w 2764"/>
                  <a:gd name="T59" fmla="*/ 0 h 1636"/>
                  <a:gd name="T60" fmla="*/ 0 w 2764"/>
                  <a:gd name="T61" fmla="*/ 0 h 1636"/>
                  <a:gd name="T62" fmla="*/ 0 w 2764"/>
                  <a:gd name="T63" fmla="*/ 0 h 1636"/>
                  <a:gd name="T64" fmla="*/ 0 w 2764"/>
                  <a:gd name="T65" fmla="*/ 0 h 16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64"/>
                  <a:gd name="T100" fmla="*/ 0 h 1636"/>
                  <a:gd name="T101" fmla="*/ 2764 w 2764"/>
                  <a:gd name="T102" fmla="*/ 1636 h 16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64" h="1636">
                    <a:moveTo>
                      <a:pt x="9" y="41"/>
                    </a:moveTo>
                    <a:lnTo>
                      <a:pt x="6" y="49"/>
                    </a:lnTo>
                    <a:lnTo>
                      <a:pt x="3" y="56"/>
                    </a:lnTo>
                    <a:lnTo>
                      <a:pt x="1" y="64"/>
                    </a:lnTo>
                    <a:lnTo>
                      <a:pt x="0" y="71"/>
                    </a:lnTo>
                    <a:lnTo>
                      <a:pt x="0" y="79"/>
                    </a:lnTo>
                    <a:lnTo>
                      <a:pt x="0" y="86"/>
                    </a:lnTo>
                    <a:lnTo>
                      <a:pt x="1" y="95"/>
                    </a:lnTo>
                    <a:lnTo>
                      <a:pt x="3" y="102"/>
                    </a:lnTo>
                    <a:lnTo>
                      <a:pt x="5" y="109"/>
                    </a:lnTo>
                    <a:lnTo>
                      <a:pt x="8" y="116"/>
                    </a:lnTo>
                    <a:lnTo>
                      <a:pt x="12" y="122"/>
                    </a:lnTo>
                    <a:lnTo>
                      <a:pt x="16" y="128"/>
                    </a:lnTo>
                    <a:lnTo>
                      <a:pt x="21" y="134"/>
                    </a:lnTo>
                    <a:lnTo>
                      <a:pt x="27" y="140"/>
                    </a:lnTo>
                    <a:lnTo>
                      <a:pt x="33" y="145"/>
                    </a:lnTo>
                    <a:lnTo>
                      <a:pt x="40" y="150"/>
                    </a:lnTo>
                    <a:lnTo>
                      <a:pt x="2648" y="1627"/>
                    </a:lnTo>
                    <a:lnTo>
                      <a:pt x="2655" y="1630"/>
                    </a:lnTo>
                    <a:lnTo>
                      <a:pt x="2663" y="1633"/>
                    </a:lnTo>
                    <a:lnTo>
                      <a:pt x="2670" y="1635"/>
                    </a:lnTo>
                    <a:lnTo>
                      <a:pt x="2678" y="1636"/>
                    </a:lnTo>
                    <a:lnTo>
                      <a:pt x="2685" y="1636"/>
                    </a:lnTo>
                    <a:lnTo>
                      <a:pt x="2693" y="1636"/>
                    </a:lnTo>
                    <a:lnTo>
                      <a:pt x="2700" y="1635"/>
                    </a:lnTo>
                    <a:lnTo>
                      <a:pt x="2707" y="1633"/>
                    </a:lnTo>
                    <a:lnTo>
                      <a:pt x="2715" y="1631"/>
                    </a:lnTo>
                    <a:lnTo>
                      <a:pt x="2721" y="1628"/>
                    </a:lnTo>
                    <a:lnTo>
                      <a:pt x="2728" y="1624"/>
                    </a:lnTo>
                    <a:lnTo>
                      <a:pt x="2734" y="1619"/>
                    </a:lnTo>
                    <a:lnTo>
                      <a:pt x="2740" y="1614"/>
                    </a:lnTo>
                    <a:lnTo>
                      <a:pt x="2745" y="1608"/>
                    </a:lnTo>
                    <a:lnTo>
                      <a:pt x="2750" y="1602"/>
                    </a:lnTo>
                    <a:lnTo>
                      <a:pt x="2754" y="1595"/>
                    </a:lnTo>
                    <a:lnTo>
                      <a:pt x="2758" y="1588"/>
                    </a:lnTo>
                    <a:lnTo>
                      <a:pt x="2761" y="1581"/>
                    </a:lnTo>
                    <a:lnTo>
                      <a:pt x="2762" y="1573"/>
                    </a:lnTo>
                    <a:lnTo>
                      <a:pt x="2764" y="1565"/>
                    </a:lnTo>
                    <a:lnTo>
                      <a:pt x="2764" y="1557"/>
                    </a:lnTo>
                    <a:lnTo>
                      <a:pt x="2764" y="1550"/>
                    </a:lnTo>
                    <a:lnTo>
                      <a:pt x="2763" y="1542"/>
                    </a:lnTo>
                    <a:lnTo>
                      <a:pt x="2761" y="1535"/>
                    </a:lnTo>
                    <a:lnTo>
                      <a:pt x="2759" y="1528"/>
                    </a:lnTo>
                    <a:lnTo>
                      <a:pt x="2755" y="1521"/>
                    </a:lnTo>
                    <a:lnTo>
                      <a:pt x="2752" y="1514"/>
                    </a:lnTo>
                    <a:lnTo>
                      <a:pt x="2747" y="1507"/>
                    </a:lnTo>
                    <a:lnTo>
                      <a:pt x="2742" y="1502"/>
                    </a:lnTo>
                    <a:lnTo>
                      <a:pt x="2737" y="1496"/>
                    </a:lnTo>
                    <a:lnTo>
                      <a:pt x="2731" y="1492"/>
                    </a:lnTo>
                    <a:lnTo>
                      <a:pt x="2724" y="1487"/>
                    </a:lnTo>
                    <a:lnTo>
                      <a:pt x="116" y="10"/>
                    </a:lnTo>
                    <a:lnTo>
                      <a:pt x="108" y="7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6" y="1"/>
                    </a:lnTo>
                    <a:lnTo>
                      <a:pt x="78" y="0"/>
                    </a:lnTo>
                    <a:lnTo>
                      <a:pt x="71" y="1"/>
                    </a:lnTo>
                    <a:lnTo>
                      <a:pt x="63" y="2"/>
                    </a:lnTo>
                    <a:lnTo>
                      <a:pt x="56" y="3"/>
                    </a:lnTo>
                    <a:lnTo>
                      <a:pt x="49" y="6"/>
                    </a:lnTo>
                    <a:lnTo>
                      <a:pt x="42" y="9"/>
                    </a:lnTo>
                    <a:lnTo>
                      <a:pt x="36" y="13"/>
                    </a:lnTo>
                    <a:lnTo>
                      <a:pt x="30" y="17"/>
                    </a:lnTo>
                    <a:lnTo>
                      <a:pt x="24" y="22"/>
                    </a:lnTo>
                    <a:lnTo>
                      <a:pt x="18" y="28"/>
                    </a:lnTo>
                    <a:lnTo>
                      <a:pt x="14" y="34"/>
                    </a:lnTo>
                    <a:lnTo>
                      <a:pt x="9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1" name="Freeform 106"/>
              <p:cNvSpPr>
                <a:spLocks/>
              </p:cNvSpPr>
              <p:nvPr/>
            </p:nvSpPr>
            <p:spPr bwMode="auto">
              <a:xfrm>
                <a:off x="485" y="1897"/>
                <a:ext cx="55" cy="32"/>
              </a:xfrm>
              <a:custGeom>
                <a:avLst/>
                <a:gdLst>
                  <a:gd name="T0" fmla="*/ 0 w 2764"/>
                  <a:gd name="T1" fmla="*/ 0 h 1637"/>
                  <a:gd name="T2" fmla="*/ 0 w 2764"/>
                  <a:gd name="T3" fmla="*/ 0 h 1637"/>
                  <a:gd name="T4" fmla="*/ 0 w 2764"/>
                  <a:gd name="T5" fmla="*/ 0 h 1637"/>
                  <a:gd name="T6" fmla="*/ 0 w 2764"/>
                  <a:gd name="T7" fmla="*/ 0 h 1637"/>
                  <a:gd name="T8" fmla="*/ 0 w 2764"/>
                  <a:gd name="T9" fmla="*/ 0 h 1637"/>
                  <a:gd name="T10" fmla="*/ 0 w 2764"/>
                  <a:gd name="T11" fmla="*/ 0 h 1637"/>
                  <a:gd name="T12" fmla="*/ 0 w 2764"/>
                  <a:gd name="T13" fmla="*/ 0 h 1637"/>
                  <a:gd name="T14" fmla="*/ 0 w 2764"/>
                  <a:gd name="T15" fmla="*/ 0 h 1637"/>
                  <a:gd name="T16" fmla="*/ 0 w 2764"/>
                  <a:gd name="T17" fmla="*/ 0 h 1637"/>
                  <a:gd name="T18" fmla="*/ 0 w 2764"/>
                  <a:gd name="T19" fmla="*/ 0 h 1637"/>
                  <a:gd name="T20" fmla="*/ 0 w 2764"/>
                  <a:gd name="T21" fmla="*/ 0 h 1637"/>
                  <a:gd name="T22" fmla="*/ 0 w 2764"/>
                  <a:gd name="T23" fmla="*/ 0 h 1637"/>
                  <a:gd name="T24" fmla="*/ 0 w 2764"/>
                  <a:gd name="T25" fmla="*/ 0 h 1637"/>
                  <a:gd name="T26" fmla="*/ 0 w 2764"/>
                  <a:gd name="T27" fmla="*/ 0 h 1637"/>
                  <a:gd name="T28" fmla="*/ 0 w 2764"/>
                  <a:gd name="T29" fmla="*/ 0 h 1637"/>
                  <a:gd name="T30" fmla="*/ 0 w 2764"/>
                  <a:gd name="T31" fmla="*/ 0 h 1637"/>
                  <a:gd name="T32" fmla="*/ 0 w 2764"/>
                  <a:gd name="T33" fmla="*/ 0 h 1637"/>
                  <a:gd name="T34" fmla="*/ 0 w 2764"/>
                  <a:gd name="T35" fmla="*/ 0 h 1637"/>
                  <a:gd name="T36" fmla="*/ 0 w 2764"/>
                  <a:gd name="T37" fmla="*/ 0 h 1637"/>
                  <a:gd name="T38" fmla="*/ 0 w 2764"/>
                  <a:gd name="T39" fmla="*/ 0 h 1637"/>
                  <a:gd name="T40" fmla="*/ 0 w 2764"/>
                  <a:gd name="T41" fmla="*/ 0 h 1637"/>
                  <a:gd name="T42" fmla="*/ 0 w 2764"/>
                  <a:gd name="T43" fmla="*/ 0 h 1637"/>
                  <a:gd name="T44" fmla="*/ 0 w 2764"/>
                  <a:gd name="T45" fmla="*/ 0 h 1637"/>
                  <a:gd name="T46" fmla="*/ 0 w 2764"/>
                  <a:gd name="T47" fmla="*/ 0 h 1637"/>
                  <a:gd name="T48" fmla="*/ 0 w 2764"/>
                  <a:gd name="T49" fmla="*/ 0 h 1637"/>
                  <a:gd name="T50" fmla="*/ 0 w 2764"/>
                  <a:gd name="T51" fmla="*/ 0 h 1637"/>
                  <a:gd name="T52" fmla="*/ 0 w 2764"/>
                  <a:gd name="T53" fmla="*/ 0 h 1637"/>
                  <a:gd name="T54" fmla="*/ 0 w 2764"/>
                  <a:gd name="T55" fmla="*/ 0 h 1637"/>
                  <a:gd name="T56" fmla="*/ 0 w 2764"/>
                  <a:gd name="T57" fmla="*/ 0 h 1637"/>
                  <a:gd name="T58" fmla="*/ 0 w 2764"/>
                  <a:gd name="T59" fmla="*/ 0 h 1637"/>
                  <a:gd name="T60" fmla="*/ 0 w 2764"/>
                  <a:gd name="T61" fmla="*/ 0 h 1637"/>
                  <a:gd name="T62" fmla="*/ 0 w 2764"/>
                  <a:gd name="T63" fmla="*/ 0 h 1637"/>
                  <a:gd name="T64" fmla="*/ 0 w 2764"/>
                  <a:gd name="T65" fmla="*/ 0 h 163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64"/>
                  <a:gd name="T100" fmla="*/ 0 h 1637"/>
                  <a:gd name="T101" fmla="*/ 2764 w 2764"/>
                  <a:gd name="T102" fmla="*/ 1637 h 163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64" h="1637">
                    <a:moveTo>
                      <a:pt x="9" y="42"/>
                    </a:moveTo>
                    <a:lnTo>
                      <a:pt x="6" y="49"/>
                    </a:lnTo>
                    <a:lnTo>
                      <a:pt x="3" y="56"/>
                    </a:lnTo>
                    <a:lnTo>
                      <a:pt x="1" y="64"/>
                    </a:lnTo>
                    <a:lnTo>
                      <a:pt x="0" y="71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1" y="95"/>
                    </a:lnTo>
                    <a:lnTo>
                      <a:pt x="3" y="102"/>
                    </a:lnTo>
                    <a:lnTo>
                      <a:pt x="5" y="109"/>
                    </a:lnTo>
                    <a:lnTo>
                      <a:pt x="8" y="116"/>
                    </a:lnTo>
                    <a:lnTo>
                      <a:pt x="12" y="122"/>
                    </a:lnTo>
                    <a:lnTo>
                      <a:pt x="16" y="130"/>
                    </a:lnTo>
                    <a:lnTo>
                      <a:pt x="21" y="135"/>
                    </a:lnTo>
                    <a:lnTo>
                      <a:pt x="27" y="141"/>
                    </a:lnTo>
                    <a:lnTo>
                      <a:pt x="33" y="145"/>
                    </a:lnTo>
                    <a:lnTo>
                      <a:pt x="40" y="150"/>
                    </a:lnTo>
                    <a:lnTo>
                      <a:pt x="2648" y="1627"/>
                    </a:lnTo>
                    <a:lnTo>
                      <a:pt x="2655" y="1630"/>
                    </a:lnTo>
                    <a:lnTo>
                      <a:pt x="2663" y="1633"/>
                    </a:lnTo>
                    <a:lnTo>
                      <a:pt x="2670" y="1635"/>
                    </a:lnTo>
                    <a:lnTo>
                      <a:pt x="2678" y="1636"/>
                    </a:lnTo>
                    <a:lnTo>
                      <a:pt x="2685" y="1637"/>
                    </a:lnTo>
                    <a:lnTo>
                      <a:pt x="2693" y="1636"/>
                    </a:lnTo>
                    <a:lnTo>
                      <a:pt x="2700" y="1635"/>
                    </a:lnTo>
                    <a:lnTo>
                      <a:pt x="2707" y="1633"/>
                    </a:lnTo>
                    <a:lnTo>
                      <a:pt x="2715" y="1631"/>
                    </a:lnTo>
                    <a:lnTo>
                      <a:pt x="2721" y="1628"/>
                    </a:lnTo>
                    <a:lnTo>
                      <a:pt x="2728" y="1624"/>
                    </a:lnTo>
                    <a:lnTo>
                      <a:pt x="2734" y="1620"/>
                    </a:lnTo>
                    <a:lnTo>
                      <a:pt x="2740" y="1615"/>
                    </a:lnTo>
                    <a:lnTo>
                      <a:pt x="2745" y="1609"/>
                    </a:lnTo>
                    <a:lnTo>
                      <a:pt x="2750" y="1602"/>
                    </a:lnTo>
                    <a:lnTo>
                      <a:pt x="2754" y="1595"/>
                    </a:lnTo>
                    <a:lnTo>
                      <a:pt x="2758" y="1588"/>
                    </a:lnTo>
                    <a:lnTo>
                      <a:pt x="2761" y="1581"/>
                    </a:lnTo>
                    <a:lnTo>
                      <a:pt x="2762" y="1573"/>
                    </a:lnTo>
                    <a:lnTo>
                      <a:pt x="2764" y="1566"/>
                    </a:lnTo>
                    <a:lnTo>
                      <a:pt x="2764" y="1558"/>
                    </a:lnTo>
                    <a:lnTo>
                      <a:pt x="2764" y="1550"/>
                    </a:lnTo>
                    <a:lnTo>
                      <a:pt x="2763" y="1542"/>
                    </a:lnTo>
                    <a:lnTo>
                      <a:pt x="2761" y="1535"/>
                    </a:lnTo>
                    <a:lnTo>
                      <a:pt x="2759" y="1528"/>
                    </a:lnTo>
                    <a:lnTo>
                      <a:pt x="2755" y="1521"/>
                    </a:lnTo>
                    <a:lnTo>
                      <a:pt x="2752" y="1515"/>
                    </a:lnTo>
                    <a:lnTo>
                      <a:pt x="2747" y="1508"/>
                    </a:lnTo>
                    <a:lnTo>
                      <a:pt x="2742" y="1503"/>
                    </a:lnTo>
                    <a:lnTo>
                      <a:pt x="2737" y="1496"/>
                    </a:lnTo>
                    <a:lnTo>
                      <a:pt x="2731" y="1491"/>
                    </a:lnTo>
                    <a:lnTo>
                      <a:pt x="2724" y="1487"/>
                    </a:lnTo>
                    <a:lnTo>
                      <a:pt x="116" y="10"/>
                    </a:lnTo>
                    <a:lnTo>
                      <a:pt x="108" y="7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6" y="1"/>
                    </a:lnTo>
                    <a:lnTo>
                      <a:pt x="78" y="0"/>
                    </a:lnTo>
                    <a:lnTo>
                      <a:pt x="71" y="1"/>
                    </a:lnTo>
                    <a:lnTo>
                      <a:pt x="63" y="2"/>
                    </a:lnTo>
                    <a:lnTo>
                      <a:pt x="56" y="3"/>
                    </a:lnTo>
                    <a:lnTo>
                      <a:pt x="49" y="6"/>
                    </a:lnTo>
                    <a:lnTo>
                      <a:pt x="42" y="9"/>
                    </a:lnTo>
                    <a:lnTo>
                      <a:pt x="36" y="13"/>
                    </a:lnTo>
                    <a:lnTo>
                      <a:pt x="30" y="17"/>
                    </a:lnTo>
                    <a:lnTo>
                      <a:pt x="24" y="22"/>
                    </a:lnTo>
                    <a:lnTo>
                      <a:pt x="18" y="29"/>
                    </a:lnTo>
                    <a:lnTo>
                      <a:pt x="14" y="35"/>
                    </a:lnTo>
                    <a:lnTo>
                      <a:pt x="9" y="42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2" name="Freeform 107"/>
              <p:cNvSpPr>
                <a:spLocks/>
              </p:cNvSpPr>
              <p:nvPr/>
            </p:nvSpPr>
            <p:spPr bwMode="auto">
              <a:xfrm>
                <a:off x="485" y="1905"/>
                <a:ext cx="55" cy="32"/>
              </a:xfrm>
              <a:custGeom>
                <a:avLst/>
                <a:gdLst>
                  <a:gd name="T0" fmla="*/ 0 w 2764"/>
                  <a:gd name="T1" fmla="*/ 0 h 1636"/>
                  <a:gd name="T2" fmla="*/ 0 w 2764"/>
                  <a:gd name="T3" fmla="*/ 0 h 1636"/>
                  <a:gd name="T4" fmla="*/ 0 w 2764"/>
                  <a:gd name="T5" fmla="*/ 0 h 1636"/>
                  <a:gd name="T6" fmla="*/ 0 w 2764"/>
                  <a:gd name="T7" fmla="*/ 0 h 1636"/>
                  <a:gd name="T8" fmla="*/ 0 w 2764"/>
                  <a:gd name="T9" fmla="*/ 0 h 1636"/>
                  <a:gd name="T10" fmla="*/ 0 w 2764"/>
                  <a:gd name="T11" fmla="*/ 0 h 1636"/>
                  <a:gd name="T12" fmla="*/ 0 w 2764"/>
                  <a:gd name="T13" fmla="*/ 0 h 1636"/>
                  <a:gd name="T14" fmla="*/ 0 w 2764"/>
                  <a:gd name="T15" fmla="*/ 0 h 1636"/>
                  <a:gd name="T16" fmla="*/ 0 w 2764"/>
                  <a:gd name="T17" fmla="*/ 0 h 1636"/>
                  <a:gd name="T18" fmla="*/ 0 w 2764"/>
                  <a:gd name="T19" fmla="*/ 0 h 1636"/>
                  <a:gd name="T20" fmla="*/ 0 w 2764"/>
                  <a:gd name="T21" fmla="*/ 0 h 1636"/>
                  <a:gd name="T22" fmla="*/ 0 w 2764"/>
                  <a:gd name="T23" fmla="*/ 0 h 1636"/>
                  <a:gd name="T24" fmla="*/ 0 w 2764"/>
                  <a:gd name="T25" fmla="*/ 0 h 1636"/>
                  <a:gd name="T26" fmla="*/ 0 w 2764"/>
                  <a:gd name="T27" fmla="*/ 0 h 1636"/>
                  <a:gd name="T28" fmla="*/ 0 w 2764"/>
                  <a:gd name="T29" fmla="*/ 0 h 1636"/>
                  <a:gd name="T30" fmla="*/ 0 w 2764"/>
                  <a:gd name="T31" fmla="*/ 0 h 1636"/>
                  <a:gd name="T32" fmla="*/ 0 w 2764"/>
                  <a:gd name="T33" fmla="*/ 0 h 1636"/>
                  <a:gd name="T34" fmla="*/ 0 w 2764"/>
                  <a:gd name="T35" fmla="*/ 0 h 1636"/>
                  <a:gd name="T36" fmla="*/ 0 w 2764"/>
                  <a:gd name="T37" fmla="*/ 0 h 1636"/>
                  <a:gd name="T38" fmla="*/ 0 w 2764"/>
                  <a:gd name="T39" fmla="*/ 0 h 1636"/>
                  <a:gd name="T40" fmla="*/ 0 w 2764"/>
                  <a:gd name="T41" fmla="*/ 0 h 1636"/>
                  <a:gd name="T42" fmla="*/ 0 w 2764"/>
                  <a:gd name="T43" fmla="*/ 0 h 1636"/>
                  <a:gd name="T44" fmla="*/ 0 w 2764"/>
                  <a:gd name="T45" fmla="*/ 0 h 1636"/>
                  <a:gd name="T46" fmla="*/ 0 w 2764"/>
                  <a:gd name="T47" fmla="*/ 0 h 1636"/>
                  <a:gd name="T48" fmla="*/ 0 w 2764"/>
                  <a:gd name="T49" fmla="*/ 0 h 1636"/>
                  <a:gd name="T50" fmla="*/ 0 w 2764"/>
                  <a:gd name="T51" fmla="*/ 0 h 1636"/>
                  <a:gd name="T52" fmla="*/ 0 w 2764"/>
                  <a:gd name="T53" fmla="*/ 0 h 1636"/>
                  <a:gd name="T54" fmla="*/ 0 w 2764"/>
                  <a:gd name="T55" fmla="*/ 0 h 1636"/>
                  <a:gd name="T56" fmla="*/ 0 w 2764"/>
                  <a:gd name="T57" fmla="*/ 0 h 1636"/>
                  <a:gd name="T58" fmla="*/ 0 w 2764"/>
                  <a:gd name="T59" fmla="*/ 0 h 1636"/>
                  <a:gd name="T60" fmla="*/ 0 w 2764"/>
                  <a:gd name="T61" fmla="*/ 0 h 1636"/>
                  <a:gd name="T62" fmla="*/ 0 w 2764"/>
                  <a:gd name="T63" fmla="*/ 0 h 1636"/>
                  <a:gd name="T64" fmla="*/ 0 w 2764"/>
                  <a:gd name="T65" fmla="*/ 0 h 16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64"/>
                  <a:gd name="T100" fmla="*/ 0 h 1636"/>
                  <a:gd name="T101" fmla="*/ 2764 w 2764"/>
                  <a:gd name="T102" fmla="*/ 1636 h 16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64" h="1636">
                    <a:moveTo>
                      <a:pt x="9" y="41"/>
                    </a:moveTo>
                    <a:lnTo>
                      <a:pt x="6" y="48"/>
                    </a:lnTo>
                    <a:lnTo>
                      <a:pt x="3" y="55"/>
                    </a:lnTo>
                    <a:lnTo>
                      <a:pt x="1" y="64"/>
                    </a:lnTo>
                    <a:lnTo>
                      <a:pt x="0" y="71"/>
                    </a:lnTo>
                    <a:lnTo>
                      <a:pt x="0" y="79"/>
                    </a:lnTo>
                    <a:lnTo>
                      <a:pt x="0" y="86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9"/>
                    </a:lnTo>
                    <a:lnTo>
                      <a:pt x="8" y="116"/>
                    </a:lnTo>
                    <a:lnTo>
                      <a:pt x="12" y="122"/>
                    </a:lnTo>
                    <a:lnTo>
                      <a:pt x="16" y="129"/>
                    </a:lnTo>
                    <a:lnTo>
                      <a:pt x="21" y="134"/>
                    </a:lnTo>
                    <a:lnTo>
                      <a:pt x="27" y="140"/>
                    </a:lnTo>
                    <a:lnTo>
                      <a:pt x="33" y="144"/>
                    </a:lnTo>
                    <a:lnTo>
                      <a:pt x="40" y="149"/>
                    </a:lnTo>
                    <a:lnTo>
                      <a:pt x="2648" y="1626"/>
                    </a:lnTo>
                    <a:lnTo>
                      <a:pt x="2655" y="1629"/>
                    </a:lnTo>
                    <a:lnTo>
                      <a:pt x="2663" y="1632"/>
                    </a:lnTo>
                    <a:lnTo>
                      <a:pt x="2670" y="1634"/>
                    </a:lnTo>
                    <a:lnTo>
                      <a:pt x="2678" y="1635"/>
                    </a:lnTo>
                    <a:lnTo>
                      <a:pt x="2685" y="1636"/>
                    </a:lnTo>
                    <a:lnTo>
                      <a:pt x="2693" y="1635"/>
                    </a:lnTo>
                    <a:lnTo>
                      <a:pt x="2700" y="1634"/>
                    </a:lnTo>
                    <a:lnTo>
                      <a:pt x="2707" y="1632"/>
                    </a:lnTo>
                    <a:lnTo>
                      <a:pt x="2715" y="1630"/>
                    </a:lnTo>
                    <a:lnTo>
                      <a:pt x="2721" y="1627"/>
                    </a:lnTo>
                    <a:lnTo>
                      <a:pt x="2728" y="1623"/>
                    </a:lnTo>
                    <a:lnTo>
                      <a:pt x="2734" y="1619"/>
                    </a:lnTo>
                    <a:lnTo>
                      <a:pt x="2740" y="1614"/>
                    </a:lnTo>
                    <a:lnTo>
                      <a:pt x="2745" y="1608"/>
                    </a:lnTo>
                    <a:lnTo>
                      <a:pt x="2750" y="1602"/>
                    </a:lnTo>
                    <a:lnTo>
                      <a:pt x="2754" y="1596"/>
                    </a:lnTo>
                    <a:lnTo>
                      <a:pt x="2758" y="1588"/>
                    </a:lnTo>
                    <a:lnTo>
                      <a:pt x="2761" y="1580"/>
                    </a:lnTo>
                    <a:lnTo>
                      <a:pt x="2762" y="1573"/>
                    </a:lnTo>
                    <a:lnTo>
                      <a:pt x="2764" y="1565"/>
                    </a:lnTo>
                    <a:lnTo>
                      <a:pt x="2764" y="1557"/>
                    </a:lnTo>
                    <a:lnTo>
                      <a:pt x="2764" y="1550"/>
                    </a:lnTo>
                    <a:lnTo>
                      <a:pt x="2763" y="1542"/>
                    </a:lnTo>
                    <a:lnTo>
                      <a:pt x="2761" y="1534"/>
                    </a:lnTo>
                    <a:lnTo>
                      <a:pt x="2759" y="1527"/>
                    </a:lnTo>
                    <a:lnTo>
                      <a:pt x="2755" y="1520"/>
                    </a:lnTo>
                    <a:lnTo>
                      <a:pt x="2752" y="1514"/>
                    </a:lnTo>
                    <a:lnTo>
                      <a:pt x="2747" y="1507"/>
                    </a:lnTo>
                    <a:lnTo>
                      <a:pt x="2742" y="1502"/>
                    </a:lnTo>
                    <a:lnTo>
                      <a:pt x="2737" y="1496"/>
                    </a:lnTo>
                    <a:lnTo>
                      <a:pt x="2731" y="1492"/>
                    </a:lnTo>
                    <a:lnTo>
                      <a:pt x="2724" y="1487"/>
                    </a:lnTo>
                    <a:lnTo>
                      <a:pt x="116" y="10"/>
                    </a:lnTo>
                    <a:lnTo>
                      <a:pt x="108" y="7"/>
                    </a:lnTo>
                    <a:lnTo>
                      <a:pt x="101" y="3"/>
                    </a:lnTo>
                    <a:lnTo>
                      <a:pt x="94" y="1"/>
                    </a:lnTo>
                    <a:lnTo>
                      <a:pt x="86" y="0"/>
                    </a:lnTo>
                    <a:lnTo>
                      <a:pt x="78" y="0"/>
                    </a:lnTo>
                    <a:lnTo>
                      <a:pt x="71" y="0"/>
                    </a:lnTo>
                    <a:lnTo>
                      <a:pt x="63" y="1"/>
                    </a:lnTo>
                    <a:lnTo>
                      <a:pt x="56" y="3"/>
                    </a:lnTo>
                    <a:lnTo>
                      <a:pt x="49" y="5"/>
                    </a:lnTo>
                    <a:lnTo>
                      <a:pt x="42" y="9"/>
                    </a:lnTo>
                    <a:lnTo>
                      <a:pt x="36" y="13"/>
                    </a:lnTo>
                    <a:lnTo>
                      <a:pt x="30" y="17"/>
                    </a:lnTo>
                    <a:lnTo>
                      <a:pt x="24" y="22"/>
                    </a:lnTo>
                    <a:lnTo>
                      <a:pt x="18" y="28"/>
                    </a:lnTo>
                    <a:lnTo>
                      <a:pt x="14" y="34"/>
                    </a:lnTo>
                    <a:lnTo>
                      <a:pt x="9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3" name="Freeform 108"/>
              <p:cNvSpPr>
                <a:spLocks/>
              </p:cNvSpPr>
              <p:nvPr/>
            </p:nvSpPr>
            <p:spPr bwMode="auto">
              <a:xfrm>
                <a:off x="485" y="1914"/>
                <a:ext cx="55" cy="32"/>
              </a:xfrm>
              <a:custGeom>
                <a:avLst/>
                <a:gdLst>
                  <a:gd name="T0" fmla="*/ 0 w 2764"/>
                  <a:gd name="T1" fmla="*/ 0 h 1636"/>
                  <a:gd name="T2" fmla="*/ 0 w 2764"/>
                  <a:gd name="T3" fmla="*/ 0 h 1636"/>
                  <a:gd name="T4" fmla="*/ 0 w 2764"/>
                  <a:gd name="T5" fmla="*/ 0 h 1636"/>
                  <a:gd name="T6" fmla="*/ 0 w 2764"/>
                  <a:gd name="T7" fmla="*/ 0 h 1636"/>
                  <a:gd name="T8" fmla="*/ 0 w 2764"/>
                  <a:gd name="T9" fmla="*/ 0 h 1636"/>
                  <a:gd name="T10" fmla="*/ 0 w 2764"/>
                  <a:gd name="T11" fmla="*/ 0 h 1636"/>
                  <a:gd name="T12" fmla="*/ 0 w 2764"/>
                  <a:gd name="T13" fmla="*/ 0 h 1636"/>
                  <a:gd name="T14" fmla="*/ 0 w 2764"/>
                  <a:gd name="T15" fmla="*/ 0 h 1636"/>
                  <a:gd name="T16" fmla="*/ 0 w 2764"/>
                  <a:gd name="T17" fmla="*/ 0 h 1636"/>
                  <a:gd name="T18" fmla="*/ 0 w 2764"/>
                  <a:gd name="T19" fmla="*/ 0 h 1636"/>
                  <a:gd name="T20" fmla="*/ 0 w 2764"/>
                  <a:gd name="T21" fmla="*/ 0 h 1636"/>
                  <a:gd name="T22" fmla="*/ 0 w 2764"/>
                  <a:gd name="T23" fmla="*/ 0 h 1636"/>
                  <a:gd name="T24" fmla="*/ 0 w 2764"/>
                  <a:gd name="T25" fmla="*/ 0 h 1636"/>
                  <a:gd name="T26" fmla="*/ 0 w 2764"/>
                  <a:gd name="T27" fmla="*/ 0 h 1636"/>
                  <a:gd name="T28" fmla="*/ 0 w 2764"/>
                  <a:gd name="T29" fmla="*/ 0 h 1636"/>
                  <a:gd name="T30" fmla="*/ 0 w 2764"/>
                  <a:gd name="T31" fmla="*/ 0 h 1636"/>
                  <a:gd name="T32" fmla="*/ 0 w 2764"/>
                  <a:gd name="T33" fmla="*/ 0 h 1636"/>
                  <a:gd name="T34" fmla="*/ 0 w 2764"/>
                  <a:gd name="T35" fmla="*/ 0 h 1636"/>
                  <a:gd name="T36" fmla="*/ 0 w 2764"/>
                  <a:gd name="T37" fmla="*/ 0 h 1636"/>
                  <a:gd name="T38" fmla="*/ 0 w 2764"/>
                  <a:gd name="T39" fmla="*/ 0 h 1636"/>
                  <a:gd name="T40" fmla="*/ 0 w 2764"/>
                  <a:gd name="T41" fmla="*/ 0 h 1636"/>
                  <a:gd name="T42" fmla="*/ 0 w 2764"/>
                  <a:gd name="T43" fmla="*/ 0 h 1636"/>
                  <a:gd name="T44" fmla="*/ 0 w 2764"/>
                  <a:gd name="T45" fmla="*/ 0 h 1636"/>
                  <a:gd name="T46" fmla="*/ 0 w 2764"/>
                  <a:gd name="T47" fmla="*/ 0 h 1636"/>
                  <a:gd name="T48" fmla="*/ 0 w 2764"/>
                  <a:gd name="T49" fmla="*/ 0 h 1636"/>
                  <a:gd name="T50" fmla="*/ 0 w 2764"/>
                  <a:gd name="T51" fmla="*/ 0 h 1636"/>
                  <a:gd name="T52" fmla="*/ 0 w 2764"/>
                  <a:gd name="T53" fmla="*/ 0 h 1636"/>
                  <a:gd name="T54" fmla="*/ 0 w 2764"/>
                  <a:gd name="T55" fmla="*/ 0 h 1636"/>
                  <a:gd name="T56" fmla="*/ 0 w 2764"/>
                  <a:gd name="T57" fmla="*/ 0 h 1636"/>
                  <a:gd name="T58" fmla="*/ 0 w 2764"/>
                  <a:gd name="T59" fmla="*/ 0 h 1636"/>
                  <a:gd name="T60" fmla="*/ 0 w 2764"/>
                  <a:gd name="T61" fmla="*/ 0 h 1636"/>
                  <a:gd name="T62" fmla="*/ 0 w 2764"/>
                  <a:gd name="T63" fmla="*/ 0 h 1636"/>
                  <a:gd name="T64" fmla="*/ 0 w 2764"/>
                  <a:gd name="T65" fmla="*/ 0 h 16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64"/>
                  <a:gd name="T100" fmla="*/ 0 h 1636"/>
                  <a:gd name="T101" fmla="*/ 2764 w 2764"/>
                  <a:gd name="T102" fmla="*/ 1636 h 16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64" h="1636">
                    <a:moveTo>
                      <a:pt x="9" y="41"/>
                    </a:moveTo>
                    <a:lnTo>
                      <a:pt x="6" y="48"/>
                    </a:lnTo>
                    <a:lnTo>
                      <a:pt x="3" y="55"/>
                    </a:lnTo>
                    <a:lnTo>
                      <a:pt x="1" y="63"/>
                    </a:lnTo>
                    <a:lnTo>
                      <a:pt x="0" y="70"/>
                    </a:lnTo>
                    <a:lnTo>
                      <a:pt x="0" y="78"/>
                    </a:lnTo>
                    <a:lnTo>
                      <a:pt x="0" y="85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1"/>
                    </a:lnTo>
                    <a:lnTo>
                      <a:pt x="16" y="128"/>
                    </a:lnTo>
                    <a:lnTo>
                      <a:pt x="21" y="133"/>
                    </a:lnTo>
                    <a:lnTo>
                      <a:pt x="27" y="139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2648" y="1626"/>
                    </a:lnTo>
                    <a:lnTo>
                      <a:pt x="2655" y="1629"/>
                    </a:lnTo>
                    <a:lnTo>
                      <a:pt x="2663" y="1632"/>
                    </a:lnTo>
                    <a:lnTo>
                      <a:pt x="2670" y="1634"/>
                    </a:lnTo>
                    <a:lnTo>
                      <a:pt x="2678" y="1635"/>
                    </a:lnTo>
                    <a:lnTo>
                      <a:pt x="2685" y="1636"/>
                    </a:lnTo>
                    <a:lnTo>
                      <a:pt x="2693" y="1635"/>
                    </a:lnTo>
                    <a:lnTo>
                      <a:pt x="2700" y="1634"/>
                    </a:lnTo>
                    <a:lnTo>
                      <a:pt x="2707" y="1633"/>
                    </a:lnTo>
                    <a:lnTo>
                      <a:pt x="2715" y="1630"/>
                    </a:lnTo>
                    <a:lnTo>
                      <a:pt x="2721" y="1627"/>
                    </a:lnTo>
                    <a:lnTo>
                      <a:pt x="2728" y="1623"/>
                    </a:lnTo>
                    <a:lnTo>
                      <a:pt x="2734" y="1618"/>
                    </a:lnTo>
                    <a:lnTo>
                      <a:pt x="2740" y="1613"/>
                    </a:lnTo>
                    <a:lnTo>
                      <a:pt x="2745" y="1607"/>
                    </a:lnTo>
                    <a:lnTo>
                      <a:pt x="2750" y="1601"/>
                    </a:lnTo>
                    <a:lnTo>
                      <a:pt x="2754" y="1594"/>
                    </a:lnTo>
                    <a:lnTo>
                      <a:pt x="2758" y="1587"/>
                    </a:lnTo>
                    <a:lnTo>
                      <a:pt x="2761" y="1580"/>
                    </a:lnTo>
                    <a:lnTo>
                      <a:pt x="2762" y="1573"/>
                    </a:lnTo>
                    <a:lnTo>
                      <a:pt x="2764" y="1564"/>
                    </a:lnTo>
                    <a:lnTo>
                      <a:pt x="2764" y="1556"/>
                    </a:lnTo>
                    <a:lnTo>
                      <a:pt x="2764" y="1549"/>
                    </a:lnTo>
                    <a:lnTo>
                      <a:pt x="2763" y="1542"/>
                    </a:lnTo>
                    <a:lnTo>
                      <a:pt x="2761" y="1534"/>
                    </a:lnTo>
                    <a:lnTo>
                      <a:pt x="2759" y="1527"/>
                    </a:lnTo>
                    <a:lnTo>
                      <a:pt x="2755" y="1520"/>
                    </a:lnTo>
                    <a:lnTo>
                      <a:pt x="2752" y="1513"/>
                    </a:lnTo>
                    <a:lnTo>
                      <a:pt x="2747" y="1507"/>
                    </a:lnTo>
                    <a:lnTo>
                      <a:pt x="2742" y="1501"/>
                    </a:lnTo>
                    <a:lnTo>
                      <a:pt x="2737" y="1495"/>
                    </a:lnTo>
                    <a:lnTo>
                      <a:pt x="2731" y="1491"/>
                    </a:lnTo>
                    <a:lnTo>
                      <a:pt x="2724" y="1486"/>
                    </a:lnTo>
                    <a:lnTo>
                      <a:pt x="116" y="9"/>
                    </a:lnTo>
                    <a:lnTo>
                      <a:pt x="108" y="6"/>
                    </a:lnTo>
                    <a:lnTo>
                      <a:pt x="101" y="3"/>
                    </a:lnTo>
                    <a:lnTo>
                      <a:pt x="94" y="1"/>
                    </a:lnTo>
                    <a:lnTo>
                      <a:pt x="86" y="0"/>
                    </a:lnTo>
                    <a:lnTo>
                      <a:pt x="78" y="0"/>
                    </a:lnTo>
                    <a:lnTo>
                      <a:pt x="71" y="0"/>
                    </a:lnTo>
                    <a:lnTo>
                      <a:pt x="63" y="1"/>
                    </a:lnTo>
                    <a:lnTo>
                      <a:pt x="56" y="3"/>
                    </a:lnTo>
                    <a:lnTo>
                      <a:pt x="49" y="5"/>
                    </a:lnTo>
                    <a:lnTo>
                      <a:pt x="42" y="8"/>
                    </a:lnTo>
                    <a:lnTo>
                      <a:pt x="36" y="12"/>
                    </a:lnTo>
                    <a:lnTo>
                      <a:pt x="30" y="16"/>
                    </a:lnTo>
                    <a:lnTo>
                      <a:pt x="24" y="21"/>
                    </a:lnTo>
                    <a:lnTo>
                      <a:pt x="18" y="27"/>
                    </a:lnTo>
                    <a:lnTo>
                      <a:pt x="14" y="33"/>
                    </a:lnTo>
                    <a:lnTo>
                      <a:pt x="9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4" name="Freeform 109"/>
              <p:cNvSpPr>
                <a:spLocks/>
              </p:cNvSpPr>
              <p:nvPr/>
            </p:nvSpPr>
            <p:spPr bwMode="auto">
              <a:xfrm>
                <a:off x="485" y="1922"/>
                <a:ext cx="55" cy="32"/>
              </a:xfrm>
              <a:custGeom>
                <a:avLst/>
                <a:gdLst>
                  <a:gd name="T0" fmla="*/ 0 w 2764"/>
                  <a:gd name="T1" fmla="*/ 0 h 1636"/>
                  <a:gd name="T2" fmla="*/ 0 w 2764"/>
                  <a:gd name="T3" fmla="*/ 0 h 1636"/>
                  <a:gd name="T4" fmla="*/ 0 w 2764"/>
                  <a:gd name="T5" fmla="*/ 0 h 1636"/>
                  <a:gd name="T6" fmla="*/ 0 w 2764"/>
                  <a:gd name="T7" fmla="*/ 0 h 1636"/>
                  <a:gd name="T8" fmla="*/ 0 w 2764"/>
                  <a:gd name="T9" fmla="*/ 0 h 1636"/>
                  <a:gd name="T10" fmla="*/ 0 w 2764"/>
                  <a:gd name="T11" fmla="*/ 0 h 1636"/>
                  <a:gd name="T12" fmla="*/ 0 w 2764"/>
                  <a:gd name="T13" fmla="*/ 0 h 1636"/>
                  <a:gd name="T14" fmla="*/ 0 w 2764"/>
                  <a:gd name="T15" fmla="*/ 0 h 1636"/>
                  <a:gd name="T16" fmla="*/ 0 w 2764"/>
                  <a:gd name="T17" fmla="*/ 0 h 1636"/>
                  <a:gd name="T18" fmla="*/ 0 w 2764"/>
                  <a:gd name="T19" fmla="*/ 0 h 1636"/>
                  <a:gd name="T20" fmla="*/ 0 w 2764"/>
                  <a:gd name="T21" fmla="*/ 0 h 1636"/>
                  <a:gd name="T22" fmla="*/ 0 w 2764"/>
                  <a:gd name="T23" fmla="*/ 0 h 1636"/>
                  <a:gd name="T24" fmla="*/ 0 w 2764"/>
                  <a:gd name="T25" fmla="*/ 0 h 1636"/>
                  <a:gd name="T26" fmla="*/ 0 w 2764"/>
                  <a:gd name="T27" fmla="*/ 0 h 1636"/>
                  <a:gd name="T28" fmla="*/ 0 w 2764"/>
                  <a:gd name="T29" fmla="*/ 0 h 1636"/>
                  <a:gd name="T30" fmla="*/ 0 w 2764"/>
                  <a:gd name="T31" fmla="*/ 0 h 1636"/>
                  <a:gd name="T32" fmla="*/ 0 w 2764"/>
                  <a:gd name="T33" fmla="*/ 0 h 1636"/>
                  <a:gd name="T34" fmla="*/ 0 w 2764"/>
                  <a:gd name="T35" fmla="*/ 0 h 1636"/>
                  <a:gd name="T36" fmla="*/ 0 w 2764"/>
                  <a:gd name="T37" fmla="*/ 0 h 1636"/>
                  <a:gd name="T38" fmla="*/ 0 w 2764"/>
                  <a:gd name="T39" fmla="*/ 0 h 1636"/>
                  <a:gd name="T40" fmla="*/ 0 w 2764"/>
                  <a:gd name="T41" fmla="*/ 0 h 1636"/>
                  <a:gd name="T42" fmla="*/ 0 w 2764"/>
                  <a:gd name="T43" fmla="*/ 0 h 1636"/>
                  <a:gd name="T44" fmla="*/ 0 w 2764"/>
                  <a:gd name="T45" fmla="*/ 0 h 1636"/>
                  <a:gd name="T46" fmla="*/ 0 w 2764"/>
                  <a:gd name="T47" fmla="*/ 0 h 1636"/>
                  <a:gd name="T48" fmla="*/ 0 w 2764"/>
                  <a:gd name="T49" fmla="*/ 0 h 1636"/>
                  <a:gd name="T50" fmla="*/ 0 w 2764"/>
                  <a:gd name="T51" fmla="*/ 0 h 1636"/>
                  <a:gd name="T52" fmla="*/ 0 w 2764"/>
                  <a:gd name="T53" fmla="*/ 0 h 1636"/>
                  <a:gd name="T54" fmla="*/ 0 w 2764"/>
                  <a:gd name="T55" fmla="*/ 0 h 1636"/>
                  <a:gd name="T56" fmla="*/ 0 w 2764"/>
                  <a:gd name="T57" fmla="*/ 0 h 1636"/>
                  <a:gd name="T58" fmla="*/ 0 w 2764"/>
                  <a:gd name="T59" fmla="*/ 0 h 1636"/>
                  <a:gd name="T60" fmla="*/ 0 w 2764"/>
                  <a:gd name="T61" fmla="*/ 0 h 1636"/>
                  <a:gd name="T62" fmla="*/ 0 w 2764"/>
                  <a:gd name="T63" fmla="*/ 0 h 1636"/>
                  <a:gd name="T64" fmla="*/ 0 w 2764"/>
                  <a:gd name="T65" fmla="*/ 0 h 16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64"/>
                  <a:gd name="T100" fmla="*/ 0 h 1636"/>
                  <a:gd name="T101" fmla="*/ 2764 w 2764"/>
                  <a:gd name="T102" fmla="*/ 1636 h 16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64" h="1636">
                    <a:moveTo>
                      <a:pt x="9" y="41"/>
                    </a:moveTo>
                    <a:lnTo>
                      <a:pt x="6" y="48"/>
                    </a:lnTo>
                    <a:lnTo>
                      <a:pt x="3" y="55"/>
                    </a:lnTo>
                    <a:lnTo>
                      <a:pt x="1" y="63"/>
                    </a:lnTo>
                    <a:lnTo>
                      <a:pt x="0" y="70"/>
                    </a:lnTo>
                    <a:lnTo>
                      <a:pt x="0" y="79"/>
                    </a:lnTo>
                    <a:lnTo>
                      <a:pt x="0" y="86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1"/>
                    </a:lnTo>
                    <a:lnTo>
                      <a:pt x="16" y="129"/>
                    </a:lnTo>
                    <a:lnTo>
                      <a:pt x="21" y="134"/>
                    </a:lnTo>
                    <a:lnTo>
                      <a:pt x="27" y="140"/>
                    </a:lnTo>
                    <a:lnTo>
                      <a:pt x="33" y="145"/>
                    </a:lnTo>
                    <a:lnTo>
                      <a:pt x="40" y="149"/>
                    </a:lnTo>
                    <a:lnTo>
                      <a:pt x="2648" y="1626"/>
                    </a:lnTo>
                    <a:lnTo>
                      <a:pt x="2655" y="1629"/>
                    </a:lnTo>
                    <a:lnTo>
                      <a:pt x="2663" y="1632"/>
                    </a:lnTo>
                    <a:lnTo>
                      <a:pt x="2670" y="1634"/>
                    </a:lnTo>
                    <a:lnTo>
                      <a:pt x="2678" y="1635"/>
                    </a:lnTo>
                    <a:lnTo>
                      <a:pt x="2685" y="1636"/>
                    </a:lnTo>
                    <a:lnTo>
                      <a:pt x="2693" y="1635"/>
                    </a:lnTo>
                    <a:lnTo>
                      <a:pt x="2700" y="1634"/>
                    </a:lnTo>
                    <a:lnTo>
                      <a:pt x="2707" y="1633"/>
                    </a:lnTo>
                    <a:lnTo>
                      <a:pt x="2715" y="1630"/>
                    </a:lnTo>
                    <a:lnTo>
                      <a:pt x="2721" y="1627"/>
                    </a:lnTo>
                    <a:lnTo>
                      <a:pt x="2728" y="1623"/>
                    </a:lnTo>
                    <a:lnTo>
                      <a:pt x="2734" y="1619"/>
                    </a:lnTo>
                    <a:lnTo>
                      <a:pt x="2740" y="1614"/>
                    </a:lnTo>
                    <a:lnTo>
                      <a:pt x="2745" y="1609"/>
                    </a:lnTo>
                    <a:lnTo>
                      <a:pt x="2750" y="1601"/>
                    </a:lnTo>
                    <a:lnTo>
                      <a:pt x="2754" y="1595"/>
                    </a:lnTo>
                    <a:lnTo>
                      <a:pt x="2758" y="1587"/>
                    </a:lnTo>
                    <a:lnTo>
                      <a:pt x="2761" y="1580"/>
                    </a:lnTo>
                    <a:lnTo>
                      <a:pt x="2762" y="1573"/>
                    </a:lnTo>
                    <a:lnTo>
                      <a:pt x="2764" y="1565"/>
                    </a:lnTo>
                    <a:lnTo>
                      <a:pt x="2764" y="1558"/>
                    </a:lnTo>
                    <a:lnTo>
                      <a:pt x="2764" y="1549"/>
                    </a:lnTo>
                    <a:lnTo>
                      <a:pt x="2763" y="1542"/>
                    </a:lnTo>
                    <a:lnTo>
                      <a:pt x="2761" y="1534"/>
                    </a:lnTo>
                    <a:lnTo>
                      <a:pt x="2759" y="1527"/>
                    </a:lnTo>
                    <a:lnTo>
                      <a:pt x="2755" y="1520"/>
                    </a:lnTo>
                    <a:lnTo>
                      <a:pt x="2752" y="1514"/>
                    </a:lnTo>
                    <a:lnTo>
                      <a:pt x="2747" y="1508"/>
                    </a:lnTo>
                    <a:lnTo>
                      <a:pt x="2742" y="1501"/>
                    </a:lnTo>
                    <a:lnTo>
                      <a:pt x="2737" y="1495"/>
                    </a:lnTo>
                    <a:lnTo>
                      <a:pt x="2731" y="1491"/>
                    </a:lnTo>
                    <a:lnTo>
                      <a:pt x="2724" y="1486"/>
                    </a:lnTo>
                    <a:lnTo>
                      <a:pt x="116" y="9"/>
                    </a:lnTo>
                    <a:lnTo>
                      <a:pt x="108" y="6"/>
                    </a:lnTo>
                    <a:lnTo>
                      <a:pt x="101" y="3"/>
                    </a:lnTo>
                    <a:lnTo>
                      <a:pt x="94" y="1"/>
                    </a:lnTo>
                    <a:lnTo>
                      <a:pt x="86" y="0"/>
                    </a:lnTo>
                    <a:lnTo>
                      <a:pt x="78" y="0"/>
                    </a:lnTo>
                    <a:lnTo>
                      <a:pt x="71" y="0"/>
                    </a:lnTo>
                    <a:lnTo>
                      <a:pt x="63" y="1"/>
                    </a:lnTo>
                    <a:lnTo>
                      <a:pt x="56" y="3"/>
                    </a:lnTo>
                    <a:lnTo>
                      <a:pt x="49" y="5"/>
                    </a:lnTo>
                    <a:lnTo>
                      <a:pt x="42" y="8"/>
                    </a:lnTo>
                    <a:lnTo>
                      <a:pt x="36" y="12"/>
                    </a:lnTo>
                    <a:lnTo>
                      <a:pt x="30" y="16"/>
                    </a:lnTo>
                    <a:lnTo>
                      <a:pt x="24" y="21"/>
                    </a:lnTo>
                    <a:lnTo>
                      <a:pt x="18" y="28"/>
                    </a:lnTo>
                    <a:lnTo>
                      <a:pt x="14" y="34"/>
                    </a:lnTo>
                    <a:lnTo>
                      <a:pt x="9" y="41"/>
                    </a:lnTo>
                    <a:close/>
                  </a:path>
                </a:pathLst>
              </a:custGeom>
              <a:solidFill>
                <a:srgbClr val="9F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5" name="Freeform 110"/>
              <p:cNvSpPr>
                <a:spLocks/>
              </p:cNvSpPr>
              <p:nvPr/>
            </p:nvSpPr>
            <p:spPr bwMode="auto">
              <a:xfrm>
                <a:off x="479" y="2027"/>
                <a:ext cx="68" cy="40"/>
              </a:xfrm>
              <a:custGeom>
                <a:avLst/>
                <a:gdLst>
                  <a:gd name="T0" fmla="*/ 0 w 3426"/>
                  <a:gd name="T1" fmla="*/ 0 h 2035"/>
                  <a:gd name="T2" fmla="*/ 0 w 3426"/>
                  <a:gd name="T3" fmla="*/ 0 h 2035"/>
                  <a:gd name="T4" fmla="*/ 0 w 3426"/>
                  <a:gd name="T5" fmla="*/ 0 h 2035"/>
                  <a:gd name="T6" fmla="*/ 0 w 3426"/>
                  <a:gd name="T7" fmla="*/ 0 h 2035"/>
                  <a:gd name="T8" fmla="*/ 0 w 3426"/>
                  <a:gd name="T9" fmla="*/ 0 h 2035"/>
                  <a:gd name="T10" fmla="*/ 0 w 3426"/>
                  <a:gd name="T11" fmla="*/ 0 h 2035"/>
                  <a:gd name="T12" fmla="*/ 0 w 3426"/>
                  <a:gd name="T13" fmla="*/ 0 h 2035"/>
                  <a:gd name="T14" fmla="*/ 0 w 3426"/>
                  <a:gd name="T15" fmla="*/ 0 h 2035"/>
                  <a:gd name="T16" fmla="*/ 0 w 3426"/>
                  <a:gd name="T17" fmla="*/ 0 h 2035"/>
                  <a:gd name="T18" fmla="*/ 0 w 3426"/>
                  <a:gd name="T19" fmla="*/ 0 h 2035"/>
                  <a:gd name="T20" fmla="*/ 0 w 3426"/>
                  <a:gd name="T21" fmla="*/ 0 h 2035"/>
                  <a:gd name="T22" fmla="*/ 0 w 3426"/>
                  <a:gd name="T23" fmla="*/ 0 h 2035"/>
                  <a:gd name="T24" fmla="*/ 0 w 3426"/>
                  <a:gd name="T25" fmla="*/ 0 h 2035"/>
                  <a:gd name="T26" fmla="*/ 0 w 3426"/>
                  <a:gd name="T27" fmla="*/ 0 h 2035"/>
                  <a:gd name="T28" fmla="*/ 0 w 3426"/>
                  <a:gd name="T29" fmla="*/ 0 h 2035"/>
                  <a:gd name="T30" fmla="*/ 0 w 3426"/>
                  <a:gd name="T31" fmla="*/ 0 h 2035"/>
                  <a:gd name="T32" fmla="*/ 0 w 3426"/>
                  <a:gd name="T33" fmla="*/ 0 h 2035"/>
                  <a:gd name="T34" fmla="*/ 0 w 3426"/>
                  <a:gd name="T35" fmla="*/ 0 h 2035"/>
                  <a:gd name="T36" fmla="*/ 0 w 3426"/>
                  <a:gd name="T37" fmla="*/ 0 h 2035"/>
                  <a:gd name="T38" fmla="*/ 0 w 3426"/>
                  <a:gd name="T39" fmla="*/ 0 h 2035"/>
                  <a:gd name="T40" fmla="*/ 0 w 3426"/>
                  <a:gd name="T41" fmla="*/ 0 h 2035"/>
                  <a:gd name="T42" fmla="*/ 0 w 3426"/>
                  <a:gd name="T43" fmla="*/ 0 h 2035"/>
                  <a:gd name="T44" fmla="*/ 0 w 3426"/>
                  <a:gd name="T45" fmla="*/ 0 h 2035"/>
                  <a:gd name="T46" fmla="*/ 0 w 3426"/>
                  <a:gd name="T47" fmla="*/ 0 h 2035"/>
                  <a:gd name="T48" fmla="*/ 0 w 3426"/>
                  <a:gd name="T49" fmla="*/ 0 h 2035"/>
                  <a:gd name="T50" fmla="*/ 0 w 3426"/>
                  <a:gd name="T51" fmla="*/ 0 h 2035"/>
                  <a:gd name="T52" fmla="*/ 0 w 3426"/>
                  <a:gd name="T53" fmla="*/ 0 h 2035"/>
                  <a:gd name="T54" fmla="*/ 0 w 3426"/>
                  <a:gd name="T55" fmla="*/ 0 h 2035"/>
                  <a:gd name="T56" fmla="*/ 0 w 3426"/>
                  <a:gd name="T57" fmla="*/ 0 h 2035"/>
                  <a:gd name="T58" fmla="*/ 0 w 3426"/>
                  <a:gd name="T59" fmla="*/ 0 h 2035"/>
                  <a:gd name="T60" fmla="*/ 0 w 3426"/>
                  <a:gd name="T61" fmla="*/ 0 h 2035"/>
                  <a:gd name="T62" fmla="*/ 0 w 3426"/>
                  <a:gd name="T63" fmla="*/ 0 h 2035"/>
                  <a:gd name="T64" fmla="*/ 0 w 3426"/>
                  <a:gd name="T65" fmla="*/ 0 h 20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426"/>
                  <a:gd name="T100" fmla="*/ 0 h 2035"/>
                  <a:gd name="T101" fmla="*/ 3426 w 3426"/>
                  <a:gd name="T102" fmla="*/ 2035 h 203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426" h="2035">
                    <a:moveTo>
                      <a:pt x="10" y="41"/>
                    </a:moveTo>
                    <a:lnTo>
                      <a:pt x="6" y="48"/>
                    </a:lnTo>
                    <a:lnTo>
                      <a:pt x="3" y="56"/>
                    </a:lnTo>
                    <a:lnTo>
                      <a:pt x="1" y="63"/>
                    </a:lnTo>
                    <a:lnTo>
                      <a:pt x="0" y="71"/>
                    </a:lnTo>
                    <a:lnTo>
                      <a:pt x="0" y="79"/>
                    </a:lnTo>
                    <a:lnTo>
                      <a:pt x="0" y="87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8"/>
                    </a:lnTo>
                    <a:lnTo>
                      <a:pt x="8" y="115"/>
                    </a:lnTo>
                    <a:lnTo>
                      <a:pt x="12" y="122"/>
                    </a:lnTo>
                    <a:lnTo>
                      <a:pt x="16" y="129"/>
                    </a:lnTo>
                    <a:lnTo>
                      <a:pt x="21" y="135"/>
                    </a:lnTo>
                    <a:lnTo>
                      <a:pt x="26" y="140"/>
                    </a:lnTo>
                    <a:lnTo>
                      <a:pt x="33" y="145"/>
                    </a:lnTo>
                    <a:lnTo>
                      <a:pt x="39" y="149"/>
                    </a:lnTo>
                    <a:lnTo>
                      <a:pt x="3310" y="2025"/>
                    </a:lnTo>
                    <a:lnTo>
                      <a:pt x="3317" y="2029"/>
                    </a:lnTo>
                    <a:lnTo>
                      <a:pt x="3325" y="2031"/>
                    </a:lnTo>
                    <a:lnTo>
                      <a:pt x="3332" y="2034"/>
                    </a:lnTo>
                    <a:lnTo>
                      <a:pt x="3340" y="2035"/>
                    </a:lnTo>
                    <a:lnTo>
                      <a:pt x="3347" y="2035"/>
                    </a:lnTo>
                    <a:lnTo>
                      <a:pt x="3355" y="2035"/>
                    </a:lnTo>
                    <a:lnTo>
                      <a:pt x="3362" y="2034"/>
                    </a:lnTo>
                    <a:lnTo>
                      <a:pt x="3369" y="2032"/>
                    </a:lnTo>
                    <a:lnTo>
                      <a:pt x="3376" y="2030"/>
                    </a:lnTo>
                    <a:lnTo>
                      <a:pt x="3383" y="2027"/>
                    </a:lnTo>
                    <a:lnTo>
                      <a:pt x="3390" y="2023"/>
                    </a:lnTo>
                    <a:lnTo>
                      <a:pt x="3396" y="2019"/>
                    </a:lnTo>
                    <a:lnTo>
                      <a:pt x="3402" y="2014"/>
                    </a:lnTo>
                    <a:lnTo>
                      <a:pt x="3407" y="2007"/>
                    </a:lnTo>
                    <a:lnTo>
                      <a:pt x="3412" y="2001"/>
                    </a:lnTo>
                    <a:lnTo>
                      <a:pt x="3416" y="1995"/>
                    </a:lnTo>
                    <a:lnTo>
                      <a:pt x="3420" y="1987"/>
                    </a:lnTo>
                    <a:lnTo>
                      <a:pt x="3423" y="1980"/>
                    </a:lnTo>
                    <a:lnTo>
                      <a:pt x="3424" y="1973"/>
                    </a:lnTo>
                    <a:lnTo>
                      <a:pt x="3426" y="1965"/>
                    </a:lnTo>
                    <a:lnTo>
                      <a:pt x="3426" y="1957"/>
                    </a:lnTo>
                    <a:lnTo>
                      <a:pt x="3426" y="1949"/>
                    </a:lnTo>
                    <a:lnTo>
                      <a:pt x="3425" y="1942"/>
                    </a:lnTo>
                    <a:lnTo>
                      <a:pt x="3423" y="1934"/>
                    </a:lnTo>
                    <a:lnTo>
                      <a:pt x="3421" y="1927"/>
                    </a:lnTo>
                    <a:lnTo>
                      <a:pt x="3418" y="1920"/>
                    </a:lnTo>
                    <a:lnTo>
                      <a:pt x="3414" y="1914"/>
                    </a:lnTo>
                    <a:lnTo>
                      <a:pt x="3410" y="1906"/>
                    </a:lnTo>
                    <a:lnTo>
                      <a:pt x="3405" y="1901"/>
                    </a:lnTo>
                    <a:lnTo>
                      <a:pt x="3399" y="1895"/>
                    </a:lnTo>
                    <a:lnTo>
                      <a:pt x="3393" y="1890"/>
                    </a:lnTo>
                    <a:lnTo>
                      <a:pt x="3386" y="1886"/>
                    </a:lnTo>
                    <a:lnTo>
                      <a:pt x="116" y="10"/>
                    </a:lnTo>
                    <a:lnTo>
                      <a:pt x="109" y="7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6" y="1"/>
                    </a:lnTo>
                    <a:lnTo>
                      <a:pt x="79" y="0"/>
                    </a:lnTo>
                    <a:lnTo>
                      <a:pt x="71" y="1"/>
                    </a:lnTo>
                    <a:lnTo>
                      <a:pt x="64" y="2"/>
                    </a:lnTo>
                    <a:lnTo>
                      <a:pt x="57" y="3"/>
                    </a:lnTo>
                    <a:lnTo>
                      <a:pt x="50" y="6"/>
                    </a:lnTo>
                    <a:lnTo>
                      <a:pt x="43" y="9"/>
                    </a:lnTo>
                    <a:lnTo>
                      <a:pt x="36" y="12"/>
                    </a:lnTo>
                    <a:lnTo>
                      <a:pt x="30" y="17"/>
                    </a:lnTo>
                    <a:lnTo>
                      <a:pt x="24" y="23"/>
                    </a:lnTo>
                    <a:lnTo>
                      <a:pt x="19" y="28"/>
                    </a:lnTo>
                    <a:lnTo>
                      <a:pt x="14" y="34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B4B4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6" name="Freeform 111"/>
              <p:cNvSpPr>
                <a:spLocks/>
              </p:cNvSpPr>
              <p:nvPr/>
            </p:nvSpPr>
            <p:spPr bwMode="auto">
              <a:xfrm>
                <a:off x="479" y="2035"/>
                <a:ext cx="68" cy="40"/>
              </a:xfrm>
              <a:custGeom>
                <a:avLst/>
                <a:gdLst>
                  <a:gd name="T0" fmla="*/ 0 w 3426"/>
                  <a:gd name="T1" fmla="*/ 0 h 2035"/>
                  <a:gd name="T2" fmla="*/ 0 w 3426"/>
                  <a:gd name="T3" fmla="*/ 0 h 2035"/>
                  <a:gd name="T4" fmla="*/ 0 w 3426"/>
                  <a:gd name="T5" fmla="*/ 0 h 2035"/>
                  <a:gd name="T6" fmla="*/ 0 w 3426"/>
                  <a:gd name="T7" fmla="*/ 0 h 2035"/>
                  <a:gd name="T8" fmla="*/ 0 w 3426"/>
                  <a:gd name="T9" fmla="*/ 0 h 2035"/>
                  <a:gd name="T10" fmla="*/ 0 w 3426"/>
                  <a:gd name="T11" fmla="*/ 0 h 2035"/>
                  <a:gd name="T12" fmla="*/ 0 w 3426"/>
                  <a:gd name="T13" fmla="*/ 0 h 2035"/>
                  <a:gd name="T14" fmla="*/ 0 w 3426"/>
                  <a:gd name="T15" fmla="*/ 0 h 2035"/>
                  <a:gd name="T16" fmla="*/ 0 w 3426"/>
                  <a:gd name="T17" fmla="*/ 0 h 2035"/>
                  <a:gd name="T18" fmla="*/ 0 w 3426"/>
                  <a:gd name="T19" fmla="*/ 0 h 2035"/>
                  <a:gd name="T20" fmla="*/ 0 w 3426"/>
                  <a:gd name="T21" fmla="*/ 0 h 2035"/>
                  <a:gd name="T22" fmla="*/ 0 w 3426"/>
                  <a:gd name="T23" fmla="*/ 0 h 2035"/>
                  <a:gd name="T24" fmla="*/ 0 w 3426"/>
                  <a:gd name="T25" fmla="*/ 0 h 2035"/>
                  <a:gd name="T26" fmla="*/ 0 w 3426"/>
                  <a:gd name="T27" fmla="*/ 0 h 2035"/>
                  <a:gd name="T28" fmla="*/ 0 w 3426"/>
                  <a:gd name="T29" fmla="*/ 0 h 2035"/>
                  <a:gd name="T30" fmla="*/ 0 w 3426"/>
                  <a:gd name="T31" fmla="*/ 0 h 2035"/>
                  <a:gd name="T32" fmla="*/ 0 w 3426"/>
                  <a:gd name="T33" fmla="*/ 0 h 2035"/>
                  <a:gd name="T34" fmla="*/ 0 w 3426"/>
                  <a:gd name="T35" fmla="*/ 0 h 2035"/>
                  <a:gd name="T36" fmla="*/ 0 w 3426"/>
                  <a:gd name="T37" fmla="*/ 0 h 2035"/>
                  <a:gd name="T38" fmla="*/ 0 w 3426"/>
                  <a:gd name="T39" fmla="*/ 0 h 2035"/>
                  <a:gd name="T40" fmla="*/ 0 w 3426"/>
                  <a:gd name="T41" fmla="*/ 0 h 2035"/>
                  <a:gd name="T42" fmla="*/ 0 w 3426"/>
                  <a:gd name="T43" fmla="*/ 0 h 2035"/>
                  <a:gd name="T44" fmla="*/ 0 w 3426"/>
                  <a:gd name="T45" fmla="*/ 0 h 2035"/>
                  <a:gd name="T46" fmla="*/ 0 w 3426"/>
                  <a:gd name="T47" fmla="*/ 0 h 2035"/>
                  <a:gd name="T48" fmla="*/ 0 w 3426"/>
                  <a:gd name="T49" fmla="*/ 0 h 2035"/>
                  <a:gd name="T50" fmla="*/ 0 w 3426"/>
                  <a:gd name="T51" fmla="*/ 0 h 2035"/>
                  <a:gd name="T52" fmla="*/ 0 w 3426"/>
                  <a:gd name="T53" fmla="*/ 0 h 2035"/>
                  <a:gd name="T54" fmla="*/ 0 w 3426"/>
                  <a:gd name="T55" fmla="*/ 0 h 2035"/>
                  <a:gd name="T56" fmla="*/ 0 w 3426"/>
                  <a:gd name="T57" fmla="*/ 0 h 2035"/>
                  <a:gd name="T58" fmla="*/ 0 w 3426"/>
                  <a:gd name="T59" fmla="*/ 0 h 2035"/>
                  <a:gd name="T60" fmla="*/ 0 w 3426"/>
                  <a:gd name="T61" fmla="*/ 0 h 2035"/>
                  <a:gd name="T62" fmla="*/ 0 w 3426"/>
                  <a:gd name="T63" fmla="*/ 0 h 2035"/>
                  <a:gd name="T64" fmla="*/ 0 w 3426"/>
                  <a:gd name="T65" fmla="*/ 0 h 20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426"/>
                  <a:gd name="T100" fmla="*/ 0 h 2035"/>
                  <a:gd name="T101" fmla="*/ 3426 w 3426"/>
                  <a:gd name="T102" fmla="*/ 2035 h 203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426" h="2035">
                    <a:moveTo>
                      <a:pt x="10" y="41"/>
                    </a:moveTo>
                    <a:lnTo>
                      <a:pt x="6" y="48"/>
                    </a:lnTo>
                    <a:lnTo>
                      <a:pt x="3" y="55"/>
                    </a:lnTo>
                    <a:lnTo>
                      <a:pt x="1" y="64"/>
                    </a:lnTo>
                    <a:lnTo>
                      <a:pt x="0" y="71"/>
                    </a:lnTo>
                    <a:lnTo>
                      <a:pt x="0" y="79"/>
                    </a:lnTo>
                    <a:lnTo>
                      <a:pt x="0" y="87"/>
                    </a:lnTo>
                    <a:lnTo>
                      <a:pt x="1" y="94"/>
                    </a:lnTo>
                    <a:lnTo>
                      <a:pt x="3" y="101"/>
                    </a:lnTo>
                    <a:lnTo>
                      <a:pt x="5" y="109"/>
                    </a:lnTo>
                    <a:lnTo>
                      <a:pt x="8" y="116"/>
                    </a:lnTo>
                    <a:lnTo>
                      <a:pt x="12" y="123"/>
                    </a:lnTo>
                    <a:lnTo>
                      <a:pt x="16" y="129"/>
                    </a:lnTo>
                    <a:lnTo>
                      <a:pt x="21" y="135"/>
                    </a:lnTo>
                    <a:lnTo>
                      <a:pt x="26" y="140"/>
                    </a:lnTo>
                    <a:lnTo>
                      <a:pt x="33" y="145"/>
                    </a:lnTo>
                    <a:lnTo>
                      <a:pt x="39" y="149"/>
                    </a:lnTo>
                    <a:lnTo>
                      <a:pt x="3310" y="2025"/>
                    </a:lnTo>
                    <a:lnTo>
                      <a:pt x="3317" y="2029"/>
                    </a:lnTo>
                    <a:lnTo>
                      <a:pt x="3325" y="2032"/>
                    </a:lnTo>
                    <a:lnTo>
                      <a:pt x="3332" y="2034"/>
                    </a:lnTo>
                    <a:lnTo>
                      <a:pt x="3340" y="2035"/>
                    </a:lnTo>
                    <a:lnTo>
                      <a:pt x="3347" y="2035"/>
                    </a:lnTo>
                    <a:lnTo>
                      <a:pt x="3355" y="2035"/>
                    </a:lnTo>
                    <a:lnTo>
                      <a:pt x="3362" y="2034"/>
                    </a:lnTo>
                    <a:lnTo>
                      <a:pt x="3369" y="2032"/>
                    </a:lnTo>
                    <a:lnTo>
                      <a:pt x="3376" y="2030"/>
                    </a:lnTo>
                    <a:lnTo>
                      <a:pt x="3383" y="2027"/>
                    </a:lnTo>
                    <a:lnTo>
                      <a:pt x="3390" y="2023"/>
                    </a:lnTo>
                    <a:lnTo>
                      <a:pt x="3396" y="2019"/>
                    </a:lnTo>
                    <a:lnTo>
                      <a:pt x="3402" y="2014"/>
                    </a:lnTo>
                    <a:lnTo>
                      <a:pt x="3407" y="2008"/>
                    </a:lnTo>
                    <a:lnTo>
                      <a:pt x="3412" y="2002"/>
                    </a:lnTo>
                    <a:lnTo>
                      <a:pt x="3416" y="1994"/>
                    </a:lnTo>
                    <a:lnTo>
                      <a:pt x="3420" y="1987"/>
                    </a:lnTo>
                    <a:lnTo>
                      <a:pt x="3423" y="1980"/>
                    </a:lnTo>
                    <a:lnTo>
                      <a:pt x="3424" y="1973"/>
                    </a:lnTo>
                    <a:lnTo>
                      <a:pt x="3426" y="1965"/>
                    </a:lnTo>
                    <a:lnTo>
                      <a:pt x="3426" y="1958"/>
                    </a:lnTo>
                    <a:lnTo>
                      <a:pt x="3426" y="1950"/>
                    </a:lnTo>
                    <a:lnTo>
                      <a:pt x="3425" y="1942"/>
                    </a:lnTo>
                    <a:lnTo>
                      <a:pt x="3423" y="1934"/>
                    </a:lnTo>
                    <a:lnTo>
                      <a:pt x="3421" y="1927"/>
                    </a:lnTo>
                    <a:lnTo>
                      <a:pt x="3418" y="1920"/>
                    </a:lnTo>
                    <a:lnTo>
                      <a:pt x="3414" y="1914"/>
                    </a:lnTo>
                    <a:lnTo>
                      <a:pt x="3410" y="1908"/>
                    </a:lnTo>
                    <a:lnTo>
                      <a:pt x="3405" y="1902"/>
                    </a:lnTo>
                    <a:lnTo>
                      <a:pt x="3399" y="1896"/>
                    </a:lnTo>
                    <a:lnTo>
                      <a:pt x="3393" y="1891"/>
                    </a:lnTo>
                    <a:lnTo>
                      <a:pt x="3386" y="1886"/>
                    </a:lnTo>
                    <a:lnTo>
                      <a:pt x="116" y="11"/>
                    </a:lnTo>
                    <a:lnTo>
                      <a:pt x="109" y="8"/>
                    </a:lnTo>
                    <a:lnTo>
                      <a:pt x="101" y="4"/>
                    </a:lnTo>
                    <a:lnTo>
                      <a:pt x="94" y="2"/>
                    </a:lnTo>
                    <a:lnTo>
                      <a:pt x="86" y="1"/>
                    </a:lnTo>
                    <a:lnTo>
                      <a:pt x="79" y="0"/>
                    </a:lnTo>
                    <a:lnTo>
                      <a:pt x="71" y="1"/>
                    </a:lnTo>
                    <a:lnTo>
                      <a:pt x="64" y="2"/>
                    </a:lnTo>
                    <a:lnTo>
                      <a:pt x="57" y="3"/>
                    </a:lnTo>
                    <a:lnTo>
                      <a:pt x="50" y="7"/>
                    </a:lnTo>
                    <a:lnTo>
                      <a:pt x="43" y="10"/>
                    </a:lnTo>
                    <a:lnTo>
                      <a:pt x="36" y="13"/>
                    </a:lnTo>
                    <a:lnTo>
                      <a:pt x="30" y="18"/>
                    </a:lnTo>
                    <a:lnTo>
                      <a:pt x="24" y="23"/>
                    </a:lnTo>
                    <a:lnTo>
                      <a:pt x="19" y="28"/>
                    </a:lnTo>
                    <a:lnTo>
                      <a:pt x="14" y="34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B4B4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7" name="Freeform 112"/>
              <p:cNvSpPr>
                <a:spLocks/>
              </p:cNvSpPr>
              <p:nvPr/>
            </p:nvSpPr>
            <p:spPr bwMode="auto">
              <a:xfrm>
                <a:off x="493" y="1948"/>
                <a:ext cx="10" cy="11"/>
              </a:xfrm>
              <a:custGeom>
                <a:avLst/>
                <a:gdLst>
                  <a:gd name="T0" fmla="*/ 0 w 505"/>
                  <a:gd name="T1" fmla="*/ 0 h 593"/>
                  <a:gd name="T2" fmla="*/ 0 w 505"/>
                  <a:gd name="T3" fmla="*/ 0 h 593"/>
                  <a:gd name="T4" fmla="*/ 0 w 505"/>
                  <a:gd name="T5" fmla="*/ 0 h 593"/>
                  <a:gd name="T6" fmla="*/ 0 w 505"/>
                  <a:gd name="T7" fmla="*/ 0 h 593"/>
                  <a:gd name="T8" fmla="*/ 0 w 505"/>
                  <a:gd name="T9" fmla="*/ 0 h 593"/>
                  <a:gd name="T10" fmla="*/ 0 w 505"/>
                  <a:gd name="T11" fmla="*/ 0 h 593"/>
                  <a:gd name="T12" fmla="*/ 0 w 505"/>
                  <a:gd name="T13" fmla="*/ 0 h 593"/>
                  <a:gd name="T14" fmla="*/ 0 w 505"/>
                  <a:gd name="T15" fmla="*/ 0 h 593"/>
                  <a:gd name="T16" fmla="*/ 0 w 505"/>
                  <a:gd name="T17" fmla="*/ 0 h 593"/>
                  <a:gd name="T18" fmla="*/ 0 w 505"/>
                  <a:gd name="T19" fmla="*/ 0 h 593"/>
                  <a:gd name="T20" fmla="*/ 0 w 505"/>
                  <a:gd name="T21" fmla="*/ 0 h 593"/>
                  <a:gd name="T22" fmla="*/ 0 w 505"/>
                  <a:gd name="T23" fmla="*/ 0 h 593"/>
                  <a:gd name="T24" fmla="*/ 0 w 505"/>
                  <a:gd name="T25" fmla="*/ 0 h 593"/>
                  <a:gd name="T26" fmla="*/ 0 w 505"/>
                  <a:gd name="T27" fmla="*/ 0 h 593"/>
                  <a:gd name="T28" fmla="*/ 0 w 505"/>
                  <a:gd name="T29" fmla="*/ 0 h 593"/>
                  <a:gd name="T30" fmla="*/ 0 w 505"/>
                  <a:gd name="T31" fmla="*/ 0 h 593"/>
                  <a:gd name="T32" fmla="*/ 0 w 505"/>
                  <a:gd name="T33" fmla="*/ 0 h 593"/>
                  <a:gd name="T34" fmla="*/ 0 w 505"/>
                  <a:gd name="T35" fmla="*/ 0 h 593"/>
                  <a:gd name="T36" fmla="*/ 0 w 505"/>
                  <a:gd name="T37" fmla="*/ 0 h 593"/>
                  <a:gd name="T38" fmla="*/ 0 w 505"/>
                  <a:gd name="T39" fmla="*/ 0 h 593"/>
                  <a:gd name="T40" fmla="*/ 0 w 505"/>
                  <a:gd name="T41" fmla="*/ 0 h 593"/>
                  <a:gd name="T42" fmla="*/ 0 w 505"/>
                  <a:gd name="T43" fmla="*/ 0 h 593"/>
                  <a:gd name="T44" fmla="*/ 0 w 505"/>
                  <a:gd name="T45" fmla="*/ 0 h 593"/>
                  <a:gd name="T46" fmla="*/ 0 w 505"/>
                  <a:gd name="T47" fmla="*/ 0 h 593"/>
                  <a:gd name="T48" fmla="*/ 0 w 505"/>
                  <a:gd name="T49" fmla="*/ 0 h 593"/>
                  <a:gd name="T50" fmla="*/ 0 w 505"/>
                  <a:gd name="T51" fmla="*/ 0 h 593"/>
                  <a:gd name="T52" fmla="*/ 0 w 505"/>
                  <a:gd name="T53" fmla="*/ 0 h 593"/>
                  <a:gd name="T54" fmla="*/ 0 w 505"/>
                  <a:gd name="T55" fmla="*/ 0 h 593"/>
                  <a:gd name="T56" fmla="*/ 0 w 505"/>
                  <a:gd name="T57" fmla="*/ 0 h 593"/>
                  <a:gd name="T58" fmla="*/ 0 w 505"/>
                  <a:gd name="T59" fmla="*/ 0 h 593"/>
                  <a:gd name="T60" fmla="*/ 0 w 505"/>
                  <a:gd name="T61" fmla="*/ 0 h 593"/>
                  <a:gd name="T62" fmla="*/ 0 w 505"/>
                  <a:gd name="T63" fmla="*/ 0 h 593"/>
                  <a:gd name="T64" fmla="*/ 0 w 505"/>
                  <a:gd name="T65" fmla="*/ 0 h 593"/>
                  <a:gd name="T66" fmla="*/ 0 w 505"/>
                  <a:gd name="T67" fmla="*/ 0 h 593"/>
                  <a:gd name="T68" fmla="*/ 0 w 505"/>
                  <a:gd name="T69" fmla="*/ 0 h 593"/>
                  <a:gd name="T70" fmla="*/ 0 w 505"/>
                  <a:gd name="T71" fmla="*/ 0 h 593"/>
                  <a:gd name="T72" fmla="*/ 0 w 505"/>
                  <a:gd name="T73" fmla="*/ 0 h 593"/>
                  <a:gd name="T74" fmla="*/ 0 w 505"/>
                  <a:gd name="T75" fmla="*/ 0 h 593"/>
                  <a:gd name="T76" fmla="*/ 0 w 505"/>
                  <a:gd name="T77" fmla="*/ 0 h 593"/>
                  <a:gd name="T78" fmla="*/ 0 w 505"/>
                  <a:gd name="T79" fmla="*/ 0 h 593"/>
                  <a:gd name="T80" fmla="*/ 0 w 505"/>
                  <a:gd name="T81" fmla="*/ 0 h 593"/>
                  <a:gd name="T82" fmla="*/ 0 w 505"/>
                  <a:gd name="T83" fmla="*/ 0 h 593"/>
                  <a:gd name="T84" fmla="*/ 0 w 505"/>
                  <a:gd name="T85" fmla="*/ 0 h 59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5"/>
                  <a:gd name="T130" fmla="*/ 0 h 593"/>
                  <a:gd name="T131" fmla="*/ 505 w 505"/>
                  <a:gd name="T132" fmla="*/ 593 h 59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5" h="593">
                    <a:moveTo>
                      <a:pt x="505" y="320"/>
                    </a:moveTo>
                    <a:lnTo>
                      <a:pt x="505" y="335"/>
                    </a:lnTo>
                    <a:lnTo>
                      <a:pt x="505" y="350"/>
                    </a:lnTo>
                    <a:lnTo>
                      <a:pt x="504" y="365"/>
                    </a:lnTo>
                    <a:lnTo>
                      <a:pt x="503" y="379"/>
                    </a:lnTo>
                    <a:lnTo>
                      <a:pt x="501" y="394"/>
                    </a:lnTo>
                    <a:lnTo>
                      <a:pt x="498" y="407"/>
                    </a:lnTo>
                    <a:lnTo>
                      <a:pt x="495" y="420"/>
                    </a:lnTo>
                    <a:lnTo>
                      <a:pt x="491" y="433"/>
                    </a:lnTo>
                    <a:lnTo>
                      <a:pt x="487" y="446"/>
                    </a:lnTo>
                    <a:lnTo>
                      <a:pt x="482" y="458"/>
                    </a:lnTo>
                    <a:lnTo>
                      <a:pt x="476" y="470"/>
                    </a:lnTo>
                    <a:lnTo>
                      <a:pt x="470" y="481"/>
                    </a:lnTo>
                    <a:lnTo>
                      <a:pt x="464" y="492"/>
                    </a:lnTo>
                    <a:lnTo>
                      <a:pt x="457" y="503"/>
                    </a:lnTo>
                    <a:lnTo>
                      <a:pt x="450" y="513"/>
                    </a:lnTo>
                    <a:lnTo>
                      <a:pt x="442" y="522"/>
                    </a:lnTo>
                    <a:lnTo>
                      <a:pt x="434" y="531"/>
                    </a:lnTo>
                    <a:lnTo>
                      <a:pt x="425" y="539"/>
                    </a:lnTo>
                    <a:lnTo>
                      <a:pt x="416" y="548"/>
                    </a:lnTo>
                    <a:lnTo>
                      <a:pt x="406" y="555"/>
                    </a:lnTo>
                    <a:lnTo>
                      <a:pt x="397" y="562"/>
                    </a:lnTo>
                    <a:lnTo>
                      <a:pt x="386" y="568"/>
                    </a:lnTo>
                    <a:lnTo>
                      <a:pt x="376" y="573"/>
                    </a:lnTo>
                    <a:lnTo>
                      <a:pt x="365" y="578"/>
                    </a:lnTo>
                    <a:lnTo>
                      <a:pt x="354" y="582"/>
                    </a:lnTo>
                    <a:lnTo>
                      <a:pt x="342" y="586"/>
                    </a:lnTo>
                    <a:lnTo>
                      <a:pt x="331" y="588"/>
                    </a:lnTo>
                    <a:lnTo>
                      <a:pt x="319" y="590"/>
                    </a:lnTo>
                    <a:lnTo>
                      <a:pt x="306" y="592"/>
                    </a:lnTo>
                    <a:lnTo>
                      <a:pt x="294" y="593"/>
                    </a:lnTo>
                    <a:lnTo>
                      <a:pt x="281" y="593"/>
                    </a:lnTo>
                    <a:lnTo>
                      <a:pt x="268" y="592"/>
                    </a:lnTo>
                    <a:lnTo>
                      <a:pt x="255" y="590"/>
                    </a:lnTo>
                    <a:lnTo>
                      <a:pt x="242" y="588"/>
                    </a:lnTo>
                    <a:lnTo>
                      <a:pt x="229" y="585"/>
                    </a:lnTo>
                    <a:lnTo>
                      <a:pt x="217" y="581"/>
                    </a:lnTo>
                    <a:lnTo>
                      <a:pt x="204" y="577"/>
                    </a:lnTo>
                    <a:lnTo>
                      <a:pt x="192" y="572"/>
                    </a:lnTo>
                    <a:lnTo>
                      <a:pt x="180" y="566"/>
                    </a:lnTo>
                    <a:lnTo>
                      <a:pt x="169" y="560"/>
                    </a:lnTo>
                    <a:lnTo>
                      <a:pt x="157" y="553"/>
                    </a:lnTo>
                    <a:lnTo>
                      <a:pt x="146" y="546"/>
                    </a:lnTo>
                    <a:lnTo>
                      <a:pt x="135" y="537"/>
                    </a:lnTo>
                    <a:lnTo>
                      <a:pt x="124" y="528"/>
                    </a:lnTo>
                    <a:lnTo>
                      <a:pt x="114" y="519"/>
                    </a:lnTo>
                    <a:lnTo>
                      <a:pt x="104" y="510"/>
                    </a:lnTo>
                    <a:lnTo>
                      <a:pt x="94" y="500"/>
                    </a:lnTo>
                    <a:lnTo>
                      <a:pt x="85" y="488"/>
                    </a:lnTo>
                    <a:lnTo>
                      <a:pt x="76" y="478"/>
                    </a:lnTo>
                    <a:lnTo>
                      <a:pt x="68" y="466"/>
                    </a:lnTo>
                    <a:lnTo>
                      <a:pt x="60" y="455"/>
                    </a:lnTo>
                    <a:lnTo>
                      <a:pt x="52" y="443"/>
                    </a:lnTo>
                    <a:lnTo>
                      <a:pt x="45" y="429"/>
                    </a:lnTo>
                    <a:lnTo>
                      <a:pt x="38" y="417"/>
                    </a:lnTo>
                    <a:lnTo>
                      <a:pt x="32" y="404"/>
                    </a:lnTo>
                    <a:lnTo>
                      <a:pt x="26" y="389"/>
                    </a:lnTo>
                    <a:lnTo>
                      <a:pt x="21" y="376"/>
                    </a:lnTo>
                    <a:lnTo>
                      <a:pt x="16" y="362"/>
                    </a:lnTo>
                    <a:lnTo>
                      <a:pt x="12" y="348"/>
                    </a:lnTo>
                    <a:lnTo>
                      <a:pt x="8" y="333"/>
                    </a:lnTo>
                    <a:lnTo>
                      <a:pt x="5" y="318"/>
                    </a:lnTo>
                    <a:lnTo>
                      <a:pt x="3" y="304"/>
                    </a:lnTo>
                    <a:lnTo>
                      <a:pt x="1" y="288"/>
                    </a:lnTo>
                    <a:lnTo>
                      <a:pt x="0" y="273"/>
                    </a:lnTo>
                    <a:lnTo>
                      <a:pt x="0" y="258"/>
                    </a:lnTo>
                    <a:lnTo>
                      <a:pt x="0" y="243"/>
                    </a:lnTo>
                    <a:lnTo>
                      <a:pt x="1" y="228"/>
                    </a:lnTo>
                    <a:lnTo>
                      <a:pt x="2" y="214"/>
                    </a:lnTo>
                    <a:lnTo>
                      <a:pt x="4" y="200"/>
                    </a:lnTo>
                    <a:lnTo>
                      <a:pt x="7" y="186"/>
                    </a:lnTo>
                    <a:lnTo>
                      <a:pt x="10" y="173"/>
                    </a:lnTo>
                    <a:lnTo>
                      <a:pt x="14" y="160"/>
                    </a:lnTo>
                    <a:lnTo>
                      <a:pt x="18" y="147"/>
                    </a:lnTo>
                    <a:lnTo>
                      <a:pt x="23" y="134"/>
                    </a:lnTo>
                    <a:lnTo>
                      <a:pt x="29" y="123"/>
                    </a:lnTo>
                    <a:lnTo>
                      <a:pt x="35" y="112"/>
                    </a:lnTo>
                    <a:lnTo>
                      <a:pt x="41" y="101"/>
                    </a:lnTo>
                    <a:lnTo>
                      <a:pt x="48" y="91"/>
                    </a:lnTo>
                    <a:lnTo>
                      <a:pt x="55" y="80"/>
                    </a:lnTo>
                    <a:lnTo>
                      <a:pt x="63" y="71"/>
                    </a:lnTo>
                    <a:lnTo>
                      <a:pt x="71" y="62"/>
                    </a:lnTo>
                    <a:lnTo>
                      <a:pt x="80" y="54"/>
                    </a:lnTo>
                    <a:lnTo>
                      <a:pt x="89" y="46"/>
                    </a:lnTo>
                    <a:lnTo>
                      <a:pt x="99" y="39"/>
                    </a:lnTo>
                    <a:lnTo>
                      <a:pt x="108" y="31"/>
                    </a:lnTo>
                    <a:lnTo>
                      <a:pt x="119" y="25"/>
                    </a:lnTo>
                    <a:lnTo>
                      <a:pt x="129" y="20"/>
                    </a:lnTo>
                    <a:lnTo>
                      <a:pt x="140" y="15"/>
                    </a:lnTo>
                    <a:lnTo>
                      <a:pt x="151" y="11"/>
                    </a:lnTo>
                    <a:lnTo>
                      <a:pt x="163" y="7"/>
                    </a:lnTo>
                    <a:lnTo>
                      <a:pt x="174" y="4"/>
                    </a:lnTo>
                    <a:lnTo>
                      <a:pt x="187" y="2"/>
                    </a:lnTo>
                    <a:lnTo>
                      <a:pt x="199" y="1"/>
                    </a:lnTo>
                    <a:lnTo>
                      <a:pt x="211" y="0"/>
                    </a:lnTo>
                    <a:lnTo>
                      <a:pt x="224" y="0"/>
                    </a:lnTo>
                    <a:lnTo>
                      <a:pt x="237" y="1"/>
                    </a:lnTo>
                    <a:lnTo>
                      <a:pt x="250" y="2"/>
                    </a:lnTo>
                    <a:lnTo>
                      <a:pt x="263" y="5"/>
                    </a:lnTo>
                    <a:lnTo>
                      <a:pt x="276" y="8"/>
                    </a:lnTo>
                    <a:lnTo>
                      <a:pt x="288" y="11"/>
                    </a:lnTo>
                    <a:lnTo>
                      <a:pt x="301" y="16"/>
                    </a:lnTo>
                    <a:lnTo>
                      <a:pt x="313" y="21"/>
                    </a:lnTo>
                    <a:lnTo>
                      <a:pt x="325" y="27"/>
                    </a:lnTo>
                    <a:lnTo>
                      <a:pt x="337" y="33"/>
                    </a:lnTo>
                    <a:lnTo>
                      <a:pt x="348" y="41"/>
                    </a:lnTo>
                    <a:lnTo>
                      <a:pt x="359" y="48"/>
                    </a:lnTo>
                    <a:lnTo>
                      <a:pt x="370" y="56"/>
                    </a:lnTo>
                    <a:lnTo>
                      <a:pt x="381" y="64"/>
                    </a:lnTo>
                    <a:lnTo>
                      <a:pt x="391" y="73"/>
                    </a:lnTo>
                    <a:lnTo>
                      <a:pt x="401" y="83"/>
                    </a:lnTo>
                    <a:lnTo>
                      <a:pt x="411" y="94"/>
                    </a:lnTo>
                    <a:lnTo>
                      <a:pt x="420" y="104"/>
                    </a:lnTo>
                    <a:lnTo>
                      <a:pt x="429" y="115"/>
                    </a:lnTo>
                    <a:lnTo>
                      <a:pt x="437" y="126"/>
                    </a:lnTo>
                    <a:lnTo>
                      <a:pt x="445" y="139"/>
                    </a:lnTo>
                    <a:lnTo>
                      <a:pt x="453" y="151"/>
                    </a:lnTo>
                    <a:lnTo>
                      <a:pt x="460" y="163"/>
                    </a:lnTo>
                    <a:lnTo>
                      <a:pt x="467" y="176"/>
                    </a:lnTo>
                    <a:lnTo>
                      <a:pt x="473" y="190"/>
                    </a:lnTo>
                    <a:lnTo>
                      <a:pt x="479" y="203"/>
                    </a:lnTo>
                    <a:lnTo>
                      <a:pt x="484" y="217"/>
                    </a:lnTo>
                    <a:lnTo>
                      <a:pt x="489" y="231"/>
                    </a:lnTo>
                    <a:lnTo>
                      <a:pt x="493" y="246"/>
                    </a:lnTo>
                    <a:lnTo>
                      <a:pt x="497" y="260"/>
                    </a:lnTo>
                    <a:lnTo>
                      <a:pt x="499" y="275"/>
                    </a:lnTo>
                    <a:lnTo>
                      <a:pt x="502" y="290"/>
                    </a:lnTo>
                    <a:lnTo>
                      <a:pt x="504" y="305"/>
                    </a:lnTo>
                    <a:lnTo>
                      <a:pt x="505" y="32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8" name="Freeform 113"/>
              <p:cNvSpPr>
                <a:spLocks/>
              </p:cNvSpPr>
              <p:nvPr/>
            </p:nvSpPr>
            <p:spPr bwMode="auto">
              <a:xfrm>
                <a:off x="511" y="1958"/>
                <a:ext cx="10" cy="12"/>
              </a:xfrm>
              <a:custGeom>
                <a:avLst/>
                <a:gdLst>
                  <a:gd name="T0" fmla="*/ 0 w 523"/>
                  <a:gd name="T1" fmla="*/ 0 h 611"/>
                  <a:gd name="T2" fmla="*/ 0 w 523"/>
                  <a:gd name="T3" fmla="*/ 0 h 611"/>
                  <a:gd name="T4" fmla="*/ 0 w 523"/>
                  <a:gd name="T5" fmla="*/ 0 h 611"/>
                  <a:gd name="T6" fmla="*/ 0 w 523"/>
                  <a:gd name="T7" fmla="*/ 0 h 611"/>
                  <a:gd name="T8" fmla="*/ 0 w 523"/>
                  <a:gd name="T9" fmla="*/ 0 h 611"/>
                  <a:gd name="T10" fmla="*/ 0 w 523"/>
                  <a:gd name="T11" fmla="*/ 0 h 611"/>
                  <a:gd name="T12" fmla="*/ 0 w 523"/>
                  <a:gd name="T13" fmla="*/ 0 h 611"/>
                  <a:gd name="T14" fmla="*/ 0 w 523"/>
                  <a:gd name="T15" fmla="*/ 0 h 611"/>
                  <a:gd name="T16" fmla="*/ 0 w 523"/>
                  <a:gd name="T17" fmla="*/ 0 h 611"/>
                  <a:gd name="T18" fmla="*/ 0 w 523"/>
                  <a:gd name="T19" fmla="*/ 0 h 611"/>
                  <a:gd name="T20" fmla="*/ 0 w 523"/>
                  <a:gd name="T21" fmla="*/ 0 h 611"/>
                  <a:gd name="T22" fmla="*/ 0 w 523"/>
                  <a:gd name="T23" fmla="*/ 0 h 611"/>
                  <a:gd name="T24" fmla="*/ 0 w 523"/>
                  <a:gd name="T25" fmla="*/ 0 h 611"/>
                  <a:gd name="T26" fmla="*/ 0 w 523"/>
                  <a:gd name="T27" fmla="*/ 0 h 611"/>
                  <a:gd name="T28" fmla="*/ 0 w 523"/>
                  <a:gd name="T29" fmla="*/ 0 h 611"/>
                  <a:gd name="T30" fmla="*/ 0 w 523"/>
                  <a:gd name="T31" fmla="*/ 0 h 611"/>
                  <a:gd name="T32" fmla="*/ 0 w 523"/>
                  <a:gd name="T33" fmla="*/ 0 h 611"/>
                  <a:gd name="T34" fmla="*/ 0 w 523"/>
                  <a:gd name="T35" fmla="*/ 0 h 611"/>
                  <a:gd name="T36" fmla="*/ 0 w 523"/>
                  <a:gd name="T37" fmla="*/ 0 h 611"/>
                  <a:gd name="T38" fmla="*/ 0 w 523"/>
                  <a:gd name="T39" fmla="*/ 0 h 611"/>
                  <a:gd name="T40" fmla="*/ 0 w 523"/>
                  <a:gd name="T41" fmla="*/ 0 h 611"/>
                  <a:gd name="T42" fmla="*/ 0 w 523"/>
                  <a:gd name="T43" fmla="*/ 0 h 611"/>
                  <a:gd name="T44" fmla="*/ 0 w 523"/>
                  <a:gd name="T45" fmla="*/ 0 h 611"/>
                  <a:gd name="T46" fmla="*/ 0 w 523"/>
                  <a:gd name="T47" fmla="*/ 0 h 611"/>
                  <a:gd name="T48" fmla="*/ 0 w 523"/>
                  <a:gd name="T49" fmla="*/ 0 h 611"/>
                  <a:gd name="T50" fmla="*/ 0 w 523"/>
                  <a:gd name="T51" fmla="*/ 0 h 611"/>
                  <a:gd name="T52" fmla="*/ 0 w 523"/>
                  <a:gd name="T53" fmla="*/ 0 h 611"/>
                  <a:gd name="T54" fmla="*/ 0 w 523"/>
                  <a:gd name="T55" fmla="*/ 0 h 611"/>
                  <a:gd name="T56" fmla="*/ 0 w 523"/>
                  <a:gd name="T57" fmla="*/ 0 h 611"/>
                  <a:gd name="T58" fmla="*/ 0 w 523"/>
                  <a:gd name="T59" fmla="*/ 0 h 611"/>
                  <a:gd name="T60" fmla="*/ 0 w 523"/>
                  <a:gd name="T61" fmla="*/ 0 h 611"/>
                  <a:gd name="T62" fmla="*/ 0 w 523"/>
                  <a:gd name="T63" fmla="*/ 0 h 611"/>
                  <a:gd name="T64" fmla="*/ 0 w 523"/>
                  <a:gd name="T65" fmla="*/ 0 h 611"/>
                  <a:gd name="T66" fmla="*/ 0 w 523"/>
                  <a:gd name="T67" fmla="*/ 0 h 611"/>
                  <a:gd name="T68" fmla="*/ 0 w 523"/>
                  <a:gd name="T69" fmla="*/ 0 h 611"/>
                  <a:gd name="T70" fmla="*/ 0 w 523"/>
                  <a:gd name="T71" fmla="*/ 0 h 611"/>
                  <a:gd name="T72" fmla="*/ 0 w 523"/>
                  <a:gd name="T73" fmla="*/ 0 h 611"/>
                  <a:gd name="T74" fmla="*/ 0 w 523"/>
                  <a:gd name="T75" fmla="*/ 0 h 611"/>
                  <a:gd name="T76" fmla="*/ 0 w 523"/>
                  <a:gd name="T77" fmla="*/ 0 h 611"/>
                  <a:gd name="T78" fmla="*/ 0 w 523"/>
                  <a:gd name="T79" fmla="*/ 0 h 611"/>
                  <a:gd name="T80" fmla="*/ 0 w 523"/>
                  <a:gd name="T81" fmla="*/ 0 h 611"/>
                  <a:gd name="T82" fmla="*/ 0 w 523"/>
                  <a:gd name="T83" fmla="*/ 0 h 611"/>
                  <a:gd name="T84" fmla="*/ 0 w 523"/>
                  <a:gd name="T85" fmla="*/ 0 h 61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23"/>
                  <a:gd name="T130" fmla="*/ 0 h 611"/>
                  <a:gd name="T131" fmla="*/ 523 w 523"/>
                  <a:gd name="T132" fmla="*/ 611 h 61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23" h="611">
                    <a:moveTo>
                      <a:pt x="522" y="329"/>
                    </a:moveTo>
                    <a:lnTo>
                      <a:pt x="523" y="345"/>
                    </a:lnTo>
                    <a:lnTo>
                      <a:pt x="523" y="361"/>
                    </a:lnTo>
                    <a:lnTo>
                      <a:pt x="522" y="376"/>
                    </a:lnTo>
                    <a:lnTo>
                      <a:pt x="520" y="390"/>
                    </a:lnTo>
                    <a:lnTo>
                      <a:pt x="518" y="405"/>
                    </a:lnTo>
                    <a:lnTo>
                      <a:pt x="515" y="419"/>
                    </a:lnTo>
                    <a:lnTo>
                      <a:pt x="512" y="433"/>
                    </a:lnTo>
                    <a:lnTo>
                      <a:pt x="508" y="446"/>
                    </a:lnTo>
                    <a:lnTo>
                      <a:pt x="504" y="460"/>
                    </a:lnTo>
                    <a:lnTo>
                      <a:pt x="498" y="472"/>
                    </a:lnTo>
                    <a:lnTo>
                      <a:pt x="493" y="484"/>
                    </a:lnTo>
                    <a:lnTo>
                      <a:pt x="487" y="495"/>
                    </a:lnTo>
                    <a:lnTo>
                      <a:pt x="480" y="507"/>
                    </a:lnTo>
                    <a:lnTo>
                      <a:pt x="473" y="518"/>
                    </a:lnTo>
                    <a:lnTo>
                      <a:pt x="465" y="528"/>
                    </a:lnTo>
                    <a:lnTo>
                      <a:pt x="457" y="538"/>
                    </a:lnTo>
                    <a:lnTo>
                      <a:pt x="449" y="547"/>
                    </a:lnTo>
                    <a:lnTo>
                      <a:pt x="440" y="556"/>
                    </a:lnTo>
                    <a:lnTo>
                      <a:pt x="430" y="564"/>
                    </a:lnTo>
                    <a:lnTo>
                      <a:pt x="421" y="572"/>
                    </a:lnTo>
                    <a:lnTo>
                      <a:pt x="410" y="578"/>
                    </a:lnTo>
                    <a:lnTo>
                      <a:pt x="400" y="585"/>
                    </a:lnTo>
                    <a:lnTo>
                      <a:pt x="389" y="590"/>
                    </a:lnTo>
                    <a:lnTo>
                      <a:pt x="378" y="595"/>
                    </a:lnTo>
                    <a:lnTo>
                      <a:pt x="366" y="599"/>
                    </a:lnTo>
                    <a:lnTo>
                      <a:pt x="354" y="604"/>
                    </a:lnTo>
                    <a:lnTo>
                      <a:pt x="342" y="607"/>
                    </a:lnTo>
                    <a:lnTo>
                      <a:pt x="330" y="609"/>
                    </a:lnTo>
                    <a:lnTo>
                      <a:pt x="317" y="610"/>
                    </a:lnTo>
                    <a:lnTo>
                      <a:pt x="304" y="611"/>
                    </a:lnTo>
                    <a:lnTo>
                      <a:pt x="291" y="611"/>
                    </a:lnTo>
                    <a:lnTo>
                      <a:pt x="277" y="610"/>
                    </a:lnTo>
                    <a:lnTo>
                      <a:pt x="264" y="609"/>
                    </a:lnTo>
                    <a:lnTo>
                      <a:pt x="251" y="606"/>
                    </a:lnTo>
                    <a:lnTo>
                      <a:pt x="237" y="603"/>
                    </a:lnTo>
                    <a:lnTo>
                      <a:pt x="224" y="598"/>
                    </a:lnTo>
                    <a:lnTo>
                      <a:pt x="212" y="594"/>
                    </a:lnTo>
                    <a:lnTo>
                      <a:pt x="199" y="589"/>
                    </a:lnTo>
                    <a:lnTo>
                      <a:pt x="187" y="583"/>
                    </a:lnTo>
                    <a:lnTo>
                      <a:pt x="174" y="576"/>
                    </a:lnTo>
                    <a:lnTo>
                      <a:pt x="163" y="569"/>
                    </a:lnTo>
                    <a:lnTo>
                      <a:pt x="151" y="562"/>
                    </a:lnTo>
                    <a:lnTo>
                      <a:pt x="140" y="554"/>
                    </a:lnTo>
                    <a:lnTo>
                      <a:pt x="129" y="544"/>
                    </a:lnTo>
                    <a:lnTo>
                      <a:pt x="118" y="535"/>
                    </a:lnTo>
                    <a:lnTo>
                      <a:pt x="108" y="525"/>
                    </a:lnTo>
                    <a:lnTo>
                      <a:pt x="98" y="515"/>
                    </a:lnTo>
                    <a:lnTo>
                      <a:pt x="88" y="504"/>
                    </a:lnTo>
                    <a:lnTo>
                      <a:pt x="79" y="492"/>
                    </a:lnTo>
                    <a:lnTo>
                      <a:pt x="70" y="480"/>
                    </a:lnTo>
                    <a:lnTo>
                      <a:pt x="62" y="468"/>
                    </a:lnTo>
                    <a:lnTo>
                      <a:pt x="54" y="456"/>
                    </a:lnTo>
                    <a:lnTo>
                      <a:pt x="46" y="442"/>
                    </a:lnTo>
                    <a:lnTo>
                      <a:pt x="39" y="429"/>
                    </a:lnTo>
                    <a:lnTo>
                      <a:pt x="33" y="416"/>
                    </a:lnTo>
                    <a:lnTo>
                      <a:pt x="27" y="402"/>
                    </a:lnTo>
                    <a:lnTo>
                      <a:pt x="22" y="387"/>
                    </a:lnTo>
                    <a:lnTo>
                      <a:pt x="17" y="373"/>
                    </a:lnTo>
                    <a:lnTo>
                      <a:pt x="12" y="358"/>
                    </a:lnTo>
                    <a:lnTo>
                      <a:pt x="9" y="343"/>
                    </a:lnTo>
                    <a:lnTo>
                      <a:pt x="6" y="328"/>
                    </a:lnTo>
                    <a:lnTo>
                      <a:pt x="3" y="313"/>
                    </a:lnTo>
                    <a:lnTo>
                      <a:pt x="1" y="297"/>
                    </a:lnTo>
                    <a:lnTo>
                      <a:pt x="0" y="281"/>
                    </a:lnTo>
                    <a:lnTo>
                      <a:pt x="0" y="266"/>
                    </a:lnTo>
                    <a:lnTo>
                      <a:pt x="0" y="250"/>
                    </a:lnTo>
                    <a:lnTo>
                      <a:pt x="1" y="235"/>
                    </a:lnTo>
                    <a:lnTo>
                      <a:pt x="2" y="220"/>
                    </a:lnTo>
                    <a:lnTo>
                      <a:pt x="4" y="206"/>
                    </a:lnTo>
                    <a:lnTo>
                      <a:pt x="7" y="191"/>
                    </a:lnTo>
                    <a:lnTo>
                      <a:pt x="11" y="178"/>
                    </a:lnTo>
                    <a:lnTo>
                      <a:pt x="15" y="165"/>
                    </a:lnTo>
                    <a:lnTo>
                      <a:pt x="19" y="152"/>
                    </a:lnTo>
                    <a:lnTo>
                      <a:pt x="24" y="139"/>
                    </a:lnTo>
                    <a:lnTo>
                      <a:pt x="30" y="127"/>
                    </a:lnTo>
                    <a:lnTo>
                      <a:pt x="36" y="115"/>
                    </a:lnTo>
                    <a:lnTo>
                      <a:pt x="43" y="104"/>
                    </a:lnTo>
                    <a:lnTo>
                      <a:pt x="50" y="93"/>
                    </a:lnTo>
                    <a:lnTo>
                      <a:pt x="57" y="82"/>
                    </a:lnTo>
                    <a:lnTo>
                      <a:pt x="65" y="73"/>
                    </a:lnTo>
                    <a:lnTo>
                      <a:pt x="74" y="64"/>
                    </a:lnTo>
                    <a:lnTo>
                      <a:pt x="83" y="55"/>
                    </a:lnTo>
                    <a:lnTo>
                      <a:pt x="92" y="47"/>
                    </a:lnTo>
                    <a:lnTo>
                      <a:pt x="102" y="39"/>
                    </a:lnTo>
                    <a:lnTo>
                      <a:pt x="112" y="32"/>
                    </a:lnTo>
                    <a:lnTo>
                      <a:pt x="123" y="26"/>
                    </a:lnTo>
                    <a:lnTo>
                      <a:pt x="134" y="20"/>
                    </a:lnTo>
                    <a:lnTo>
                      <a:pt x="145" y="15"/>
                    </a:lnTo>
                    <a:lnTo>
                      <a:pt x="157" y="11"/>
                    </a:lnTo>
                    <a:lnTo>
                      <a:pt x="168" y="7"/>
                    </a:lnTo>
                    <a:lnTo>
                      <a:pt x="181" y="5"/>
                    </a:lnTo>
                    <a:lnTo>
                      <a:pt x="193" y="2"/>
                    </a:lnTo>
                    <a:lnTo>
                      <a:pt x="206" y="1"/>
                    </a:lnTo>
                    <a:lnTo>
                      <a:pt x="219" y="0"/>
                    </a:lnTo>
                    <a:lnTo>
                      <a:pt x="232" y="0"/>
                    </a:lnTo>
                    <a:lnTo>
                      <a:pt x="245" y="1"/>
                    </a:lnTo>
                    <a:lnTo>
                      <a:pt x="259" y="3"/>
                    </a:lnTo>
                    <a:lnTo>
                      <a:pt x="272" y="5"/>
                    </a:lnTo>
                    <a:lnTo>
                      <a:pt x="285" y="8"/>
                    </a:lnTo>
                    <a:lnTo>
                      <a:pt x="298" y="12"/>
                    </a:lnTo>
                    <a:lnTo>
                      <a:pt x="311" y="16"/>
                    </a:lnTo>
                    <a:lnTo>
                      <a:pt x="324" y="22"/>
                    </a:lnTo>
                    <a:lnTo>
                      <a:pt x="336" y="27"/>
                    </a:lnTo>
                    <a:lnTo>
                      <a:pt x="348" y="34"/>
                    </a:lnTo>
                    <a:lnTo>
                      <a:pt x="360" y="42"/>
                    </a:lnTo>
                    <a:lnTo>
                      <a:pt x="372" y="50"/>
                    </a:lnTo>
                    <a:lnTo>
                      <a:pt x="383" y="58"/>
                    </a:lnTo>
                    <a:lnTo>
                      <a:pt x="394" y="66"/>
                    </a:lnTo>
                    <a:lnTo>
                      <a:pt x="405" y="76"/>
                    </a:lnTo>
                    <a:lnTo>
                      <a:pt x="415" y="85"/>
                    </a:lnTo>
                    <a:lnTo>
                      <a:pt x="425" y="97"/>
                    </a:lnTo>
                    <a:lnTo>
                      <a:pt x="435" y="107"/>
                    </a:lnTo>
                    <a:lnTo>
                      <a:pt x="444" y="119"/>
                    </a:lnTo>
                    <a:lnTo>
                      <a:pt x="453" y="130"/>
                    </a:lnTo>
                    <a:lnTo>
                      <a:pt x="461" y="143"/>
                    </a:lnTo>
                    <a:lnTo>
                      <a:pt x="469" y="155"/>
                    </a:lnTo>
                    <a:lnTo>
                      <a:pt x="476" y="168"/>
                    </a:lnTo>
                    <a:lnTo>
                      <a:pt x="483" y="181"/>
                    </a:lnTo>
                    <a:lnTo>
                      <a:pt x="490" y="196"/>
                    </a:lnTo>
                    <a:lnTo>
                      <a:pt x="496" y="209"/>
                    </a:lnTo>
                    <a:lnTo>
                      <a:pt x="501" y="223"/>
                    </a:lnTo>
                    <a:lnTo>
                      <a:pt x="506" y="238"/>
                    </a:lnTo>
                    <a:lnTo>
                      <a:pt x="510" y="253"/>
                    </a:lnTo>
                    <a:lnTo>
                      <a:pt x="514" y="268"/>
                    </a:lnTo>
                    <a:lnTo>
                      <a:pt x="517" y="283"/>
                    </a:lnTo>
                    <a:lnTo>
                      <a:pt x="519" y="299"/>
                    </a:lnTo>
                    <a:lnTo>
                      <a:pt x="521" y="314"/>
                    </a:lnTo>
                    <a:lnTo>
                      <a:pt x="522" y="32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69" name="Freeform 114"/>
              <p:cNvSpPr>
                <a:spLocks/>
              </p:cNvSpPr>
              <p:nvPr/>
            </p:nvSpPr>
            <p:spPr bwMode="auto">
              <a:xfrm>
                <a:off x="492" y="1948"/>
                <a:ext cx="10" cy="10"/>
              </a:xfrm>
              <a:custGeom>
                <a:avLst/>
                <a:gdLst>
                  <a:gd name="T0" fmla="*/ 0 w 464"/>
                  <a:gd name="T1" fmla="*/ 0 h 542"/>
                  <a:gd name="T2" fmla="*/ 0 w 464"/>
                  <a:gd name="T3" fmla="*/ 0 h 542"/>
                  <a:gd name="T4" fmla="*/ 0 w 464"/>
                  <a:gd name="T5" fmla="*/ 0 h 542"/>
                  <a:gd name="T6" fmla="*/ 0 w 464"/>
                  <a:gd name="T7" fmla="*/ 0 h 542"/>
                  <a:gd name="T8" fmla="*/ 0 w 464"/>
                  <a:gd name="T9" fmla="*/ 0 h 542"/>
                  <a:gd name="T10" fmla="*/ 0 w 464"/>
                  <a:gd name="T11" fmla="*/ 0 h 542"/>
                  <a:gd name="T12" fmla="*/ 0 w 464"/>
                  <a:gd name="T13" fmla="*/ 0 h 542"/>
                  <a:gd name="T14" fmla="*/ 0 w 464"/>
                  <a:gd name="T15" fmla="*/ 0 h 542"/>
                  <a:gd name="T16" fmla="*/ 0 w 464"/>
                  <a:gd name="T17" fmla="*/ 0 h 542"/>
                  <a:gd name="T18" fmla="*/ 0 w 464"/>
                  <a:gd name="T19" fmla="*/ 0 h 542"/>
                  <a:gd name="T20" fmla="*/ 0 w 464"/>
                  <a:gd name="T21" fmla="*/ 0 h 542"/>
                  <a:gd name="T22" fmla="*/ 0 w 464"/>
                  <a:gd name="T23" fmla="*/ 0 h 542"/>
                  <a:gd name="T24" fmla="*/ 0 w 464"/>
                  <a:gd name="T25" fmla="*/ 0 h 542"/>
                  <a:gd name="T26" fmla="*/ 0 w 464"/>
                  <a:gd name="T27" fmla="*/ 0 h 542"/>
                  <a:gd name="T28" fmla="*/ 0 w 464"/>
                  <a:gd name="T29" fmla="*/ 0 h 542"/>
                  <a:gd name="T30" fmla="*/ 0 w 464"/>
                  <a:gd name="T31" fmla="*/ 0 h 542"/>
                  <a:gd name="T32" fmla="*/ 0 w 464"/>
                  <a:gd name="T33" fmla="*/ 0 h 542"/>
                  <a:gd name="T34" fmla="*/ 0 w 464"/>
                  <a:gd name="T35" fmla="*/ 0 h 542"/>
                  <a:gd name="T36" fmla="*/ 0 w 464"/>
                  <a:gd name="T37" fmla="*/ 0 h 542"/>
                  <a:gd name="T38" fmla="*/ 0 w 464"/>
                  <a:gd name="T39" fmla="*/ 0 h 542"/>
                  <a:gd name="T40" fmla="*/ 0 w 464"/>
                  <a:gd name="T41" fmla="*/ 0 h 542"/>
                  <a:gd name="T42" fmla="*/ 0 w 464"/>
                  <a:gd name="T43" fmla="*/ 0 h 542"/>
                  <a:gd name="T44" fmla="*/ 0 w 464"/>
                  <a:gd name="T45" fmla="*/ 0 h 542"/>
                  <a:gd name="T46" fmla="*/ 0 w 464"/>
                  <a:gd name="T47" fmla="*/ 0 h 542"/>
                  <a:gd name="T48" fmla="*/ 0 w 464"/>
                  <a:gd name="T49" fmla="*/ 0 h 542"/>
                  <a:gd name="T50" fmla="*/ 0 w 464"/>
                  <a:gd name="T51" fmla="*/ 0 h 542"/>
                  <a:gd name="T52" fmla="*/ 0 w 464"/>
                  <a:gd name="T53" fmla="*/ 0 h 542"/>
                  <a:gd name="T54" fmla="*/ 0 w 464"/>
                  <a:gd name="T55" fmla="*/ 0 h 542"/>
                  <a:gd name="T56" fmla="*/ 0 w 464"/>
                  <a:gd name="T57" fmla="*/ 0 h 542"/>
                  <a:gd name="T58" fmla="*/ 0 w 464"/>
                  <a:gd name="T59" fmla="*/ 0 h 542"/>
                  <a:gd name="T60" fmla="*/ 0 w 464"/>
                  <a:gd name="T61" fmla="*/ 0 h 542"/>
                  <a:gd name="T62" fmla="*/ 0 w 464"/>
                  <a:gd name="T63" fmla="*/ 0 h 542"/>
                  <a:gd name="T64" fmla="*/ 0 w 464"/>
                  <a:gd name="T65" fmla="*/ 0 h 542"/>
                  <a:gd name="T66" fmla="*/ 0 w 464"/>
                  <a:gd name="T67" fmla="*/ 0 h 542"/>
                  <a:gd name="T68" fmla="*/ 0 w 464"/>
                  <a:gd name="T69" fmla="*/ 0 h 542"/>
                  <a:gd name="T70" fmla="*/ 0 w 464"/>
                  <a:gd name="T71" fmla="*/ 0 h 542"/>
                  <a:gd name="T72" fmla="*/ 0 w 464"/>
                  <a:gd name="T73" fmla="*/ 0 h 542"/>
                  <a:gd name="T74" fmla="*/ 0 w 464"/>
                  <a:gd name="T75" fmla="*/ 0 h 542"/>
                  <a:gd name="T76" fmla="*/ 0 w 464"/>
                  <a:gd name="T77" fmla="*/ 0 h 542"/>
                  <a:gd name="T78" fmla="*/ 0 w 464"/>
                  <a:gd name="T79" fmla="*/ 0 h 542"/>
                  <a:gd name="T80" fmla="*/ 0 w 464"/>
                  <a:gd name="T81" fmla="*/ 0 h 542"/>
                  <a:gd name="T82" fmla="*/ 0 w 464"/>
                  <a:gd name="T83" fmla="*/ 0 h 542"/>
                  <a:gd name="T84" fmla="*/ 0 w 464"/>
                  <a:gd name="T85" fmla="*/ 0 h 542"/>
                  <a:gd name="T86" fmla="*/ 0 w 464"/>
                  <a:gd name="T87" fmla="*/ 0 h 542"/>
                  <a:gd name="T88" fmla="*/ 0 w 464"/>
                  <a:gd name="T89" fmla="*/ 0 h 542"/>
                  <a:gd name="T90" fmla="*/ 0 w 464"/>
                  <a:gd name="T91" fmla="*/ 0 h 542"/>
                  <a:gd name="T92" fmla="*/ 0 w 464"/>
                  <a:gd name="T93" fmla="*/ 0 h 542"/>
                  <a:gd name="T94" fmla="*/ 0 w 464"/>
                  <a:gd name="T95" fmla="*/ 0 h 542"/>
                  <a:gd name="T96" fmla="*/ 0 w 464"/>
                  <a:gd name="T97" fmla="*/ 0 h 542"/>
                  <a:gd name="T98" fmla="*/ 0 w 464"/>
                  <a:gd name="T99" fmla="*/ 0 h 542"/>
                  <a:gd name="T100" fmla="*/ 0 w 464"/>
                  <a:gd name="T101" fmla="*/ 0 h 542"/>
                  <a:gd name="T102" fmla="*/ 0 w 464"/>
                  <a:gd name="T103" fmla="*/ 0 h 542"/>
                  <a:gd name="T104" fmla="*/ 0 w 464"/>
                  <a:gd name="T105" fmla="*/ 0 h 542"/>
                  <a:gd name="T106" fmla="*/ 0 w 464"/>
                  <a:gd name="T107" fmla="*/ 0 h 542"/>
                  <a:gd name="T108" fmla="*/ 0 w 464"/>
                  <a:gd name="T109" fmla="*/ 0 h 542"/>
                  <a:gd name="T110" fmla="*/ 0 w 464"/>
                  <a:gd name="T111" fmla="*/ 0 h 542"/>
                  <a:gd name="T112" fmla="*/ 0 w 464"/>
                  <a:gd name="T113" fmla="*/ 0 h 542"/>
                  <a:gd name="T114" fmla="*/ 0 w 464"/>
                  <a:gd name="T115" fmla="*/ 0 h 542"/>
                  <a:gd name="T116" fmla="*/ 0 w 464"/>
                  <a:gd name="T117" fmla="*/ 0 h 542"/>
                  <a:gd name="T118" fmla="*/ 0 w 464"/>
                  <a:gd name="T119" fmla="*/ 0 h 542"/>
                  <a:gd name="T120" fmla="*/ 0 w 464"/>
                  <a:gd name="T121" fmla="*/ 0 h 542"/>
                  <a:gd name="T122" fmla="*/ 0 w 464"/>
                  <a:gd name="T123" fmla="*/ 0 h 542"/>
                  <a:gd name="T124" fmla="*/ 0 w 464"/>
                  <a:gd name="T125" fmla="*/ 0 h 54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64"/>
                  <a:gd name="T190" fmla="*/ 0 h 542"/>
                  <a:gd name="T191" fmla="*/ 464 w 464"/>
                  <a:gd name="T192" fmla="*/ 542 h 54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64" h="542">
                    <a:moveTo>
                      <a:pt x="464" y="292"/>
                    </a:moveTo>
                    <a:lnTo>
                      <a:pt x="464" y="307"/>
                    </a:lnTo>
                    <a:lnTo>
                      <a:pt x="464" y="320"/>
                    </a:lnTo>
                    <a:lnTo>
                      <a:pt x="463" y="333"/>
                    </a:lnTo>
                    <a:lnTo>
                      <a:pt x="462" y="346"/>
                    </a:lnTo>
                    <a:lnTo>
                      <a:pt x="460" y="360"/>
                    </a:lnTo>
                    <a:lnTo>
                      <a:pt x="457" y="372"/>
                    </a:lnTo>
                    <a:lnTo>
                      <a:pt x="454" y="384"/>
                    </a:lnTo>
                    <a:lnTo>
                      <a:pt x="451" y="396"/>
                    </a:lnTo>
                    <a:lnTo>
                      <a:pt x="447" y="408"/>
                    </a:lnTo>
                    <a:lnTo>
                      <a:pt x="442" y="419"/>
                    </a:lnTo>
                    <a:lnTo>
                      <a:pt x="437" y="429"/>
                    </a:lnTo>
                    <a:lnTo>
                      <a:pt x="432" y="440"/>
                    </a:lnTo>
                    <a:lnTo>
                      <a:pt x="426" y="449"/>
                    </a:lnTo>
                    <a:lnTo>
                      <a:pt x="420" y="460"/>
                    </a:lnTo>
                    <a:lnTo>
                      <a:pt x="413" y="469"/>
                    </a:lnTo>
                    <a:lnTo>
                      <a:pt x="406" y="477"/>
                    </a:lnTo>
                    <a:lnTo>
                      <a:pt x="398" y="485"/>
                    </a:lnTo>
                    <a:lnTo>
                      <a:pt x="390" y="493"/>
                    </a:lnTo>
                    <a:lnTo>
                      <a:pt x="382" y="500"/>
                    </a:lnTo>
                    <a:lnTo>
                      <a:pt x="373" y="507"/>
                    </a:lnTo>
                    <a:lnTo>
                      <a:pt x="364" y="514"/>
                    </a:lnTo>
                    <a:lnTo>
                      <a:pt x="355" y="519"/>
                    </a:lnTo>
                    <a:lnTo>
                      <a:pt x="345" y="524"/>
                    </a:lnTo>
                    <a:lnTo>
                      <a:pt x="335" y="528"/>
                    </a:lnTo>
                    <a:lnTo>
                      <a:pt x="325" y="532"/>
                    </a:lnTo>
                    <a:lnTo>
                      <a:pt x="314" y="535"/>
                    </a:lnTo>
                    <a:lnTo>
                      <a:pt x="304" y="538"/>
                    </a:lnTo>
                    <a:lnTo>
                      <a:pt x="293" y="540"/>
                    </a:lnTo>
                    <a:lnTo>
                      <a:pt x="281" y="541"/>
                    </a:lnTo>
                    <a:lnTo>
                      <a:pt x="270" y="542"/>
                    </a:lnTo>
                    <a:lnTo>
                      <a:pt x="258" y="542"/>
                    </a:lnTo>
                    <a:lnTo>
                      <a:pt x="246" y="541"/>
                    </a:lnTo>
                    <a:lnTo>
                      <a:pt x="234" y="539"/>
                    </a:lnTo>
                    <a:lnTo>
                      <a:pt x="222" y="537"/>
                    </a:lnTo>
                    <a:lnTo>
                      <a:pt x="211" y="535"/>
                    </a:lnTo>
                    <a:lnTo>
                      <a:pt x="199" y="531"/>
                    </a:lnTo>
                    <a:lnTo>
                      <a:pt x="188" y="527"/>
                    </a:lnTo>
                    <a:lnTo>
                      <a:pt x="177" y="523"/>
                    </a:lnTo>
                    <a:lnTo>
                      <a:pt x="166" y="518"/>
                    </a:lnTo>
                    <a:lnTo>
                      <a:pt x="155" y="512"/>
                    </a:lnTo>
                    <a:lnTo>
                      <a:pt x="144" y="506"/>
                    </a:lnTo>
                    <a:lnTo>
                      <a:pt x="134" y="498"/>
                    </a:lnTo>
                    <a:lnTo>
                      <a:pt x="124" y="491"/>
                    </a:lnTo>
                    <a:lnTo>
                      <a:pt x="114" y="483"/>
                    </a:lnTo>
                    <a:lnTo>
                      <a:pt x="105" y="475"/>
                    </a:lnTo>
                    <a:lnTo>
                      <a:pt x="96" y="466"/>
                    </a:lnTo>
                    <a:lnTo>
                      <a:pt x="87" y="457"/>
                    </a:lnTo>
                    <a:lnTo>
                      <a:pt x="78" y="446"/>
                    </a:lnTo>
                    <a:lnTo>
                      <a:pt x="70" y="437"/>
                    </a:lnTo>
                    <a:lnTo>
                      <a:pt x="62" y="426"/>
                    </a:lnTo>
                    <a:lnTo>
                      <a:pt x="55" y="416"/>
                    </a:lnTo>
                    <a:lnTo>
                      <a:pt x="48" y="405"/>
                    </a:lnTo>
                    <a:lnTo>
                      <a:pt x="41" y="392"/>
                    </a:lnTo>
                    <a:lnTo>
                      <a:pt x="35" y="381"/>
                    </a:lnTo>
                    <a:lnTo>
                      <a:pt x="29" y="369"/>
                    </a:lnTo>
                    <a:lnTo>
                      <a:pt x="24" y="357"/>
                    </a:lnTo>
                    <a:lnTo>
                      <a:pt x="19" y="343"/>
                    </a:lnTo>
                    <a:lnTo>
                      <a:pt x="15" y="331"/>
                    </a:lnTo>
                    <a:lnTo>
                      <a:pt x="11" y="318"/>
                    </a:lnTo>
                    <a:lnTo>
                      <a:pt x="8" y="305"/>
                    </a:lnTo>
                    <a:lnTo>
                      <a:pt x="5" y="291"/>
                    </a:lnTo>
                    <a:lnTo>
                      <a:pt x="3" y="277"/>
                    </a:lnTo>
                    <a:lnTo>
                      <a:pt x="1" y="264"/>
                    </a:lnTo>
                    <a:lnTo>
                      <a:pt x="0" y="250"/>
                    </a:lnTo>
                    <a:lnTo>
                      <a:pt x="0" y="236"/>
                    </a:lnTo>
                    <a:lnTo>
                      <a:pt x="0" y="222"/>
                    </a:lnTo>
                    <a:lnTo>
                      <a:pt x="1" y="209"/>
                    </a:lnTo>
                    <a:lnTo>
                      <a:pt x="2" y="196"/>
                    </a:lnTo>
                    <a:lnTo>
                      <a:pt x="4" y="183"/>
                    </a:lnTo>
                    <a:lnTo>
                      <a:pt x="7" y="170"/>
                    </a:lnTo>
                    <a:lnTo>
                      <a:pt x="10" y="158"/>
                    </a:lnTo>
                    <a:lnTo>
                      <a:pt x="13" y="147"/>
                    </a:lnTo>
                    <a:lnTo>
                      <a:pt x="17" y="134"/>
                    </a:lnTo>
                    <a:lnTo>
                      <a:pt x="22" y="123"/>
                    </a:lnTo>
                    <a:lnTo>
                      <a:pt x="27" y="113"/>
                    </a:lnTo>
                    <a:lnTo>
                      <a:pt x="32" y="103"/>
                    </a:lnTo>
                    <a:lnTo>
                      <a:pt x="38" y="92"/>
                    </a:lnTo>
                    <a:lnTo>
                      <a:pt x="44" y="82"/>
                    </a:lnTo>
                    <a:lnTo>
                      <a:pt x="51" y="73"/>
                    </a:lnTo>
                    <a:lnTo>
                      <a:pt x="58" y="65"/>
                    </a:lnTo>
                    <a:lnTo>
                      <a:pt x="66" y="57"/>
                    </a:lnTo>
                    <a:lnTo>
                      <a:pt x="74" y="49"/>
                    </a:lnTo>
                    <a:lnTo>
                      <a:pt x="82" y="41"/>
                    </a:lnTo>
                    <a:lnTo>
                      <a:pt x="91" y="35"/>
                    </a:lnTo>
                    <a:lnTo>
                      <a:pt x="100" y="29"/>
                    </a:lnTo>
                    <a:lnTo>
                      <a:pt x="109" y="23"/>
                    </a:lnTo>
                    <a:lnTo>
                      <a:pt x="119" y="18"/>
                    </a:lnTo>
                    <a:lnTo>
                      <a:pt x="129" y="14"/>
                    </a:lnTo>
                    <a:lnTo>
                      <a:pt x="139" y="10"/>
                    </a:lnTo>
                    <a:lnTo>
                      <a:pt x="150" y="7"/>
                    </a:lnTo>
                    <a:lnTo>
                      <a:pt x="160" y="4"/>
                    </a:lnTo>
                    <a:lnTo>
                      <a:pt x="172" y="2"/>
                    </a:lnTo>
                    <a:lnTo>
                      <a:pt x="183" y="1"/>
                    </a:lnTo>
                    <a:lnTo>
                      <a:pt x="194" y="0"/>
                    </a:lnTo>
                    <a:lnTo>
                      <a:pt x="206" y="0"/>
                    </a:lnTo>
                    <a:lnTo>
                      <a:pt x="218" y="1"/>
                    </a:lnTo>
                    <a:lnTo>
                      <a:pt x="230" y="3"/>
                    </a:lnTo>
                    <a:lnTo>
                      <a:pt x="242" y="5"/>
                    </a:lnTo>
                    <a:lnTo>
                      <a:pt x="253" y="7"/>
                    </a:lnTo>
                    <a:lnTo>
                      <a:pt x="265" y="11"/>
                    </a:lnTo>
                    <a:lnTo>
                      <a:pt x="276" y="15"/>
                    </a:lnTo>
                    <a:lnTo>
                      <a:pt x="287" y="19"/>
                    </a:lnTo>
                    <a:lnTo>
                      <a:pt x="298" y="24"/>
                    </a:lnTo>
                    <a:lnTo>
                      <a:pt x="309" y="30"/>
                    </a:lnTo>
                    <a:lnTo>
                      <a:pt x="320" y="36"/>
                    </a:lnTo>
                    <a:lnTo>
                      <a:pt x="330" y="44"/>
                    </a:lnTo>
                    <a:lnTo>
                      <a:pt x="340" y="52"/>
                    </a:lnTo>
                    <a:lnTo>
                      <a:pt x="350" y="59"/>
                    </a:lnTo>
                    <a:lnTo>
                      <a:pt x="359" y="67"/>
                    </a:lnTo>
                    <a:lnTo>
                      <a:pt x="368" y="76"/>
                    </a:lnTo>
                    <a:lnTo>
                      <a:pt x="377" y="85"/>
                    </a:lnTo>
                    <a:lnTo>
                      <a:pt x="386" y="96"/>
                    </a:lnTo>
                    <a:lnTo>
                      <a:pt x="402" y="116"/>
                    </a:lnTo>
                    <a:lnTo>
                      <a:pt x="416" y="138"/>
                    </a:lnTo>
                    <a:lnTo>
                      <a:pt x="423" y="150"/>
                    </a:lnTo>
                    <a:lnTo>
                      <a:pt x="429" y="161"/>
                    </a:lnTo>
                    <a:lnTo>
                      <a:pt x="435" y="173"/>
                    </a:lnTo>
                    <a:lnTo>
                      <a:pt x="440" y="185"/>
                    </a:lnTo>
                    <a:lnTo>
                      <a:pt x="445" y="199"/>
                    </a:lnTo>
                    <a:lnTo>
                      <a:pt x="449" y="211"/>
                    </a:lnTo>
                    <a:lnTo>
                      <a:pt x="453" y="224"/>
                    </a:lnTo>
                    <a:lnTo>
                      <a:pt x="456" y="237"/>
                    </a:lnTo>
                    <a:lnTo>
                      <a:pt x="459" y="252"/>
                    </a:lnTo>
                    <a:lnTo>
                      <a:pt x="461" y="265"/>
                    </a:lnTo>
                    <a:lnTo>
                      <a:pt x="462" y="278"/>
                    </a:lnTo>
                    <a:lnTo>
                      <a:pt x="464" y="292"/>
                    </a:lnTo>
                    <a:close/>
                  </a:path>
                </a:pathLst>
              </a:custGeom>
              <a:solidFill>
                <a:srgbClr val="B5673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70" name="Freeform 115"/>
              <p:cNvSpPr>
                <a:spLocks/>
              </p:cNvSpPr>
              <p:nvPr/>
            </p:nvSpPr>
            <p:spPr bwMode="auto">
              <a:xfrm>
                <a:off x="511" y="1958"/>
                <a:ext cx="9" cy="10"/>
              </a:xfrm>
              <a:custGeom>
                <a:avLst/>
                <a:gdLst>
                  <a:gd name="T0" fmla="*/ 0 w 464"/>
                  <a:gd name="T1" fmla="*/ 0 h 541"/>
                  <a:gd name="T2" fmla="*/ 0 w 464"/>
                  <a:gd name="T3" fmla="*/ 0 h 541"/>
                  <a:gd name="T4" fmla="*/ 0 w 464"/>
                  <a:gd name="T5" fmla="*/ 0 h 541"/>
                  <a:gd name="T6" fmla="*/ 0 w 464"/>
                  <a:gd name="T7" fmla="*/ 0 h 541"/>
                  <a:gd name="T8" fmla="*/ 0 w 464"/>
                  <a:gd name="T9" fmla="*/ 0 h 541"/>
                  <a:gd name="T10" fmla="*/ 0 w 464"/>
                  <a:gd name="T11" fmla="*/ 0 h 541"/>
                  <a:gd name="T12" fmla="*/ 0 w 464"/>
                  <a:gd name="T13" fmla="*/ 0 h 541"/>
                  <a:gd name="T14" fmla="*/ 0 w 464"/>
                  <a:gd name="T15" fmla="*/ 0 h 541"/>
                  <a:gd name="T16" fmla="*/ 0 w 464"/>
                  <a:gd name="T17" fmla="*/ 0 h 541"/>
                  <a:gd name="T18" fmla="*/ 0 w 464"/>
                  <a:gd name="T19" fmla="*/ 0 h 541"/>
                  <a:gd name="T20" fmla="*/ 0 w 464"/>
                  <a:gd name="T21" fmla="*/ 0 h 541"/>
                  <a:gd name="T22" fmla="*/ 0 w 464"/>
                  <a:gd name="T23" fmla="*/ 0 h 541"/>
                  <a:gd name="T24" fmla="*/ 0 w 464"/>
                  <a:gd name="T25" fmla="*/ 0 h 541"/>
                  <a:gd name="T26" fmla="*/ 0 w 464"/>
                  <a:gd name="T27" fmla="*/ 0 h 541"/>
                  <a:gd name="T28" fmla="*/ 0 w 464"/>
                  <a:gd name="T29" fmla="*/ 0 h 541"/>
                  <a:gd name="T30" fmla="*/ 0 w 464"/>
                  <a:gd name="T31" fmla="*/ 0 h 541"/>
                  <a:gd name="T32" fmla="*/ 0 w 464"/>
                  <a:gd name="T33" fmla="*/ 0 h 541"/>
                  <a:gd name="T34" fmla="*/ 0 w 464"/>
                  <a:gd name="T35" fmla="*/ 0 h 541"/>
                  <a:gd name="T36" fmla="*/ 0 w 464"/>
                  <a:gd name="T37" fmla="*/ 0 h 541"/>
                  <a:gd name="T38" fmla="*/ 0 w 464"/>
                  <a:gd name="T39" fmla="*/ 0 h 541"/>
                  <a:gd name="T40" fmla="*/ 0 w 464"/>
                  <a:gd name="T41" fmla="*/ 0 h 541"/>
                  <a:gd name="T42" fmla="*/ 0 w 464"/>
                  <a:gd name="T43" fmla="*/ 0 h 541"/>
                  <a:gd name="T44" fmla="*/ 0 w 464"/>
                  <a:gd name="T45" fmla="*/ 0 h 541"/>
                  <a:gd name="T46" fmla="*/ 0 w 464"/>
                  <a:gd name="T47" fmla="*/ 0 h 541"/>
                  <a:gd name="T48" fmla="*/ 0 w 464"/>
                  <a:gd name="T49" fmla="*/ 0 h 541"/>
                  <a:gd name="T50" fmla="*/ 0 w 464"/>
                  <a:gd name="T51" fmla="*/ 0 h 541"/>
                  <a:gd name="T52" fmla="*/ 0 w 464"/>
                  <a:gd name="T53" fmla="*/ 0 h 541"/>
                  <a:gd name="T54" fmla="*/ 0 w 464"/>
                  <a:gd name="T55" fmla="*/ 0 h 541"/>
                  <a:gd name="T56" fmla="*/ 0 w 464"/>
                  <a:gd name="T57" fmla="*/ 0 h 541"/>
                  <a:gd name="T58" fmla="*/ 0 w 464"/>
                  <a:gd name="T59" fmla="*/ 0 h 541"/>
                  <a:gd name="T60" fmla="*/ 0 w 464"/>
                  <a:gd name="T61" fmla="*/ 0 h 541"/>
                  <a:gd name="T62" fmla="*/ 0 w 464"/>
                  <a:gd name="T63" fmla="*/ 0 h 541"/>
                  <a:gd name="T64" fmla="*/ 0 w 464"/>
                  <a:gd name="T65" fmla="*/ 0 h 541"/>
                  <a:gd name="T66" fmla="*/ 0 w 464"/>
                  <a:gd name="T67" fmla="*/ 0 h 541"/>
                  <a:gd name="T68" fmla="*/ 0 w 464"/>
                  <a:gd name="T69" fmla="*/ 0 h 541"/>
                  <a:gd name="T70" fmla="*/ 0 w 464"/>
                  <a:gd name="T71" fmla="*/ 0 h 541"/>
                  <a:gd name="T72" fmla="*/ 0 w 464"/>
                  <a:gd name="T73" fmla="*/ 0 h 541"/>
                  <a:gd name="T74" fmla="*/ 0 w 464"/>
                  <a:gd name="T75" fmla="*/ 0 h 541"/>
                  <a:gd name="T76" fmla="*/ 0 w 464"/>
                  <a:gd name="T77" fmla="*/ 0 h 541"/>
                  <a:gd name="T78" fmla="*/ 0 w 464"/>
                  <a:gd name="T79" fmla="*/ 0 h 541"/>
                  <a:gd name="T80" fmla="*/ 0 w 464"/>
                  <a:gd name="T81" fmla="*/ 0 h 541"/>
                  <a:gd name="T82" fmla="*/ 0 w 464"/>
                  <a:gd name="T83" fmla="*/ 0 h 541"/>
                  <a:gd name="T84" fmla="*/ 0 w 464"/>
                  <a:gd name="T85" fmla="*/ 0 h 541"/>
                  <a:gd name="T86" fmla="*/ 0 w 464"/>
                  <a:gd name="T87" fmla="*/ 0 h 541"/>
                  <a:gd name="T88" fmla="*/ 0 w 464"/>
                  <a:gd name="T89" fmla="*/ 0 h 541"/>
                  <a:gd name="T90" fmla="*/ 0 w 464"/>
                  <a:gd name="T91" fmla="*/ 0 h 541"/>
                  <a:gd name="T92" fmla="*/ 0 w 464"/>
                  <a:gd name="T93" fmla="*/ 0 h 541"/>
                  <a:gd name="T94" fmla="*/ 0 w 464"/>
                  <a:gd name="T95" fmla="*/ 0 h 541"/>
                  <a:gd name="T96" fmla="*/ 0 w 464"/>
                  <a:gd name="T97" fmla="*/ 0 h 541"/>
                  <a:gd name="T98" fmla="*/ 0 w 464"/>
                  <a:gd name="T99" fmla="*/ 0 h 541"/>
                  <a:gd name="T100" fmla="*/ 0 w 464"/>
                  <a:gd name="T101" fmla="*/ 0 h 541"/>
                  <a:gd name="T102" fmla="*/ 0 w 464"/>
                  <a:gd name="T103" fmla="*/ 0 h 541"/>
                  <a:gd name="T104" fmla="*/ 0 w 464"/>
                  <a:gd name="T105" fmla="*/ 0 h 541"/>
                  <a:gd name="T106" fmla="*/ 0 w 464"/>
                  <a:gd name="T107" fmla="*/ 0 h 541"/>
                  <a:gd name="T108" fmla="*/ 0 w 464"/>
                  <a:gd name="T109" fmla="*/ 0 h 541"/>
                  <a:gd name="T110" fmla="*/ 0 w 464"/>
                  <a:gd name="T111" fmla="*/ 0 h 541"/>
                  <a:gd name="T112" fmla="*/ 0 w 464"/>
                  <a:gd name="T113" fmla="*/ 0 h 541"/>
                  <a:gd name="T114" fmla="*/ 0 w 464"/>
                  <a:gd name="T115" fmla="*/ 0 h 541"/>
                  <a:gd name="T116" fmla="*/ 0 w 464"/>
                  <a:gd name="T117" fmla="*/ 0 h 541"/>
                  <a:gd name="T118" fmla="*/ 0 w 464"/>
                  <a:gd name="T119" fmla="*/ 0 h 541"/>
                  <a:gd name="T120" fmla="*/ 0 w 464"/>
                  <a:gd name="T121" fmla="*/ 0 h 541"/>
                  <a:gd name="T122" fmla="*/ 0 w 464"/>
                  <a:gd name="T123" fmla="*/ 0 h 541"/>
                  <a:gd name="T124" fmla="*/ 0 w 464"/>
                  <a:gd name="T125" fmla="*/ 0 h 54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64"/>
                  <a:gd name="T190" fmla="*/ 0 h 541"/>
                  <a:gd name="T191" fmla="*/ 464 w 464"/>
                  <a:gd name="T192" fmla="*/ 541 h 54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64" h="541">
                    <a:moveTo>
                      <a:pt x="464" y="291"/>
                    </a:moveTo>
                    <a:lnTo>
                      <a:pt x="464" y="306"/>
                    </a:lnTo>
                    <a:lnTo>
                      <a:pt x="464" y="319"/>
                    </a:lnTo>
                    <a:lnTo>
                      <a:pt x="463" y="333"/>
                    </a:lnTo>
                    <a:lnTo>
                      <a:pt x="462" y="345"/>
                    </a:lnTo>
                    <a:lnTo>
                      <a:pt x="460" y="359"/>
                    </a:lnTo>
                    <a:lnTo>
                      <a:pt x="457" y="371"/>
                    </a:lnTo>
                    <a:lnTo>
                      <a:pt x="454" y="383"/>
                    </a:lnTo>
                    <a:lnTo>
                      <a:pt x="451" y="395"/>
                    </a:lnTo>
                    <a:lnTo>
                      <a:pt x="447" y="407"/>
                    </a:lnTo>
                    <a:lnTo>
                      <a:pt x="442" y="418"/>
                    </a:lnTo>
                    <a:lnTo>
                      <a:pt x="437" y="429"/>
                    </a:lnTo>
                    <a:lnTo>
                      <a:pt x="432" y="439"/>
                    </a:lnTo>
                    <a:lnTo>
                      <a:pt x="426" y="450"/>
                    </a:lnTo>
                    <a:lnTo>
                      <a:pt x="420" y="459"/>
                    </a:lnTo>
                    <a:lnTo>
                      <a:pt x="413" y="468"/>
                    </a:lnTo>
                    <a:lnTo>
                      <a:pt x="406" y="477"/>
                    </a:lnTo>
                    <a:lnTo>
                      <a:pt x="398" y="485"/>
                    </a:lnTo>
                    <a:lnTo>
                      <a:pt x="390" y="492"/>
                    </a:lnTo>
                    <a:lnTo>
                      <a:pt x="382" y="499"/>
                    </a:lnTo>
                    <a:lnTo>
                      <a:pt x="373" y="507"/>
                    </a:lnTo>
                    <a:lnTo>
                      <a:pt x="364" y="513"/>
                    </a:lnTo>
                    <a:lnTo>
                      <a:pt x="355" y="518"/>
                    </a:lnTo>
                    <a:lnTo>
                      <a:pt x="345" y="523"/>
                    </a:lnTo>
                    <a:lnTo>
                      <a:pt x="335" y="528"/>
                    </a:lnTo>
                    <a:lnTo>
                      <a:pt x="325" y="531"/>
                    </a:lnTo>
                    <a:lnTo>
                      <a:pt x="314" y="535"/>
                    </a:lnTo>
                    <a:lnTo>
                      <a:pt x="304" y="537"/>
                    </a:lnTo>
                    <a:lnTo>
                      <a:pt x="293" y="539"/>
                    </a:lnTo>
                    <a:lnTo>
                      <a:pt x="281" y="540"/>
                    </a:lnTo>
                    <a:lnTo>
                      <a:pt x="270" y="541"/>
                    </a:lnTo>
                    <a:lnTo>
                      <a:pt x="258" y="541"/>
                    </a:lnTo>
                    <a:lnTo>
                      <a:pt x="246" y="540"/>
                    </a:lnTo>
                    <a:lnTo>
                      <a:pt x="234" y="539"/>
                    </a:lnTo>
                    <a:lnTo>
                      <a:pt x="222" y="537"/>
                    </a:lnTo>
                    <a:lnTo>
                      <a:pt x="211" y="534"/>
                    </a:lnTo>
                    <a:lnTo>
                      <a:pt x="199" y="531"/>
                    </a:lnTo>
                    <a:lnTo>
                      <a:pt x="188" y="527"/>
                    </a:lnTo>
                    <a:lnTo>
                      <a:pt x="177" y="522"/>
                    </a:lnTo>
                    <a:lnTo>
                      <a:pt x="166" y="517"/>
                    </a:lnTo>
                    <a:lnTo>
                      <a:pt x="155" y="511"/>
                    </a:lnTo>
                    <a:lnTo>
                      <a:pt x="144" y="505"/>
                    </a:lnTo>
                    <a:lnTo>
                      <a:pt x="134" y="497"/>
                    </a:lnTo>
                    <a:lnTo>
                      <a:pt x="124" y="490"/>
                    </a:lnTo>
                    <a:lnTo>
                      <a:pt x="114" y="482"/>
                    </a:lnTo>
                    <a:lnTo>
                      <a:pt x="105" y="474"/>
                    </a:lnTo>
                    <a:lnTo>
                      <a:pt x="96" y="465"/>
                    </a:lnTo>
                    <a:lnTo>
                      <a:pt x="87" y="456"/>
                    </a:lnTo>
                    <a:lnTo>
                      <a:pt x="78" y="446"/>
                    </a:lnTo>
                    <a:lnTo>
                      <a:pt x="70" y="436"/>
                    </a:lnTo>
                    <a:lnTo>
                      <a:pt x="62" y="426"/>
                    </a:lnTo>
                    <a:lnTo>
                      <a:pt x="55" y="415"/>
                    </a:lnTo>
                    <a:lnTo>
                      <a:pt x="48" y="404"/>
                    </a:lnTo>
                    <a:lnTo>
                      <a:pt x="41" y="392"/>
                    </a:lnTo>
                    <a:lnTo>
                      <a:pt x="35" y="380"/>
                    </a:lnTo>
                    <a:lnTo>
                      <a:pt x="30" y="368"/>
                    </a:lnTo>
                    <a:lnTo>
                      <a:pt x="24" y="356"/>
                    </a:lnTo>
                    <a:lnTo>
                      <a:pt x="19" y="343"/>
                    </a:lnTo>
                    <a:lnTo>
                      <a:pt x="15" y="330"/>
                    </a:lnTo>
                    <a:lnTo>
                      <a:pt x="11" y="317"/>
                    </a:lnTo>
                    <a:lnTo>
                      <a:pt x="8" y="304"/>
                    </a:lnTo>
                    <a:lnTo>
                      <a:pt x="5" y="290"/>
                    </a:lnTo>
                    <a:lnTo>
                      <a:pt x="3" y="276"/>
                    </a:lnTo>
                    <a:lnTo>
                      <a:pt x="1" y="263"/>
                    </a:lnTo>
                    <a:lnTo>
                      <a:pt x="1" y="249"/>
                    </a:lnTo>
                    <a:lnTo>
                      <a:pt x="0" y="235"/>
                    </a:lnTo>
                    <a:lnTo>
                      <a:pt x="0" y="221"/>
                    </a:lnTo>
                    <a:lnTo>
                      <a:pt x="1" y="208"/>
                    </a:lnTo>
                    <a:lnTo>
                      <a:pt x="2" y="195"/>
                    </a:lnTo>
                    <a:lnTo>
                      <a:pt x="4" y="182"/>
                    </a:lnTo>
                    <a:lnTo>
                      <a:pt x="7" y="169"/>
                    </a:lnTo>
                    <a:lnTo>
                      <a:pt x="10" y="157"/>
                    </a:lnTo>
                    <a:lnTo>
                      <a:pt x="13" y="146"/>
                    </a:lnTo>
                    <a:lnTo>
                      <a:pt x="17" y="133"/>
                    </a:lnTo>
                    <a:lnTo>
                      <a:pt x="22" y="123"/>
                    </a:lnTo>
                    <a:lnTo>
                      <a:pt x="27" y="112"/>
                    </a:lnTo>
                    <a:lnTo>
                      <a:pt x="32" y="102"/>
                    </a:lnTo>
                    <a:lnTo>
                      <a:pt x="38" y="91"/>
                    </a:lnTo>
                    <a:lnTo>
                      <a:pt x="44" y="82"/>
                    </a:lnTo>
                    <a:lnTo>
                      <a:pt x="51" y="73"/>
                    </a:lnTo>
                    <a:lnTo>
                      <a:pt x="58" y="64"/>
                    </a:lnTo>
                    <a:lnTo>
                      <a:pt x="66" y="56"/>
                    </a:lnTo>
                    <a:lnTo>
                      <a:pt x="74" y="49"/>
                    </a:lnTo>
                    <a:lnTo>
                      <a:pt x="82" y="40"/>
                    </a:lnTo>
                    <a:lnTo>
                      <a:pt x="91" y="34"/>
                    </a:lnTo>
                    <a:lnTo>
                      <a:pt x="100" y="28"/>
                    </a:lnTo>
                    <a:lnTo>
                      <a:pt x="109" y="22"/>
                    </a:lnTo>
                    <a:lnTo>
                      <a:pt x="119" y="17"/>
                    </a:lnTo>
                    <a:lnTo>
                      <a:pt x="129" y="13"/>
                    </a:lnTo>
                    <a:lnTo>
                      <a:pt x="139" y="9"/>
                    </a:lnTo>
                    <a:lnTo>
                      <a:pt x="150" y="6"/>
                    </a:lnTo>
                    <a:lnTo>
                      <a:pt x="160" y="4"/>
                    </a:lnTo>
                    <a:lnTo>
                      <a:pt x="171" y="1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6" y="0"/>
                    </a:lnTo>
                    <a:lnTo>
                      <a:pt x="218" y="0"/>
                    </a:lnTo>
                    <a:lnTo>
                      <a:pt x="230" y="2"/>
                    </a:lnTo>
                    <a:lnTo>
                      <a:pt x="242" y="4"/>
                    </a:lnTo>
                    <a:lnTo>
                      <a:pt x="253" y="7"/>
                    </a:lnTo>
                    <a:lnTo>
                      <a:pt x="265" y="10"/>
                    </a:lnTo>
                    <a:lnTo>
                      <a:pt x="276" y="14"/>
                    </a:lnTo>
                    <a:lnTo>
                      <a:pt x="287" y="19"/>
                    </a:lnTo>
                    <a:lnTo>
                      <a:pt x="298" y="24"/>
                    </a:lnTo>
                    <a:lnTo>
                      <a:pt x="309" y="29"/>
                    </a:lnTo>
                    <a:lnTo>
                      <a:pt x="320" y="36"/>
                    </a:lnTo>
                    <a:lnTo>
                      <a:pt x="330" y="44"/>
                    </a:lnTo>
                    <a:lnTo>
                      <a:pt x="340" y="51"/>
                    </a:lnTo>
                    <a:lnTo>
                      <a:pt x="350" y="59"/>
                    </a:lnTo>
                    <a:lnTo>
                      <a:pt x="359" y="67"/>
                    </a:lnTo>
                    <a:lnTo>
                      <a:pt x="368" y="75"/>
                    </a:lnTo>
                    <a:lnTo>
                      <a:pt x="377" y="85"/>
                    </a:lnTo>
                    <a:lnTo>
                      <a:pt x="386" y="95"/>
                    </a:lnTo>
                    <a:lnTo>
                      <a:pt x="402" y="115"/>
                    </a:lnTo>
                    <a:lnTo>
                      <a:pt x="416" y="137"/>
                    </a:lnTo>
                    <a:lnTo>
                      <a:pt x="423" y="149"/>
                    </a:lnTo>
                    <a:lnTo>
                      <a:pt x="429" y="161"/>
                    </a:lnTo>
                    <a:lnTo>
                      <a:pt x="435" y="173"/>
                    </a:lnTo>
                    <a:lnTo>
                      <a:pt x="440" y="185"/>
                    </a:lnTo>
                    <a:lnTo>
                      <a:pt x="445" y="198"/>
                    </a:lnTo>
                    <a:lnTo>
                      <a:pt x="449" y="211"/>
                    </a:lnTo>
                    <a:lnTo>
                      <a:pt x="453" y="224"/>
                    </a:lnTo>
                    <a:lnTo>
                      <a:pt x="456" y="237"/>
                    </a:lnTo>
                    <a:lnTo>
                      <a:pt x="459" y="251"/>
                    </a:lnTo>
                    <a:lnTo>
                      <a:pt x="461" y="264"/>
                    </a:lnTo>
                    <a:lnTo>
                      <a:pt x="463" y="278"/>
                    </a:lnTo>
                    <a:lnTo>
                      <a:pt x="464" y="291"/>
                    </a:lnTo>
                    <a:close/>
                  </a:path>
                </a:pathLst>
              </a:custGeom>
              <a:solidFill>
                <a:srgbClr val="B5673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71" name="Freeform 116"/>
              <p:cNvSpPr>
                <a:spLocks/>
              </p:cNvSpPr>
              <p:nvPr/>
            </p:nvSpPr>
            <p:spPr bwMode="auto">
              <a:xfrm>
                <a:off x="425" y="1785"/>
                <a:ext cx="209" cy="120"/>
              </a:xfrm>
              <a:custGeom>
                <a:avLst/>
                <a:gdLst>
                  <a:gd name="T0" fmla="*/ 0 w 10451"/>
                  <a:gd name="T1" fmla="*/ 0 h 6136"/>
                  <a:gd name="T2" fmla="*/ 0 w 10451"/>
                  <a:gd name="T3" fmla="*/ 0 h 6136"/>
                  <a:gd name="T4" fmla="*/ 0 w 10451"/>
                  <a:gd name="T5" fmla="*/ 0 h 6136"/>
                  <a:gd name="T6" fmla="*/ 0 w 10451"/>
                  <a:gd name="T7" fmla="*/ 0 h 6136"/>
                  <a:gd name="T8" fmla="*/ 0 w 10451"/>
                  <a:gd name="T9" fmla="*/ 0 h 6136"/>
                  <a:gd name="T10" fmla="*/ 0 w 10451"/>
                  <a:gd name="T11" fmla="*/ 0 h 6136"/>
                  <a:gd name="T12" fmla="*/ 0 w 10451"/>
                  <a:gd name="T13" fmla="*/ 0 h 6136"/>
                  <a:gd name="T14" fmla="*/ 0 w 10451"/>
                  <a:gd name="T15" fmla="*/ 0 h 6136"/>
                  <a:gd name="T16" fmla="*/ 0 w 10451"/>
                  <a:gd name="T17" fmla="*/ 0 h 6136"/>
                  <a:gd name="T18" fmla="*/ 0 w 10451"/>
                  <a:gd name="T19" fmla="*/ 0 h 6136"/>
                  <a:gd name="T20" fmla="*/ 0 w 10451"/>
                  <a:gd name="T21" fmla="*/ 0 h 6136"/>
                  <a:gd name="T22" fmla="*/ 0 w 10451"/>
                  <a:gd name="T23" fmla="*/ 0 h 6136"/>
                  <a:gd name="T24" fmla="*/ 0 w 10451"/>
                  <a:gd name="T25" fmla="*/ 0 h 6136"/>
                  <a:gd name="T26" fmla="*/ 0 w 10451"/>
                  <a:gd name="T27" fmla="*/ 0 h 6136"/>
                  <a:gd name="T28" fmla="*/ 0 w 10451"/>
                  <a:gd name="T29" fmla="*/ 0 h 6136"/>
                  <a:gd name="T30" fmla="*/ 0 w 10451"/>
                  <a:gd name="T31" fmla="*/ 0 h 6136"/>
                  <a:gd name="T32" fmla="*/ 0 w 10451"/>
                  <a:gd name="T33" fmla="*/ 0 h 6136"/>
                  <a:gd name="T34" fmla="*/ 0 w 10451"/>
                  <a:gd name="T35" fmla="*/ 0 h 6136"/>
                  <a:gd name="T36" fmla="*/ 0 w 10451"/>
                  <a:gd name="T37" fmla="*/ 0 h 6136"/>
                  <a:gd name="T38" fmla="*/ 0 w 10451"/>
                  <a:gd name="T39" fmla="*/ 0 h 6136"/>
                  <a:gd name="T40" fmla="*/ 0 w 10451"/>
                  <a:gd name="T41" fmla="*/ 0 h 6136"/>
                  <a:gd name="T42" fmla="*/ 0 w 10451"/>
                  <a:gd name="T43" fmla="*/ 0 h 6136"/>
                  <a:gd name="T44" fmla="*/ 0 w 10451"/>
                  <a:gd name="T45" fmla="*/ 0 h 6136"/>
                  <a:gd name="T46" fmla="*/ 0 w 10451"/>
                  <a:gd name="T47" fmla="*/ 0 h 6136"/>
                  <a:gd name="T48" fmla="*/ 0 w 10451"/>
                  <a:gd name="T49" fmla="*/ 0 h 6136"/>
                  <a:gd name="T50" fmla="*/ 0 w 10451"/>
                  <a:gd name="T51" fmla="*/ 0 h 6136"/>
                  <a:gd name="T52" fmla="*/ 0 w 10451"/>
                  <a:gd name="T53" fmla="*/ 0 h 6136"/>
                  <a:gd name="T54" fmla="*/ 0 w 10451"/>
                  <a:gd name="T55" fmla="*/ 0 h 6136"/>
                  <a:gd name="T56" fmla="*/ 0 w 10451"/>
                  <a:gd name="T57" fmla="*/ 0 h 6136"/>
                  <a:gd name="T58" fmla="*/ 0 w 10451"/>
                  <a:gd name="T59" fmla="*/ 0 h 6136"/>
                  <a:gd name="T60" fmla="*/ 0 w 10451"/>
                  <a:gd name="T61" fmla="*/ 0 h 6136"/>
                  <a:gd name="T62" fmla="*/ 0 w 10451"/>
                  <a:gd name="T63" fmla="*/ 0 h 6136"/>
                  <a:gd name="T64" fmla="*/ 0 w 10451"/>
                  <a:gd name="T65" fmla="*/ 0 h 6136"/>
                  <a:gd name="T66" fmla="*/ 0 w 10451"/>
                  <a:gd name="T67" fmla="*/ 0 h 6136"/>
                  <a:gd name="T68" fmla="*/ 0 w 10451"/>
                  <a:gd name="T69" fmla="*/ 0 h 6136"/>
                  <a:gd name="T70" fmla="*/ 0 w 10451"/>
                  <a:gd name="T71" fmla="*/ 0 h 6136"/>
                  <a:gd name="T72" fmla="*/ 0 w 10451"/>
                  <a:gd name="T73" fmla="*/ 0 h 6136"/>
                  <a:gd name="T74" fmla="*/ 0 w 10451"/>
                  <a:gd name="T75" fmla="*/ 0 h 6136"/>
                  <a:gd name="T76" fmla="*/ 0 w 10451"/>
                  <a:gd name="T77" fmla="*/ 0 h 6136"/>
                  <a:gd name="T78" fmla="*/ 0 w 10451"/>
                  <a:gd name="T79" fmla="*/ 0 h 6136"/>
                  <a:gd name="T80" fmla="*/ 0 w 10451"/>
                  <a:gd name="T81" fmla="*/ 0 h 6136"/>
                  <a:gd name="T82" fmla="*/ 0 w 10451"/>
                  <a:gd name="T83" fmla="*/ 0 h 6136"/>
                  <a:gd name="T84" fmla="*/ 0 w 10451"/>
                  <a:gd name="T85" fmla="*/ 0 h 6136"/>
                  <a:gd name="T86" fmla="*/ 0 w 10451"/>
                  <a:gd name="T87" fmla="*/ 0 h 6136"/>
                  <a:gd name="T88" fmla="*/ 0 w 10451"/>
                  <a:gd name="T89" fmla="*/ 0 h 6136"/>
                  <a:gd name="T90" fmla="*/ 0 w 10451"/>
                  <a:gd name="T91" fmla="*/ 0 h 6136"/>
                  <a:gd name="T92" fmla="*/ 0 w 10451"/>
                  <a:gd name="T93" fmla="*/ 0 h 6136"/>
                  <a:gd name="T94" fmla="*/ 0 w 10451"/>
                  <a:gd name="T95" fmla="*/ 0 h 6136"/>
                  <a:gd name="T96" fmla="*/ 0 w 10451"/>
                  <a:gd name="T97" fmla="*/ 0 h 6136"/>
                  <a:gd name="T98" fmla="*/ 0 w 10451"/>
                  <a:gd name="T99" fmla="*/ 0 h 6136"/>
                  <a:gd name="T100" fmla="*/ 0 w 10451"/>
                  <a:gd name="T101" fmla="*/ 0 h 6136"/>
                  <a:gd name="T102" fmla="*/ 0 w 10451"/>
                  <a:gd name="T103" fmla="*/ 0 h 6136"/>
                  <a:gd name="T104" fmla="*/ 0 w 10451"/>
                  <a:gd name="T105" fmla="*/ 0 h 6136"/>
                  <a:gd name="T106" fmla="*/ 0 w 10451"/>
                  <a:gd name="T107" fmla="*/ 0 h 6136"/>
                  <a:gd name="T108" fmla="*/ 0 w 10451"/>
                  <a:gd name="T109" fmla="*/ 0 h 6136"/>
                  <a:gd name="T110" fmla="*/ 0 w 10451"/>
                  <a:gd name="T111" fmla="*/ 0 h 6136"/>
                  <a:gd name="T112" fmla="*/ 0 w 10451"/>
                  <a:gd name="T113" fmla="*/ 0 h 6136"/>
                  <a:gd name="T114" fmla="*/ 0 w 10451"/>
                  <a:gd name="T115" fmla="*/ 0 h 6136"/>
                  <a:gd name="T116" fmla="*/ 0 w 10451"/>
                  <a:gd name="T117" fmla="*/ 0 h 6136"/>
                  <a:gd name="T118" fmla="*/ 0 w 10451"/>
                  <a:gd name="T119" fmla="*/ 0 h 6136"/>
                  <a:gd name="T120" fmla="*/ 0 w 10451"/>
                  <a:gd name="T121" fmla="*/ 0 h 6136"/>
                  <a:gd name="T122" fmla="*/ 0 w 10451"/>
                  <a:gd name="T123" fmla="*/ 0 h 61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0451"/>
                  <a:gd name="T187" fmla="*/ 0 h 6136"/>
                  <a:gd name="T188" fmla="*/ 10451 w 10451"/>
                  <a:gd name="T189" fmla="*/ 6136 h 61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0451" h="6136">
                    <a:moveTo>
                      <a:pt x="0" y="2565"/>
                    </a:moveTo>
                    <a:lnTo>
                      <a:pt x="4484" y="0"/>
                    </a:lnTo>
                    <a:lnTo>
                      <a:pt x="10451" y="3430"/>
                    </a:lnTo>
                    <a:lnTo>
                      <a:pt x="6099" y="6136"/>
                    </a:lnTo>
                    <a:lnTo>
                      <a:pt x="2735" y="4102"/>
                    </a:lnTo>
                    <a:lnTo>
                      <a:pt x="2742" y="4098"/>
                    </a:lnTo>
                    <a:lnTo>
                      <a:pt x="2763" y="4087"/>
                    </a:lnTo>
                    <a:lnTo>
                      <a:pt x="2793" y="4070"/>
                    </a:lnTo>
                    <a:lnTo>
                      <a:pt x="2830" y="4045"/>
                    </a:lnTo>
                    <a:lnTo>
                      <a:pt x="2851" y="4031"/>
                    </a:lnTo>
                    <a:lnTo>
                      <a:pt x="2872" y="4016"/>
                    </a:lnTo>
                    <a:lnTo>
                      <a:pt x="2894" y="3998"/>
                    </a:lnTo>
                    <a:lnTo>
                      <a:pt x="2917" y="3980"/>
                    </a:lnTo>
                    <a:lnTo>
                      <a:pt x="2939" y="3962"/>
                    </a:lnTo>
                    <a:lnTo>
                      <a:pt x="2960" y="3941"/>
                    </a:lnTo>
                    <a:lnTo>
                      <a:pt x="2981" y="3920"/>
                    </a:lnTo>
                    <a:lnTo>
                      <a:pt x="3001" y="3897"/>
                    </a:lnTo>
                    <a:lnTo>
                      <a:pt x="3019" y="3874"/>
                    </a:lnTo>
                    <a:lnTo>
                      <a:pt x="3035" y="3851"/>
                    </a:lnTo>
                    <a:lnTo>
                      <a:pt x="3049" y="3825"/>
                    </a:lnTo>
                    <a:lnTo>
                      <a:pt x="3061" y="3801"/>
                    </a:lnTo>
                    <a:lnTo>
                      <a:pt x="3069" y="3774"/>
                    </a:lnTo>
                    <a:lnTo>
                      <a:pt x="3075" y="3747"/>
                    </a:lnTo>
                    <a:lnTo>
                      <a:pt x="3077" y="3721"/>
                    </a:lnTo>
                    <a:lnTo>
                      <a:pt x="3075" y="3693"/>
                    </a:lnTo>
                    <a:lnTo>
                      <a:pt x="3069" y="3666"/>
                    </a:lnTo>
                    <a:lnTo>
                      <a:pt x="3059" y="3638"/>
                    </a:lnTo>
                    <a:lnTo>
                      <a:pt x="3043" y="3610"/>
                    </a:lnTo>
                    <a:lnTo>
                      <a:pt x="3023" y="3581"/>
                    </a:lnTo>
                    <a:lnTo>
                      <a:pt x="2997" y="3554"/>
                    </a:lnTo>
                    <a:lnTo>
                      <a:pt x="2965" y="3525"/>
                    </a:lnTo>
                    <a:lnTo>
                      <a:pt x="2927" y="3497"/>
                    </a:lnTo>
                    <a:lnTo>
                      <a:pt x="2882" y="3469"/>
                    </a:lnTo>
                    <a:lnTo>
                      <a:pt x="2877" y="3465"/>
                    </a:lnTo>
                    <a:lnTo>
                      <a:pt x="2861" y="3456"/>
                    </a:lnTo>
                    <a:lnTo>
                      <a:pt x="2836" y="3440"/>
                    </a:lnTo>
                    <a:lnTo>
                      <a:pt x="2801" y="3424"/>
                    </a:lnTo>
                    <a:lnTo>
                      <a:pt x="2780" y="3415"/>
                    </a:lnTo>
                    <a:lnTo>
                      <a:pt x="2757" y="3406"/>
                    </a:lnTo>
                    <a:lnTo>
                      <a:pt x="2732" y="3397"/>
                    </a:lnTo>
                    <a:lnTo>
                      <a:pt x="2705" y="3388"/>
                    </a:lnTo>
                    <a:lnTo>
                      <a:pt x="2676" y="3381"/>
                    </a:lnTo>
                    <a:lnTo>
                      <a:pt x="2645" y="3374"/>
                    </a:lnTo>
                    <a:lnTo>
                      <a:pt x="2612" y="3368"/>
                    </a:lnTo>
                    <a:lnTo>
                      <a:pt x="2577" y="3363"/>
                    </a:lnTo>
                    <a:lnTo>
                      <a:pt x="2540" y="3361"/>
                    </a:lnTo>
                    <a:lnTo>
                      <a:pt x="2502" y="3359"/>
                    </a:lnTo>
                    <a:lnTo>
                      <a:pt x="2462" y="3360"/>
                    </a:lnTo>
                    <a:lnTo>
                      <a:pt x="2420" y="3362"/>
                    </a:lnTo>
                    <a:lnTo>
                      <a:pt x="2377" y="3367"/>
                    </a:lnTo>
                    <a:lnTo>
                      <a:pt x="2332" y="3375"/>
                    </a:lnTo>
                    <a:lnTo>
                      <a:pt x="2286" y="3385"/>
                    </a:lnTo>
                    <a:lnTo>
                      <a:pt x="2239" y="3400"/>
                    </a:lnTo>
                    <a:lnTo>
                      <a:pt x="2190" y="3416"/>
                    </a:lnTo>
                    <a:lnTo>
                      <a:pt x="2140" y="3436"/>
                    </a:lnTo>
                    <a:lnTo>
                      <a:pt x="2089" y="3460"/>
                    </a:lnTo>
                    <a:lnTo>
                      <a:pt x="2037" y="3488"/>
                    </a:lnTo>
                    <a:lnTo>
                      <a:pt x="1983" y="3520"/>
                    </a:lnTo>
                    <a:lnTo>
                      <a:pt x="1929" y="3556"/>
                    </a:lnTo>
                    <a:lnTo>
                      <a:pt x="1873" y="3598"/>
                    </a:lnTo>
                    <a:lnTo>
                      <a:pt x="1817" y="3642"/>
                    </a:lnTo>
                    <a:lnTo>
                      <a:pt x="0" y="2565"/>
                    </a:lnTo>
                    <a:close/>
                  </a:path>
                </a:pathLst>
              </a:custGeom>
              <a:solidFill>
                <a:srgbClr val="EBEBE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72" name="Freeform 117"/>
              <p:cNvSpPr>
                <a:spLocks/>
              </p:cNvSpPr>
              <p:nvPr/>
            </p:nvSpPr>
            <p:spPr bwMode="auto">
              <a:xfrm>
                <a:off x="480" y="1850"/>
                <a:ext cx="154" cy="55"/>
              </a:xfrm>
              <a:custGeom>
                <a:avLst/>
                <a:gdLst>
                  <a:gd name="T0" fmla="*/ 0 w 7716"/>
                  <a:gd name="T1" fmla="*/ 0 h 2814"/>
                  <a:gd name="T2" fmla="*/ 0 w 7716"/>
                  <a:gd name="T3" fmla="*/ 0 h 2814"/>
                  <a:gd name="T4" fmla="*/ 0 w 7716"/>
                  <a:gd name="T5" fmla="*/ 0 h 2814"/>
                  <a:gd name="T6" fmla="*/ 0 w 7716"/>
                  <a:gd name="T7" fmla="*/ 0 h 2814"/>
                  <a:gd name="T8" fmla="*/ 0 w 7716"/>
                  <a:gd name="T9" fmla="*/ 0 h 2814"/>
                  <a:gd name="T10" fmla="*/ 0 w 7716"/>
                  <a:gd name="T11" fmla="*/ 0 h 2814"/>
                  <a:gd name="T12" fmla="*/ 0 w 7716"/>
                  <a:gd name="T13" fmla="*/ 0 h 28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716"/>
                  <a:gd name="T22" fmla="*/ 0 h 2814"/>
                  <a:gd name="T23" fmla="*/ 7716 w 7716"/>
                  <a:gd name="T24" fmla="*/ 2814 h 28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716" h="2814">
                    <a:moveTo>
                      <a:pt x="0" y="780"/>
                    </a:moveTo>
                    <a:lnTo>
                      <a:pt x="3364" y="2814"/>
                    </a:lnTo>
                    <a:lnTo>
                      <a:pt x="7716" y="108"/>
                    </a:lnTo>
                    <a:lnTo>
                      <a:pt x="7527" y="0"/>
                    </a:lnTo>
                    <a:lnTo>
                      <a:pt x="3362" y="2429"/>
                    </a:lnTo>
                    <a:lnTo>
                      <a:pt x="183" y="692"/>
                    </a:lnTo>
                    <a:lnTo>
                      <a:pt x="0" y="78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73" name="Freeform 118"/>
              <p:cNvSpPr>
                <a:spLocks/>
              </p:cNvSpPr>
              <p:nvPr/>
            </p:nvSpPr>
            <p:spPr bwMode="auto">
              <a:xfrm>
                <a:off x="547" y="1853"/>
                <a:ext cx="86" cy="131"/>
              </a:xfrm>
              <a:custGeom>
                <a:avLst/>
                <a:gdLst>
                  <a:gd name="T0" fmla="*/ 0 w 4309"/>
                  <a:gd name="T1" fmla="*/ 0 h 6670"/>
                  <a:gd name="T2" fmla="*/ 0 w 4309"/>
                  <a:gd name="T3" fmla="*/ 0 h 6670"/>
                  <a:gd name="T4" fmla="*/ 0 w 4309"/>
                  <a:gd name="T5" fmla="*/ 0 h 6670"/>
                  <a:gd name="T6" fmla="*/ 0 w 4309"/>
                  <a:gd name="T7" fmla="*/ 0 h 6670"/>
                  <a:gd name="T8" fmla="*/ 0 w 4309"/>
                  <a:gd name="T9" fmla="*/ 0 h 6670"/>
                  <a:gd name="T10" fmla="*/ 0 w 4309"/>
                  <a:gd name="T11" fmla="*/ 0 h 6670"/>
                  <a:gd name="T12" fmla="*/ 0 w 4309"/>
                  <a:gd name="T13" fmla="*/ 0 h 6670"/>
                  <a:gd name="T14" fmla="*/ 0 w 4309"/>
                  <a:gd name="T15" fmla="*/ 0 h 6670"/>
                  <a:gd name="T16" fmla="*/ 0 w 4309"/>
                  <a:gd name="T17" fmla="*/ 0 h 6670"/>
                  <a:gd name="T18" fmla="*/ 0 w 4309"/>
                  <a:gd name="T19" fmla="*/ 0 h 6670"/>
                  <a:gd name="T20" fmla="*/ 0 w 4309"/>
                  <a:gd name="T21" fmla="*/ 0 h 6670"/>
                  <a:gd name="T22" fmla="*/ 0 w 4309"/>
                  <a:gd name="T23" fmla="*/ 0 h 6670"/>
                  <a:gd name="T24" fmla="*/ 0 w 4309"/>
                  <a:gd name="T25" fmla="*/ 0 h 6670"/>
                  <a:gd name="T26" fmla="*/ 0 w 4309"/>
                  <a:gd name="T27" fmla="*/ 0 h 6670"/>
                  <a:gd name="T28" fmla="*/ 0 w 4309"/>
                  <a:gd name="T29" fmla="*/ 0 h 6670"/>
                  <a:gd name="T30" fmla="*/ 0 w 4309"/>
                  <a:gd name="T31" fmla="*/ 0 h 6670"/>
                  <a:gd name="T32" fmla="*/ 0 w 4309"/>
                  <a:gd name="T33" fmla="*/ 0 h 6670"/>
                  <a:gd name="T34" fmla="*/ 0 w 4309"/>
                  <a:gd name="T35" fmla="*/ 0 h 6670"/>
                  <a:gd name="T36" fmla="*/ 0 w 4309"/>
                  <a:gd name="T37" fmla="*/ 0 h 6670"/>
                  <a:gd name="T38" fmla="*/ 0 w 4309"/>
                  <a:gd name="T39" fmla="*/ 0 h 6670"/>
                  <a:gd name="T40" fmla="*/ 0 w 4309"/>
                  <a:gd name="T41" fmla="*/ 0 h 6670"/>
                  <a:gd name="T42" fmla="*/ 0 w 4309"/>
                  <a:gd name="T43" fmla="*/ 0 h 6670"/>
                  <a:gd name="T44" fmla="*/ 0 w 4309"/>
                  <a:gd name="T45" fmla="*/ 0 h 6670"/>
                  <a:gd name="T46" fmla="*/ 0 w 4309"/>
                  <a:gd name="T47" fmla="*/ 0 h 6670"/>
                  <a:gd name="T48" fmla="*/ 0 w 4309"/>
                  <a:gd name="T49" fmla="*/ 0 h 6670"/>
                  <a:gd name="T50" fmla="*/ 0 w 4309"/>
                  <a:gd name="T51" fmla="*/ 0 h 6670"/>
                  <a:gd name="T52" fmla="*/ 0 w 4309"/>
                  <a:gd name="T53" fmla="*/ 0 h 6670"/>
                  <a:gd name="T54" fmla="*/ 0 w 4309"/>
                  <a:gd name="T55" fmla="*/ 0 h 6670"/>
                  <a:gd name="T56" fmla="*/ 0 w 4309"/>
                  <a:gd name="T57" fmla="*/ 0 h 6670"/>
                  <a:gd name="T58" fmla="*/ 0 w 4309"/>
                  <a:gd name="T59" fmla="*/ 0 h 6670"/>
                  <a:gd name="T60" fmla="*/ 0 w 4309"/>
                  <a:gd name="T61" fmla="*/ 0 h 6670"/>
                  <a:gd name="T62" fmla="*/ 0 w 4309"/>
                  <a:gd name="T63" fmla="*/ 0 h 6670"/>
                  <a:gd name="T64" fmla="*/ 0 w 4309"/>
                  <a:gd name="T65" fmla="*/ 0 h 6670"/>
                  <a:gd name="T66" fmla="*/ 0 w 4309"/>
                  <a:gd name="T67" fmla="*/ 0 h 6670"/>
                  <a:gd name="T68" fmla="*/ 0 w 4309"/>
                  <a:gd name="T69" fmla="*/ 0 h 6670"/>
                  <a:gd name="T70" fmla="*/ 0 w 4309"/>
                  <a:gd name="T71" fmla="*/ 0 h 6670"/>
                  <a:gd name="T72" fmla="*/ 0 w 4309"/>
                  <a:gd name="T73" fmla="*/ 0 h 6670"/>
                  <a:gd name="T74" fmla="*/ 0 w 4309"/>
                  <a:gd name="T75" fmla="*/ 0 h 6670"/>
                  <a:gd name="T76" fmla="*/ 0 w 4309"/>
                  <a:gd name="T77" fmla="*/ 0 h 6670"/>
                  <a:gd name="T78" fmla="*/ 0 w 4309"/>
                  <a:gd name="T79" fmla="*/ 0 h 6670"/>
                  <a:gd name="T80" fmla="*/ 0 w 4309"/>
                  <a:gd name="T81" fmla="*/ 0 h 6670"/>
                  <a:gd name="T82" fmla="*/ 0 w 4309"/>
                  <a:gd name="T83" fmla="*/ 0 h 6670"/>
                  <a:gd name="T84" fmla="*/ 0 w 4309"/>
                  <a:gd name="T85" fmla="*/ 0 h 6670"/>
                  <a:gd name="T86" fmla="*/ 0 w 4309"/>
                  <a:gd name="T87" fmla="*/ 0 h 6670"/>
                  <a:gd name="T88" fmla="*/ 0 w 4309"/>
                  <a:gd name="T89" fmla="*/ 0 h 6670"/>
                  <a:gd name="T90" fmla="*/ 0 w 4309"/>
                  <a:gd name="T91" fmla="*/ 0 h 6670"/>
                  <a:gd name="T92" fmla="*/ 0 w 4309"/>
                  <a:gd name="T93" fmla="*/ 0 h 6670"/>
                  <a:gd name="T94" fmla="*/ 0 w 4309"/>
                  <a:gd name="T95" fmla="*/ 0 h 6670"/>
                  <a:gd name="T96" fmla="*/ 0 w 4309"/>
                  <a:gd name="T97" fmla="*/ 0 h 6670"/>
                  <a:gd name="T98" fmla="*/ 0 w 4309"/>
                  <a:gd name="T99" fmla="*/ 0 h 6670"/>
                  <a:gd name="T100" fmla="*/ 0 w 4309"/>
                  <a:gd name="T101" fmla="*/ 0 h 6670"/>
                  <a:gd name="T102" fmla="*/ 0 w 4309"/>
                  <a:gd name="T103" fmla="*/ 0 h 6670"/>
                  <a:gd name="T104" fmla="*/ 0 w 4309"/>
                  <a:gd name="T105" fmla="*/ 0 h 6670"/>
                  <a:gd name="T106" fmla="*/ 0 w 4309"/>
                  <a:gd name="T107" fmla="*/ 0 h 6670"/>
                  <a:gd name="T108" fmla="*/ 0 w 4309"/>
                  <a:gd name="T109" fmla="*/ 0 h 6670"/>
                  <a:gd name="T110" fmla="*/ 0 w 4309"/>
                  <a:gd name="T111" fmla="*/ 0 h 6670"/>
                  <a:gd name="T112" fmla="*/ 0 w 4309"/>
                  <a:gd name="T113" fmla="*/ 0 h 6670"/>
                  <a:gd name="T114" fmla="*/ 0 w 4309"/>
                  <a:gd name="T115" fmla="*/ 0 h 6670"/>
                  <a:gd name="T116" fmla="*/ 0 w 4309"/>
                  <a:gd name="T117" fmla="*/ 0 h 6670"/>
                  <a:gd name="T118" fmla="*/ 0 w 4309"/>
                  <a:gd name="T119" fmla="*/ 0 h 6670"/>
                  <a:gd name="T120" fmla="*/ 0 w 4309"/>
                  <a:gd name="T121" fmla="*/ 0 h 667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309"/>
                  <a:gd name="T184" fmla="*/ 0 h 6670"/>
                  <a:gd name="T185" fmla="*/ 4309 w 4309"/>
                  <a:gd name="T186" fmla="*/ 6670 h 667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309" h="6670">
                    <a:moveTo>
                      <a:pt x="4309" y="0"/>
                    </a:moveTo>
                    <a:lnTo>
                      <a:pt x="0" y="2672"/>
                    </a:lnTo>
                    <a:lnTo>
                      <a:pt x="24" y="6670"/>
                    </a:lnTo>
                    <a:lnTo>
                      <a:pt x="25" y="6644"/>
                    </a:lnTo>
                    <a:lnTo>
                      <a:pt x="30" y="6573"/>
                    </a:lnTo>
                    <a:lnTo>
                      <a:pt x="39" y="6460"/>
                    </a:lnTo>
                    <a:lnTo>
                      <a:pt x="53" y="6310"/>
                    </a:lnTo>
                    <a:lnTo>
                      <a:pt x="62" y="6222"/>
                    </a:lnTo>
                    <a:lnTo>
                      <a:pt x="72" y="6127"/>
                    </a:lnTo>
                    <a:lnTo>
                      <a:pt x="84" y="6026"/>
                    </a:lnTo>
                    <a:lnTo>
                      <a:pt x="98" y="5919"/>
                    </a:lnTo>
                    <a:lnTo>
                      <a:pt x="114" y="5806"/>
                    </a:lnTo>
                    <a:lnTo>
                      <a:pt x="131" y="5687"/>
                    </a:lnTo>
                    <a:lnTo>
                      <a:pt x="151" y="5565"/>
                    </a:lnTo>
                    <a:lnTo>
                      <a:pt x="172" y="5439"/>
                    </a:lnTo>
                    <a:lnTo>
                      <a:pt x="196" y="5310"/>
                    </a:lnTo>
                    <a:lnTo>
                      <a:pt x="222" y="5178"/>
                    </a:lnTo>
                    <a:lnTo>
                      <a:pt x="250" y="5045"/>
                    </a:lnTo>
                    <a:lnTo>
                      <a:pt x="281" y="4910"/>
                    </a:lnTo>
                    <a:lnTo>
                      <a:pt x="314" y="4775"/>
                    </a:lnTo>
                    <a:lnTo>
                      <a:pt x="350" y="4640"/>
                    </a:lnTo>
                    <a:lnTo>
                      <a:pt x="389" y="4504"/>
                    </a:lnTo>
                    <a:lnTo>
                      <a:pt x="431" y="4371"/>
                    </a:lnTo>
                    <a:lnTo>
                      <a:pt x="475" y="4239"/>
                    </a:lnTo>
                    <a:lnTo>
                      <a:pt x="523" y="4110"/>
                    </a:lnTo>
                    <a:lnTo>
                      <a:pt x="573" y="3984"/>
                    </a:lnTo>
                    <a:lnTo>
                      <a:pt x="627" y="3861"/>
                    </a:lnTo>
                    <a:lnTo>
                      <a:pt x="684" y="3742"/>
                    </a:lnTo>
                    <a:lnTo>
                      <a:pt x="745" y="3629"/>
                    </a:lnTo>
                    <a:lnTo>
                      <a:pt x="809" y="3521"/>
                    </a:lnTo>
                    <a:lnTo>
                      <a:pt x="876" y="3419"/>
                    </a:lnTo>
                    <a:lnTo>
                      <a:pt x="889" y="3398"/>
                    </a:lnTo>
                    <a:lnTo>
                      <a:pt x="925" y="3335"/>
                    </a:lnTo>
                    <a:lnTo>
                      <a:pt x="953" y="3289"/>
                    </a:lnTo>
                    <a:lnTo>
                      <a:pt x="987" y="3235"/>
                    </a:lnTo>
                    <a:lnTo>
                      <a:pt x="1028" y="3172"/>
                    </a:lnTo>
                    <a:lnTo>
                      <a:pt x="1075" y="3101"/>
                    </a:lnTo>
                    <a:lnTo>
                      <a:pt x="1128" y="3021"/>
                    </a:lnTo>
                    <a:lnTo>
                      <a:pt x="1189" y="2934"/>
                    </a:lnTo>
                    <a:lnTo>
                      <a:pt x="1255" y="2842"/>
                    </a:lnTo>
                    <a:lnTo>
                      <a:pt x="1329" y="2742"/>
                    </a:lnTo>
                    <a:lnTo>
                      <a:pt x="1409" y="2636"/>
                    </a:lnTo>
                    <a:lnTo>
                      <a:pt x="1497" y="2523"/>
                    </a:lnTo>
                    <a:lnTo>
                      <a:pt x="1591" y="2406"/>
                    </a:lnTo>
                    <a:lnTo>
                      <a:pt x="1692" y="2285"/>
                    </a:lnTo>
                    <a:lnTo>
                      <a:pt x="1800" y="2158"/>
                    </a:lnTo>
                    <a:lnTo>
                      <a:pt x="1915" y="2028"/>
                    </a:lnTo>
                    <a:lnTo>
                      <a:pt x="2037" y="1893"/>
                    </a:lnTo>
                    <a:lnTo>
                      <a:pt x="2167" y="1755"/>
                    </a:lnTo>
                    <a:lnTo>
                      <a:pt x="2304" y="1616"/>
                    </a:lnTo>
                    <a:lnTo>
                      <a:pt x="2448" y="1473"/>
                    </a:lnTo>
                    <a:lnTo>
                      <a:pt x="2600" y="1327"/>
                    </a:lnTo>
                    <a:lnTo>
                      <a:pt x="2759" y="1181"/>
                    </a:lnTo>
                    <a:lnTo>
                      <a:pt x="2926" y="1033"/>
                    </a:lnTo>
                    <a:lnTo>
                      <a:pt x="3101" y="884"/>
                    </a:lnTo>
                    <a:lnTo>
                      <a:pt x="3282" y="735"/>
                    </a:lnTo>
                    <a:lnTo>
                      <a:pt x="3472" y="586"/>
                    </a:lnTo>
                    <a:lnTo>
                      <a:pt x="3669" y="439"/>
                    </a:lnTo>
                    <a:lnTo>
                      <a:pt x="3875" y="291"/>
                    </a:lnTo>
                    <a:lnTo>
                      <a:pt x="4088" y="145"/>
                    </a:lnTo>
                    <a:lnTo>
                      <a:pt x="4309" y="0"/>
                    </a:lnTo>
                    <a:close/>
                  </a:path>
                </a:pathLst>
              </a:custGeom>
              <a:solidFill>
                <a:srgbClr val="ABAAA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</p:grpSp>
        <p:sp>
          <p:nvSpPr>
            <p:cNvPr id="274" name="Text Box 119"/>
            <p:cNvSpPr txBox="1">
              <a:spLocks noChangeArrowheads="1"/>
            </p:cNvSpPr>
            <p:nvPr/>
          </p:nvSpPr>
          <p:spPr bwMode="auto">
            <a:xfrm>
              <a:off x="5444275" y="3342694"/>
              <a:ext cx="908903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53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ysClr val="windowText" lastClr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자금세탁방지시스템</a:t>
              </a:r>
              <a:endParaRPr kumimoji="0" lang="ko-KR" altLang="ko-KR" sz="900" kern="0" dirty="0">
                <a:solidFill>
                  <a:sysClr val="windowText" lastClr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pic>
          <p:nvPicPr>
            <p:cNvPr id="275" name="Picture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6675" y="2723589"/>
              <a:ext cx="490493" cy="490493"/>
            </a:xfrm>
            <a:prstGeom prst="rect">
              <a:avLst/>
            </a:prstGeom>
          </p:spPr>
        </p:pic>
        <p:pic>
          <p:nvPicPr>
            <p:cNvPr id="276" name="Picture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122" y="2726535"/>
              <a:ext cx="507088" cy="507088"/>
            </a:xfrm>
            <a:prstGeom prst="rect">
              <a:avLst/>
            </a:prstGeom>
          </p:spPr>
        </p:pic>
      </p:grpSp>
      <p:sp>
        <p:nvSpPr>
          <p:cNvPr id="277" name="Rs27"/>
          <p:cNvSpPr>
            <a:spLocks noChangeAspect="1" noChangeArrowheads="1"/>
          </p:cNvSpPr>
          <p:nvPr/>
        </p:nvSpPr>
        <p:spPr bwMode="auto">
          <a:xfrm>
            <a:off x="3589021" y="3622894"/>
            <a:ext cx="316417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제공받은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List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를 프로그램에 의해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업로드 </a:t>
            </a:r>
            <a:r>
              <a:rPr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(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자동</a:t>
            </a:r>
            <a:r>
              <a:rPr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)</a:t>
            </a:r>
            <a:endParaRPr lang="en-US" altLang="ko-KR" sz="900" kern="0" dirty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92075" indent="-92075" defTabSz="879475" fontAlgn="auto" latinLnBrk="0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시스템 내 </a:t>
            </a:r>
            <a:r>
              <a:rPr kumimoji="0"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Watch List </a:t>
            </a:r>
            <a:r>
              <a:rPr kumimoji="0"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관리 화면을 통해 </a:t>
            </a:r>
            <a:r>
              <a:rPr kumimoji="0" lang="en-US" altLang="ko-KR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List</a:t>
            </a:r>
            <a:r>
              <a:rPr kumimoji="0"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를 업로드 하여 활용 </a:t>
            </a:r>
            <a:endParaRPr kumimoji="0" lang="en-US" altLang="ko-KR" sz="900" kern="0" dirty="0" smtClean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외부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리스트 제공업체 연계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(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파일전송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)</a:t>
            </a:r>
            <a:br>
              <a:rPr lang="en-US" altLang="ko-KR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</a:br>
            <a:r>
              <a:rPr lang="en-US" altLang="ko-KR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- 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주기 별 </a:t>
            </a:r>
            <a:r>
              <a:rPr lang="en-US" altLang="ko-KR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List</a:t>
            </a:r>
            <a:r>
              <a:rPr lang="ko-KR" altLang="en-US" sz="900" kern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를  제공 </a:t>
            </a:r>
            <a:r>
              <a:rPr lang="ko-KR" altLang="en-US" sz="900" kern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받음</a:t>
            </a:r>
            <a:endParaRPr lang="en-US" altLang="ko-KR" sz="900" kern="0" dirty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grpSp>
        <p:nvGrpSpPr>
          <p:cNvPr id="14" name="그룹 13"/>
          <p:cNvGrpSpPr/>
          <p:nvPr/>
        </p:nvGrpSpPr>
        <p:grpSpPr>
          <a:xfrm>
            <a:off x="449231" y="4797152"/>
            <a:ext cx="2783256" cy="650800"/>
            <a:chOff x="522204" y="4962589"/>
            <a:chExt cx="2783256" cy="650800"/>
          </a:xfrm>
        </p:grpSpPr>
        <p:sp>
          <p:nvSpPr>
            <p:cNvPr id="280" name="TextBox 649"/>
            <p:cNvSpPr txBox="1">
              <a:spLocks noChangeArrowheads="1"/>
            </p:cNvSpPr>
            <p:nvPr/>
          </p:nvSpPr>
          <p:spPr bwMode="auto">
            <a:xfrm>
              <a:off x="522204" y="5474890"/>
              <a:ext cx="852798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auto" latinLnBrk="0">
                <a:spcBef>
                  <a:spcPct val="10000"/>
                </a:spcBef>
                <a:spcAft>
                  <a:spcPct val="10000"/>
                </a:spcAft>
                <a:defRPr/>
              </a:pPr>
              <a:r>
                <a:rPr kumimoji="0" lang="en-US" altLang="ko-KR" sz="900" b="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Arial" pitchFamily="34" charset="0"/>
                </a:rPr>
                <a:t>STR </a:t>
              </a:r>
              <a:r>
                <a:rPr kumimoji="0" lang="ko-KR" altLang="en-US" sz="900" b="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Arial" pitchFamily="34" charset="0"/>
                </a:rPr>
                <a:t>보고서</a:t>
              </a:r>
              <a:r>
                <a:rPr kumimoji="0" lang="en-US" altLang="ko-KR" sz="900" b="0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Arial" pitchFamily="34" charset="0"/>
                </a:rPr>
                <a:t>(XML)</a:t>
              </a:r>
            </a:p>
          </p:txBody>
        </p:sp>
        <p:pic>
          <p:nvPicPr>
            <p:cNvPr id="281" name="Picture 1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9706" y="5034565"/>
              <a:ext cx="1045754" cy="288253"/>
            </a:xfrm>
            <a:prstGeom prst="rect">
              <a:avLst/>
            </a:prstGeom>
          </p:spPr>
        </p:pic>
        <p:sp>
          <p:nvSpPr>
            <p:cNvPr id="282" name="Right Arrow 11"/>
            <p:cNvSpPr/>
            <p:nvPr/>
          </p:nvSpPr>
          <p:spPr bwMode="auto">
            <a:xfrm>
              <a:off x="1361251" y="5129365"/>
              <a:ext cx="861134" cy="150920"/>
            </a:xfrm>
            <a:prstGeom prst="rightArrow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solidFill>
                <a:srgbClr val="76C1E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pic>
          <p:nvPicPr>
            <p:cNvPr id="283" name="Picture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2133" y="4962589"/>
              <a:ext cx="507088" cy="507088"/>
            </a:xfrm>
            <a:prstGeom prst="rect">
              <a:avLst/>
            </a:prstGeom>
          </p:spPr>
        </p:pic>
        <p:sp>
          <p:nvSpPr>
            <p:cNvPr id="284" name="순서도: 다중 문서 283"/>
            <p:cNvSpPr/>
            <p:nvPr/>
          </p:nvSpPr>
          <p:spPr bwMode="auto">
            <a:xfrm>
              <a:off x="695075" y="4988825"/>
              <a:ext cx="540000" cy="432000"/>
            </a:xfrm>
            <a:prstGeom prst="flowChartMultidocument">
              <a:avLst/>
            </a:prstGeom>
            <a:noFill/>
            <a:ln w="1905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3665191" y="4797152"/>
            <a:ext cx="2902552" cy="918627"/>
            <a:chOff x="3548844" y="4901209"/>
            <a:chExt cx="2979418" cy="918627"/>
          </a:xfrm>
        </p:grpSpPr>
        <p:sp>
          <p:nvSpPr>
            <p:cNvPr id="278" name="TextBox 649"/>
            <p:cNvSpPr txBox="1">
              <a:spLocks noChangeArrowheads="1"/>
            </p:cNvSpPr>
            <p:nvPr/>
          </p:nvSpPr>
          <p:spPr bwMode="auto">
            <a:xfrm>
              <a:off x="4233591" y="5681337"/>
              <a:ext cx="569327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auto">
                <a:spcBef>
                  <a:spcPct val="10000"/>
                </a:spcBef>
                <a:spcAft>
                  <a:spcPct val="10000"/>
                </a:spcAft>
              </a:pPr>
              <a:r>
                <a:rPr kumimoji="0" lang="en-US" altLang="ko-KR" sz="900" b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Arial" pitchFamily="34" charset="0"/>
                </a:rPr>
                <a:t>CTR </a:t>
              </a:r>
              <a:r>
                <a:rPr kumimoji="0" lang="ko-KR" altLang="en-US" sz="900" b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Arial" pitchFamily="34" charset="0"/>
                </a:rPr>
                <a:t>보고서</a:t>
              </a:r>
              <a:endParaRPr kumimoji="0" lang="en-US" altLang="ko-KR" sz="900" b="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79" name="Right Arrow 11"/>
            <p:cNvSpPr/>
            <p:nvPr/>
          </p:nvSpPr>
          <p:spPr bwMode="auto">
            <a:xfrm>
              <a:off x="4600028" y="5129365"/>
              <a:ext cx="861134" cy="150920"/>
            </a:xfrm>
            <a:prstGeom prst="rightArrow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solidFill>
                <a:srgbClr val="76C1E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pic>
          <p:nvPicPr>
            <p:cNvPr id="285" name="Picture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122" y="4962589"/>
              <a:ext cx="507088" cy="507088"/>
            </a:xfrm>
            <a:prstGeom prst="rect">
              <a:avLst/>
            </a:prstGeom>
          </p:spPr>
        </p:pic>
        <p:grpSp>
          <p:nvGrpSpPr>
            <p:cNvPr id="286" name="그룹 285"/>
            <p:cNvGrpSpPr/>
            <p:nvPr/>
          </p:nvGrpSpPr>
          <p:grpSpPr>
            <a:xfrm>
              <a:off x="4274421" y="5323524"/>
              <a:ext cx="468000" cy="288000"/>
              <a:chOff x="4077073" y="549205"/>
              <a:chExt cx="612531" cy="456119"/>
            </a:xfrm>
          </p:grpSpPr>
          <p:sp>
            <p:nvSpPr>
              <p:cNvPr id="287" name="순서도: 저장 데이터 286"/>
              <p:cNvSpPr/>
              <p:nvPr/>
            </p:nvSpPr>
            <p:spPr bwMode="auto">
              <a:xfrm>
                <a:off x="4077073" y="549205"/>
                <a:ext cx="504000" cy="360000"/>
              </a:xfrm>
              <a:prstGeom prst="flowChartOnlineStorag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defRPr/>
                </a:pPr>
                <a:endParaRPr lang="ko-KR" altLang="en-US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88" name="순서도: 저장 데이터 287"/>
              <p:cNvSpPr/>
              <p:nvPr/>
            </p:nvSpPr>
            <p:spPr bwMode="auto">
              <a:xfrm>
                <a:off x="4128242" y="597314"/>
                <a:ext cx="504000" cy="360000"/>
              </a:xfrm>
              <a:prstGeom prst="flowChartOnlineStorag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defRPr/>
                </a:pPr>
                <a:endParaRPr lang="ko-KR" altLang="en-US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  <p:sp>
            <p:nvSpPr>
              <p:cNvPr id="289" name="순서도: 저장 데이터 288"/>
              <p:cNvSpPr/>
              <p:nvPr/>
            </p:nvSpPr>
            <p:spPr bwMode="auto">
              <a:xfrm>
                <a:off x="4185604" y="645324"/>
                <a:ext cx="504000" cy="360000"/>
              </a:xfrm>
              <a:prstGeom prst="flowChartOnlineStorag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defRPr/>
                </a:pPr>
                <a:endParaRPr lang="ko-KR" altLang="en-US" kern="0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endParaRPr>
              </a:p>
            </p:txBody>
          </p:sp>
        </p:grpSp>
        <p:pic>
          <p:nvPicPr>
            <p:cNvPr id="290" name="Picture 59" descr="Company-Building-256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79" t="6885" r="8105" b="3418"/>
            <a:stretch>
              <a:fillRect/>
            </a:stretch>
          </p:blipFill>
          <p:spPr bwMode="auto">
            <a:xfrm>
              <a:off x="3723996" y="4901209"/>
              <a:ext cx="485357" cy="5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1" name="Picture 4" descr="홈으로">
              <a:hlinkClick r:id="rId10" tooltip="홈으로"/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9088" y="5108705"/>
              <a:ext cx="1009174" cy="210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2" name="Picture 5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8844" y="5420284"/>
              <a:ext cx="684000" cy="110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3" name="Rs27"/>
          <p:cNvSpPr>
            <a:spLocks noChangeAspect="1" noChangeArrowheads="1"/>
          </p:cNvSpPr>
          <p:nvPr/>
        </p:nvSpPr>
        <p:spPr bwMode="auto">
          <a:xfrm>
            <a:off x="3587451" y="5841268"/>
            <a:ext cx="302173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 fontAlgn="auto" latinLnBrk="0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kumimoji="0" lang="en-US" altLang="ko-KR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CTR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서 파일 생성 및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 결과 관리</a:t>
            </a:r>
            <a:endParaRPr kumimoji="0" lang="en-US" altLang="ko-KR" sz="9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92075" indent="-92075" defTabSz="879475" fontAlgn="auto" latinLnBrk="0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kumimoji="0"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중계기관 은행연합회 보고 시스템 연계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(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전용망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,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대량보고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)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</a:t>
            </a:r>
            <a:endParaRPr kumimoji="0" lang="en-US" altLang="ko-KR" sz="9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294" name="Rs27"/>
          <p:cNvSpPr>
            <a:spLocks noChangeAspect="1" noChangeArrowheads="1"/>
          </p:cNvSpPr>
          <p:nvPr/>
        </p:nvSpPr>
        <p:spPr bwMode="auto">
          <a:xfrm>
            <a:off x="347091" y="5841268"/>
            <a:ext cx="302173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indent="-92075" defTabSz="879475" fontAlgn="auto" latinLnBrk="0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STR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 보고서 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XML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파일 생성 및 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KoFIU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보고 결과 관리</a:t>
            </a:r>
            <a:endParaRPr kumimoji="0" lang="en-US" altLang="ko-KR" sz="900" kern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  <a:p>
            <a:pPr marL="92075" indent="-92075" defTabSz="879475">
              <a:buClr>
                <a:srgbClr val="969696"/>
              </a:buClr>
              <a:buSzPct val="80000"/>
              <a:buFont typeface="Wingdings" pitchFamily="2" charset="2"/>
              <a:buChar char="§"/>
              <a:defRPr/>
            </a:pPr>
            <a:r>
              <a:rPr kumimoji="1" lang="en-US" altLang="ko-KR" sz="9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함초롬돋움" panose="02030504000101010101" pitchFamily="18" charset="-127"/>
              </a:rPr>
              <a:t>KoFIU </a:t>
            </a:r>
            <a:r>
              <a:rPr kumimoji="1" lang="ko-KR" altLang="en-US" sz="9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함초롬돋움" panose="02030504000101010101" pitchFamily="18" charset="-127"/>
              </a:rPr>
              <a:t>보고 시스템 연계</a:t>
            </a:r>
            <a:r>
              <a:rPr kumimoji="1" lang="en-US" altLang="ko-KR" sz="9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함초롬돋움" panose="02030504000101010101" pitchFamily="18" charset="-127"/>
              </a:rPr>
              <a:t>(</a:t>
            </a:r>
            <a:r>
              <a:rPr kumimoji="1" lang="ko-KR" altLang="en-US" sz="9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함초롬돋움" panose="02030504000101010101" pitchFamily="18" charset="-127"/>
              </a:rPr>
              <a:t>혐의거래보고</a:t>
            </a:r>
            <a:r>
              <a:rPr kumimoji="1" lang="en-US" altLang="ko-KR" sz="9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함초롬돋움" panose="02030504000101010101" pitchFamily="18" charset="-127"/>
              </a:rPr>
              <a:t>4.0</a:t>
            </a:r>
            <a:r>
              <a:rPr kumimoji="1" lang="en-US" altLang="ko-KR" sz="9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함초롬돋움" panose="02030504000101010101" pitchFamily="18" charset="-127"/>
              </a:rPr>
              <a:t>)</a:t>
            </a:r>
            <a:endParaRPr kumimoji="0" lang="en-US" altLang="ko-KR" sz="900" kern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3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3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42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7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991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1 </a:t>
            </a:r>
            <a:r>
              <a:rPr lang="ko-KR" altLang="en-US" dirty="0" smtClean="0"/>
              <a:t>최신 법령 </a:t>
            </a:r>
            <a:r>
              <a:rPr lang="ko-KR" altLang="en-US" dirty="0"/>
              <a:t>개정 사항 반영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신 법령에서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정된 고객확인의무와 관련된 요구사항과 타사기준으로 업무상 많이 발생하는 이슈를 반영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프로세스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확인의무 관련 최신 주요 법령 개정 사항 및 금융회사 영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향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675071"/>
              </p:ext>
            </p:extLst>
          </p:nvPr>
        </p:nvGraphicFramePr>
        <p:xfrm>
          <a:off x="362072" y="2160904"/>
          <a:ext cx="9180586" cy="4303519"/>
        </p:xfrm>
        <a:graphic>
          <a:graphicData uri="http://schemas.openxmlformats.org/drawingml/2006/table">
            <a:tbl>
              <a:tblPr firstRow="1" bandRow="1"/>
              <a:tblGrid>
                <a:gridCol w="642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45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20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802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0135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756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rgbClr val="F8F8F8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lang="ko-KR" altLang="en-US" sz="1000" b="0" dirty="0">
                        <a:solidFill>
                          <a:srgbClr val="F8F8F8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rgbClr val="F8F8F8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의결일자</a:t>
                      </a:r>
                      <a:endParaRPr lang="ko-KR" altLang="en-US" sz="1000" b="0" dirty="0">
                        <a:solidFill>
                          <a:srgbClr val="F8F8F8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rgbClr val="F8F8F8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개정내용</a:t>
                      </a:r>
                      <a:endParaRPr lang="ko-KR" altLang="en-US" sz="1000" b="0" dirty="0">
                        <a:solidFill>
                          <a:srgbClr val="F8F8F8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rgbClr val="F8F8F8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관련조항</a:t>
                      </a:r>
                      <a:endParaRPr lang="ko-KR" altLang="en-US" sz="1000" b="0" dirty="0">
                        <a:solidFill>
                          <a:srgbClr val="F8F8F8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rgbClr val="F8F8F8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개정사항</a:t>
                      </a:r>
                      <a:endParaRPr lang="ko-KR" altLang="en-US" sz="1000" b="0" dirty="0">
                        <a:solidFill>
                          <a:srgbClr val="F8F8F8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rgbClr val="F8F8F8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금융회사 영향도</a:t>
                      </a:r>
                      <a:endParaRPr lang="ko-KR" altLang="en-US" sz="1000" b="0" dirty="0">
                        <a:solidFill>
                          <a:srgbClr val="F8F8F8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행령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019-02-26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의무의 적용 범위 등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0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의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금융거래 정의 변경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Relationship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여부로 변경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금융거래 대상 추가 확인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경우에 따라 계정계 업무 프로세스 변경 필요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</a:p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거래 고객확인 프로세스 변경 필요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의무의 적용 범위 등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0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의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정보가 의심스러운 경우 추가 검증자료 확보 의무화 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의심스러운 케이스 정리 필요</a:t>
                      </a:r>
                    </a:p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현재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대부분의 금융회사가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TR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다수보고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위험등급 변경 시에 고객확인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/>
                      </a:r>
                      <a:b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  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재수행 시기와 상관없이 고객확인 재수행 시행</a:t>
                      </a:r>
                    </a:p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그외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장기 미거래 고객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사고발생 고객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보이스피싱 연류 고객등에 대해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/>
                      </a:r>
                      <a:b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  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재수행 검토 필요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의심스러운 경우에 대한 판단 필요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</a:p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추가 검증자료 정리 필요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금융거래의 </a:t>
                      </a:r>
                      <a:endParaRPr lang="en-US" altLang="ko-KR" sz="900" dirty="0" smtClean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금액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0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의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3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기준 금액 변경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거래 고객확인 프로세스 변경 필요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고객확인 기준금액 변경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신송금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외국환 거래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수출입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환전 등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등 상충시 적용기준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행령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019-04-24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금융회사등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금융거래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</a:t>
                      </a:r>
                      <a:r>
                        <a:rPr lang="en-US" altLang="ko-KR" sz="900" baseline="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br>
                        <a:rPr lang="en-US" altLang="ko-KR" sz="900" baseline="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lang="ko-KR" altLang="en-US" sz="900" baseline="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baseline="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3</a:t>
                      </a:r>
                      <a:r>
                        <a:rPr lang="ko-KR" altLang="en-US" sz="900" baseline="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AML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대상 금융회사 및 금융거래 추가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자선불지급수단 등 전자금융거래를 이용한 인터넷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앱서비스에 대해서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프로세스 마련 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정보 확인 및 검증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WL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수행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위험평가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b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   EDD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수행 등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포인트 거래에 대한 거래 모니터링 룰 마련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019-02-01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의 신원에 </a:t>
                      </a:r>
                      <a:endParaRPr lang="en-US" altLang="ko-KR" sz="900" dirty="0" smtClean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관한 사항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0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의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4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신원정보 요건 변경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신원정보 사항은 확인 및 검증의무가 있어 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납세자번호 관련 검증서류 정의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CDD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등록화면 개정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서 등 관련 서류 변경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AML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스템 고객조회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STR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정보 등 관련화면 개정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절차 등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0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의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6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재수행 강제화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재수행 강제화</a:t>
                      </a:r>
                    </a:p>
                    <a:p>
                      <a:pPr marL="72000" algn="l" latinLnBrk="1"/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  - 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비대면 고객확인 재이행 프로세스 마련 필요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절차 등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제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0</a:t>
                      </a: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의</a:t>
                      </a:r>
                      <a:r>
                        <a:rPr lang="en-US" altLang="ko-KR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6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latinLnBrk="1"/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확인 생략기준 변경〮기존고객에 대한 고객확인 강화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43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회성 금융거래 정의 변경과 재이행주기 강제화에 따라 재확인 주기 경과 고객에 대한 고객확인 프로세스 개선 필요</a:t>
                      </a:r>
                      <a:endParaRPr lang="ko-KR" altLang="en-US" sz="900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rgbClr val="333333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…</a:t>
                      </a:r>
                      <a:endParaRPr lang="ko-KR" altLang="en-US" sz="1050" b="1" dirty="0">
                        <a:solidFill>
                          <a:srgbClr val="333333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lang="ko-KR" altLang="en-US" sz="1050" b="1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lang="ko-KR" altLang="en-US" sz="1050" b="1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lang="ko-KR" altLang="en-US" sz="1050" b="1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lang="ko-KR" altLang="en-US" sz="1050" b="1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lang="ko-KR" altLang="en-US" sz="1050" b="1" dirty="0"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15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09113" y="221927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0407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5" y="2060848"/>
            <a:ext cx="6696000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7.2 CTR </a:t>
            </a:r>
            <a:r>
              <a:rPr lang="ko-KR" altLang="en-US" dirty="0" smtClean="0"/>
              <a:t>대량 연계 보고</a:t>
            </a:r>
            <a:endParaRPr lang="ko-KR" altLang="en-US" dirty="0"/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CTR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대량 연계 보고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(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)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31" name="AutoShape 70"/>
          <p:cNvSpPr>
            <a:spLocks noChangeArrowheads="1"/>
          </p:cNvSpPr>
          <p:nvPr/>
        </p:nvSpPr>
        <p:spPr bwMode="auto">
          <a:xfrm>
            <a:off x="4861933" y="2241550"/>
            <a:ext cx="1856397" cy="503238"/>
          </a:xfrm>
          <a:prstGeom prst="roundRect">
            <a:avLst>
              <a:gd name="adj" fmla="val 0"/>
            </a:avLst>
          </a:prstGeom>
          <a:solidFill>
            <a:srgbClr val="038CDC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55663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</a:endParaRPr>
          </a:p>
        </p:txBody>
      </p:sp>
      <p:sp>
        <p:nvSpPr>
          <p:cNvPr id="32" name="Rectangle 19"/>
          <p:cNvSpPr>
            <a:spLocks noChangeArrowheads="1"/>
          </p:cNvSpPr>
          <p:nvPr/>
        </p:nvSpPr>
        <p:spPr bwMode="auto">
          <a:xfrm>
            <a:off x="5421052" y="2265405"/>
            <a:ext cx="53860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8858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외부기관</a:t>
            </a:r>
          </a:p>
        </p:txBody>
      </p:sp>
      <p:sp>
        <p:nvSpPr>
          <p:cNvPr id="33" name="Rectangle 438"/>
          <p:cNvSpPr>
            <a:spLocks noChangeArrowheads="1"/>
          </p:cNvSpPr>
          <p:nvPr/>
        </p:nvSpPr>
        <p:spPr bwMode="auto">
          <a:xfrm>
            <a:off x="4857759" y="2469657"/>
            <a:ext cx="1870251" cy="392955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DDDDDD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" name="AutoShape 70"/>
          <p:cNvSpPr>
            <a:spLocks noChangeArrowheads="1"/>
          </p:cNvSpPr>
          <p:nvPr/>
        </p:nvSpPr>
        <p:spPr bwMode="auto">
          <a:xfrm>
            <a:off x="308484" y="2241550"/>
            <a:ext cx="4259057" cy="503238"/>
          </a:xfrm>
          <a:prstGeom prst="roundRect">
            <a:avLst>
              <a:gd name="adj" fmla="val 0"/>
            </a:avLst>
          </a:prstGeom>
          <a:solidFill>
            <a:srgbClr val="038CDC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55663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1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35" name="Rectangle 19"/>
          <p:cNvSpPr>
            <a:spLocks noChangeArrowheads="1"/>
          </p:cNvSpPr>
          <p:nvPr/>
        </p:nvSpPr>
        <p:spPr bwMode="auto">
          <a:xfrm>
            <a:off x="2269952" y="2265405"/>
            <a:ext cx="403957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8858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사</a:t>
            </a:r>
            <a:endParaRPr kumimoji="0" lang="ko-KR" altLang="en-US" sz="12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6" name="Rectangle 438"/>
          <p:cNvSpPr>
            <a:spLocks noChangeArrowheads="1"/>
          </p:cNvSpPr>
          <p:nvPr/>
        </p:nvSpPr>
        <p:spPr bwMode="auto">
          <a:xfrm>
            <a:off x="308484" y="2472055"/>
            <a:ext cx="4248000" cy="392715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DDDDDD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Rectangle 55"/>
          <p:cNvSpPr>
            <a:spLocks noChangeArrowheads="1"/>
          </p:cNvSpPr>
          <p:nvPr/>
        </p:nvSpPr>
        <p:spPr bwMode="gray">
          <a:xfrm>
            <a:off x="419876" y="2905125"/>
            <a:ext cx="1584000" cy="338137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8" name="Rectangle 55"/>
          <p:cNvSpPr>
            <a:spLocks noChangeArrowheads="1"/>
          </p:cNvSpPr>
          <p:nvPr/>
        </p:nvSpPr>
        <p:spPr bwMode="gray">
          <a:xfrm>
            <a:off x="419876" y="2681288"/>
            <a:ext cx="1584000" cy="223837"/>
          </a:xfrm>
          <a:prstGeom prst="rect">
            <a:avLst/>
          </a:prstGeom>
          <a:solidFill>
            <a:srgbClr val="CFD6DB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/>
            <a:r>
              <a:rPr lang="ko-KR" altLang="en-US" sz="10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방지시스템</a:t>
            </a:r>
            <a:endParaRPr lang="en-US" altLang="ko-KR" sz="10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9" name="Rectangle 55"/>
          <p:cNvSpPr>
            <a:spLocks noChangeArrowheads="1"/>
          </p:cNvSpPr>
          <p:nvPr/>
        </p:nvSpPr>
        <p:spPr bwMode="gray">
          <a:xfrm>
            <a:off x="2125673" y="2905125"/>
            <a:ext cx="2347912" cy="338137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0" name="Rectangle 55"/>
          <p:cNvSpPr>
            <a:spLocks noChangeArrowheads="1"/>
          </p:cNvSpPr>
          <p:nvPr/>
        </p:nvSpPr>
        <p:spPr bwMode="gray">
          <a:xfrm>
            <a:off x="2125673" y="2681288"/>
            <a:ext cx="2347912" cy="223837"/>
          </a:xfrm>
          <a:prstGeom prst="rect">
            <a:avLst/>
          </a:prstGeom>
          <a:solidFill>
            <a:srgbClr val="CFD6DB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/>
            <a:r>
              <a:rPr lang="en-US" altLang="en-US" sz="10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외계</a:t>
            </a:r>
            <a:endParaRPr lang="en-US" altLang="en-US" sz="10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1" name="AutoShape 23" descr="채우기4"/>
          <p:cNvSpPr>
            <a:spLocks noChangeArrowheads="1"/>
          </p:cNvSpPr>
          <p:nvPr/>
        </p:nvSpPr>
        <p:spPr bwMode="auto">
          <a:xfrm>
            <a:off x="749310" y="3106738"/>
            <a:ext cx="942975" cy="346075"/>
          </a:xfrm>
          <a:prstGeom prst="roundRect">
            <a:avLst>
              <a:gd name="adj" fmla="val 920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85AED7"/>
            </a:solidFill>
            <a:round/>
            <a:headEnd/>
            <a:tailEnd/>
          </a:ln>
        </p:spPr>
        <p:txBody>
          <a:bodyPr lIns="0" tIns="18000" rIns="0" bIns="18000" anchor="ctr"/>
          <a:lstStyle/>
          <a:p>
            <a:pPr marL="101600" indent="-101600" algn="ctr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 </a:t>
            </a:r>
            <a:r>
              <a:rPr kumimoji="0" lang="ko-KR" altLang="en-US" sz="900" kern="0" dirty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 건</a:t>
            </a:r>
            <a:endParaRPr kumimoji="0" lang="en-US" altLang="ko-KR" sz="900" kern="0" dirty="0">
              <a:solidFill>
                <a:sysClr val="windowText" lastClr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01600" indent="-101600" algn="ctr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9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ND</a:t>
            </a:r>
            <a:r>
              <a:rPr kumimoji="0" lang="ko-KR" altLang="en-US" sz="9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파일 </a:t>
            </a:r>
            <a:r>
              <a:rPr kumimoji="0" lang="ko-KR" altLang="en-US" sz="900" kern="0" dirty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생성</a:t>
            </a:r>
            <a:endParaRPr kumimoji="0" lang="en-US" altLang="ko-KR" sz="900" kern="0" dirty="0">
              <a:solidFill>
                <a:sysClr val="windowText" lastClr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2" name="AutoShape 20"/>
          <p:cNvSpPr>
            <a:spLocks noChangeArrowheads="1"/>
          </p:cNvSpPr>
          <p:nvPr/>
        </p:nvSpPr>
        <p:spPr bwMode="auto">
          <a:xfrm>
            <a:off x="827098" y="3802063"/>
            <a:ext cx="693737" cy="354012"/>
          </a:xfrm>
          <a:prstGeom prst="flowChartMultidocument">
            <a:avLst/>
          </a:prstGeom>
          <a:solidFill>
            <a:srgbClr val="FFFFFF"/>
          </a:solidFill>
          <a:ln w="6350" algn="ctr">
            <a:solidFill>
              <a:srgbClr val="336699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/>
            <a:r>
              <a:rPr lang="en-US" altLang="ko-KR" sz="800" b="1" dirty="0" smtClean="0">
                <a:solidFill>
                  <a:srgbClr val="336699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ND</a:t>
            </a:r>
            <a:endParaRPr lang="ko-KR" altLang="ko-KR" sz="800" b="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3" name="AutoShape 149"/>
          <p:cNvSpPr>
            <a:spLocks noChangeArrowheads="1"/>
          </p:cNvSpPr>
          <p:nvPr/>
        </p:nvSpPr>
        <p:spPr bwMode="auto">
          <a:xfrm>
            <a:off x="2208223" y="3473450"/>
            <a:ext cx="746125" cy="1012825"/>
          </a:xfrm>
          <a:prstGeom prst="roundRect">
            <a:avLst>
              <a:gd name="adj" fmla="val 7634"/>
            </a:avLst>
          </a:prstGeom>
          <a:noFill/>
          <a:ln w="9525" algn="ctr">
            <a:solidFill>
              <a:srgbClr val="0000FF"/>
            </a:solidFill>
            <a:round/>
            <a:headEnd/>
            <a:tailEnd/>
          </a:ln>
        </p:spPr>
        <p:txBody>
          <a:bodyPr wrap="none" lIns="46800" tIns="42129" rIns="46800" bIns="42129"/>
          <a:lstStyle/>
          <a:p>
            <a:pPr algn="ctr" defTabSz="842963" latinLnBrk="0"/>
            <a:r>
              <a:rPr lang="en-US" altLang="ko-KR" sz="900" b="1" dirty="0">
                <a:solidFill>
                  <a:srgbClr val="336699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OUTBOX</a:t>
            </a:r>
          </a:p>
        </p:txBody>
      </p:sp>
      <p:cxnSp>
        <p:nvCxnSpPr>
          <p:cNvPr id="44" name="AutoShape 464"/>
          <p:cNvCxnSpPr>
            <a:cxnSpLocks noChangeShapeType="1"/>
            <a:stCxn id="42" idx="3"/>
            <a:endCxn id="43" idx="1"/>
          </p:cNvCxnSpPr>
          <p:nvPr/>
        </p:nvCxnSpPr>
        <p:spPr bwMode="auto">
          <a:xfrm>
            <a:off x="1520835" y="3979863"/>
            <a:ext cx="687388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miter lim="800000"/>
            <a:headEnd/>
            <a:tailEnd type="triangle" w="sm" len="med"/>
          </a:ln>
          <a:effectLst/>
        </p:spPr>
      </p:cxnSp>
      <p:sp>
        <p:nvSpPr>
          <p:cNvPr id="46" name="직사각형 45"/>
          <p:cNvSpPr/>
          <p:nvPr/>
        </p:nvSpPr>
        <p:spPr bwMode="auto">
          <a:xfrm>
            <a:off x="2827348" y="4943475"/>
            <a:ext cx="125412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2827348" y="5216525"/>
            <a:ext cx="125412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2827348" y="5489575"/>
            <a:ext cx="125412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2827348" y="5762625"/>
            <a:ext cx="125412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2212985" y="4948238"/>
            <a:ext cx="125413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2212985" y="5221288"/>
            <a:ext cx="125413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2212985" y="5494338"/>
            <a:ext cx="125413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2212985" y="5767388"/>
            <a:ext cx="125413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5" name="AutoShape 149"/>
          <p:cNvSpPr>
            <a:spLocks noChangeArrowheads="1"/>
          </p:cNvSpPr>
          <p:nvPr/>
        </p:nvSpPr>
        <p:spPr bwMode="auto">
          <a:xfrm>
            <a:off x="2208223" y="4637088"/>
            <a:ext cx="746125" cy="1376362"/>
          </a:xfrm>
          <a:prstGeom prst="roundRect">
            <a:avLst>
              <a:gd name="adj" fmla="val 7634"/>
            </a:avLst>
          </a:prstGeom>
          <a:noFill/>
          <a:ln w="9525" algn="ctr">
            <a:solidFill>
              <a:srgbClr val="0000FF"/>
            </a:solidFill>
            <a:round/>
            <a:headEnd/>
            <a:tailEnd/>
          </a:ln>
        </p:spPr>
        <p:txBody>
          <a:bodyPr wrap="none" lIns="46800" tIns="42129" rIns="46800" bIns="42129"/>
          <a:lstStyle/>
          <a:p>
            <a:pPr algn="ctr" defTabSz="842963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b="1" kern="0" dirty="0">
                <a:solidFill>
                  <a:srgbClr val="336699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INBOX</a:t>
            </a:r>
          </a:p>
        </p:txBody>
      </p:sp>
      <p:sp>
        <p:nvSpPr>
          <p:cNvPr id="56" name="Rectangle 109"/>
          <p:cNvSpPr>
            <a:spLocks noChangeArrowheads="1"/>
          </p:cNvSpPr>
          <p:nvPr/>
        </p:nvSpPr>
        <p:spPr bwMode="auto">
          <a:xfrm>
            <a:off x="2218851" y="4861438"/>
            <a:ext cx="724870" cy="1123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0"/>
          <a:lstStyle/>
          <a:p>
            <a:pPr algn="ctr" fontAlgn="auto" latinLnBrk="0">
              <a:spcBef>
                <a:spcPts val="300"/>
              </a:spcBef>
              <a:spcAft>
                <a:spcPts val="900"/>
              </a:spcAft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end_sert</a:t>
            </a:r>
          </a:p>
          <a:p>
            <a:pPr algn="ctr" fontAlgn="auto" latinLnBrk="0">
              <a:spcBef>
                <a:spcPts val="300"/>
              </a:spcBef>
              <a:spcAft>
                <a:spcPts val="900"/>
              </a:spcAft>
              <a:defRPr/>
            </a:pPr>
            <a:endParaRPr kumimoji="0" lang="en-US" altLang="ko-KR" sz="800" kern="0" dirty="0" smtClean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fontAlgn="auto" latinLnBrk="0">
              <a:spcBef>
                <a:spcPts val="300"/>
              </a:spcBef>
              <a:spcAft>
                <a:spcPts val="900"/>
              </a:spcAft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cept_sert</a:t>
            </a:r>
            <a:endParaRPr kumimoji="0" lang="en-US" altLang="ko-KR" sz="800" kern="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58" name="Picture 74" descr="DB통01-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8173" y="5203825"/>
            <a:ext cx="744537" cy="45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Rectangle 68"/>
          <p:cNvSpPr>
            <a:spLocks noChangeArrowheads="1"/>
          </p:cNvSpPr>
          <p:nvPr/>
        </p:nvSpPr>
        <p:spPr bwMode="auto">
          <a:xfrm>
            <a:off x="558680" y="5331152"/>
            <a:ext cx="703524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latinLnBrk="0">
              <a:lnSpc>
                <a:spcPct val="90000"/>
              </a:lnSpc>
            </a:pPr>
            <a:r>
              <a:rPr kumimoji="0"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서 파일</a:t>
            </a:r>
            <a:endParaRPr kumimoji="0"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latinLnBrk="0">
              <a:lnSpc>
                <a:spcPct val="90000"/>
              </a:lnSpc>
            </a:pPr>
            <a:r>
              <a:rPr kumimoji="0"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송</a:t>
            </a:r>
            <a:r>
              <a:rPr kumimoji="0" lang="en-US" altLang="ko-KR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kumimoji="0"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신이력</a:t>
            </a:r>
          </a:p>
        </p:txBody>
      </p:sp>
      <p:sp>
        <p:nvSpPr>
          <p:cNvPr id="60" name="AutoShape 20"/>
          <p:cNvSpPr>
            <a:spLocks noChangeArrowheads="1"/>
          </p:cNvSpPr>
          <p:nvPr/>
        </p:nvSpPr>
        <p:spPr bwMode="auto">
          <a:xfrm>
            <a:off x="1504960" y="5051713"/>
            <a:ext cx="460375" cy="200025"/>
          </a:xfrm>
          <a:prstGeom prst="flowChartOnlineStorage">
            <a:avLst/>
          </a:prstGeom>
          <a:solidFill>
            <a:srgbClr val="FFFFFF"/>
          </a:solidFill>
          <a:ln w="6350" algn="ctr">
            <a:solidFill>
              <a:srgbClr val="336699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/>
            <a:r>
              <a:rPr lang="en-US" altLang="ko-KR" sz="700" dirty="0">
                <a:solidFill>
                  <a:srgbClr val="336699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NR</a:t>
            </a:r>
            <a:endParaRPr lang="ko-KR" altLang="ko-KR" sz="7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" name="AutoShape 20"/>
          <p:cNvSpPr>
            <a:spLocks noChangeArrowheads="1"/>
          </p:cNvSpPr>
          <p:nvPr/>
        </p:nvSpPr>
        <p:spPr bwMode="auto">
          <a:xfrm>
            <a:off x="1504960" y="5594567"/>
            <a:ext cx="460375" cy="200025"/>
          </a:xfrm>
          <a:prstGeom prst="flowChartOnlineStorage">
            <a:avLst/>
          </a:prstGeom>
          <a:solidFill>
            <a:srgbClr val="FFFFFF"/>
          </a:solidFill>
          <a:ln w="6350" algn="ctr">
            <a:solidFill>
              <a:srgbClr val="336699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/>
            <a:r>
              <a:rPr lang="en-US" altLang="ko-KR" sz="700" dirty="0" smtClean="0">
                <a:solidFill>
                  <a:srgbClr val="336699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CV</a:t>
            </a:r>
            <a:endParaRPr lang="ko-KR" altLang="ko-KR" sz="7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62" name="AutoShape 464"/>
          <p:cNvCxnSpPr>
            <a:cxnSpLocks noChangeShapeType="1"/>
          </p:cNvCxnSpPr>
          <p:nvPr/>
        </p:nvCxnSpPr>
        <p:spPr bwMode="auto">
          <a:xfrm flipH="1">
            <a:off x="1888606" y="5151726"/>
            <a:ext cx="324379" cy="0"/>
          </a:xfrm>
          <a:prstGeom prst="straightConnector1">
            <a:avLst/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cxnSp>
        <p:nvCxnSpPr>
          <p:cNvPr id="63" name="AutoShape 464"/>
          <p:cNvCxnSpPr>
            <a:cxnSpLocks noChangeShapeType="1"/>
          </p:cNvCxnSpPr>
          <p:nvPr/>
        </p:nvCxnSpPr>
        <p:spPr bwMode="auto">
          <a:xfrm flipH="1">
            <a:off x="1888606" y="5692838"/>
            <a:ext cx="319617" cy="1742"/>
          </a:xfrm>
          <a:prstGeom prst="straightConnector1">
            <a:avLst/>
          </a:prstGeom>
          <a:noFill/>
          <a:ln w="9525">
            <a:solidFill>
              <a:srgbClr val="595959"/>
            </a:solidFill>
            <a:round/>
            <a:headEnd/>
            <a:tailEnd type="triangle" w="sm" len="med"/>
          </a:ln>
        </p:spPr>
      </p:cxnSp>
      <p:cxnSp>
        <p:nvCxnSpPr>
          <p:cNvPr id="64" name="직선 화살표 연결선 84"/>
          <p:cNvCxnSpPr>
            <a:cxnSpLocks noChangeShapeType="1"/>
            <a:stCxn id="60" idx="1"/>
            <a:endCxn id="59" idx="3"/>
          </p:cNvCxnSpPr>
          <p:nvPr/>
        </p:nvCxnSpPr>
        <p:spPr bwMode="auto">
          <a:xfrm flipH="1">
            <a:off x="1262204" y="5151726"/>
            <a:ext cx="242756" cy="290226"/>
          </a:xfrm>
          <a:prstGeom prst="straightConnector1">
            <a:avLst/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cxnSp>
        <p:nvCxnSpPr>
          <p:cNvPr id="65" name="직선 화살표 연결선 91"/>
          <p:cNvCxnSpPr>
            <a:cxnSpLocks noChangeShapeType="1"/>
            <a:stCxn id="61" idx="1"/>
            <a:endCxn id="59" idx="3"/>
          </p:cNvCxnSpPr>
          <p:nvPr/>
        </p:nvCxnSpPr>
        <p:spPr bwMode="auto">
          <a:xfrm flipH="1" flipV="1">
            <a:off x="1262204" y="5441952"/>
            <a:ext cx="242756" cy="252628"/>
          </a:xfrm>
          <a:prstGeom prst="straightConnector1">
            <a:avLst/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cxnSp>
        <p:nvCxnSpPr>
          <p:cNvPr id="66" name="AutoShape 464"/>
          <p:cNvCxnSpPr>
            <a:cxnSpLocks noChangeShapeType="1"/>
            <a:stCxn id="41" idx="2"/>
            <a:endCxn id="42" idx="0"/>
          </p:cNvCxnSpPr>
          <p:nvPr/>
        </p:nvCxnSpPr>
        <p:spPr bwMode="auto">
          <a:xfrm rot="16200000" flipH="1">
            <a:off x="1046967" y="3628231"/>
            <a:ext cx="349250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miter lim="800000"/>
            <a:headEnd/>
            <a:tailEnd type="triangle" w="sm" len="med"/>
          </a:ln>
          <a:effectLst/>
        </p:spPr>
      </p:cxnSp>
      <p:cxnSp>
        <p:nvCxnSpPr>
          <p:cNvPr id="67" name="AutoShape 464"/>
          <p:cNvCxnSpPr>
            <a:cxnSpLocks noChangeShapeType="1"/>
          </p:cNvCxnSpPr>
          <p:nvPr/>
        </p:nvCxnSpPr>
        <p:spPr bwMode="auto">
          <a:xfrm flipH="1">
            <a:off x="2952760" y="5151726"/>
            <a:ext cx="739778" cy="0"/>
          </a:xfrm>
          <a:prstGeom prst="straightConnector1">
            <a:avLst/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cxnSp>
        <p:nvCxnSpPr>
          <p:cNvPr id="68" name="AutoShape 464"/>
          <p:cNvCxnSpPr>
            <a:cxnSpLocks noChangeShapeType="1"/>
          </p:cNvCxnSpPr>
          <p:nvPr/>
        </p:nvCxnSpPr>
        <p:spPr bwMode="auto">
          <a:xfrm flipH="1">
            <a:off x="2954348" y="5694580"/>
            <a:ext cx="743594" cy="0"/>
          </a:xfrm>
          <a:prstGeom prst="straightConnector1">
            <a:avLst/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sp>
        <p:nvSpPr>
          <p:cNvPr id="69" name="직사각형 68"/>
          <p:cNvSpPr/>
          <p:nvPr/>
        </p:nvSpPr>
        <p:spPr bwMode="auto">
          <a:xfrm>
            <a:off x="3690948" y="4941888"/>
            <a:ext cx="104775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3690948" y="5214938"/>
            <a:ext cx="104775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3690948" y="5487988"/>
            <a:ext cx="104775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3690948" y="5759450"/>
            <a:ext cx="104775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267210" y="4164013"/>
            <a:ext cx="104775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267210" y="4921250"/>
            <a:ext cx="104775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4267210" y="5678488"/>
            <a:ext cx="104775" cy="1412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6" name="AutoShape 23" descr="채우기4"/>
          <p:cNvSpPr>
            <a:spLocks noChangeArrowheads="1"/>
          </p:cNvSpPr>
          <p:nvPr/>
        </p:nvSpPr>
        <p:spPr bwMode="auto">
          <a:xfrm>
            <a:off x="3687773" y="3848100"/>
            <a:ext cx="687387" cy="2152650"/>
          </a:xfrm>
          <a:prstGeom prst="roundRect">
            <a:avLst>
              <a:gd name="adj" fmla="val 9204"/>
            </a:avLst>
          </a:prstGeom>
          <a:solidFill>
            <a:srgbClr val="FFFFFF">
              <a:lumMod val="85000"/>
            </a:srgbClr>
          </a:solidFill>
          <a:ln w="9525">
            <a:solidFill>
              <a:srgbClr val="85AED7"/>
            </a:solidFill>
            <a:round/>
            <a:headEnd/>
            <a:tailEnd/>
          </a:ln>
        </p:spPr>
        <p:txBody>
          <a:bodyPr lIns="0" tIns="18000" rIns="0" bIns="18000"/>
          <a:lstStyle/>
          <a:p>
            <a:pPr marL="101600" indent="-101600" algn="ctr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ko-KR" altLang="en-US" sz="800" kern="0" dirty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기관</a:t>
            </a:r>
            <a:endParaRPr kumimoji="0" lang="en-US" altLang="ko-KR" sz="800" kern="0" dirty="0">
              <a:solidFill>
                <a:sysClr val="windowText" lastClr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01600" indent="-101600" algn="ctr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kumimoji="0" lang="en-US" altLang="ko-KR" sz="8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TR</a:t>
            </a:r>
            <a:r>
              <a:rPr kumimoji="0" lang="ko-KR" altLang="en-US" sz="800" kern="0" dirty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연계모듈</a:t>
            </a:r>
            <a:endParaRPr kumimoji="0" lang="en-US" altLang="ko-KR" sz="800" kern="0" dirty="0">
              <a:solidFill>
                <a:sysClr val="windowText" lastClr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7" name="Rectangle 109"/>
          <p:cNvSpPr>
            <a:spLocks noChangeArrowheads="1"/>
          </p:cNvSpPr>
          <p:nvPr/>
        </p:nvSpPr>
        <p:spPr bwMode="auto">
          <a:xfrm>
            <a:off x="3687773" y="4284173"/>
            <a:ext cx="678097" cy="1623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/>
          <a:lstStyle/>
          <a:p>
            <a:pPr fontAlgn="auto" latinLnBrk="0">
              <a:spcBef>
                <a:spcPts val="300"/>
              </a:spcBef>
              <a:spcAft>
                <a:spcPts val="90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ND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일 감지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br>
              <a:rPr kumimoji="0" lang="en-US" altLang="ko-KR" sz="8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kumimoji="0" lang="en-US" altLang="ko-KR" sz="8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XML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환</a:t>
            </a:r>
            <a:endParaRPr kumimoji="0" lang="en-US" altLang="ko-KR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fontAlgn="auto" latinLnBrk="0">
              <a:spcBef>
                <a:spcPts val="300"/>
              </a:spcBef>
              <a:spcAft>
                <a:spcPts val="900"/>
              </a:spcAft>
              <a:defRPr/>
            </a:pPr>
            <a:r>
              <a:rPr kumimoji="0"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사</a:t>
            </a:r>
            <a:r>
              <a:rPr kumimoji="0"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validate) </a:t>
            </a:r>
            <a:br>
              <a:rPr kumimoji="0"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kumimoji="0"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kumimoji="0"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암호화</a:t>
            </a:r>
            <a:r>
              <a:rPr kumimoji="0"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kumimoji="0"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kumimoji="0"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kumimoji="0"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자서명</a:t>
            </a:r>
          </a:p>
          <a:p>
            <a:pPr fontAlgn="auto" latinLnBrk="0">
              <a:spcBef>
                <a:spcPts val="300"/>
              </a:spcBef>
              <a:spcAft>
                <a:spcPts val="900"/>
              </a:spcAft>
              <a:defRPr/>
            </a:pPr>
            <a:r>
              <a:rPr kumimoji="0"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파일 전송</a:t>
            </a:r>
          </a:p>
          <a:p>
            <a:pPr fontAlgn="auto" latinLnBrk="0">
              <a:spcBef>
                <a:spcPts val="300"/>
              </a:spcBef>
              <a:spcAft>
                <a:spcPts val="900"/>
              </a:spcAft>
              <a:defRPr/>
            </a:pPr>
            <a:r>
              <a:rPr kumimoji="0"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로그 기록</a:t>
            </a:r>
          </a:p>
          <a:p>
            <a:pPr fontAlgn="auto" latinLnBrk="0">
              <a:spcBef>
                <a:spcPts val="300"/>
              </a:spcBef>
              <a:spcAft>
                <a:spcPts val="900"/>
              </a:spcAft>
              <a:defRPr/>
            </a:pPr>
            <a:r>
              <a:rPr kumimoji="0"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일 수신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3690948" y="3895725"/>
            <a:ext cx="104775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3690948" y="4283075"/>
            <a:ext cx="104775" cy="1412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80" name="구부러진 연결선 79"/>
          <p:cNvCxnSpPr>
            <a:stCxn id="78" idx="1"/>
            <a:endCxn id="79" idx="1"/>
          </p:cNvCxnSpPr>
          <p:nvPr/>
        </p:nvCxnSpPr>
        <p:spPr bwMode="auto">
          <a:xfrm rot="10800000" flipV="1">
            <a:off x="3690948" y="3965575"/>
            <a:ext cx="1587" cy="388938"/>
          </a:xfrm>
          <a:prstGeom prst="curvedConnector3">
            <a:avLst>
              <a:gd name="adj1" fmla="val 93696317"/>
            </a:avLst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miter lim="800000"/>
            <a:headEnd/>
            <a:tailEnd type="triangle" w="sm" len="med"/>
          </a:ln>
          <a:effectLst/>
        </p:spPr>
      </p:cxnSp>
      <p:sp>
        <p:nvSpPr>
          <p:cNvPr id="81" name="위쪽/아래쪽 화살표 80"/>
          <p:cNvSpPr/>
          <p:nvPr/>
        </p:nvSpPr>
        <p:spPr bwMode="auto">
          <a:xfrm rot="5400000">
            <a:off x="1893513" y="2542052"/>
            <a:ext cx="349249" cy="500063"/>
          </a:xfrm>
          <a:prstGeom prst="upDownArrow">
            <a:avLst>
              <a:gd name="adj1" fmla="val 53372"/>
              <a:gd name="adj2" fmla="val 31508"/>
            </a:avLst>
          </a:prstGeom>
          <a:gradFill flip="none" rotWithShape="1">
            <a:gsLst>
              <a:gs pos="0">
                <a:srgbClr val="FFFFFF"/>
              </a:gs>
              <a:gs pos="0">
                <a:srgbClr val="FFFFFF"/>
              </a:gs>
              <a:gs pos="0">
                <a:srgbClr val="FFFFFF"/>
              </a:gs>
              <a:gs pos="100000">
                <a:srgbClr val="000000">
                  <a:lumMod val="50000"/>
                  <a:lumOff val="50000"/>
                </a:srgbClr>
              </a:gs>
            </a:gsLst>
            <a:path path="rect">
              <a:fillToRect l="50000" t="50000" r="50000" b="50000"/>
            </a:path>
            <a:tileRect/>
          </a:gradFill>
          <a:ln w="12700" cap="rnd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vert270" wrap="none"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ysClr val="windowText" lastClr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I</a:t>
            </a:r>
            <a:endParaRPr kumimoji="0" lang="ko-KR" altLang="en-US" sz="1000" kern="0" dirty="0">
              <a:solidFill>
                <a:sysClr val="windowText" lastClr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2" name="Text Box 1249"/>
          <p:cNvSpPr txBox="1">
            <a:spLocks noChangeArrowheads="1"/>
          </p:cNvSpPr>
          <p:nvPr/>
        </p:nvSpPr>
        <p:spPr bwMode="auto">
          <a:xfrm>
            <a:off x="1777954" y="3809321"/>
            <a:ext cx="33983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647700" latinLnBrk="0"/>
            <a:r>
              <a:rPr kumimoji="0" lang="en-US" altLang="ko-KR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ND</a:t>
            </a:r>
            <a:r>
              <a:rPr kumimoji="0" lang="ko-KR" altLang="en-US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송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3" name="Text Box 1249"/>
          <p:cNvSpPr txBox="1">
            <a:spLocks noChangeArrowheads="1"/>
          </p:cNvSpPr>
          <p:nvPr/>
        </p:nvSpPr>
        <p:spPr bwMode="auto">
          <a:xfrm>
            <a:off x="3101939" y="3820433"/>
            <a:ext cx="4969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47700" latinLnBrk="0"/>
            <a:r>
              <a:rPr kumimoji="0" lang="ko-KR" altLang="en-US" sz="700" dirty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디렉토리 풀링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4" name="Text Box 1249"/>
          <p:cNvSpPr txBox="1">
            <a:spLocks noChangeArrowheads="1"/>
          </p:cNvSpPr>
          <p:nvPr/>
        </p:nvSpPr>
        <p:spPr bwMode="auto">
          <a:xfrm>
            <a:off x="3135807" y="4975028"/>
            <a:ext cx="4969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47700" latinLnBrk="0"/>
            <a:r>
              <a:rPr kumimoji="0" lang="ko-KR" altLang="en-US" sz="700" dirty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송증서 발급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5" name="Text Box 1249"/>
          <p:cNvSpPr txBox="1">
            <a:spLocks noChangeArrowheads="1"/>
          </p:cNvSpPr>
          <p:nvPr/>
        </p:nvSpPr>
        <p:spPr bwMode="auto">
          <a:xfrm>
            <a:off x="5217694" y="4319428"/>
            <a:ext cx="33983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47700" latinLnBrk="0"/>
            <a:r>
              <a:rPr kumimoji="0" lang="en-US" altLang="ko-KR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XML</a:t>
            </a:r>
            <a:r>
              <a:rPr kumimoji="0" lang="ko-KR" altLang="en-US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</a:t>
            </a:r>
            <a:r>
              <a:rPr kumimoji="0" lang="ko-KR" altLang="en-US" sz="700" dirty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송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7" name="Rectangle 55"/>
          <p:cNvSpPr>
            <a:spLocks noChangeArrowheads="1"/>
          </p:cNvSpPr>
          <p:nvPr/>
        </p:nvSpPr>
        <p:spPr bwMode="gray">
          <a:xfrm>
            <a:off x="5025008" y="2905126"/>
            <a:ext cx="1512000" cy="118348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8" name="Rectangle 55"/>
          <p:cNvSpPr>
            <a:spLocks noChangeArrowheads="1"/>
          </p:cNvSpPr>
          <p:nvPr/>
        </p:nvSpPr>
        <p:spPr bwMode="gray">
          <a:xfrm>
            <a:off x="5025008" y="2681288"/>
            <a:ext cx="1512000" cy="223837"/>
          </a:xfrm>
          <a:prstGeom prst="rect">
            <a:avLst/>
          </a:prstGeom>
          <a:solidFill>
            <a:srgbClr val="CFD6DB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은행연합회</a:t>
            </a:r>
            <a:endParaRPr kumimoji="0" lang="en-US" altLang="en-US" sz="1000" kern="0" dirty="0">
              <a:solidFill>
                <a:sysClr val="windowText" lastClr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89" name="그룹 131"/>
          <p:cNvGrpSpPr>
            <a:grpSpLocks/>
          </p:cNvGrpSpPr>
          <p:nvPr/>
        </p:nvGrpSpPr>
        <p:grpSpPr bwMode="auto">
          <a:xfrm>
            <a:off x="5137937" y="3121025"/>
            <a:ext cx="1292225" cy="787400"/>
            <a:chOff x="5601593" y="3100383"/>
            <a:chExt cx="1497740" cy="815401"/>
          </a:xfrm>
        </p:grpSpPr>
        <p:sp>
          <p:nvSpPr>
            <p:cNvPr id="90" name="AutoShape 59"/>
            <p:cNvSpPr>
              <a:spLocks noChangeArrowheads="1"/>
            </p:cNvSpPr>
            <p:nvPr/>
          </p:nvSpPr>
          <p:spPr bwMode="auto">
            <a:xfrm rot="10800000" flipV="1">
              <a:off x="5601593" y="3100383"/>
              <a:ext cx="1497740" cy="815401"/>
            </a:xfrm>
            <a:prstGeom prst="roundRect">
              <a:avLst>
                <a:gd name="adj" fmla="val 1407"/>
              </a:avLst>
            </a:prstGeom>
            <a:solidFill>
              <a:srgbClr val="99A7B1"/>
            </a:solidFill>
            <a:ln w="9525" algn="ctr">
              <a:solidFill>
                <a:srgbClr val="4FABE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kern="0" dirty="0">
                <a:solidFill>
                  <a:sysClr val="windowText" lastClr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91" name="Rectangle 60"/>
            <p:cNvSpPr>
              <a:spLocks noChangeAspect="1" noChangeArrowheads="1"/>
            </p:cNvSpPr>
            <p:nvPr/>
          </p:nvSpPr>
          <p:spPr bwMode="auto">
            <a:xfrm rot="10800000">
              <a:off x="5613059" y="3327038"/>
              <a:ext cx="1474808" cy="577987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lIns="84256" tIns="42129" rIns="84256" bIns="42129" anchor="ctr"/>
            <a:lstStyle/>
            <a:p>
              <a:pPr defTabSz="12795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- CTR </a:t>
              </a:r>
              <a:r>
                <a:rPr kumimoji="0" lang="ko-KR" altLang="en-US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파일접수 및 전송</a:t>
              </a:r>
              <a:endParaRPr kumimoji="0" lang="en-US" altLang="ko-KR" sz="800" kern="0" dirty="0" smtClean="0">
                <a:solidFill>
                  <a:srgbClr val="00336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defTabSz="12795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- </a:t>
              </a:r>
              <a:r>
                <a:rPr kumimoji="0" lang="ko-KR" altLang="en-US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접수증서 접수 및 전송</a:t>
              </a:r>
              <a:endParaRPr kumimoji="0" lang="ko-KR" altLang="en-US" sz="800" kern="0" dirty="0">
                <a:solidFill>
                  <a:srgbClr val="00336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92" name="Rectangle 62"/>
            <p:cNvSpPr>
              <a:spLocks noChangeArrowheads="1"/>
            </p:cNvSpPr>
            <p:nvPr/>
          </p:nvSpPr>
          <p:spPr bwMode="auto">
            <a:xfrm>
              <a:off x="5608898" y="3122376"/>
              <a:ext cx="1483128" cy="14342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>
              <a:prstShdw prst="shdw17" dist="17961" dir="2700000">
                <a:srgbClr val="678240"/>
              </a:prstShdw>
            </a:effectLst>
          </p:spPr>
          <p:txBody>
            <a:bodyPr lIns="0" tIns="0" rIns="0" bIns="0" anchor="ctr">
              <a:spAutoFit/>
            </a:bodyPr>
            <a:lstStyle/>
            <a:p>
              <a:pPr algn="ctr" defTabSz="8429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중계기관연계시스</a:t>
              </a:r>
              <a:r>
                <a:rPr kumimoji="0" lang="ko-KR" altLang="en-US" sz="900" kern="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템</a:t>
              </a:r>
            </a:p>
          </p:txBody>
        </p:sp>
      </p:grpSp>
      <p:sp>
        <p:nvSpPr>
          <p:cNvPr id="93" name="Text Box 1249"/>
          <p:cNvSpPr txBox="1">
            <a:spLocks noChangeArrowheads="1"/>
          </p:cNvSpPr>
          <p:nvPr/>
        </p:nvSpPr>
        <p:spPr bwMode="auto">
          <a:xfrm>
            <a:off x="4543156" y="5271711"/>
            <a:ext cx="4209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647700" latinLnBrk="0"/>
            <a:r>
              <a:rPr kumimoji="0" lang="ko-KR" altLang="en-US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접수증서 </a:t>
            </a:r>
            <a:endParaRPr kumimoji="0" lang="en-US" altLang="ko-KR" sz="700" dirty="0" smtClean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647700" latinLnBrk="0"/>
            <a:r>
              <a:rPr kumimoji="0" lang="ko-KR" altLang="en-US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송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4" name="Text Box 1249"/>
          <p:cNvSpPr txBox="1">
            <a:spLocks noChangeArrowheads="1"/>
          </p:cNvSpPr>
          <p:nvPr/>
        </p:nvSpPr>
        <p:spPr bwMode="auto">
          <a:xfrm>
            <a:off x="3135807" y="5522800"/>
            <a:ext cx="4969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47700" latinLnBrk="0"/>
            <a:r>
              <a:rPr kumimoji="0" lang="ko-KR" altLang="en-US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접수증서 </a:t>
            </a:r>
            <a:r>
              <a:rPr kumimoji="0" lang="ko-KR" altLang="en-US" sz="700" dirty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장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7" name="Rectangle 55"/>
          <p:cNvSpPr>
            <a:spLocks noChangeArrowheads="1"/>
          </p:cNvSpPr>
          <p:nvPr/>
        </p:nvSpPr>
        <p:spPr bwMode="gray">
          <a:xfrm>
            <a:off x="5025008" y="4908146"/>
            <a:ext cx="1512000" cy="1350802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8" name="Rectangle 55"/>
          <p:cNvSpPr>
            <a:spLocks noChangeArrowheads="1"/>
          </p:cNvSpPr>
          <p:nvPr/>
        </p:nvSpPr>
        <p:spPr bwMode="gray">
          <a:xfrm>
            <a:off x="5025008" y="4684308"/>
            <a:ext cx="1512000" cy="223837"/>
          </a:xfrm>
          <a:prstGeom prst="rect">
            <a:avLst/>
          </a:prstGeom>
          <a:solidFill>
            <a:srgbClr val="CFD6DB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 (</a:t>
            </a: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금융정보분석원</a:t>
            </a:r>
            <a:r>
              <a:rPr kumimoji="0" lang="en-US" altLang="ko-KR" sz="1000" kern="0" dirty="0" smtClean="0">
                <a:solidFill>
                  <a:sysClr val="windowText" lastClr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  <a:endParaRPr kumimoji="0" lang="en-US" altLang="en-US" sz="1000" kern="0" dirty="0">
              <a:solidFill>
                <a:sysClr val="windowText" lastClr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09" name="그룹 131"/>
          <p:cNvGrpSpPr>
            <a:grpSpLocks/>
          </p:cNvGrpSpPr>
          <p:nvPr/>
        </p:nvGrpSpPr>
        <p:grpSpPr bwMode="auto">
          <a:xfrm>
            <a:off x="5137937" y="5124045"/>
            <a:ext cx="1292225" cy="974566"/>
            <a:chOff x="5601593" y="3100383"/>
            <a:chExt cx="1497740" cy="815401"/>
          </a:xfrm>
        </p:grpSpPr>
        <p:sp>
          <p:nvSpPr>
            <p:cNvPr id="110" name="AutoShape 59"/>
            <p:cNvSpPr>
              <a:spLocks noChangeArrowheads="1"/>
            </p:cNvSpPr>
            <p:nvPr/>
          </p:nvSpPr>
          <p:spPr bwMode="auto">
            <a:xfrm rot="10800000" flipV="1">
              <a:off x="5601593" y="3100383"/>
              <a:ext cx="1497740" cy="815401"/>
            </a:xfrm>
            <a:prstGeom prst="roundRect">
              <a:avLst>
                <a:gd name="adj" fmla="val 1407"/>
              </a:avLst>
            </a:prstGeom>
            <a:solidFill>
              <a:srgbClr val="99A7B1"/>
            </a:solidFill>
            <a:ln w="9525" algn="ctr">
              <a:solidFill>
                <a:srgbClr val="4FABE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kern="0" dirty="0">
                <a:solidFill>
                  <a:sysClr val="windowText" lastClr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11" name="Rectangle 60"/>
            <p:cNvSpPr>
              <a:spLocks noChangeAspect="1" noChangeArrowheads="1"/>
            </p:cNvSpPr>
            <p:nvPr/>
          </p:nvSpPr>
          <p:spPr bwMode="auto">
            <a:xfrm rot="10800000">
              <a:off x="5613059" y="3327038"/>
              <a:ext cx="1474808" cy="577987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lIns="84256" tIns="42129" rIns="84256" bIns="42129" anchor="ctr"/>
            <a:lstStyle/>
            <a:p>
              <a:pPr defTabSz="12795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- CTR </a:t>
              </a:r>
              <a:r>
                <a:rPr kumimoji="0" lang="ko-KR" altLang="en-US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파일접수</a:t>
              </a:r>
              <a:endParaRPr kumimoji="0" lang="en-US" altLang="ko-KR" sz="800" kern="0" dirty="0" smtClean="0">
                <a:solidFill>
                  <a:srgbClr val="00336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defTabSz="12795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- </a:t>
              </a:r>
              <a:r>
                <a:rPr kumimoji="0" lang="ko-KR" altLang="en-US" sz="800" kern="0" dirty="0" smtClean="0">
                  <a:solidFill>
                    <a:srgbClr val="003366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접수증서 생성 및 전송</a:t>
              </a:r>
              <a:endParaRPr kumimoji="0" lang="ko-KR" altLang="en-US" sz="800" kern="0" dirty="0">
                <a:solidFill>
                  <a:srgbClr val="003366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12" name="Rectangle 62"/>
            <p:cNvSpPr>
              <a:spLocks noChangeArrowheads="1"/>
            </p:cNvSpPr>
            <p:nvPr/>
          </p:nvSpPr>
          <p:spPr bwMode="auto">
            <a:xfrm>
              <a:off x="5608898" y="3122376"/>
              <a:ext cx="1483128" cy="14342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>
              <a:prstShdw prst="shdw17" dist="17961" dir="2700000">
                <a:srgbClr val="678240"/>
              </a:prstShdw>
            </a:effectLst>
          </p:spPr>
          <p:txBody>
            <a:bodyPr lIns="0" tIns="0" rIns="0" bIns="0" anchor="ctr">
              <a:spAutoFit/>
            </a:bodyPr>
            <a:lstStyle/>
            <a:p>
              <a:pPr algn="ctr" defTabSz="842963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oFIU </a:t>
              </a:r>
              <a:r>
                <a:rPr kumimoji="0" lang="ko-KR" altLang="en-US" sz="900" kern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연계시스템</a:t>
              </a:r>
              <a:endParaRPr kumimoji="0" lang="ko-KR" altLang="en-US" sz="9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113" name="Text Box 1249"/>
          <p:cNvSpPr txBox="1">
            <a:spLocks noChangeArrowheads="1"/>
          </p:cNvSpPr>
          <p:nvPr/>
        </p:nvSpPr>
        <p:spPr bwMode="auto">
          <a:xfrm>
            <a:off x="4644482" y="3349973"/>
            <a:ext cx="339837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647700" latinLnBrk="0"/>
            <a:r>
              <a:rPr kumimoji="0" lang="en-US" altLang="ko-KR" sz="700" dirty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XML</a:t>
            </a:r>
            <a:r>
              <a:rPr kumimoji="0" lang="ko-KR" altLang="en-US" sz="700" dirty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송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15" name="AutoShape 464"/>
          <p:cNvCxnSpPr>
            <a:cxnSpLocks noChangeShapeType="1"/>
          </p:cNvCxnSpPr>
          <p:nvPr/>
        </p:nvCxnSpPr>
        <p:spPr bwMode="auto">
          <a:xfrm flipH="1">
            <a:off x="5616054" y="4088608"/>
            <a:ext cx="1" cy="595700"/>
          </a:xfrm>
          <a:prstGeom prst="straightConnector1">
            <a:avLst/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cxnSp>
        <p:nvCxnSpPr>
          <p:cNvPr id="116" name="AutoShape 464"/>
          <p:cNvCxnSpPr>
            <a:cxnSpLocks noChangeShapeType="1"/>
          </p:cNvCxnSpPr>
          <p:nvPr/>
        </p:nvCxnSpPr>
        <p:spPr bwMode="auto">
          <a:xfrm flipV="1">
            <a:off x="5889104" y="4088608"/>
            <a:ext cx="0" cy="595700"/>
          </a:xfrm>
          <a:prstGeom prst="straightConnector1">
            <a:avLst/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sp>
        <p:nvSpPr>
          <p:cNvPr id="117" name="Text Box 1249"/>
          <p:cNvSpPr txBox="1">
            <a:spLocks noChangeArrowheads="1"/>
          </p:cNvSpPr>
          <p:nvPr/>
        </p:nvSpPr>
        <p:spPr bwMode="auto">
          <a:xfrm>
            <a:off x="6138208" y="4319428"/>
            <a:ext cx="4969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647700" latinLnBrk="0"/>
            <a:r>
              <a:rPr kumimoji="0" lang="ko-KR" altLang="en-US" sz="700" dirty="0" smtClean="0">
                <a:solidFill>
                  <a:srgbClr val="40404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접수증서 전송</a:t>
            </a:r>
            <a:endParaRPr kumimoji="0" lang="en-US" altLang="ko-KR" sz="7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19" name="AutoShape 464"/>
          <p:cNvCxnSpPr>
            <a:cxnSpLocks noChangeShapeType="1"/>
            <a:stCxn id="121" idx="3"/>
            <a:endCxn id="124" idx="1"/>
          </p:cNvCxnSpPr>
          <p:nvPr/>
        </p:nvCxnSpPr>
        <p:spPr bwMode="auto">
          <a:xfrm flipV="1">
            <a:off x="4370802" y="3488153"/>
            <a:ext cx="770696" cy="1417115"/>
          </a:xfrm>
          <a:prstGeom prst="bentConnector3">
            <a:avLst>
              <a:gd name="adj1" fmla="val 35978"/>
            </a:avLst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sp>
        <p:nvSpPr>
          <p:cNvPr id="120" name="위쪽/아래쪽 화살표 119"/>
          <p:cNvSpPr/>
          <p:nvPr/>
        </p:nvSpPr>
        <p:spPr bwMode="auto">
          <a:xfrm rot="5400000">
            <a:off x="4498985" y="2383378"/>
            <a:ext cx="349250" cy="817562"/>
          </a:xfrm>
          <a:prstGeom prst="upDownArrow">
            <a:avLst>
              <a:gd name="adj1" fmla="val 53372"/>
              <a:gd name="adj2" fmla="val 31508"/>
            </a:avLst>
          </a:prstGeom>
          <a:gradFill flip="none" rotWithShape="1">
            <a:gsLst>
              <a:gs pos="0">
                <a:srgbClr val="FFFFFF"/>
              </a:gs>
              <a:gs pos="0">
                <a:srgbClr val="FFFFFF"/>
              </a:gs>
              <a:gs pos="0">
                <a:srgbClr val="FFFFFF"/>
              </a:gs>
              <a:gs pos="100000">
                <a:srgbClr val="000000">
                  <a:lumMod val="50000"/>
                  <a:lumOff val="50000"/>
                </a:srgbClr>
              </a:gs>
            </a:gsLst>
            <a:path path="rect">
              <a:fillToRect l="50000" t="50000" r="50000" b="50000"/>
            </a:path>
            <a:tileRect/>
          </a:gradFill>
          <a:ln w="12700" cap="rnd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vert270" wrap="none"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>
                <a:solidFill>
                  <a:sysClr val="windowText" lastClr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용회선</a:t>
            </a:r>
          </a:p>
        </p:txBody>
      </p:sp>
      <p:sp>
        <p:nvSpPr>
          <p:cNvPr id="121" name="직사각형 120"/>
          <p:cNvSpPr/>
          <p:nvPr/>
        </p:nvSpPr>
        <p:spPr bwMode="auto">
          <a:xfrm>
            <a:off x="4166173" y="4797316"/>
            <a:ext cx="204629" cy="215904"/>
          </a:xfrm>
          <a:prstGeom prst="rect">
            <a:avLst/>
          </a:prstGeom>
          <a:noFill/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166173" y="5085230"/>
            <a:ext cx="204629" cy="215904"/>
          </a:xfrm>
          <a:prstGeom prst="rect">
            <a:avLst/>
          </a:prstGeom>
          <a:noFill/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23" name="AutoShape 464"/>
          <p:cNvCxnSpPr>
            <a:cxnSpLocks noChangeShapeType="1"/>
            <a:stCxn id="125" idx="1"/>
            <a:endCxn id="122" idx="3"/>
          </p:cNvCxnSpPr>
          <p:nvPr/>
        </p:nvCxnSpPr>
        <p:spPr bwMode="auto">
          <a:xfrm rot="10800000" flipV="1">
            <a:off x="4370802" y="3754122"/>
            <a:ext cx="770696" cy="143906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595959"/>
            </a:solidFill>
            <a:miter lim="800000"/>
            <a:headEnd/>
            <a:tailEnd type="triangle" w="sm" len="med"/>
          </a:ln>
        </p:spPr>
      </p:cxnSp>
      <p:sp>
        <p:nvSpPr>
          <p:cNvPr id="124" name="직사각형 123"/>
          <p:cNvSpPr/>
          <p:nvPr/>
        </p:nvSpPr>
        <p:spPr bwMode="auto">
          <a:xfrm>
            <a:off x="5141498" y="3380201"/>
            <a:ext cx="204629" cy="215904"/>
          </a:xfrm>
          <a:prstGeom prst="rect">
            <a:avLst/>
          </a:prstGeom>
          <a:noFill/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5141498" y="3646170"/>
            <a:ext cx="204629" cy="215904"/>
          </a:xfrm>
          <a:prstGeom prst="rect">
            <a:avLst/>
          </a:prstGeom>
          <a:noFill/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6" name="직사각형 239"/>
          <p:cNvSpPr>
            <a:spLocks noChangeArrowheads="1"/>
          </p:cNvSpPr>
          <p:nvPr/>
        </p:nvSpPr>
        <p:spPr bwMode="auto">
          <a:xfrm>
            <a:off x="1346542" y="4591288"/>
            <a:ext cx="1755397" cy="1476000"/>
          </a:xfrm>
          <a:prstGeom prst="rect">
            <a:avLst/>
          </a:prstGeom>
          <a:noFill/>
          <a:ln w="28575" algn="ctr">
            <a:solidFill>
              <a:srgbClr val="FF66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spcBef>
                <a:spcPct val="10000"/>
              </a:spcBef>
            </a:pPr>
            <a:endParaRPr lang="ko-KR" altLang="en-US" sz="12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33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83155" y="235152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8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5197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생성된 보고 파일은 보고기관과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연계 모듈과 은행연합회와의 전용회선을 활용하여 연계 보고 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4832A5FE-031B-485A-A309-BE2A0750944F}"/>
              </a:ext>
            </a:extLst>
          </p:cNvPr>
          <p:cNvSpPr/>
          <p:nvPr/>
        </p:nvSpPr>
        <p:spPr>
          <a:xfrm>
            <a:off x="6955778" y="2069250"/>
            <a:ext cx="2717340" cy="4420090"/>
          </a:xfrm>
          <a:prstGeom prst="rect">
            <a:avLst/>
          </a:prstGeom>
          <a:solidFill>
            <a:srgbClr val="ECF7FE"/>
          </a:solidFill>
          <a:ln w="1270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52" name="양쪽 모서리가 둥근 사각형 517">
            <a:extLst>
              <a:ext uri="{FF2B5EF4-FFF2-40B4-BE49-F238E27FC236}">
                <a16:creationId xmlns:a16="http://schemas.microsoft.com/office/drawing/2014/main" id="{3E3D28BE-959C-480B-8AD1-3B8A1BB208AE}"/>
              </a:ext>
            </a:extLst>
          </p:cNvPr>
          <p:cNvSpPr/>
          <p:nvPr/>
        </p:nvSpPr>
        <p:spPr>
          <a:xfrm>
            <a:off x="6955778" y="2069250"/>
            <a:ext cx="2717340" cy="299934"/>
          </a:xfrm>
          <a:prstGeom prst="rect">
            <a:avLst/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/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특징 및 내용</a:t>
            </a:r>
          </a:p>
        </p:txBody>
      </p:sp>
      <p:sp>
        <p:nvSpPr>
          <p:cNvPr id="153" name="양쪽 모서리가 둥근 사각형 517">
            <a:extLst>
              <a:ext uri="{FF2B5EF4-FFF2-40B4-BE49-F238E27FC236}">
                <a16:creationId xmlns:a16="http://schemas.microsoft.com/office/drawing/2014/main" id="{44EC17C8-AF98-4F87-8AE2-101CBA21F03A}"/>
              </a:ext>
            </a:extLst>
          </p:cNvPr>
          <p:cNvSpPr/>
          <p:nvPr/>
        </p:nvSpPr>
        <p:spPr>
          <a:xfrm>
            <a:off x="6955820" y="2069254"/>
            <a:ext cx="2717642" cy="149967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sp>
        <p:nvSpPr>
          <p:cNvPr id="155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483195"/>
            <a:ext cx="128240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TR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 </a:t>
            </a: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ND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파일 전송</a:t>
            </a:r>
          </a:p>
        </p:txBody>
      </p:sp>
      <p:sp>
        <p:nvSpPr>
          <p:cNvPr id="156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674052"/>
            <a:ext cx="2259454" cy="161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  <a:buClr>
                <a:srgbClr val="969696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량연계시스템 파일명명규칙에 맞게 전송</a:t>
            </a:r>
          </a:p>
        </p:txBody>
      </p:sp>
      <p:pic>
        <p:nvPicPr>
          <p:cNvPr id="157" name="그림 156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487" y="2483195"/>
            <a:ext cx="318769" cy="318769"/>
          </a:xfrm>
          <a:prstGeom prst="rect">
            <a:avLst/>
          </a:prstGeom>
        </p:spPr>
      </p:pic>
      <p:sp>
        <p:nvSpPr>
          <p:cNvPr id="17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940048"/>
            <a:ext cx="71942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디렉토리 풀링</a:t>
            </a:r>
          </a:p>
        </p:txBody>
      </p:sp>
      <p:sp>
        <p:nvSpPr>
          <p:cNvPr id="17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3150493"/>
            <a:ext cx="225945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기적으로 디렉토리를 폴링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polling)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하여 체크하고 해당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ND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일을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XML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문으로 변환</a:t>
            </a:r>
          </a:p>
        </p:txBody>
      </p:sp>
      <p:pic>
        <p:nvPicPr>
          <p:cNvPr id="177" name="그림 176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3487" y="2934469"/>
            <a:ext cx="318769" cy="318769"/>
          </a:xfrm>
          <a:prstGeom prst="rect">
            <a:avLst/>
          </a:prstGeom>
        </p:spPr>
      </p:pic>
      <p:sp>
        <p:nvSpPr>
          <p:cNvPr id="172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2857" y="3517962"/>
            <a:ext cx="129170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중계기관연계시스템 전송</a:t>
            </a:r>
          </a:p>
        </p:txBody>
      </p:sp>
      <p:sp>
        <p:nvSpPr>
          <p:cNvPr id="173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2857" y="3749899"/>
            <a:ext cx="2201264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변환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XML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문을 읽어 검사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validate)/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암호화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자서명하여 은행연합회의 중계기관연계시스템에 전송한 후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송 증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급 및 저장</a:t>
            </a:r>
          </a:p>
        </p:txBody>
      </p:sp>
      <p:pic>
        <p:nvPicPr>
          <p:cNvPr id="174" name="그림 173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3487" y="3519234"/>
            <a:ext cx="320400" cy="320400"/>
          </a:xfrm>
          <a:prstGeom prst="rect">
            <a:avLst/>
          </a:prstGeom>
        </p:spPr>
      </p:pic>
      <p:sp>
        <p:nvSpPr>
          <p:cNvPr id="160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2857" y="4436764"/>
            <a:ext cx="117211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연계시스템 전송</a:t>
            </a:r>
          </a:p>
        </p:txBody>
      </p:sp>
      <p:sp>
        <p:nvSpPr>
          <p:cNvPr id="161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2857" y="4668701"/>
            <a:ext cx="220126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XML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문을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oFIU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연계시스템으로 전송하고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oFIU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연계시스템에서 해당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XML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문에 대해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접수 증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급 및 전송</a:t>
            </a:r>
          </a:p>
        </p:txBody>
      </p:sp>
      <p:pic>
        <p:nvPicPr>
          <p:cNvPr id="162" name="그림 161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8304" y="4438036"/>
            <a:ext cx="320400" cy="320400"/>
          </a:xfrm>
          <a:prstGeom prst="rect">
            <a:avLst/>
          </a:prstGeom>
        </p:spPr>
      </p:pic>
      <p:sp>
        <p:nvSpPr>
          <p:cNvPr id="163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229198"/>
            <a:ext cx="116089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접수 증서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송 및 저장</a:t>
            </a:r>
          </a:p>
        </p:txBody>
      </p:sp>
      <p:sp>
        <p:nvSpPr>
          <p:cNvPr id="164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461135"/>
            <a:ext cx="2201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연계시스템으로부터 받은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접수 증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송 및 저장</a:t>
            </a:r>
          </a:p>
        </p:txBody>
      </p:sp>
      <p:sp>
        <p:nvSpPr>
          <p:cNvPr id="16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334" y="5841614"/>
            <a:ext cx="202747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량 연계 서버 보고서 동기화 정책 개선</a:t>
            </a:r>
          </a:p>
        </p:txBody>
      </p:sp>
      <p:sp>
        <p:nvSpPr>
          <p:cNvPr id="16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334" y="6073551"/>
            <a:ext cx="2201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일 전송 시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EAI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응답 대기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상 분석을 통해 </a:t>
            </a:r>
            <a:b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기화 정책 개선 방안 도출 후 적용</a:t>
            </a:r>
          </a:p>
        </p:txBody>
      </p:sp>
      <p:pic>
        <p:nvPicPr>
          <p:cNvPr id="169" name="그림 168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6349" y="5226844"/>
            <a:ext cx="320400" cy="320400"/>
          </a:xfrm>
          <a:prstGeom prst="rect">
            <a:avLst/>
          </a:prstGeom>
        </p:spPr>
      </p:pic>
      <p:pic>
        <p:nvPicPr>
          <p:cNvPr id="170" name="그림 169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23189" y="5856897"/>
            <a:ext cx="320400" cy="320400"/>
          </a:xfrm>
          <a:prstGeom prst="rect">
            <a:avLst/>
          </a:prstGeom>
        </p:spPr>
      </p:pic>
      <p:sp>
        <p:nvSpPr>
          <p:cNvPr id="180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8120" y="3748073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</a:t>
            </a:r>
          </a:p>
        </p:txBody>
      </p:sp>
      <p:sp>
        <p:nvSpPr>
          <p:cNvPr id="182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63504" y="3786292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84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25057" y="3300834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86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04073" y="4273525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4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89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26042" y="4260160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4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91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96312" y="5297920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5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93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81801" y="4936408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95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92637" y="5479665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5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97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5383" y="5468989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5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99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35335" y="4849405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01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4484" y="5955488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6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2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3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35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1278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7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인터페이스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2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04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36475" y="2060848"/>
            <a:ext cx="6696000" cy="4428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7.3 </a:t>
            </a:r>
            <a:r>
              <a:rPr lang="ko-KR" altLang="en-US" dirty="0" smtClean="0"/>
              <a:t>타 시스템 연계</a:t>
            </a:r>
            <a:endParaRPr lang="ko-KR" altLang="en-US" dirty="0"/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타 시스템 연계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9" name="Rectangle 153"/>
          <p:cNvSpPr>
            <a:spLocks noChangeArrowheads="1"/>
          </p:cNvSpPr>
          <p:nvPr/>
        </p:nvSpPr>
        <p:spPr bwMode="gray">
          <a:xfrm>
            <a:off x="420642" y="2218517"/>
            <a:ext cx="1928307" cy="417821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C8E9C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043056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2000" kern="0" dirty="0">
              <a:solidFill>
                <a:prstClr val="white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418847" y="2204864"/>
            <a:ext cx="1926844" cy="300870"/>
          </a:xfrm>
          <a:prstGeom prst="rect">
            <a:avLst/>
          </a:prstGeom>
          <a:solidFill>
            <a:srgbClr val="038CDC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latinLnBrk="0"/>
            <a:r>
              <a:rPr lang="en-US" altLang="ko-KR" sz="1200" dirty="0" smtClean="0"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egacy System</a:t>
            </a:r>
            <a:endParaRPr lang="en-US" altLang="ko-KR" sz="1200" dirty="0"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27" name="Rectangle 153"/>
          <p:cNvSpPr>
            <a:spLocks noChangeArrowheads="1"/>
          </p:cNvSpPr>
          <p:nvPr/>
        </p:nvSpPr>
        <p:spPr bwMode="gray">
          <a:xfrm>
            <a:off x="3019154" y="2218518"/>
            <a:ext cx="3686992" cy="163604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7C8E9C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043056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2000" kern="0" dirty="0">
              <a:solidFill>
                <a:prstClr val="white"/>
              </a:solidFill>
              <a:latin typeface="나눔바른고딕" pitchFamily="50" charset="-127"/>
              <a:ea typeface="KoPub돋움체 Light" panose="0000030000000000000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3019154" y="2218516"/>
            <a:ext cx="3685197" cy="287218"/>
          </a:xfrm>
          <a:prstGeom prst="rect">
            <a:avLst/>
          </a:prstGeom>
          <a:solidFill>
            <a:srgbClr val="038CDC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latinLnBrk="0"/>
            <a:r>
              <a:rPr lang="ko-KR" altLang="en-US" sz="1200" dirty="0" smtClean="0"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자금세탁방지시스템</a:t>
            </a:r>
            <a:endParaRPr lang="en-US" altLang="ko-KR" sz="1200" dirty="0"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135" name="그룹 134"/>
          <p:cNvGrpSpPr/>
          <p:nvPr/>
        </p:nvGrpSpPr>
        <p:grpSpPr>
          <a:xfrm>
            <a:off x="2604911" y="2218516"/>
            <a:ext cx="212757" cy="2273429"/>
            <a:chOff x="2346009" y="2240049"/>
            <a:chExt cx="292076" cy="2105926"/>
          </a:xfrm>
          <a:solidFill>
            <a:srgbClr val="D0DA96"/>
          </a:solidFill>
        </p:grpSpPr>
        <p:sp>
          <p:nvSpPr>
            <p:cNvPr id="136" name="AutoShape 362" descr="TCP-52"/>
            <p:cNvSpPr>
              <a:spLocks noChangeArrowheads="1"/>
            </p:cNvSpPr>
            <p:nvPr/>
          </p:nvSpPr>
          <p:spPr bwMode="auto">
            <a:xfrm rot="5400000">
              <a:off x="1439084" y="3146974"/>
              <a:ext cx="2105926" cy="292076"/>
            </a:xfrm>
            <a:prstGeom prst="roundRect">
              <a:avLst>
                <a:gd name="adj" fmla="val 50000"/>
              </a:avLst>
            </a:prstGeom>
            <a:grpFill/>
            <a:ln w="63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lIns="91415" tIns="45708" rIns="91415" bIns="45708"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b="1" kern="0" dirty="0"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37" name="F5273"/>
            <p:cNvSpPr txBox="1">
              <a:spLocks noChangeAspect="1" noChangeArrowheads="1"/>
            </p:cNvSpPr>
            <p:nvPr/>
          </p:nvSpPr>
          <p:spPr bwMode="auto">
            <a:xfrm rot="5400000">
              <a:off x="1946349" y="3166255"/>
              <a:ext cx="1091399" cy="253512"/>
            </a:xfrm>
            <a:prstGeom prst="rect">
              <a:avLst/>
            </a:prstGeom>
            <a:grpFill/>
            <a:ln w="6350">
              <a:noFill/>
              <a:miter lim="800000"/>
              <a:headEnd/>
              <a:tailEnd/>
            </a:ln>
            <a:extLst/>
          </p:spPr>
          <p:txBody>
            <a:bodyPr wrap="none" lIns="0" tIns="0" rIns="0" bIns="0" anchor="ctr">
              <a:spAutoFit/>
              <a:scene3d>
                <a:camera prst="orthographicFront"/>
                <a:lightRig rig="harsh" dir="tl"/>
              </a:scene3d>
              <a:sp3d contourW="38100" prstMaterial="flat">
                <a:bevelT w="0" h="0" prst="artDeco"/>
                <a:extrusionClr>
                  <a:schemeClr val="bg1"/>
                </a:extrusionClr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algn="ctr" latinLnBrk="0"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80000"/>
                <a:tabLst>
                  <a:tab pos="5648325" algn="l"/>
                </a:tabLst>
                <a:defRPr sz="1300" b="1">
                  <a:solidFill>
                    <a:srgbClr val="000000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defRPr>
              </a:lvl1pPr>
            </a:lstStyle>
            <a:p>
              <a:pPr fontAlgn="auto">
                <a:defRPr/>
              </a:pPr>
              <a:r>
                <a:rPr kumimoji="0" lang="en-US" altLang="ko-KR" sz="1200" b="0" kern="0" dirty="0" smtClean="0">
                  <a:solidFill>
                    <a:sysClr val="windowText" lastClr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 CDC / ETL / EAI</a:t>
              </a:r>
              <a:endParaRPr kumimoji="0" lang="en-US" altLang="ko-KR" sz="1200" b="0" kern="0" dirty="0">
                <a:solidFill>
                  <a:sysClr val="windowText" lastClr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</p:grpSp>
      <p:grpSp>
        <p:nvGrpSpPr>
          <p:cNvPr id="138" name="그룹 137"/>
          <p:cNvGrpSpPr/>
          <p:nvPr/>
        </p:nvGrpSpPr>
        <p:grpSpPr>
          <a:xfrm>
            <a:off x="3033692" y="4185083"/>
            <a:ext cx="3656188" cy="275881"/>
            <a:chOff x="2720694" y="4323198"/>
            <a:chExt cx="3888537" cy="292076"/>
          </a:xfrm>
          <a:solidFill>
            <a:srgbClr val="D0DA96"/>
          </a:solidFill>
        </p:grpSpPr>
        <p:sp>
          <p:nvSpPr>
            <p:cNvPr id="139" name="AutoShape 362" descr="TCP-52"/>
            <p:cNvSpPr>
              <a:spLocks noChangeArrowheads="1"/>
            </p:cNvSpPr>
            <p:nvPr/>
          </p:nvSpPr>
          <p:spPr bwMode="auto">
            <a:xfrm>
              <a:off x="2720694" y="4323198"/>
              <a:ext cx="3888537" cy="292076"/>
            </a:xfrm>
            <a:prstGeom prst="roundRect">
              <a:avLst>
                <a:gd name="adj" fmla="val 50000"/>
              </a:avLst>
            </a:prstGeom>
            <a:grpFill/>
            <a:ln w="635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lIns="91415" tIns="45708" rIns="91415" bIns="45708"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b="1" kern="0" dirty="0"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40" name="F5273"/>
            <p:cNvSpPr txBox="1">
              <a:spLocks noChangeAspect="1" noChangeArrowheads="1"/>
            </p:cNvSpPr>
            <p:nvPr/>
          </p:nvSpPr>
          <p:spPr bwMode="auto">
            <a:xfrm>
              <a:off x="4011999" y="4380610"/>
              <a:ext cx="1305932" cy="19550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/>
          </p:spPr>
          <p:txBody>
            <a:bodyPr wrap="none" lIns="0" tIns="0" rIns="0" bIns="0" anchor="ctr">
              <a:spAutoFit/>
              <a:scene3d>
                <a:camera prst="orthographicFront"/>
                <a:lightRig rig="harsh" dir="tl"/>
              </a:scene3d>
              <a:sp3d contourW="38100" prstMaterial="flat">
                <a:bevelT w="0" h="0" prst="artDeco"/>
                <a:extrusionClr>
                  <a:schemeClr val="bg1"/>
                </a:extrusionClr>
                <a:contourClr>
                  <a:schemeClr val="bg1"/>
                </a:contourClr>
              </a:sp3d>
            </a:bodyPr>
            <a:lstStyle>
              <a:defPPr>
                <a:defRPr lang="ko-KR"/>
              </a:defPPr>
              <a:lvl1pPr algn="ctr" latinLnBrk="0"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ct val="80000"/>
                <a:tabLst>
                  <a:tab pos="5648325" algn="l"/>
                </a:tabLst>
                <a:defRPr sz="1300" b="1">
                  <a:solidFill>
                    <a:srgbClr val="000000"/>
                  </a:solidFill>
                  <a:latin typeface="뫼비우스 Regular" panose="02000700060000000000" pitchFamily="2" charset="-127"/>
                  <a:ea typeface="뫼비우스 Regular" panose="02000700060000000000" pitchFamily="2" charset="-127"/>
                </a:defRPr>
              </a:lvl1pPr>
            </a:lstStyle>
            <a:p>
              <a:pPr fontAlgn="auto">
                <a:defRPr/>
              </a:pPr>
              <a:r>
                <a:rPr kumimoji="0" lang="en-US" altLang="ko-KR" sz="1200" b="0" kern="0" dirty="0" smtClean="0">
                  <a:solidFill>
                    <a:sysClr val="windowText" lastClr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HTTP / API / URL</a:t>
              </a:r>
              <a:endParaRPr kumimoji="0" lang="en-US" altLang="ko-KR" sz="1200" b="0" kern="0" dirty="0">
                <a:solidFill>
                  <a:sysClr val="windowText" lastClr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</p:grpSp>
      <p:sp>
        <p:nvSpPr>
          <p:cNvPr id="141" name="Rectangle 153"/>
          <p:cNvSpPr>
            <a:spLocks noChangeArrowheads="1"/>
          </p:cNvSpPr>
          <p:nvPr/>
        </p:nvSpPr>
        <p:spPr bwMode="gray">
          <a:xfrm>
            <a:off x="3044918" y="4947119"/>
            <a:ext cx="3661185" cy="1438273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 anchorCtr="0"/>
          <a:lstStyle/>
          <a:p>
            <a:pPr algn="ctr"/>
            <a:endParaRPr lang="ko-KR" altLang="en-US" sz="1000" b="1" dirty="0">
              <a:solidFill>
                <a:srgbClr val="000000"/>
              </a:solidFill>
              <a:latin typeface="나눔바른고딕" pitchFamily="50" charset="-127"/>
              <a:ea typeface="KoPub돋움체 Light" panose="00000300000000000000"/>
              <a:cs typeface="Times New Roman" pitchFamily="18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3044917" y="4725144"/>
            <a:ext cx="3672279" cy="308122"/>
          </a:xfrm>
          <a:prstGeom prst="rect">
            <a:avLst/>
          </a:prstGeom>
          <a:solidFill>
            <a:srgbClr val="038CDC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latinLnBrk="0"/>
            <a:r>
              <a:rPr lang="en-US" altLang="ko-KR" sz="1200" dirty="0" smtClean="0"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egacy System</a:t>
            </a:r>
            <a:endParaRPr lang="en-US" altLang="ko-KR" sz="1200" dirty="0"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49" name="AutoShape 245"/>
          <p:cNvSpPr>
            <a:spLocks noChangeArrowheads="1"/>
          </p:cNvSpPr>
          <p:nvPr/>
        </p:nvSpPr>
        <p:spPr bwMode="auto">
          <a:xfrm>
            <a:off x="3177708" y="3429000"/>
            <a:ext cx="1512158" cy="292845"/>
          </a:xfrm>
          <a:prstGeom prst="roundRect">
            <a:avLst>
              <a:gd name="adj" fmla="val 2083"/>
            </a:avLst>
          </a:prstGeom>
          <a:solidFill>
            <a:srgbClr val="E4E4E4"/>
          </a:solidFill>
          <a:ln w="6350" algn="ctr">
            <a:solidFill>
              <a:srgbClr val="7C8E9C"/>
            </a:solidFill>
            <a:round/>
            <a:headEnd/>
            <a:tailEnd/>
          </a:ln>
          <a:extLst/>
        </p:spPr>
        <p:txBody>
          <a:bodyPr lIns="89976" tIns="36000" rIns="89976" bIns="36000" anchor="ctr" anchorCtr="0"/>
          <a:lstStyle/>
          <a:p>
            <a:pPr algn="ctr" defTabSz="1018896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0" lang="en-US" altLang="ko-KR" sz="1000" kern="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YC</a:t>
            </a:r>
            <a:endParaRPr kumimoji="0" lang="en-US" altLang="ko-KR" sz="1000" kern="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0" name="AutoShape 245"/>
          <p:cNvSpPr>
            <a:spLocks noChangeArrowheads="1"/>
          </p:cNvSpPr>
          <p:nvPr/>
        </p:nvSpPr>
        <p:spPr bwMode="auto">
          <a:xfrm>
            <a:off x="4992440" y="3429000"/>
            <a:ext cx="1512158" cy="292845"/>
          </a:xfrm>
          <a:prstGeom prst="roundRect">
            <a:avLst>
              <a:gd name="adj" fmla="val 2083"/>
            </a:avLst>
          </a:prstGeom>
          <a:solidFill>
            <a:srgbClr val="E4E4E4"/>
          </a:solidFill>
          <a:ln w="6350" algn="ctr">
            <a:solidFill>
              <a:srgbClr val="7C8E9C"/>
            </a:solidFill>
            <a:round/>
            <a:headEnd/>
            <a:tailEnd/>
          </a:ln>
          <a:extLst/>
        </p:spPr>
        <p:txBody>
          <a:bodyPr lIns="89976" tIns="36000" rIns="89976" bIns="36000" anchor="ctr" anchorCtr="0"/>
          <a:lstStyle/>
          <a:p>
            <a:pPr algn="ctr" defTabSz="1018896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7698" algn="l"/>
              </a:tabLst>
            </a:pPr>
            <a:r>
              <a:rPr kumimoji="0" lang="en-US" altLang="ko-KR" sz="1000" kern="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Watch List Filtering</a:t>
            </a:r>
          </a:p>
        </p:txBody>
      </p:sp>
      <p:sp>
        <p:nvSpPr>
          <p:cNvPr id="151" name="AutoShape 245"/>
          <p:cNvSpPr>
            <a:spLocks noChangeArrowheads="1"/>
          </p:cNvSpPr>
          <p:nvPr/>
        </p:nvSpPr>
        <p:spPr bwMode="auto">
          <a:xfrm>
            <a:off x="3177708" y="3032956"/>
            <a:ext cx="1512158" cy="292845"/>
          </a:xfrm>
          <a:prstGeom prst="roundRect">
            <a:avLst>
              <a:gd name="adj" fmla="val 2083"/>
            </a:avLst>
          </a:prstGeom>
          <a:solidFill>
            <a:srgbClr val="E4E4E4"/>
          </a:solidFill>
          <a:ln w="6350" algn="ctr">
            <a:solidFill>
              <a:srgbClr val="7C8E9C"/>
            </a:solidFill>
            <a:round/>
            <a:headEnd/>
            <a:tailEnd/>
          </a:ln>
          <a:extLst/>
        </p:spPr>
        <p:txBody>
          <a:bodyPr lIns="89976" tIns="36000" rIns="89976" bIns="36000" anchor="ctr" anchorCtr="0"/>
          <a:lstStyle/>
          <a:p>
            <a:pPr algn="ctr" defTabSz="1018896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7698" algn="l"/>
              </a:tabLst>
            </a:pPr>
            <a:r>
              <a:rPr kumimoji="0" lang="en-US" altLang="ko-KR" sz="1000" kern="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MS</a:t>
            </a:r>
          </a:p>
        </p:txBody>
      </p:sp>
      <p:sp>
        <p:nvSpPr>
          <p:cNvPr id="152" name="AutoShape 245"/>
          <p:cNvSpPr>
            <a:spLocks noChangeArrowheads="1"/>
          </p:cNvSpPr>
          <p:nvPr/>
        </p:nvSpPr>
        <p:spPr bwMode="auto">
          <a:xfrm>
            <a:off x="4992440" y="3032956"/>
            <a:ext cx="1512158" cy="292845"/>
          </a:xfrm>
          <a:prstGeom prst="roundRect">
            <a:avLst>
              <a:gd name="adj" fmla="val 2083"/>
            </a:avLst>
          </a:prstGeom>
          <a:solidFill>
            <a:srgbClr val="E4E4E4"/>
          </a:solidFill>
          <a:ln w="6350" algn="ctr">
            <a:solidFill>
              <a:srgbClr val="7C8E9C"/>
            </a:solidFill>
            <a:round/>
            <a:headEnd/>
            <a:tailEnd/>
          </a:ln>
          <a:extLst/>
        </p:spPr>
        <p:txBody>
          <a:bodyPr lIns="89976" tIns="36000" rIns="89976" bIns="36000" anchor="ctr" anchorCtr="0"/>
          <a:lstStyle/>
          <a:p>
            <a:pPr algn="ctr" defTabSz="1018896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7698" algn="l"/>
              </a:tabLst>
            </a:pPr>
            <a:r>
              <a:rPr kumimoji="0" lang="en-US" altLang="ko-KR" sz="1000" kern="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BA</a:t>
            </a:r>
          </a:p>
        </p:txBody>
      </p:sp>
      <p:sp>
        <p:nvSpPr>
          <p:cNvPr id="153" name="AutoShape 245"/>
          <p:cNvSpPr>
            <a:spLocks noChangeArrowheads="1"/>
          </p:cNvSpPr>
          <p:nvPr/>
        </p:nvSpPr>
        <p:spPr bwMode="auto">
          <a:xfrm>
            <a:off x="3177708" y="2636912"/>
            <a:ext cx="3326890" cy="292845"/>
          </a:xfrm>
          <a:prstGeom prst="roundRect">
            <a:avLst>
              <a:gd name="adj" fmla="val 2083"/>
            </a:avLst>
          </a:prstGeom>
          <a:solidFill>
            <a:srgbClr val="E4E4E4"/>
          </a:solidFill>
          <a:ln w="6350" algn="ctr">
            <a:solidFill>
              <a:srgbClr val="7C8E9C"/>
            </a:solidFill>
            <a:round/>
            <a:headEnd/>
            <a:tailEnd/>
          </a:ln>
          <a:extLst/>
        </p:spPr>
        <p:txBody>
          <a:bodyPr lIns="89976" tIns="36000" rIns="89976" bIns="36000" anchor="ctr" anchorCtr="0"/>
          <a:lstStyle/>
          <a:p>
            <a:pPr algn="ctr" defTabSz="1018896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7698" algn="l"/>
              </a:tabLst>
            </a:pPr>
            <a:r>
              <a:rPr kumimoji="0" lang="en-US" altLang="ko-KR" sz="1000" kern="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Data Mart</a:t>
            </a:r>
          </a:p>
        </p:txBody>
      </p:sp>
      <p:sp>
        <p:nvSpPr>
          <p:cNvPr id="155" name="직사각형 223"/>
          <p:cNvSpPr>
            <a:spLocks noChangeArrowheads="1"/>
          </p:cNvSpPr>
          <p:nvPr/>
        </p:nvSpPr>
        <p:spPr bwMode="gray">
          <a:xfrm>
            <a:off x="3177708" y="5157192"/>
            <a:ext cx="1512158" cy="294259"/>
          </a:xfrm>
          <a:prstGeom prst="rect">
            <a:avLst/>
          </a:prstGeom>
          <a:solidFill>
            <a:srgbClr val="E4E4E4"/>
          </a:solidFill>
          <a:ln>
            <a:solidFill>
              <a:srgbClr val="7C8E9C"/>
            </a:solidFill>
          </a:ln>
          <a:extLst/>
        </p:spPr>
        <p:txBody>
          <a:bodyPr lIns="0" tIns="72000" rIns="0" bIns="0" anchor="t" anchorCtr="0"/>
          <a:lstStyle/>
          <a:p>
            <a:pPr algn="ctr" defTabSz="882650"/>
            <a:r>
              <a:rPr lang="en-US" altLang="ko-KR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SSO</a:t>
            </a:r>
            <a:endParaRPr lang="ko-KR" altLang="en-US" sz="10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156" name="직사각형 223"/>
          <p:cNvSpPr>
            <a:spLocks noChangeArrowheads="1"/>
          </p:cNvSpPr>
          <p:nvPr/>
        </p:nvSpPr>
        <p:spPr bwMode="gray">
          <a:xfrm>
            <a:off x="3177708" y="5553115"/>
            <a:ext cx="1512158" cy="294259"/>
          </a:xfrm>
          <a:prstGeom prst="rect">
            <a:avLst/>
          </a:prstGeom>
          <a:solidFill>
            <a:srgbClr val="E4E4E4"/>
          </a:solidFill>
          <a:ln>
            <a:solidFill>
              <a:srgbClr val="7C8E9C"/>
            </a:solidFill>
          </a:ln>
          <a:extLst/>
        </p:spPr>
        <p:txBody>
          <a:bodyPr lIns="0" tIns="72000" rIns="0" bIns="0" anchor="t" anchorCtr="0"/>
          <a:lstStyle/>
          <a:p>
            <a:pPr algn="ctr" defTabSz="882650"/>
            <a:r>
              <a:rPr lang="en-US" altLang="ko-KR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SMS</a:t>
            </a:r>
            <a:endParaRPr lang="ko-KR" altLang="en-US" sz="10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157" name="직사각형 223"/>
          <p:cNvSpPr>
            <a:spLocks noChangeArrowheads="1"/>
          </p:cNvSpPr>
          <p:nvPr/>
        </p:nvSpPr>
        <p:spPr bwMode="gray">
          <a:xfrm>
            <a:off x="5003806" y="5157192"/>
            <a:ext cx="1512158" cy="294259"/>
          </a:xfrm>
          <a:prstGeom prst="rect">
            <a:avLst/>
          </a:prstGeom>
          <a:solidFill>
            <a:srgbClr val="E4E4E4"/>
          </a:solidFill>
          <a:ln>
            <a:solidFill>
              <a:srgbClr val="7C8E9C"/>
            </a:solidFill>
          </a:ln>
          <a:extLst/>
        </p:spPr>
        <p:txBody>
          <a:bodyPr lIns="0" tIns="72000" rIns="0" bIns="0" anchor="t" anchorCtr="0"/>
          <a:lstStyle/>
          <a:p>
            <a:pPr algn="ctr" defTabSz="882650"/>
            <a:r>
              <a:rPr lang="ko-KR" altLang="en-US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규정 관리</a:t>
            </a:r>
            <a:endParaRPr lang="ko-KR" altLang="en-US" sz="10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158" name="직사각형 223"/>
          <p:cNvSpPr>
            <a:spLocks noChangeArrowheads="1"/>
          </p:cNvSpPr>
          <p:nvPr/>
        </p:nvSpPr>
        <p:spPr bwMode="gray">
          <a:xfrm>
            <a:off x="4992440" y="5553115"/>
            <a:ext cx="1512158" cy="294259"/>
          </a:xfrm>
          <a:prstGeom prst="rect">
            <a:avLst/>
          </a:prstGeom>
          <a:solidFill>
            <a:srgbClr val="E4E4E4"/>
          </a:solidFill>
          <a:ln>
            <a:solidFill>
              <a:srgbClr val="7C8E9C"/>
            </a:solidFill>
          </a:ln>
          <a:extLst/>
        </p:spPr>
        <p:txBody>
          <a:bodyPr lIns="0" tIns="72000" rIns="0" bIns="0" anchor="t" anchorCtr="0"/>
          <a:lstStyle/>
          <a:p>
            <a:pPr algn="ctr" defTabSz="882650"/>
            <a:r>
              <a:rPr lang="ko-KR" altLang="en-US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메신저 업무</a:t>
            </a:r>
            <a:endParaRPr lang="ko-KR" altLang="en-US" sz="10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159" name="Rectangle 342"/>
          <p:cNvSpPr>
            <a:spLocks noChangeArrowheads="1"/>
          </p:cNvSpPr>
          <p:nvPr/>
        </p:nvSpPr>
        <p:spPr bwMode="auto">
          <a:xfrm>
            <a:off x="542555" y="4119629"/>
            <a:ext cx="1684480" cy="1113394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rPr>
              <a:t>정보계</a:t>
            </a:r>
            <a:endParaRPr lang="ko-KR" altLang="ko-KR" sz="1000" dirty="0"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</a:endParaRPr>
          </a:p>
        </p:txBody>
      </p:sp>
      <p:sp>
        <p:nvSpPr>
          <p:cNvPr id="161" name="AutoShape 23" descr="채우기4"/>
          <p:cNvSpPr>
            <a:spLocks noChangeArrowheads="1"/>
          </p:cNvSpPr>
          <p:nvPr/>
        </p:nvSpPr>
        <p:spPr bwMode="gray">
          <a:xfrm>
            <a:off x="646997" y="4352976"/>
            <a:ext cx="1475986" cy="252000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거래정보</a:t>
            </a:r>
            <a:endParaRPr lang="en-US" altLang="ko-KR" sz="900" dirty="0"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62" name="AutoShape 23" descr="채우기4"/>
          <p:cNvSpPr>
            <a:spLocks noChangeArrowheads="1"/>
          </p:cNvSpPr>
          <p:nvPr/>
        </p:nvSpPr>
        <p:spPr bwMode="gray">
          <a:xfrm>
            <a:off x="646997" y="4647086"/>
            <a:ext cx="1475985" cy="252000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고객</a:t>
            </a:r>
            <a:endParaRPr lang="en-US" altLang="ko-KR" sz="9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63" name="AutoShape 23" descr="채우기4"/>
          <p:cNvSpPr>
            <a:spLocks noChangeArrowheads="1"/>
          </p:cNvSpPr>
          <p:nvPr/>
        </p:nvSpPr>
        <p:spPr bwMode="gray">
          <a:xfrm>
            <a:off x="646607" y="4941196"/>
            <a:ext cx="1476375" cy="252000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원장</a:t>
            </a:r>
            <a:endParaRPr lang="en-US" altLang="ko-KR" sz="9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64" name="Rectangle 342"/>
          <p:cNvSpPr>
            <a:spLocks noChangeArrowheads="1"/>
          </p:cNvSpPr>
          <p:nvPr/>
        </p:nvSpPr>
        <p:spPr bwMode="auto">
          <a:xfrm>
            <a:off x="542555" y="2593481"/>
            <a:ext cx="1684480" cy="1423275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rPr>
              <a:t>계정</a:t>
            </a:r>
            <a:r>
              <a:rPr lang="ko-KR" altLang="en-US" sz="10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rPr>
              <a:t>계</a:t>
            </a:r>
            <a:endParaRPr lang="ko-KR" altLang="ko-KR" sz="1000" dirty="0"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</a:endParaRPr>
          </a:p>
        </p:txBody>
      </p:sp>
      <p:sp>
        <p:nvSpPr>
          <p:cNvPr id="166" name="AutoShape 23" descr="채우기4"/>
          <p:cNvSpPr>
            <a:spLocks noChangeArrowheads="1"/>
          </p:cNvSpPr>
          <p:nvPr/>
        </p:nvSpPr>
        <p:spPr bwMode="gray">
          <a:xfrm>
            <a:off x="646979" y="2852936"/>
            <a:ext cx="720000" cy="326701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통합업무로그</a:t>
            </a:r>
            <a:endParaRPr lang="en-US" altLang="ko-KR" sz="9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67" name="AutoShape 23" descr="채우기4"/>
          <p:cNvSpPr>
            <a:spLocks noChangeArrowheads="1"/>
          </p:cNvSpPr>
          <p:nvPr/>
        </p:nvSpPr>
        <p:spPr bwMode="gray">
          <a:xfrm>
            <a:off x="646978" y="3246018"/>
            <a:ext cx="720000" cy="326701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업무별 원장</a:t>
            </a:r>
            <a:endParaRPr lang="en-US" altLang="ko-KR" sz="9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68" name="AutoShape 23" descr="채우기4"/>
          <p:cNvSpPr>
            <a:spLocks noChangeArrowheads="1"/>
          </p:cNvSpPr>
          <p:nvPr/>
        </p:nvSpPr>
        <p:spPr bwMode="gray">
          <a:xfrm>
            <a:off x="646607" y="3642359"/>
            <a:ext cx="720000" cy="326701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거래내역</a:t>
            </a:r>
            <a:endParaRPr lang="en-US" altLang="ko-KR" sz="9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69" name="AutoShape 23" descr="채우기4"/>
          <p:cNvSpPr>
            <a:spLocks noChangeArrowheads="1"/>
          </p:cNvSpPr>
          <p:nvPr/>
        </p:nvSpPr>
        <p:spPr bwMode="gray">
          <a:xfrm>
            <a:off x="1402984" y="2852936"/>
            <a:ext cx="720000" cy="326701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고객</a:t>
            </a:r>
            <a:endParaRPr lang="en-US" altLang="ko-KR" sz="900" dirty="0"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70" name="AutoShape 23" descr="채우기4"/>
          <p:cNvSpPr>
            <a:spLocks noChangeArrowheads="1"/>
          </p:cNvSpPr>
          <p:nvPr/>
        </p:nvSpPr>
        <p:spPr bwMode="gray">
          <a:xfrm>
            <a:off x="1402983" y="3246018"/>
            <a:ext cx="720000" cy="326701"/>
          </a:xfrm>
          <a:prstGeom prst="rect">
            <a:avLst/>
          </a:prstGeom>
          <a:solidFill>
            <a:schemeClr val="bg1"/>
          </a:solidFill>
          <a:ln w="12700">
            <a:solidFill>
              <a:srgbClr val="7C8E98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ko-KR" altLang="en-US" sz="9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rPr>
              <a:t>코드</a:t>
            </a:r>
            <a:endParaRPr lang="en-US" altLang="ko-KR" sz="9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171" name="AutoShape 23" descr="채우기4"/>
          <p:cNvSpPr>
            <a:spLocks noChangeArrowheads="1"/>
          </p:cNvSpPr>
          <p:nvPr/>
        </p:nvSpPr>
        <p:spPr bwMode="gray">
          <a:xfrm>
            <a:off x="1393641" y="3642359"/>
            <a:ext cx="720000" cy="326701"/>
          </a:xfrm>
          <a:prstGeom prst="rect">
            <a:avLst/>
          </a:prstGeom>
          <a:solidFill>
            <a:srgbClr val="79C9F9"/>
          </a:solidFill>
          <a:ln>
            <a:solidFill>
              <a:srgbClr val="B7E4FF"/>
            </a:solidFill>
          </a:ln>
        </p:spPr>
        <p:txBody>
          <a:bodyPr lIns="0" tIns="0" rIns="0" bIns="0" anchor="ctr"/>
          <a:lstStyle/>
          <a:p>
            <a:pPr algn="ctr" defTabSz="882650"/>
            <a:r>
              <a:rPr lang="en-US" altLang="ko-KR" sz="9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  <a:t>KYC</a:t>
            </a:r>
          </a:p>
          <a:p>
            <a:pPr algn="ctr" defTabSz="882650"/>
            <a:r>
              <a:rPr lang="ko-KR" altLang="en-US" sz="9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  <a:t>필요정보</a:t>
            </a:r>
            <a:endParaRPr lang="en-US" altLang="ko-KR" sz="9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itchFamily="34" charset="0"/>
            </a:endParaRPr>
          </a:p>
        </p:txBody>
      </p:sp>
      <p:sp>
        <p:nvSpPr>
          <p:cNvPr id="173" name="Rectangle 342"/>
          <p:cNvSpPr>
            <a:spLocks noChangeArrowheads="1"/>
          </p:cNvSpPr>
          <p:nvPr/>
        </p:nvSpPr>
        <p:spPr bwMode="auto">
          <a:xfrm>
            <a:off x="542555" y="5320770"/>
            <a:ext cx="828000" cy="216000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en-US" altLang="ko-KR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BPR</a:t>
            </a:r>
            <a:endParaRPr lang="ko-KR" altLang="ko-KR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174" name="Rectangle 342"/>
          <p:cNvSpPr>
            <a:spLocks noChangeArrowheads="1"/>
          </p:cNvSpPr>
          <p:nvPr/>
        </p:nvSpPr>
        <p:spPr bwMode="auto">
          <a:xfrm>
            <a:off x="542555" y="5569113"/>
            <a:ext cx="828000" cy="216000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그룹웨어</a:t>
            </a:r>
            <a:endParaRPr lang="ko-KR" altLang="ko-KR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175" name="Rectangle 342"/>
          <p:cNvSpPr>
            <a:spLocks noChangeArrowheads="1"/>
          </p:cNvSpPr>
          <p:nvPr/>
        </p:nvSpPr>
        <p:spPr bwMode="auto">
          <a:xfrm>
            <a:off x="542555" y="5817592"/>
            <a:ext cx="828000" cy="216000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인사</a:t>
            </a:r>
            <a:endParaRPr lang="ko-KR" altLang="ko-KR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176" name="Rectangle 342"/>
          <p:cNvSpPr>
            <a:spLocks noChangeArrowheads="1"/>
          </p:cNvSpPr>
          <p:nvPr/>
        </p:nvSpPr>
        <p:spPr bwMode="auto">
          <a:xfrm>
            <a:off x="542555" y="6066071"/>
            <a:ext cx="828000" cy="216000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국외점포</a:t>
            </a:r>
            <a:endParaRPr lang="ko-KR" altLang="ko-KR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177" name="Rectangle 342"/>
          <p:cNvSpPr>
            <a:spLocks noChangeArrowheads="1"/>
          </p:cNvSpPr>
          <p:nvPr/>
        </p:nvSpPr>
        <p:spPr bwMode="auto">
          <a:xfrm>
            <a:off x="1399035" y="5320770"/>
            <a:ext cx="828000" cy="216000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국제금융</a:t>
            </a:r>
            <a:endParaRPr lang="ko-KR" altLang="ko-KR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178" name="Rectangle 342"/>
          <p:cNvSpPr>
            <a:spLocks noChangeArrowheads="1"/>
          </p:cNvSpPr>
          <p:nvPr/>
        </p:nvSpPr>
        <p:spPr bwMode="auto">
          <a:xfrm>
            <a:off x="1399035" y="5569113"/>
            <a:ext cx="828000" cy="216000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종합감사</a:t>
            </a:r>
            <a:endParaRPr lang="ko-KR" altLang="ko-KR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179" name="Rectangle 342"/>
          <p:cNvSpPr>
            <a:spLocks noChangeArrowheads="1"/>
          </p:cNvSpPr>
          <p:nvPr/>
        </p:nvSpPr>
        <p:spPr bwMode="auto">
          <a:xfrm>
            <a:off x="1399035" y="5817592"/>
            <a:ext cx="828000" cy="216000"/>
          </a:xfrm>
          <a:prstGeom prst="roundRect">
            <a:avLst>
              <a:gd name="adj" fmla="val 0"/>
            </a:avLst>
          </a:prstGeom>
          <a:solidFill>
            <a:srgbClr val="E4E4E4"/>
          </a:solidFill>
          <a:ln w="9525" algn="ctr">
            <a:solidFill>
              <a:srgbClr val="7C8E98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운영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itchFamily="18" charset="0"/>
              </a:rPr>
              <a:t>CRM</a:t>
            </a:r>
            <a:endParaRPr lang="ko-KR" altLang="ko-KR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itchFamily="18" charset="0"/>
            </a:endParaRPr>
          </a:p>
        </p:txBody>
      </p:sp>
      <p:sp>
        <p:nvSpPr>
          <p:cNvPr id="68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5197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원천 시스템과의 영향도를 최소화하여 자료의 누락 없이 안정적으로 연계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4832A5FE-031B-485A-A309-BE2A0750944F}"/>
              </a:ext>
            </a:extLst>
          </p:cNvPr>
          <p:cNvSpPr/>
          <p:nvPr/>
        </p:nvSpPr>
        <p:spPr>
          <a:xfrm>
            <a:off x="6955778" y="2069250"/>
            <a:ext cx="2717340" cy="4420090"/>
          </a:xfrm>
          <a:prstGeom prst="rect">
            <a:avLst/>
          </a:prstGeom>
          <a:solidFill>
            <a:srgbClr val="ECF7FE"/>
          </a:solidFill>
          <a:ln w="1270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0" name="양쪽 모서리가 둥근 사각형 517">
            <a:extLst>
              <a:ext uri="{FF2B5EF4-FFF2-40B4-BE49-F238E27FC236}">
                <a16:creationId xmlns:a16="http://schemas.microsoft.com/office/drawing/2014/main" id="{3E3D28BE-959C-480B-8AD1-3B8A1BB208AE}"/>
              </a:ext>
            </a:extLst>
          </p:cNvPr>
          <p:cNvSpPr/>
          <p:nvPr/>
        </p:nvSpPr>
        <p:spPr>
          <a:xfrm>
            <a:off x="6955778" y="2069250"/>
            <a:ext cx="2717340" cy="299934"/>
          </a:xfrm>
          <a:prstGeom prst="rect">
            <a:avLst/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>
              <a:defRPr/>
            </a:pPr>
            <a:r>
              <a:rPr lang="ko-KR" altLang="en-US" sz="12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특징 및 내용</a:t>
            </a:r>
          </a:p>
        </p:txBody>
      </p:sp>
      <p:sp>
        <p:nvSpPr>
          <p:cNvPr id="101" name="양쪽 모서리가 둥근 사각형 517">
            <a:extLst>
              <a:ext uri="{FF2B5EF4-FFF2-40B4-BE49-F238E27FC236}">
                <a16:creationId xmlns:a16="http://schemas.microsoft.com/office/drawing/2014/main" id="{44EC17C8-AF98-4F87-8AE2-101CBA21F03A}"/>
              </a:ext>
            </a:extLst>
          </p:cNvPr>
          <p:cNvSpPr/>
          <p:nvPr/>
        </p:nvSpPr>
        <p:spPr>
          <a:xfrm>
            <a:off x="6955820" y="2069254"/>
            <a:ext cx="2717642" cy="149967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sp>
        <p:nvSpPr>
          <p:cNvPr id="102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4455"/>
            <a:ext cx="2129256" cy="795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각 소스 시스템 별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DC/ETL/EAI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통한 연계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스템 고도화를 위한 개선 사항과 고객 요구사항에 따라서 대상 시스템과 자료를 추가로 수집</a:t>
            </a:r>
          </a:p>
        </p:txBody>
      </p:sp>
      <p:sp>
        <p:nvSpPr>
          <p:cNvPr id="103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453371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SO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규정 관리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MS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메신저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태블릿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바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연계</a:t>
            </a:r>
          </a:p>
        </p:txBody>
      </p:sp>
      <p:sp>
        <p:nvSpPr>
          <p:cNvPr id="105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124521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원천시스템의 자료 수집</a:t>
            </a:r>
          </a:p>
        </p:txBody>
      </p:sp>
      <p:pic>
        <p:nvPicPr>
          <p:cNvPr id="106" name="그림 105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sp>
        <p:nvSpPr>
          <p:cNvPr id="10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146114"/>
            <a:ext cx="98039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유관시스템의 연계</a:t>
            </a:r>
          </a:p>
        </p:txBody>
      </p:sp>
      <p:pic>
        <p:nvPicPr>
          <p:cNvPr id="109" name="그림 10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4140535"/>
            <a:ext cx="318769" cy="318769"/>
          </a:xfrm>
          <a:prstGeom prst="rect">
            <a:avLst/>
          </a:prstGeom>
        </p:spPr>
      </p:pic>
      <p:cxnSp>
        <p:nvCxnSpPr>
          <p:cNvPr id="110" name="직선 연결선 10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89705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직선 연결선 111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084417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0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324272"/>
            <a:ext cx="75533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KYC 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필요 정보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121" name="그림 120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487" y="5320880"/>
            <a:ext cx="320400" cy="320400"/>
          </a:xfrm>
          <a:prstGeom prst="rect">
            <a:avLst/>
          </a:prstGeom>
        </p:spPr>
      </p:pic>
      <p:sp>
        <p:nvSpPr>
          <p:cNvPr id="122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631631"/>
            <a:ext cx="212330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 위험평가결과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액자산가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회성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거래 누적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현황 등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YC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행에 필요한 정보를 계정계로 전송</a:t>
            </a:r>
          </a:p>
        </p:txBody>
      </p:sp>
      <p:sp>
        <p:nvSpPr>
          <p:cNvPr id="7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7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5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1278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7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인터페이스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6" name="직사각형 223"/>
          <p:cNvSpPr>
            <a:spLocks noChangeArrowheads="1"/>
          </p:cNvSpPr>
          <p:nvPr/>
        </p:nvSpPr>
        <p:spPr bwMode="gray">
          <a:xfrm>
            <a:off x="3177708" y="5979057"/>
            <a:ext cx="1512158" cy="294259"/>
          </a:xfrm>
          <a:prstGeom prst="rect">
            <a:avLst/>
          </a:prstGeom>
          <a:solidFill>
            <a:srgbClr val="E4E4E4"/>
          </a:solidFill>
          <a:ln>
            <a:solidFill>
              <a:srgbClr val="7C8E9C"/>
            </a:solidFill>
          </a:ln>
          <a:extLst/>
        </p:spPr>
        <p:txBody>
          <a:bodyPr lIns="0" tIns="72000" rIns="0" bIns="0" anchor="t" anchorCtr="0"/>
          <a:lstStyle/>
          <a:p>
            <a:pPr algn="ctr" defTabSz="882650"/>
            <a:r>
              <a:rPr lang="ko-KR" altLang="en-US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태블릿</a:t>
            </a:r>
            <a:endParaRPr lang="ko-KR" altLang="en-US" sz="10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77" name="직사각형 223"/>
          <p:cNvSpPr>
            <a:spLocks noChangeArrowheads="1"/>
          </p:cNvSpPr>
          <p:nvPr/>
        </p:nvSpPr>
        <p:spPr bwMode="gray">
          <a:xfrm>
            <a:off x="4995680" y="5955430"/>
            <a:ext cx="1512158" cy="294259"/>
          </a:xfrm>
          <a:prstGeom prst="rect">
            <a:avLst/>
          </a:prstGeom>
          <a:solidFill>
            <a:srgbClr val="E4E4E4"/>
          </a:solidFill>
          <a:ln>
            <a:solidFill>
              <a:srgbClr val="7C8E9C"/>
            </a:solidFill>
          </a:ln>
          <a:extLst/>
        </p:spPr>
        <p:txBody>
          <a:bodyPr lIns="0" tIns="72000" rIns="0" bIns="0" anchor="t" anchorCtr="0"/>
          <a:lstStyle/>
          <a:p>
            <a:pPr algn="ctr" defTabSz="882650"/>
            <a:r>
              <a:rPr lang="en-US" altLang="ko-KR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PUSH (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모바일</a:t>
            </a:r>
            <a:r>
              <a:rPr lang="en-US" altLang="ko-KR" sz="10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ko-KR" altLang="en-US" sz="10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70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79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8.1 </a:t>
            </a:r>
            <a:r>
              <a:rPr lang="ko-KR" altLang="en-US" dirty="0"/>
              <a:t>표준화 개요</a:t>
            </a:r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9040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</a:t>
            </a: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표준화 개요</a:t>
              </a: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69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39139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는 각 분야별 대상에 일관된 규칙과 정책을 적용하여 고품질의 시스템 구축을 목표로 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를 통해서 품질 유지와 구축 기간 단축 및 시스템 유지보수가 용이하도록 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70" name="Rectangle 141"/>
          <p:cNvSpPr>
            <a:spLocks noChangeArrowheads="1"/>
          </p:cNvSpPr>
          <p:nvPr/>
        </p:nvSpPr>
        <p:spPr bwMode="auto">
          <a:xfrm>
            <a:off x="5531698" y="4646895"/>
            <a:ext cx="2930689" cy="1675296"/>
          </a:xfrm>
          <a:prstGeom prst="rect">
            <a:avLst/>
          </a:prstGeom>
          <a:solidFill>
            <a:srgbClr val="E2E7EA"/>
          </a:solidFill>
          <a:ln>
            <a:solidFill>
              <a:srgbClr val="7C8E9C"/>
            </a:solidFill>
          </a:ln>
          <a:extLst/>
        </p:spPr>
        <p:txBody>
          <a:bodyPr lIns="91338" tIns="45668" rIns="91338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l" defTabSz="913375"/>
            <a:endParaRPr lang="ko-KR" altLang="en-US" sz="1300" dirty="0">
              <a:solidFill>
                <a:srgbClr val="000000"/>
              </a:solidFill>
              <a:latin typeface="나눔바른고딕" pitchFamily="50" charset="-127"/>
              <a:ea typeface="KoPub돋움체 Light" panose="02020603020101020101"/>
            </a:endParaRPr>
          </a:p>
        </p:txBody>
      </p:sp>
      <p:pic>
        <p:nvPicPr>
          <p:cNvPr id="71" name="Picture 239" descr="헤드(밑줄,별x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9" t="31548" r="22443" b="59608"/>
          <a:stretch>
            <a:fillRect/>
          </a:stretch>
        </p:blipFill>
        <p:spPr bwMode="auto">
          <a:xfrm>
            <a:off x="3332820" y="2618234"/>
            <a:ext cx="3203575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Rectangle 307"/>
          <p:cNvSpPr>
            <a:spLocks noChangeArrowheads="1"/>
          </p:cNvSpPr>
          <p:nvPr/>
        </p:nvSpPr>
        <p:spPr bwMode="auto">
          <a:xfrm>
            <a:off x="4060434" y="2212205"/>
            <a:ext cx="1942840" cy="32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ctr">
            <a:spAutoFit/>
          </a:bodyPr>
          <a:lstStyle/>
          <a:p>
            <a:pPr algn="ctr" defTabSz="913375">
              <a:lnSpc>
                <a:spcPct val="110000"/>
              </a:lnSpc>
              <a:spcBef>
                <a:spcPct val="10000"/>
              </a:spcBef>
              <a:buClr>
                <a:srgbClr val="808080"/>
              </a:buClr>
              <a:buSzPct val="80000"/>
              <a:defRPr/>
            </a:pPr>
            <a:r>
              <a:rPr lang="ko-KR" altLang="en-US" sz="2000" kern="0" dirty="0">
                <a:ln>
                  <a:solidFill>
                    <a:srgbClr val="000000">
                      <a:lumMod val="75000"/>
                      <a:lumOff val="25000"/>
                      <a:alpha val="2000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품질 시스템 제공</a:t>
            </a:r>
          </a:p>
        </p:txBody>
      </p:sp>
      <p:sp>
        <p:nvSpPr>
          <p:cNvPr id="73" name="Rectangle 141"/>
          <p:cNvSpPr>
            <a:spLocks noChangeArrowheads="1"/>
          </p:cNvSpPr>
          <p:nvPr/>
        </p:nvSpPr>
        <p:spPr bwMode="auto">
          <a:xfrm>
            <a:off x="1316597" y="4646895"/>
            <a:ext cx="3030960" cy="1675296"/>
          </a:xfrm>
          <a:prstGeom prst="rect">
            <a:avLst/>
          </a:prstGeom>
          <a:solidFill>
            <a:srgbClr val="E2E7EA"/>
          </a:solidFill>
          <a:ln>
            <a:solidFill>
              <a:srgbClr val="7C8E9C"/>
            </a:solidFill>
          </a:ln>
          <a:extLst/>
        </p:spPr>
        <p:txBody>
          <a:bodyPr lIns="91338" tIns="45668" rIns="91338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l" defTabSz="913375"/>
            <a:endParaRPr lang="ko-KR" altLang="en-US" sz="1300" dirty="0">
              <a:solidFill>
                <a:srgbClr val="000000"/>
              </a:solidFill>
              <a:latin typeface="나눔바른고딕" pitchFamily="50" charset="-127"/>
              <a:ea typeface="KoPub돋움체 Light" panose="02020603020101020101"/>
            </a:endParaRPr>
          </a:p>
        </p:txBody>
      </p:sp>
      <p:sp>
        <p:nvSpPr>
          <p:cNvPr id="74" name="AutoShape 1340"/>
          <p:cNvSpPr>
            <a:spLocks noChangeArrowheads="1"/>
          </p:cNvSpPr>
          <p:nvPr/>
        </p:nvSpPr>
        <p:spPr bwMode="auto">
          <a:xfrm>
            <a:off x="1480262" y="4890466"/>
            <a:ext cx="2761407" cy="1130822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/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/W, S/W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 일관된 명명규칙 부여</a:t>
            </a:r>
          </a:p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응용프로그램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듈에 명명규칙 부여</a:t>
            </a:r>
          </a:p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프로그램 규칙에 따라 프로그램 작성</a:t>
            </a:r>
          </a:p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용자 편의성의 화면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UI/UX)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구성</a:t>
            </a:r>
          </a:p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내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·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외부 시스템간 인터페이스 표준화</a:t>
            </a:r>
          </a:p>
        </p:txBody>
      </p:sp>
      <p:sp>
        <p:nvSpPr>
          <p:cNvPr id="75" name="AutoShape 1340"/>
          <p:cNvSpPr>
            <a:spLocks noChangeArrowheads="1"/>
          </p:cNvSpPr>
          <p:nvPr/>
        </p:nvSpPr>
        <p:spPr bwMode="auto">
          <a:xfrm>
            <a:off x="5684245" y="4788131"/>
            <a:ext cx="2617127" cy="1305165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/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베이스의 테이블, 인덱스, 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컬럼 등의  표준안 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의</a:t>
            </a:r>
          </a:p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파일의 파일명 및 확장자 형식의</a:t>
            </a:r>
            <a:b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안 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의</a:t>
            </a:r>
          </a:p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 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코드체계 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합 정의 </a:t>
            </a:r>
          </a:p>
          <a:p>
            <a:pPr marL="114174" indent="-114174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메타 데이터 활용 및 모델에 반영</a:t>
            </a:r>
          </a:p>
        </p:txBody>
      </p:sp>
      <p:sp>
        <p:nvSpPr>
          <p:cNvPr id="76" name="Rectangle 7"/>
          <p:cNvSpPr>
            <a:spLocks noChangeArrowheads="1"/>
          </p:cNvSpPr>
          <p:nvPr/>
        </p:nvSpPr>
        <p:spPr bwMode="gray">
          <a:xfrm>
            <a:off x="1316596" y="4401108"/>
            <a:ext cx="3041023" cy="273050"/>
          </a:xfrm>
          <a:prstGeom prst="rect">
            <a:avLst/>
          </a:prstGeom>
          <a:solidFill>
            <a:srgbClr val="038CDC"/>
          </a:solidFill>
          <a:ln w="9525" algn="ctr">
            <a:noFill/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en-US" sz="1200" spc="-50" dirty="0" smtClean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응용프로그램 </a:t>
            </a:r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표준화</a:t>
            </a:r>
          </a:p>
        </p:txBody>
      </p:sp>
      <p:sp>
        <p:nvSpPr>
          <p:cNvPr id="77" name="Rectangle 7"/>
          <p:cNvSpPr>
            <a:spLocks noChangeArrowheads="1"/>
          </p:cNvSpPr>
          <p:nvPr/>
        </p:nvSpPr>
        <p:spPr bwMode="gray">
          <a:xfrm>
            <a:off x="5531698" y="4401108"/>
            <a:ext cx="2930687" cy="273050"/>
          </a:xfrm>
          <a:prstGeom prst="rect">
            <a:avLst/>
          </a:prstGeom>
          <a:solidFill>
            <a:srgbClr val="038CDC"/>
          </a:solidFill>
          <a:ln w="9525" algn="ctr">
            <a:noFill/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표준화</a:t>
            </a:r>
          </a:p>
        </p:txBody>
      </p:sp>
      <p:grpSp>
        <p:nvGrpSpPr>
          <p:cNvPr id="78" name="그룹 77"/>
          <p:cNvGrpSpPr/>
          <p:nvPr/>
        </p:nvGrpSpPr>
        <p:grpSpPr>
          <a:xfrm>
            <a:off x="1316596" y="3242692"/>
            <a:ext cx="3041023" cy="942392"/>
            <a:chOff x="1002397" y="2718346"/>
            <a:chExt cx="1020368" cy="1020747"/>
          </a:xfrm>
        </p:grpSpPr>
        <p:sp>
          <p:nvSpPr>
            <p:cNvPr id="79" name="액자 78"/>
            <p:cNvSpPr/>
            <p:nvPr/>
          </p:nvSpPr>
          <p:spPr>
            <a:xfrm flipH="1">
              <a:off x="1002397" y="2718346"/>
              <a:ext cx="1020368" cy="1020747"/>
            </a:xfrm>
            <a:prstGeom prst="frame">
              <a:avLst>
                <a:gd name="adj1" fmla="val 10323"/>
              </a:avLst>
            </a:prstGeom>
            <a:pattFill prst="pct30">
              <a:fgClr>
                <a:srgbClr val="FFFFFF">
                  <a:lumMod val="75000"/>
                </a:srgbClr>
              </a:fgClr>
              <a:bgClr>
                <a:srgbClr val="969696"/>
              </a:bgClr>
            </a:pattFill>
            <a:ln w="15875" cap="flat" cmpd="sng" algn="ctr">
              <a:noFill/>
              <a:prstDash val="solid"/>
            </a:ln>
            <a:effectLst/>
          </p:spPr>
          <p:txBody>
            <a:bodyPr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1" i="0" u="none" strike="noStrike" kern="0" cap="none" spc="-5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80" name="직각 삼각형 79"/>
            <p:cNvSpPr/>
            <p:nvPr/>
          </p:nvSpPr>
          <p:spPr>
            <a:xfrm flipH="1">
              <a:off x="1002397" y="2718346"/>
              <a:ext cx="1020368" cy="1020747"/>
            </a:xfrm>
            <a:prstGeom prst="rtTriangle">
              <a:avLst/>
            </a:prstGeom>
            <a:solidFill>
              <a:srgbClr val="FFFFFF">
                <a:alpha val="20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1" i="0" u="none" strike="noStrike" kern="0" cap="none" spc="-5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 flipH="1">
              <a:off x="1056559" y="3112041"/>
              <a:ext cx="899307" cy="233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ctr" anchorCtr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1pPr algn="ctr" latinLnBrk="0">
                <a:defRPr sz="1000">
                  <a:solidFill>
                    <a:srgbClr val="0070C0"/>
                  </a:solidFill>
                  <a:latin typeface="KoPub돋움체 Bold" pitchFamily="18" charset="-127"/>
                  <a:ea typeface="KoPub돋움체 Bold" pitchFamily="18" charset="-127"/>
                </a:defRPr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400" kern="0" spc="-5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의사소통 효율성 향상 및 구축 기간 단축</a:t>
              </a:r>
              <a:endParaRPr kumimoji="1" lang="en-US" altLang="ko-KR" sz="1400" i="0" u="none" strike="noStrike" kern="0" cap="none" spc="-5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5531698" y="3242692"/>
            <a:ext cx="2949694" cy="942392"/>
            <a:chOff x="2652541" y="4304683"/>
            <a:chExt cx="1026985" cy="1020747"/>
          </a:xfrm>
        </p:grpSpPr>
        <p:sp>
          <p:nvSpPr>
            <p:cNvPr id="83" name="액자 82"/>
            <p:cNvSpPr/>
            <p:nvPr/>
          </p:nvSpPr>
          <p:spPr>
            <a:xfrm flipH="1">
              <a:off x="2652541" y="4304683"/>
              <a:ext cx="1020368" cy="1020747"/>
            </a:xfrm>
            <a:prstGeom prst="frame">
              <a:avLst>
                <a:gd name="adj1" fmla="val 10323"/>
              </a:avLst>
            </a:prstGeom>
            <a:pattFill prst="pct30">
              <a:fgClr>
                <a:srgbClr val="FFFFFF">
                  <a:lumMod val="75000"/>
                </a:srgbClr>
              </a:fgClr>
              <a:bgClr>
                <a:srgbClr val="969696"/>
              </a:bgClr>
            </a:pattFill>
            <a:ln w="15875" cap="flat" cmpd="sng" algn="ctr">
              <a:noFill/>
              <a:prstDash val="solid"/>
            </a:ln>
            <a:effectLst/>
          </p:spPr>
          <p:txBody>
            <a:bodyPr anchor="ctr"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1" i="0" u="none" strike="noStrike" kern="0" cap="none" spc="-5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84" name="직각 삼각형 83"/>
            <p:cNvSpPr/>
            <p:nvPr/>
          </p:nvSpPr>
          <p:spPr>
            <a:xfrm flipH="1">
              <a:off x="2659158" y="4304683"/>
              <a:ext cx="1020368" cy="1020747"/>
            </a:xfrm>
            <a:prstGeom prst="rtTriangle">
              <a:avLst/>
            </a:prstGeom>
            <a:solidFill>
              <a:srgbClr val="FFFFFF">
                <a:alpha val="20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1" i="0" u="none" strike="noStrike" kern="0" cap="none" spc="-5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 flipH="1">
              <a:off x="2818786" y="4698377"/>
              <a:ext cx="692060" cy="233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ctr" anchorCtr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1pPr algn="ctr" latinLnBrk="0">
                <a:defRPr sz="1000">
                  <a:solidFill>
                    <a:srgbClr val="0070C0"/>
                  </a:solidFill>
                  <a:latin typeface="KoPub돋움체 Bold" pitchFamily="18" charset="-127"/>
                  <a:ea typeface="KoPub돋움체 Bold" pitchFamily="18" charset="-127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400" kern="0" spc="-50" dirty="0" smtClean="0">
                  <a:solidFill>
                    <a:srgbClr val="333333"/>
                  </a:solidFill>
                </a:rPr>
                <a:t>일관성 확보 및 유지보수 용이</a:t>
              </a:r>
              <a:endParaRPr kumimoji="1" lang="ko-KR" altLang="en-US" sz="1400" kern="0" spc="-50" dirty="0">
                <a:solidFill>
                  <a:srgbClr val="333333"/>
                </a:solidFill>
              </a:endParaRPr>
            </a:p>
          </p:txBody>
        </p:sp>
      </p:grpSp>
      <p:sp>
        <p:nvSpPr>
          <p:cNvPr id="2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1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959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8.2 </a:t>
            </a:r>
            <a:r>
              <a:rPr lang="ko-KR" altLang="en-US" dirty="0" smtClean="0"/>
              <a:t>표준화 절차 및 대상</a:t>
            </a:r>
            <a:endParaRPr lang="ko-KR" altLang="en-US" dirty="0"/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9040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표준화 절차 및 적용 분야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3" name="Rectangle 148"/>
          <p:cNvSpPr>
            <a:spLocks noChangeArrowheads="1"/>
          </p:cNvSpPr>
          <p:nvPr/>
        </p:nvSpPr>
        <p:spPr bwMode="auto">
          <a:xfrm>
            <a:off x="4883151" y="2081996"/>
            <a:ext cx="158750" cy="4260850"/>
          </a:xfrm>
          <a:prstGeom prst="rect">
            <a:avLst/>
          </a:prstGeom>
          <a:gradFill rotWithShape="1">
            <a:gsLst>
              <a:gs pos="0">
                <a:srgbClr val="C9C9C9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314" tIns="40157" rIns="80314" bIns="40157" anchor="ctr"/>
          <a:lstStyle>
            <a:lvl1pPr algn="r" defTabSz="8032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032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032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032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032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032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032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032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032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>
              <a:lnSpc>
                <a:spcPct val="110000"/>
              </a:lnSpc>
            </a:pPr>
            <a:endParaRPr kumimoji="0" lang="ko-KR" altLang="en-US" sz="1000" dirty="0">
              <a:solidFill>
                <a:srgbClr val="40404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산돌고딕 M" panose="02030504000101010101" pitchFamily="18" charset="-127"/>
            </a:endParaRPr>
          </a:p>
        </p:txBody>
      </p:sp>
      <p:grpSp>
        <p:nvGrpSpPr>
          <p:cNvPr id="14" name="Group 127"/>
          <p:cNvGrpSpPr>
            <a:grpSpLocks/>
          </p:cNvGrpSpPr>
          <p:nvPr/>
        </p:nvGrpSpPr>
        <p:grpSpPr bwMode="auto">
          <a:xfrm>
            <a:off x="430216" y="5266401"/>
            <a:ext cx="4468812" cy="1187019"/>
            <a:chOff x="217" y="3336"/>
            <a:chExt cx="2869" cy="744"/>
          </a:xfrm>
        </p:grpSpPr>
        <p:pic>
          <p:nvPicPr>
            <p:cNvPr id="15" name="Picture 1" descr="C:\Users\woo\Desktop\Untitled-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" y="3902"/>
              <a:ext cx="286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4" descr="C:\Users\Administrator\Desktop\f.png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0106"/>
            <a:stretch>
              <a:fillRect/>
            </a:stretch>
          </p:blipFill>
          <p:spPr bwMode="auto">
            <a:xfrm>
              <a:off x="217" y="3336"/>
              <a:ext cx="2767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" name="Picture 114" descr="box-0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7507" y="2676630"/>
            <a:ext cx="3943465" cy="103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15"/>
          <p:cNvSpPr>
            <a:spLocks noChangeArrowheads="1"/>
          </p:cNvSpPr>
          <p:nvPr/>
        </p:nvSpPr>
        <p:spPr bwMode="auto">
          <a:xfrm flipH="1">
            <a:off x="810975" y="2394734"/>
            <a:ext cx="3771308" cy="283681"/>
          </a:xfrm>
          <a:prstGeom prst="rect">
            <a:avLst/>
          </a:prstGeom>
          <a:solidFill>
            <a:srgbClr val="038CDC"/>
          </a:solidFill>
          <a:ln w="9525" algn="ctr">
            <a:noFill/>
            <a:miter lim="800000"/>
            <a:headEnd/>
            <a:tailEnd/>
          </a:ln>
          <a:extLst/>
        </p:spPr>
        <p:txBody>
          <a:bodyPr lIns="0" tIns="45668" rIns="0" bIns="45668" anchor="ctr"/>
          <a:lstStyle/>
          <a:p>
            <a:pPr algn="ctr"/>
            <a:endParaRPr lang="ko-KR" altLang="en-US" sz="1200" b="1" spc="-50" dirty="0">
              <a:ln>
                <a:solidFill>
                  <a:srgbClr val="D64E75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19" name="Picture 146" descr="box-0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7507" y="3250420"/>
            <a:ext cx="3943465" cy="103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47"/>
          <p:cNvSpPr>
            <a:spLocks noChangeArrowheads="1"/>
          </p:cNvSpPr>
          <p:nvPr/>
        </p:nvSpPr>
        <p:spPr bwMode="auto">
          <a:xfrm flipH="1">
            <a:off x="810975" y="2969423"/>
            <a:ext cx="3771308" cy="283681"/>
          </a:xfrm>
          <a:prstGeom prst="rect">
            <a:avLst/>
          </a:prstGeom>
          <a:solidFill>
            <a:srgbClr val="038CDC"/>
          </a:solidFill>
          <a:ln w="9525" algn="ctr">
            <a:noFill/>
            <a:miter lim="800000"/>
            <a:headEnd/>
            <a:tailEnd/>
          </a:ln>
          <a:extLst/>
        </p:spPr>
        <p:txBody>
          <a:bodyPr lIns="0" tIns="45668" rIns="0" bIns="45668" anchor="ctr"/>
          <a:lstStyle/>
          <a:p>
            <a:pPr algn="ctr"/>
            <a:endParaRPr lang="ko-KR" altLang="en-US" sz="1200" b="1" spc="-50" dirty="0">
              <a:ln>
                <a:solidFill>
                  <a:srgbClr val="D64E75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21" name="Picture 154" descr="box-0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7507" y="3767510"/>
            <a:ext cx="3943465" cy="103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155"/>
          <p:cNvSpPr>
            <a:spLocks noChangeArrowheads="1"/>
          </p:cNvSpPr>
          <p:nvPr/>
        </p:nvSpPr>
        <p:spPr bwMode="auto">
          <a:xfrm flipH="1">
            <a:off x="810975" y="3544112"/>
            <a:ext cx="3771308" cy="283681"/>
          </a:xfrm>
          <a:prstGeom prst="rect">
            <a:avLst/>
          </a:prstGeom>
          <a:solidFill>
            <a:srgbClr val="038CDC"/>
          </a:solidFill>
          <a:ln w="9525" algn="ctr">
            <a:noFill/>
            <a:miter lim="800000"/>
            <a:headEnd/>
            <a:tailEnd/>
          </a:ln>
          <a:extLst/>
        </p:spPr>
        <p:txBody>
          <a:bodyPr lIns="0" tIns="45668" rIns="0" bIns="45668" anchor="ctr"/>
          <a:lstStyle/>
          <a:p>
            <a:pPr algn="ctr"/>
            <a:endParaRPr lang="ko-KR" altLang="en-US" sz="1200" b="1" spc="-50" dirty="0">
              <a:ln>
                <a:solidFill>
                  <a:srgbClr val="D64E75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23" name="Picture 162" descr="box-0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7507" y="4320599"/>
            <a:ext cx="3943465" cy="103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163"/>
          <p:cNvSpPr>
            <a:spLocks noChangeArrowheads="1"/>
          </p:cNvSpPr>
          <p:nvPr/>
        </p:nvSpPr>
        <p:spPr bwMode="auto">
          <a:xfrm flipH="1">
            <a:off x="810975" y="4118801"/>
            <a:ext cx="3771308" cy="283681"/>
          </a:xfrm>
          <a:prstGeom prst="rect">
            <a:avLst/>
          </a:prstGeom>
          <a:solidFill>
            <a:srgbClr val="038CDC"/>
          </a:solidFill>
          <a:ln w="9525" algn="ctr">
            <a:noFill/>
            <a:miter lim="800000"/>
            <a:headEnd/>
            <a:tailEnd/>
          </a:ln>
          <a:extLst/>
        </p:spPr>
        <p:txBody>
          <a:bodyPr lIns="0" tIns="45668" rIns="0" bIns="45668" anchor="ctr"/>
          <a:lstStyle/>
          <a:p>
            <a:pPr algn="ctr"/>
            <a:endParaRPr lang="ko-KR" altLang="en-US" sz="1200" b="1" spc="-50" dirty="0">
              <a:ln>
                <a:solidFill>
                  <a:srgbClr val="D64E75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26" name="Picture 170" descr="box-0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7507" y="4873691"/>
            <a:ext cx="3943465" cy="103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71"/>
          <p:cNvSpPr>
            <a:spLocks noChangeArrowheads="1"/>
          </p:cNvSpPr>
          <p:nvPr/>
        </p:nvSpPr>
        <p:spPr bwMode="auto">
          <a:xfrm flipH="1">
            <a:off x="810975" y="4693491"/>
            <a:ext cx="3771308" cy="283681"/>
          </a:xfrm>
          <a:prstGeom prst="rect">
            <a:avLst/>
          </a:prstGeom>
          <a:solidFill>
            <a:srgbClr val="038CDC"/>
          </a:solidFill>
          <a:ln w="9525" algn="ctr">
            <a:noFill/>
            <a:miter lim="800000"/>
            <a:headEnd/>
            <a:tailEnd/>
          </a:ln>
          <a:extLst/>
        </p:spPr>
        <p:txBody>
          <a:bodyPr lIns="0" tIns="45668" rIns="0" bIns="45668" anchor="ctr"/>
          <a:lstStyle/>
          <a:p>
            <a:pPr algn="ctr"/>
            <a:endParaRPr lang="ko-KR" altLang="en-US" sz="1200" b="1" spc="-50" dirty="0">
              <a:ln>
                <a:solidFill>
                  <a:srgbClr val="D64E75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8" name="Rectangle 231" descr="[템플릿] ver10-45"/>
          <p:cNvSpPr>
            <a:spLocks noChangeArrowheads="1"/>
          </p:cNvSpPr>
          <p:nvPr/>
        </p:nvSpPr>
        <p:spPr bwMode="gray">
          <a:xfrm flipH="1">
            <a:off x="1057427" y="2450019"/>
            <a:ext cx="19845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819483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표준화 대상별로 현황 조사 및 분석</a:t>
            </a:r>
          </a:p>
        </p:txBody>
      </p:sp>
      <p:sp>
        <p:nvSpPr>
          <p:cNvPr id="30" name="Rectangle 231" descr="[템플릿] ver10-45"/>
          <p:cNvSpPr>
            <a:spLocks noChangeArrowheads="1"/>
          </p:cNvSpPr>
          <p:nvPr/>
        </p:nvSpPr>
        <p:spPr bwMode="gray">
          <a:xfrm flipH="1">
            <a:off x="1047001" y="3024709"/>
            <a:ext cx="208711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819483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표준화 대상별로 최적의 표준안 마련</a:t>
            </a:r>
          </a:p>
        </p:txBody>
      </p:sp>
      <p:sp>
        <p:nvSpPr>
          <p:cNvPr id="31" name="Rectangle 231" descr="[템플릿] ver10-45"/>
          <p:cNvSpPr>
            <a:spLocks noChangeArrowheads="1"/>
          </p:cNvSpPr>
          <p:nvPr/>
        </p:nvSpPr>
        <p:spPr bwMode="gray">
          <a:xfrm flipH="1">
            <a:off x="1075053" y="3599399"/>
            <a:ext cx="176009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819483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작성된 표준안 검토</a:t>
            </a:r>
            <a:r>
              <a:rPr lang="en-US" altLang="ko-KR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/</a:t>
            </a:r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조정</a:t>
            </a:r>
            <a:r>
              <a:rPr lang="en-US" altLang="ko-KR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/</a:t>
            </a:r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확정</a:t>
            </a:r>
          </a:p>
        </p:txBody>
      </p:sp>
      <p:sp>
        <p:nvSpPr>
          <p:cNvPr id="32" name="Rectangle 231" descr="[템플릿] ver10-45"/>
          <p:cNvSpPr>
            <a:spLocks noChangeArrowheads="1"/>
          </p:cNvSpPr>
          <p:nvPr/>
        </p:nvSpPr>
        <p:spPr bwMode="gray">
          <a:xfrm flipH="1">
            <a:off x="1044595" y="4174089"/>
            <a:ext cx="192681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819483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표준 활용인원 대상 오리엔테이션</a:t>
            </a:r>
          </a:p>
        </p:txBody>
      </p:sp>
      <p:sp>
        <p:nvSpPr>
          <p:cNvPr id="33" name="Rectangle 231" descr="[템플릿] ver10-45"/>
          <p:cNvSpPr>
            <a:spLocks noChangeArrowheads="1"/>
          </p:cNvSpPr>
          <p:nvPr/>
        </p:nvSpPr>
        <p:spPr bwMode="gray">
          <a:xfrm flipH="1">
            <a:off x="1053419" y="4748777"/>
            <a:ext cx="211596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3662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819483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표준안과 적용 결과 비교검토 및 조치</a:t>
            </a:r>
          </a:p>
        </p:txBody>
      </p:sp>
      <p:grpSp>
        <p:nvGrpSpPr>
          <p:cNvPr id="38" name="그룹 37"/>
          <p:cNvGrpSpPr/>
          <p:nvPr/>
        </p:nvGrpSpPr>
        <p:grpSpPr>
          <a:xfrm>
            <a:off x="5024438" y="5756014"/>
            <a:ext cx="4376744" cy="697406"/>
            <a:chOff x="5024438" y="5682446"/>
            <a:chExt cx="4376744" cy="647703"/>
          </a:xfrm>
        </p:grpSpPr>
        <p:sp>
          <p:nvSpPr>
            <p:cNvPr id="39" name="Rectangle 224"/>
            <p:cNvSpPr>
              <a:spLocks noChangeArrowheads="1"/>
            </p:cNvSpPr>
            <p:nvPr/>
          </p:nvSpPr>
          <p:spPr bwMode="auto">
            <a:xfrm>
              <a:off x="5070482" y="5682446"/>
              <a:ext cx="4329113" cy="539750"/>
            </a:xfrm>
            <a:prstGeom prst="rect">
              <a:avLst/>
            </a:prstGeom>
            <a:solidFill>
              <a:srgbClr val="FFFFFF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endParaRPr lang="ko-KR" altLang="en-US" sz="13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41" name="Picture 255" descr="물방울-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4438" y="6041224"/>
              <a:ext cx="277812" cy="28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2" name="그룹 41"/>
            <p:cNvGrpSpPr/>
            <p:nvPr/>
          </p:nvGrpSpPr>
          <p:grpSpPr>
            <a:xfrm>
              <a:off x="5240345" y="5926727"/>
              <a:ext cx="4160837" cy="252680"/>
              <a:chOff x="5240345" y="5969516"/>
              <a:chExt cx="4160837" cy="252680"/>
            </a:xfrm>
          </p:grpSpPr>
          <p:sp>
            <p:nvSpPr>
              <p:cNvPr id="43" name="Line 129"/>
              <p:cNvSpPr>
                <a:spLocks noChangeShapeType="1"/>
              </p:cNvSpPr>
              <p:nvPr/>
            </p:nvSpPr>
            <p:spPr bwMode="auto">
              <a:xfrm>
                <a:off x="5240345" y="6222196"/>
                <a:ext cx="4160837" cy="0"/>
              </a:xfrm>
              <a:prstGeom prst="line">
                <a:avLst/>
              </a:prstGeom>
              <a:noFill/>
              <a:ln w="38100">
                <a:solidFill>
                  <a:srgbClr val="2077AC"/>
                </a:solidFill>
                <a:round/>
                <a:headEnd/>
                <a:tailEnd/>
              </a:ln>
            </p:spPr>
            <p:txBody>
              <a:bodyPr lIns="91338" tIns="45668" rIns="91338" bIns="45668"/>
              <a:lstStyle/>
              <a:p>
                <a:pPr algn="ctr">
                  <a:defRPr/>
                </a:pPr>
                <a:endParaRPr lang="ko-KR" altLang="en-US" sz="1300" kern="0" dirty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44" name="TextBox 333"/>
              <p:cNvSpPr txBox="1">
                <a:spLocks noChangeArrowheads="1"/>
              </p:cNvSpPr>
              <p:nvPr/>
            </p:nvSpPr>
            <p:spPr bwMode="auto">
              <a:xfrm>
                <a:off x="5337175" y="5969516"/>
                <a:ext cx="3963988" cy="1429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algn="ctr" fontAlgn="auto">
                  <a:spcBef>
                    <a:spcPct val="10000"/>
                  </a:spcBef>
                  <a:spcAft>
                    <a:spcPct val="10000"/>
                  </a:spcAft>
                  <a:defRPr/>
                </a:pPr>
                <a:r>
                  <a:rPr lang="en-US" altLang="ko-KR" sz="1000" dirty="0" smtClean="0">
                    <a:ln>
                      <a:solidFill>
                        <a:srgbClr val="4F81BD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※ </a:t>
                </a:r>
                <a:r>
                  <a:rPr lang="ko-KR" altLang="ko-KR" sz="1000" dirty="0" smtClean="0">
                    <a:ln>
                      <a:solidFill>
                        <a:srgbClr val="4F81BD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프로젝트 수행</a:t>
                </a:r>
                <a:r>
                  <a:rPr lang="en-US" altLang="ko-KR" sz="1000" dirty="0" smtClean="0">
                    <a:ln>
                      <a:solidFill>
                        <a:srgbClr val="4F81BD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 </a:t>
                </a:r>
                <a:r>
                  <a:rPr lang="ko-KR" altLang="ko-KR" sz="1000" dirty="0" smtClean="0">
                    <a:ln>
                      <a:solidFill>
                        <a:srgbClr val="4F81BD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시 </a:t>
                </a:r>
                <a:r>
                  <a:rPr lang="ko-KR" altLang="en-US" sz="1000" dirty="0" smtClean="0">
                    <a:ln>
                      <a:solidFill>
                        <a:srgbClr val="4F81BD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고객사의 표준 프로세스를 준수 하겠습니다</a:t>
                </a:r>
                <a:r>
                  <a:rPr lang="en-US" altLang="ko-KR" sz="1000" dirty="0" smtClean="0">
                    <a:ln>
                      <a:solidFill>
                        <a:srgbClr val="4F81BD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.</a:t>
                </a:r>
                <a:endParaRPr lang="ko-KR" altLang="ko-KR" sz="10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</p:grpSp>
      </p:grpSp>
      <p:graphicFrame>
        <p:nvGraphicFramePr>
          <p:cNvPr id="45" name="표 44"/>
          <p:cNvGraphicFramePr>
            <a:graphicFrameLocks noGrp="1"/>
          </p:cNvGraphicFramePr>
          <p:nvPr>
            <p:extLst/>
          </p:nvPr>
        </p:nvGraphicFramePr>
        <p:xfrm>
          <a:off x="5070482" y="2183477"/>
          <a:ext cx="4371975" cy="3441917"/>
        </p:xfrm>
        <a:graphic>
          <a:graphicData uri="http://schemas.openxmlformats.org/drawingml/2006/table">
            <a:tbl>
              <a:tblPr/>
              <a:tblGrid>
                <a:gridCol w="1003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2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Times New Roman" pitchFamily="18" charset="0"/>
                        </a:rPr>
                        <a:t>항목</a:t>
                      </a:r>
                    </a:p>
                  </a:txBody>
                  <a:tcPr marL="90000" marR="90000" marT="46806" marB="46806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Times New Roman" pitchFamily="18" charset="0"/>
                        </a:rPr>
                        <a:t>표준화 요소</a:t>
                      </a:r>
                    </a:p>
                  </a:txBody>
                  <a:tcPr marL="90000" marR="90000" marT="46806" marB="46806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Times New Roman" pitchFamily="18" charset="0"/>
                        </a:rPr>
                        <a:t>표준화 시점</a:t>
                      </a:r>
                    </a:p>
                  </a:txBody>
                  <a:tcPr marL="90000" marR="90000" marT="46806" marB="46806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3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데이터 모델</a:t>
                      </a:r>
                    </a:p>
                  </a:txBody>
                  <a:tcPr marL="72000" marR="72000" marT="36005" marB="36005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업무용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도메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주제영역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엔티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관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속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키</a:t>
                      </a:r>
                    </a:p>
                  </a:txBody>
                  <a:tcPr marL="72000" marR="72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설계 단계</a:t>
                      </a:r>
                    </a:p>
                  </a:txBody>
                  <a:tcPr marL="90000" marR="90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데이터 코드</a:t>
                      </a:r>
                    </a:p>
                  </a:txBody>
                  <a:tcPr marL="72000" marR="72000" marT="36005" marB="36005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지역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사용자 그룹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과목 등 공통 코드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각 업무분야 주요 항목에 대한 업무 코드</a:t>
                      </a:r>
                    </a:p>
                  </a:txBody>
                  <a:tcPr marL="72000" marR="72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설계 단계</a:t>
                      </a:r>
                    </a:p>
                  </a:txBody>
                  <a:tcPr marL="90000" marR="90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189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QL</a:t>
                      </a:r>
                    </a:p>
                  </a:txBody>
                  <a:tcPr marL="72000" marR="72000" marT="36005" marB="36005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QL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코딩 및 작성 기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색인 및 함수 사용 등</a:t>
                      </a:r>
                    </a:p>
                  </a:txBody>
                  <a:tcPr marL="72000" marR="72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설계 단계</a:t>
                      </a:r>
                    </a:p>
                  </a:txBody>
                  <a:tcPr marL="90000" marR="90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81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스 코드</a:t>
                      </a:r>
                    </a:p>
                  </a:txBody>
                  <a:tcPr marL="72000" marR="72000" marT="36005" marB="36005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프로그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구조체 등 명명규칙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주석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함수 사용 등</a:t>
                      </a:r>
                    </a:p>
                  </a:txBody>
                  <a:tcPr marL="72000" marR="72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설계 단계</a:t>
                      </a:r>
                    </a:p>
                  </a:txBody>
                  <a:tcPr marL="90000" marR="90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20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인터페이스</a:t>
                      </a:r>
                    </a:p>
                  </a:txBody>
                  <a:tcPr marL="72000" marR="72000" marT="36005" marB="36005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보고서 레이아웃 패턴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사용자 메시지</a:t>
                      </a:r>
                    </a:p>
                  </a:txBody>
                  <a:tcPr marL="72000" marR="72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설계 단계</a:t>
                      </a:r>
                    </a:p>
                  </a:txBody>
                  <a:tcPr marL="90000" marR="90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1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명명 규칙</a:t>
                      </a:r>
                    </a:p>
                  </a:txBody>
                  <a:tcPr marL="72000" marR="72000" marT="36005" marB="36005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하드웨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소프트웨어 등 요소의 명명 법</a:t>
                      </a:r>
                    </a:p>
                  </a:txBody>
                  <a:tcPr marL="72000" marR="72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설계 단계</a:t>
                      </a:r>
                    </a:p>
                  </a:txBody>
                  <a:tcPr marL="90000" marR="90000" marT="36005" marB="36005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6" name="그림 45">
            <a:extLst>
              <a:ext uri="{FF2B5EF4-FFF2-40B4-BE49-F238E27FC236}">
                <a16:creationId xmlns:a16="http://schemas.microsoft.com/office/drawing/2014/main" id="{3FB87CD8-0722-481C-B7BA-1DD8F9ABA9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3302" y="2373412"/>
            <a:ext cx="686098" cy="686098"/>
          </a:xfrm>
          <a:prstGeom prst="rect">
            <a:avLst/>
          </a:prstGeom>
        </p:spPr>
      </p:pic>
      <p:pic>
        <p:nvPicPr>
          <p:cNvPr id="47" name="그림 46">
            <a:extLst>
              <a:ext uri="{FF2B5EF4-FFF2-40B4-BE49-F238E27FC236}">
                <a16:creationId xmlns:a16="http://schemas.microsoft.com/office/drawing/2014/main" id="{D3790503-444D-408D-88DA-EF28A054E1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302" y="2942838"/>
            <a:ext cx="686098" cy="686098"/>
          </a:xfrm>
          <a:prstGeom prst="rect">
            <a:avLst/>
          </a:prstGeom>
        </p:spPr>
      </p:pic>
      <p:pic>
        <p:nvPicPr>
          <p:cNvPr id="48" name="그림 47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3302" y="3512264"/>
            <a:ext cx="686098" cy="686098"/>
          </a:xfrm>
          <a:prstGeom prst="rect">
            <a:avLst/>
          </a:prstGeom>
        </p:spPr>
      </p:pic>
      <p:pic>
        <p:nvPicPr>
          <p:cNvPr id="49" name="그림 48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3302" y="4081690"/>
            <a:ext cx="686098" cy="686098"/>
          </a:xfrm>
          <a:prstGeom prst="rect">
            <a:avLst/>
          </a:prstGeom>
        </p:spPr>
      </p:pic>
      <p:pic>
        <p:nvPicPr>
          <p:cNvPr id="50" name="그림 49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3302" y="4651114"/>
            <a:ext cx="686098" cy="686098"/>
          </a:xfrm>
          <a:prstGeom prst="rect">
            <a:avLst/>
          </a:prstGeom>
        </p:spPr>
      </p:pic>
      <p:sp>
        <p:nvSpPr>
          <p:cNvPr id="51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39139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발 생산성 증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유지보수성 향상 및 품질 제고를 위해서는 전반적인 표준화 전략 수립과 적용이 필요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고객사의 표준 프로세스를 준수하면서 표준화를 정립하기 위해 아래와 같은 절차로 표준화 수립을 진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5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5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3781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8.3.1 </a:t>
            </a:r>
            <a:r>
              <a:rPr lang="ko-KR" altLang="en-US" dirty="0" smtClean="0"/>
              <a:t>코드 표준화</a:t>
            </a:r>
            <a:endParaRPr lang="ko-KR" altLang="en-US" dirty="0"/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1229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8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표준화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표준 코드 체계 정의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3" name="AutoShape 361"/>
          <p:cNvSpPr>
            <a:spLocks noChangeArrowheads="1"/>
          </p:cNvSpPr>
          <p:nvPr/>
        </p:nvSpPr>
        <p:spPr bwMode="auto">
          <a:xfrm>
            <a:off x="5094295" y="2414248"/>
            <a:ext cx="4359275" cy="3931076"/>
          </a:xfrm>
          <a:prstGeom prst="roundRect">
            <a:avLst>
              <a:gd name="adj" fmla="val 1500"/>
            </a:avLst>
          </a:prstGeom>
          <a:solidFill>
            <a:srgbClr val="EAEAEA"/>
          </a:solidFill>
          <a:ln>
            <a:noFill/>
          </a:ln>
          <a:extLst/>
        </p:spPr>
        <p:txBody>
          <a:bodyPr lIns="91338" tIns="45668" rIns="91338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/>
            <a:endParaRPr lang="ko-KR" altLang="en-US" sz="110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4" name="AutoShape 361"/>
          <p:cNvSpPr>
            <a:spLocks noChangeArrowheads="1"/>
          </p:cNvSpPr>
          <p:nvPr/>
        </p:nvSpPr>
        <p:spPr bwMode="auto">
          <a:xfrm>
            <a:off x="381002" y="2414248"/>
            <a:ext cx="4498975" cy="3931076"/>
          </a:xfrm>
          <a:prstGeom prst="roundRect">
            <a:avLst>
              <a:gd name="adj" fmla="val 1500"/>
            </a:avLst>
          </a:prstGeom>
          <a:solidFill>
            <a:srgbClr val="EAEAEA"/>
          </a:solidFill>
          <a:ln>
            <a:noFill/>
          </a:ln>
          <a:extLst/>
        </p:spPr>
        <p:txBody>
          <a:bodyPr lIns="91338" tIns="45668" rIns="91338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/>
            <a:endParaRPr lang="ko-KR" altLang="en-US" sz="110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KoPub돋움체 Bold" panose="02020603020101020101" pitchFamily="18" charset="-127"/>
            </a:endParaRPr>
          </a:p>
        </p:txBody>
      </p:sp>
      <p:sp>
        <p:nvSpPr>
          <p:cNvPr id="15" name="Rectangle 22" descr="oj-02"/>
          <p:cNvSpPr>
            <a:spLocks noChangeArrowheads="1"/>
          </p:cNvSpPr>
          <p:nvPr/>
        </p:nvSpPr>
        <p:spPr bwMode="auto">
          <a:xfrm>
            <a:off x="487363" y="2547430"/>
            <a:ext cx="2087562" cy="252413"/>
          </a:xfrm>
          <a:prstGeom prst="roundRect">
            <a:avLst>
              <a:gd name="adj" fmla="val 0"/>
            </a:avLst>
          </a:prstGeom>
          <a:solidFill>
            <a:srgbClr val="005E9E"/>
          </a:solidFill>
          <a:ln w="9525" algn="ctr">
            <a:noFill/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ko-KR" sz="11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고객사 표준화 원칙/절차 준수</a:t>
            </a:r>
          </a:p>
        </p:txBody>
      </p:sp>
      <p:sp>
        <p:nvSpPr>
          <p:cNvPr id="16" name="Rectangle 22" descr="oj-02"/>
          <p:cNvSpPr>
            <a:spLocks noChangeArrowheads="1"/>
          </p:cNvSpPr>
          <p:nvPr/>
        </p:nvSpPr>
        <p:spPr bwMode="auto">
          <a:xfrm>
            <a:off x="2684463" y="2547430"/>
            <a:ext cx="2087562" cy="252413"/>
          </a:xfrm>
          <a:prstGeom prst="roundRect">
            <a:avLst>
              <a:gd name="adj" fmla="val 0"/>
            </a:avLst>
          </a:prstGeom>
          <a:solidFill>
            <a:srgbClr val="005E9E"/>
          </a:solidFill>
          <a:ln w="9525" algn="ctr">
            <a:noFill/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ko-KR" sz="11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기 표준화된 코드 활용</a:t>
            </a:r>
          </a:p>
        </p:txBody>
      </p:sp>
      <p:sp>
        <p:nvSpPr>
          <p:cNvPr id="17" name="Rectangle 22" descr="oj-02"/>
          <p:cNvSpPr>
            <a:spLocks noChangeArrowheads="1"/>
          </p:cNvSpPr>
          <p:nvPr/>
        </p:nvSpPr>
        <p:spPr bwMode="auto">
          <a:xfrm>
            <a:off x="487363" y="5552852"/>
            <a:ext cx="4286250" cy="252412"/>
          </a:xfrm>
          <a:prstGeom prst="roundRect">
            <a:avLst>
              <a:gd name="adj" fmla="val 0"/>
            </a:avLst>
          </a:prstGeom>
          <a:solidFill>
            <a:srgbClr val="005E9E"/>
          </a:solidFill>
          <a:ln w="9525" algn="ctr">
            <a:noFill/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ko-KR" sz="11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메타 데이터 관리 시스템</a:t>
            </a:r>
          </a:p>
        </p:txBody>
      </p:sp>
      <p:sp>
        <p:nvSpPr>
          <p:cNvPr id="19" name="Rectangle 187"/>
          <p:cNvSpPr>
            <a:spLocks noChangeArrowheads="1"/>
          </p:cNvSpPr>
          <p:nvPr/>
        </p:nvSpPr>
        <p:spPr bwMode="auto">
          <a:xfrm>
            <a:off x="487363" y="5882936"/>
            <a:ext cx="1331913" cy="287337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표준 관리 원칙 및 절차</a:t>
            </a:r>
          </a:p>
        </p:txBody>
      </p:sp>
      <p:sp>
        <p:nvSpPr>
          <p:cNvPr id="20" name="Rectangle 187"/>
          <p:cNvSpPr>
            <a:spLocks noChangeArrowheads="1"/>
          </p:cNvSpPr>
          <p:nvPr/>
        </p:nvSpPr>
        <p:spPr bwMode="auto">
          <a:xfrm>
            <a:off x="1963738" y="5882936"/>
            <a:ext cx="1331913" cy="287337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데이터 사전</a:t>
            </a:r>
          </a:p>
        </p:txBody>
      </p:sp>
      <p:sp>
        <p:nvSpPr>
          <p:cNvPr id="21" name="Rectangle 187"/>
          <p:cNvSpPr>
            <a:spLocks noChangeArrowheads="1"/>
          </p:cNvSpPr>
          <p:nvPr/>
        </p:nvSpPr>
        <p:spPr bwMode="auto">
          <a:xfrm>
            <a:off x="3441701" y="5882936"/>
            <a:ext cx="1331913" cy="287337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용어</a:t>
            </a: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/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도메인</a:t>
            </a: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/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코드</a:t>
            </a:r>
          </a:p>
        </p:txBody>
      </p:sp>
      <p:sp>
        <p:nvSpPr>
          <p:cNvPr id="33" name="Line 194"/>
          <p:cNvSpPr>
            <a:spLocks noChangeShapeType="1"/>
          </p:cNvSpPr>
          <p:nvPr/>
        </p:nvSpPr>
        <p:spPr bwMode="auto">
          <a:xfrm>
            <a:off x="1647825" y="-262496"/>
            <a:ext cx="3208338" cy="0"/>
          </a:xfrm>
          <a:prstGeom prst="line">
            <a:avLst/>
          </a:prstGeom>
          <a:noFill/>
          <a:ln w="6350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rgbClr val="CACACA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8" name="F1918"/>
          <p:cNvSpPr>
            <a:spLocks noChangeArrowheads="1"/>
          </p:cNvSpPr>
          <p:nvPr/>
        </p:nvSpPr>
        <p:spPr bwMode="auto">
          <a:xfrm>
            <a:off x="2036676" y="2975051"/>
            <a:ext cx="2143215" cy="33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98425" indent="-98425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메타데이터 관리 시스템 원칙 준수</a:t>
            </a:r>
          </a:p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공통코드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,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개별코드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,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복합코드 관리 주체 정의</a:t>
            </a:r>
          </a:p>
        </p:txBody>
      </p:sp>
      <p:sp>
        <p:nvSpPr>
          <p:cNvPr id="40" name="F1918"/>
          <p:cNvSpPr>
            <a:spLocks noChangeArrowheads="1"/>
          </p:cNvSpPr>
          <p:nvPr/>
        </p:nvSpPr>
        <p:spPr bwMode="auto">
          <a:xfrm>
            <a:off x="2035175" y="3555000"/>
            <a:ext cx="2084225" cy="87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98425" indent="-98425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업무에서 사용하는 코드 수집</a:t>
            </a:r>
          </a:p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동음이의어 확인</a:t>
            </a:r>
          </a:p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이음동의어 확인</a:t>
            </a:r>
          </a:p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코드테이블 또는 코드데이터 관리 여부 결정</a:t>
            </a:r>
          </a:p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코드 관리주체 결정</a:t>
            </a:r>
          </a:p>
        </p:txBody>
      </p:sp>
      <p:sp>
        <p:nvSpPr>
          <p:cNvPr id="42" name="F1918"/>
          <p:cNvSpPr>
            <a:spLocks noChangeArrowheads="1"/>
          </p:cNvSpPr>
          <p:nvPr/>
        </p:nvSpPr>
        <p:spPr bwMode="auto">
          <a:xfrm>
            <a:off x="2028832" y="4589273"/>
            <a:ext cx="2140009" cy="847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98425" indent="-98425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219075" indent="-119063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표준코드 정의</a:t>
            </a:r>
          </a:p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코드 상하관계 정의 및 트리 구조의 체계 수립</a:t>
            </a:r>
          </a:p>
          <a:p>
            <a:pPr marL="85725" indent="-85725" algn="l" defTabSz="892761">
              <a:spcAft>
                <a:spcPct val="17000"/>
              </a:spcAft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코드 통합 모델 구축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/>
            </a:r>
            <a:b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</a:b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- </a:t>
            </a: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코드유형 </a:t>
            </a:r>
            <a:r>
              <a:rPr lang="ko-KR" altLang="ko-KR" sz="10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분류</a:t>
            </a:r>
            <a:endParaRPr lang="en-US" altLang="ko-KR" sz="1000" spc="-70" dirty="0" smtClean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sym typeface="Monotype Sorts"/>
            </a:endParaRPr>
          </a:p>
          <a:p>
            <a:pPr marL="0" indent="0" algn="l" defTabSz="892761">
              <a:spcAft>
                <a:spcPct val="17000"/>
              </a:spcAft>
              <a:buSzPct val="110000"/>
              <a:tabLst>
                <a:tab pos="90388" algn="l"/>
              </a:tabLst>
            </a:pP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 </a:t>
            </a:r>
            <a:r>
              <a:rPr lang="en-US" altLang="ko-KR" sz="10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  - </a:t>
            </a:r>
            <a:r>
              <a:rPr lang="ko-KR" altLang="ko-KR" sz="10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유효자릿수 </a:t>
            </a:r>
            <a:r>
              <a:rPr lang="ko-KR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Monotype Sorts"/>
              </a:rPr>
              <a:t>관리</a:t>
            </a:r>
          </a:p>
        </p:txBody>
      </p:sp>
      <p:cxnSp>
        <p:nvCxnSpPr>
          <p:cNvPr id="55" name="직선 화살표 연결선 210"/>
          <p:cNvCxnSpPr>
            <a:cxnSpLocks noChangeShapeType="1"/>
            <a:stCxn id="56" idx="2"/>
          </p:cNvCxnSpPr>
          <p:nvPr/>
        </p:nvCxnSpPr>
        <p:spPr bwMode="auto">
          <a:xfrm>
            <a:off x="7345588" y="2844472"/>
            <a:ext cx="0" cy="264245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6" name="Oval 523"/>
          <p:cNvSpPr>
            <a:spLocks noChangeArrowheads="1"/>
          </p:cNvSpPr>
          <p:nvPr/>
        </p:nvSpPr>
        <p:spPr bwMode="auto">
          <a:xfrm>
            <a:off x="6680195" y="2523704"/>
            <a:ext cx="1329373" cy="320768"/>
          </a:xfrm>
          <a:prstGeom prst="roundRect">
            <a:avLst>
              <a:gd name="adj" fmla="val 5000"/>
            </a:avLst>
          </a:prstGeom>
          <a:solidFill>
            <a:srgbClr val="FFFFFF"/>
          </a:solidFill>
          <a:ln w="12700" algn="ctr">
            <a:solidFill>
              <a:srgbClr val="609EC4"/>
            </a:solidFill>
            <a:round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 적정성 </a:t>
            </a:r>
            <a:endParaRPr lang="en-US" altLang="ko-KR" sz="10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토 및 보완</a:t>
            </a:r>
          </a:p>
        </p:txBody>
      </p:sp>
      <p:sp>
        <p:nvSpPr>
          <p:cNvPr id="57" name="AutoShape 103" descr="넓은 상향 대각선"/>
          <p:cNvSpPr>
            <a:spLocks noChangeArrowheads="1"/>
          </p:cNvSpPr>
          <p:nvPr/>
        </p:nvSpPr>
        <p:spPr bwMode="auto">
          <a:xfrm>
            <a:off x="6685846" y="3695144"/>
            <a:ext cx="1316658" cy="350443"/>
          </a:xfrm>
          <a:prstGeom prst="flowChartDecision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</a:t>
            </a:r>
            <a:endParaRPr lang="en-US" altLang="ko-KR" sz="1000" spc="-81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가</a:t>
            </a:r>
            <a:r>
              <a:rPr lang="en-US" altLang="ko-KR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</a:t>
            </a:r>
          </a:p>
        </p:txBody>
      </p:sp>
      <p:cxnSp>
        <p:nvCxnSpPr>
          <p:cNvPr id="58" name="직선 화살표 연결선 210"/>
          <p:cNvCxnSpPr>
            <a:cxnSpLocks noChangeShapeType="1"/>
            <a:endCxn id="57" idx="0"/>
          </p:cNvCxnSpPr>
          <p:nvPr/>
        </p:nvCxnSpPr>
        <p:spPr bwMode="auto">
          <a:xfrm>
            <a:off x="7345588" y="3429486"/>
            <a:ext cx="0" cy="265658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Oval 523"/>
          <p:cNvSpPr>
            <a:spLocks noChangeArrowheads="1"/>
          </p:cNvSpPr>
          <p:nvPr/>
        </p:nvSpPr>
        <p:spPr bwMode="auto">
          <a:xfrm>
            <a:off x="6680195" y="4263201"/>
            <a:ext cx="1329373" cy="320768"/>
          </a:xfrm>
          <a:prstGeom prst="roundRect">
            <a:avLst>
              <a:gd name="adj" fmla="val 5000"/>
            </a:avLst>
          </a:prstGeom>
          <a:solidFill>
            <a:srgbClr val="FFFFFF"/>
          </a:solidFill>
          <a:ln w="12700" algn="ctr">
            <a:solidFill>
              <a:srgbClr val="609EC4"/>
            </a:solidFill>
            <a:round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 추가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 요청</a:t>
            </a:r>
          </a:p>
        </p:txBody>
      </p:sp>
      <p:sp>
        <p:nvSpPr>
          <p:cNvPr id="60" name="Oval 523"/>
          <p:cNvSpPr>
            <a:spLocks noChangeArrowheads="1"/>
          </p:cNvSpPr>
          <p:nvPr/>
        </p:nvSpPr>
        <p:spPr bwMode="auto">
          <a:xfrm>
            <a:off x="6680195" y="4800170"/>
            <a:ext cx="1329373" cy="320768"/>
          </a:xfrm>
          <a:prstGeom prst="roundRect">
            <a:avLst>
              <a:gd name="adj" fmla="val 5000"/>
            </a:avLst>
          </a:prstGeom>
          <a:solidFill>
            <a:srgbClr val="FFFFFF"/>
          </a:solidFill>
          <a:ln w="12700" algn="ctr">
            <a:solidFill>
              <a:srgbClr val="609EC4"/>
            </a:solidFill>
            <a:round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적정성 및 </a:t>
            </a:r>
            <a:endParaRPr lang="en-US" altLang="ko-KR" sz="10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중복 여부 검토</a:t>
            </a:r>
          </a:p>
        </p:txBody>
      </p:sp>
      <p:sp>
        <p:nvSpPr>
          <p:cNvPr id="61" name="AutoShape 103" descr="넓은 상향 대각선"/>
          <p:cNvSpPr>
            <a:spLocks noChangeArrowheads="1"/>
          </p:cNvSpPr>
          <p:nvPr/>
        </p:nvSpPr>
        <p:spPr bwMode="auto">
          <a:xfrm>
            <a:off x="6685846" y="5338552"/>
            <a:ext cx="1316658" cy="325008"/>
          </a:xfrm>
          <a:prstGeom prst="flowChartDecision">
            <a:avLst/>
          </a:prstGeom>
          <a:blipFill dpi="0" rotWithShape="1">
            <a:blip r:embed="rId3" cstate="print"/>
            <a:srcRect/>
            <a:stretch>
              <a:fillRect/>
            </a:stretch>
          </a:blip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적정</a:t>
            </a:r>
            <a:r>
              <a:rPr lang="en-US" altLang="ko-KR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?</a:t>
            </a:r>
            <a:endParaRPr lang="ko-KR" altLang="en-US" sz="1000" spc="-81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2" name="Oval 523"/>
          <p:cNvSpPr>
            <a:spLocks noChangeArrowheads="1"/>
          </p:cNvSpPr>
          <p:nvPr/>
        </p:nvSpPr>
        <p:spPr bwMode="auto">
          <a:xfrm>
            <a:off x="6680195" y="5881174"/>
            <a:ext cx="1329373" cy="320768"/>
          </a:xfrm>
          <a:prstGeom prst="roundRect">
            <a:avLst>
              <a:gd name="adj" fmla="val 5000"/>
            </a:avLst>
          </a:prstGeom>
          <a:solidFill>
            <a:srgbClr val="FFFFFF"/>
          </a:solidFill>
          <a:ln w="12700" algn="ctr">
            <a:solidFill>
              <a:srgbClr val="609EC4"/>
            </a:solidFill>
            <a:round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 추가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 승인</a:t>
            </a:r>
          </a:p>
        </p:txBody>
      </p:sp>
      <p:cxnSp>
        <p:nvCxnSpPr>
          <p:cNvPr id="63" name="직선 화살표 연결선 210"/>
          <p:cNvCxnSpPr>
            <a:cxnSpLocks noChangeShapeType="1"/>
            <a:stCxn id="57" idx="2"/>
            <a:endCxn id="59" idx="0"/>
          </p:cNvCxnSpPr>
          <p:nvPr/>
        </p:nvCxnSpPr>
        <p:spPr bwMode="auto">
          <a:xfrm>
            <a:off x="7345588" y="4045587"/>
            <a:ext cx="0" cy="217614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4" name="직선 화살표 연결선 210"/>
          <p:cNvCxnSpPr>
            <a:cxnSpLocks noChangeShapeType="1"/>
            <a:stCxn id="59" idx="2"/>
            <a:endCxn id="60" idx="0"/>
          </p:cNvCxnSpPr>
          <p:nvPr/>
        </p:nvCxnSpPr>
        <p:spPr bwMode="auto">
          <a:xfrm>
            <a:off x="7345588" y="4583969"/>
            <a:ext cx="0" cy="216201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5" name="직선 화살표 연결선 210"/>
          <p:cNvCxnSpPr>
            <a:cxnSpLocks noChangeShapeType="1"/>
            <a:stCxn id="60" idx="2"/>
            <a:endCxn id="61" idx="0"/>
          </p:cNvCxnSpPr>
          <p:nvPr/>
        </p:nvCxnSpPr>
        <p:spPr bwMode="auto">
          <a:xfrm>
            <a:off x="7345588" y="5120939"/>
            <a:ext cx="0" cy="217614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6" name="직선 화살표 연결선 210"/>
          <p:cNvCxnSpPr>
            <a:cxnSpLocks noChangeShapeType="1"/>
            <a:stCxn id="61" idx="2"/>
            <a:endCxn id="62" idx="0"/>
          </p:cNvCxnSpPr>
          <p:nvPr/>
        </p:nvCxnSpPr>
        <p:spPr bwMode="auto">
          <a:xfrm>
            <a:off x="7345588" y="5663560"/>
            <a:ext cx="0" cy="217614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7" name="직선 화살표 연결선 210"/>
          <p:cNvCxnSpPr>
            <a:cxnSpLocks noChangeShapeType="1"/>
            <a:stCxn id="57" idx="1"/>
          </p:cNvCxnSpPr>
          <p:nvPr/>
        </p:nvCxnSpPr>
        <p:spPr bwMode="auto">
          <a:xfrm rot="10800000" flipV="1">
            <a:off x="5754742" y="3870366"/>
            <a:ext cx="931105" cy="2010808"/>
          </a:xfrm>
          <a:prstGeom prst="bentConnector2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직선 화살표 연결선 210"/>
          <p:cNvCxnSpPr>
            <a:cxnSpLocks noChangeShapeType="1"/>
            <a:stCxn id="61" idx="1"/>
            <a:endCxn id="100" idx="0"/>
          </p:cNvCxnSpPr>
          <p:nvPr/>
        </p:nvCxnSpPr>
        <p:spPr bwMode="auto">
          <a:xfrm rot="10800000" flipV="1">
            <a:off x="5958928" y="5501056"/>
            <a:ext cx="726918" cy="382090"/>
          </a:xfrm>
          <a:prstGeom prst="bentConnector2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9" name="직선 화살표 연결선 210"/>
          <p:cNvCxnSpPr>
            <a:cxnSpLocks noChangeShapeType="1"/>
            <a:stCxn id="56" idx="3"/>
            <a:endCxn id="80" idx="0"/>
          </p:cNvCxnSpPr>
          <p:nvPr/>
        </p:nvCxnSpPr>
        <p:spPr bwMode="auto">
          <a:xfrm>
            <a:off x="8009568" y="2684088"/>
            <a:ext cx="792512" cy="376585"/>
          </a:xfrm>
          <a:prstGeom prst="bentConnector2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0" name="직선 화살표 연결선 210"/>
          <p:cNvCxnSpPr>
            <a:cxnSpLocks noChangeShapeType="1"/>
            <a:stCxn id="80" idx="1"/>
            <a:endCxn id="78" idx="3"/>
          </p:cNvCxnSpPr>
          <p:nvPr/>
        </p:nvCxnSpPr>
        <p:spPr bwMode="auto">
          <a:xfrm flipH="1" flipV="1">
            <a:off x="8013340" y="3267689"/>
            <a:ext cx="468052" cy="1413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직선 화살표 연결선 210"/>
          <p:cNvCxnSpPr>
            <a:cxnSpLocks noChangeShapeType="1"/>
            <a:stCxn id="62" idx="3"/>
            <a:endCxn id="80" idx="2"/>
          </p:cNvCxnSpPr>
          <p:nvPr/>
        </p:nvCxnSpPr>
        <p:spPr bwMode="auto">
          <a:xfrm flipV="1">
            <a:off x="8009568" y="3477531"/>
            <a:ext cx="792512" cy="2564027"/>
          </a:xfrm>
          <a:prstGeom prst="bentConnector2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3" name="Text Box 57"/>
          <p:cNvSpPr txBox="1">
            <a:spLocks noChangeArrowheads="1"/>
          </p:cNvSpPr>
          <p:nvPr/>
        </p:nvSpPr>
        <p:spPr bwMode="auto">
          <a:xfrm>
            <a:off x="6501172" y="3737537"/>
            <a:ext cx="73738" cy="1138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41918" fontAlgn="ctr">
              <a:lnSpc>
                <a:spcPct val="90000"/>
              </a:lnSpc>
              <a:defRPr/>
            </a:pPr>
            <a:r>
              <a:rPr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N</a:t>
            </a:r>
            <a:endParaRPr lang="ko-KR" altLang="en-US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4" name="Text Box 57"/>
          <p:cNvSpPr txBox="1">
            <a:spLocks noChangeArrowheads="1"/>
          </p:cNvSpPr>
          <p:nvPr/>
        </p:nvSpPr>
        <p:spPr bwMode="auto">
          <a:xfrm>
            <a:off x="6505410" y="5359748"/>
            <a:ext cx="73738" cy="1138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41918" fontAlgn="ctr">
              <a:lnSpc>
                <a:spcPct val="90000"/>
              </a:lnSpc>
              <a:defRPr/>
            </a:pPr>
            <a:r>
              <a:rPr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N</a:t>
            </a:r>
            <a:endParaRPr lang="ko-KR" altLang="en-US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5" name="Text Box 57"/>
          <p:cNvSpPr txBox="1">
            <a:spLocks noChangeArrowheads="1"/>
          </p:cNvSpPr>
          <p:nvPr/>
        </p:nvSpPr>
        <p:spPr bwMode="auto">
          <a:xfrm>
            <a:off x="7406156" y="4075262"/>
            <a:ext cx="62518" cy="1138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41918" fontAlgn="ctr">
              <a:lnSpc>
                <a:spcPct val="90000"/>
              </a:lnSpc>
              <a:defRPr/>
            </a:pPr>
            <a:r>
              <a:rPr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Y</a:t>
            </a:r>
            <a:endParaRPr lang="ko-KR" altLang="en-US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6" name="Text Box 57"/>
          <p:cNvSpPr txBox="1">
            <a:spLocks noChangeArrowheads="1"/>
          </p:cNvSpPr>
          <p:nvPr/>
        </p:nvSpPr>
        <p:spPr bwMode="auto">
          <a:xfrm>
            <a:off x="7407569" y="5713018"/>
            <a:ext cx="62518" cy="1138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41918" fontAlgn="ctr">
              <a:lnSpc>
                <a:spcPct val="90000"/>
              </a:lnSpc>
              <a:defRPr/>
            </a:pPr>
            <a:r>
              <a:rPr lang="en-US" altLang="ko-KR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Y</a:t>
            </a:r>
            <a:endParaRPr lang="ko-KR" altLang="en-US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8" name="Oval 523"/>
          <p:cNvSpPr>
            <a:spLocks noChangeArrowheads="1"/>
          </p:cNvSpPr>
          <p:nvPr/>
        </p:nvSpPr>
        <p:spPr bwMode="auto">
          <a:xfrm>
            <a:off x="6683967" y="3105891"/>
            <a:ext cx="1329373" cy="323595"/>
          </a:xfrm>
          <a:prstGeom prst="roundRect">
            <a:avLst>
              <a:gd name="adj" fmla="val 5000"/>
            </a:avLst>
          </a:prstGeom>
          <a:solidFill>
            <a:srgbClr val="FFFFFF"/>
          </a:solidFill>
          <a:ln w="12700" algn="ctr">
            <a:solidFill>
              <a:srgbClr val="609EC4"/>
            </a:solidFill>
            <a:round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링 수행</a:t>
            </a:r>
          </a:p>
        </p:txBody>
      </p:sp>
      <p:pic>
        <p:nvPicPr>
          <p:cNvPr id="80" name="Picture 512" descr="Untitled-2-0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392" y="3060673"/>
            <a:ext cx="641376" cy="416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F458"/>
          <p:cNvSpPr txBox="1">
            <a:spLocks noChangeAspect="1" noChangeArrowheads="1"/>
          </p:cNvSpPr>
          <p:nvPr/>
        </p:nvSpPr>
        <p:spPr bwMode="auto">
          <a:xfrm>
            <a:off x="8559092" y="3240134"/>
            <a:ext cx="485977" cy="154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2761">
              <a:defRPr/>
            </a:pPr>
            <a:r>
              <a:rPr lang="ko-KR" altLang="ko-KR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코드</a:t>
            </a:r>
          </a:p>
        </p:txBody>
      </p:sp>
      <p:sp>
        <p:nvSpPr>
          <p:cNvPr id="83" name="한쪽 모서리가 잘린 사각형 82"/>
          <p:cNvSpPr/>
          <p:nvPr/>
        </p:nvSpPr>
        <p:spPr>
          <a:xfrm>
            <a:off x="381002" y="2059594"/>
            <a:ext cx="4560893" cy="282884"/>
          </a:xfrm>
          <a:prstGeom prst="snip1Rect">
            <a:avLst>
              <a:gd name="adj" fmla="val 0"/>
            </a:avLst>
          </a:prstGeom>
          <a:solidFill>
            <a:srgbClr val="B2B2B2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sz="12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79319" y="2035757"/>
            <a:ext cx="2605535" cy="3139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2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코드 표준화 절차</a:t>
            </a:r>
          </a:p>
        </p:txBody>
      </p:sp>
      <p:sp>
        <p:nvSpPr>
          <p:cNvPr id="85" name="모서리가 둥근 직사각형 84"/>
          <p:cNvSpPr/>
          <p:nvPr/>
        </p:nvSpPr>
        <p:spPr>
          <a:xfrm>
            <a:off x="341319" y="2181041"/>
            <a:ext cx="216146" cy="399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86" name="모서리가 둥근 직사각형 85"/>
          <p:cNvSpPr/>
          <p:nvPr/>
        </p:nvSpPr>
        <p:spPr>
          <a:xfrm>
            <a:off x="4806710" y="2181041"/>
            <a:ext cx="216146" cy="399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88" name="한쪽 모서리가 잘린 사각형 87"/>
          <p:cNvSpPr/>
          <p:nvPr/>
        </p:nvSpPr>
        <p:spPr>
          <a:xfrm>
            <a:off x="5022850" y="2059594"/>
            <a:ext cx="4508501" cy="282884"/>
          </a:xfrm>
          <a:prstGeom prst="snip1Rect">
            <a:avLst>
              <a:gd name="adj" fmla="val 0"/>
            </a:avLst>
          </a:prstGeom>
          <a:solidFill>
            <a:srgbClr val="B2B2B2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sz="12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995638" y="2035757"/>
            <a:ext cx="2582918" cy="3139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2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코드 관리 절차</a:t>
            </a:r>
          </a:p>
        </p:txBody>
      </p:sp>
      <p:sp>
        <p:nvSpPr>
          <p:cNvPr id="90" name="모서리가 둥근 직사각형 89"/>
          <p:cNvSpPr/>
          <p:nvPr/>
        </p:nvSpPr>
        <p:spPr>
          <a:xfrm>
            <a:off x="4966648" y="2181041"/>
            <a:ext cx="214270" cy="399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9393278" y="2181041"/>
            <a:ext cx="214270" cy="3999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92" name="AutoShape 280"/>
          <p:cNvSpPr>
            <a:spLocks noChangeArrowheads="1"/>
          </p:cNvSpPr>
          <p:nvPr/>
        </p:nvSpPr>
        <p:spPr bwMode="gray">
          <a:xfrm>
            <a:off x="594454" y="2913599"/>
            <a:ext cx="1087796" cy="494140"/>
          </a:xfrm>
          <a:prstGeom prst="roundRect">
            <a:avLst>
              <a:gd name="adj" fmla="val 11847"/>
            </a:avLst>
          </a:prstGeom>
          <a:solidFill>
            <a:srgbClr val="B7E4FF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81660" latinLnBrk="0"/>
            <a:r>
              <a:rPr lang="ko-KR" altLang="en-US" sz="1000" dirty="0" smtClean="0"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itchFamily="2" charset="2"/>
              </a:rPr>
              <a:t>시스템 아키텍처</a:t>
            </a:r>
            <a:endParaRPr lang="en-US" altLang="ko-KR" sz="1000" dirty="0" smtClean="0">
              <a:latin typeface="KoPub돋움체 Bold" panose="02020603020101020101" pitchFamily="18" charset="-127"/>
              <a:ea typeface="KoPub돋움체 Bold" panose="02020603020101020101" pitchFamily="18" charset="-127"/>
              <a:sym typeface="Wingdings" pitchFamily="2" charset="2"/>
            </a:endParaRPr>
          </a:p>
          <a:p>
            <a:pPr algn="ctr" defTabSz="881660" latinLnBrk="0"/>
            <a:r>
              <a:rPr lang="ko-KR" altLang="en-US" sz="1000" dirty="0" smtClean="0"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itchFamily="2" charset="2"/>
              </a:rPr>
              <a:t>정의</a:t>
            </a:r>
            <a:endParaRPr lang="ko-KR" altLang="en-US" sz="1000" dirty="0">
              <a:latin typeface="KoPub돋움체 Bold" panose="02020603020101020101" pitchFamily="18" charset="-127"/>
              <a:ea typeface="KoPub돋움체 Bold" panose="02020603020101020101" pitchFamily="18" charset="-127"/>
              <a:sym typeface="Wingdings" pitchFamily="2" charset="2"/>
            </a:endParaRPr>
          </a:p>
        </p:txBody>
      </p:sp>
      <p:sp>
        <p:nvSpPr>
          <p:cNvPr id="93" name="AutoShape 281"/>
          <p:cNvSpPr>
            <a:spLocks noChangeArrowheads="1"/>
          </p:cNvSpPr>
          <p:nvPr/>
        </p:nvSpPr>
        <p:spPr bwMode="gray">
          <a:xfrm>
            <a:off x="594454" y="3484855"/>
            <a:ext cx="1087796" cy="976579"/>
          </a:xfrm>
          <a:prstGeom prst="roundRect">
            <a:avLst>
              <a:gd name="adj" fmla="val 11847"/>
            </a:avLst>
          </a:prstGeom>
          <a:solidFill>
            <a:srgbClr val="81CFFF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81660" latinLnBrk="0"/>
            <a:r>
              <a:rPr lang="ko-KR" altLang="en-US" sz="1000" dirty="0" smtClean="0"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itchFamily="2" charset="2"/>
              </a:rPr>
              <a:t>코드 수집</a:t>
            </a:r>
            <a:endParaRPr lang="en-US" altLang="ko-KR" sz="1000" dirty="0" smtClean="0">
              <a:latin typeface="KoPub돋움체 Bold" panose="02020603020101020101" pitchFamily="18" charset="-127"/>
              <a:ea typeface="KoPub돋움체 Bold" panose="02020603020101020101" pitchFamily="18" charset="-127"/>
              <a:sym typeface="Wingdings" pitchFamily="2" charset="2"/>
            </a:endParaRPr>
          </a:p>
          <a:p>
            <a:pPr algn="ctr" defTabSz="881660" latinLnBrk="0"/>
            <a:r>
              <a:rPr lang="ko-KR" altLang="en-US" sz="1000" dirty="0" smtClean="0"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itchFamily="2" charset="2"/>
              </a:rPr>
              <a:t>및</a:t>
            </a:r>
            <a:endParaRPr lang="en-US" altLang="ko-KR" sz="1000" dirty="0" smtClean="0">
              <a:latin typeface="KoPub돋움체 Bold" panose="02020603020101020101" pitchFamily="18" charset="-127"/>
              <a:ea typeface="KoPub돋움체 Bold" panose="02020603020101020101" pitchFamily="18" charset="-127"/>
              <a:sym typeface="Wingdings" pitchFamily="2" charset="2"/>
            </a:endParaRPr>
          </a:p>
          <a:p>
            <a:pPr algn="ctr" defTabSz="881660" latinLnBrk="0"/>
            <a:r>
              <a:rPr lang="ko-KR" altLang="en-US" sz="1000" dirty="0" smtClean="0"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itchFamily="2" charset="2"/>
              </a:rPr>
              <a:t>코드 분류</a:t>
            </a:r>
            <a:endParaRPr lang="ko-KR" altLang="en-US" sz="1000" dirty="0">
              <a:latin typeface="KoPub돋움체 Bold" panose="02020603020101020101" pitchFamily="18" charset="-127"/>
              <a:ea typeface="KoPub돋움체 Bold" panose="02020603020101020101" pitchFamily="18" charset="-127"/>
              <a:sym typeface="Wingdings" pitchFamily="2" charset="2"/>
            </a:endParaRPr>
          </a:p>
        </p:txBody>
      </p:sp>
      <p:sp>
        <p:nvSpPr>
          <p:cNvPr id="94" name="AutoShape 282"/>
          <p:cNvSpPr>
            <a:spLocks noChangeArrowheads="1"/>
          </p:cNvSpPr>
          <p:nvPr/>
        </p:nvSpPr>
        <p:spPr bwMode="gray">
          <a:xfrm>
            <a:off x="594454" y="4533205"/>
            <a:ext cx="1087796" cy="912019"/>
          </a:xfrm>
          <a:prstGeom prst="roundRect">
            <a:avLst>
              <a:gd name="adj" fmla="val 11847"/>
            </a:avLst>
          </a:prstGeom>
          <a:solidFill>
            <a:srgbClr val="2FB0FF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81660" latinLnBrk="0"/>
            <a:r>
              <a:rPr lang="ko-KR" altLang="en-US" sz="1000" dirty="0" smtClean="0"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itchFamily="2" charset="2"/>
              </a:rPr>
              <a:t>연동 기술</a:t>
            </a:r>
            <a:endParaRPr lang="ko-KR" altLang="en-US" sz="1000" dirty="0">
              <a:latin typeface="KoPub돋움체 Bold" panose="02020603020101020101" pitchFamily="18" charset="-127"/>
              <a:ea typeface="KoPub돋움체 Bold" panose="02020603020101020101" pitchFamily="18" charset="-127"/>
              <a:sym typeface="Wingdings" pitchFamily="2" charset="2"/>
            </a:endParaRPr>
          </a:p>
        </p:txBody>
      </p:sp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1936981" y="3456977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0" name="직선 연결선 10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1928664" y="4537097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2" name="Oval 295"/>
          <p:cNvSpPr>
            <a:spLocks noChangeArrowheads="1"/>
          </p:cNvSpPr>
          <p:nvPr/>
        </p:nvSpPr>
        <p:spPr bwMode="gray">
          <a:xfrm>
            <a:off x="1028564" y="3340996"/>
            <a:ext cx="207324" cy="187989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ko-KR" altLang="en-US" sz="900" dirty="0">
              <a:solidFill>
                <a:srgbClr val="5F5F5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sym typeface="Wingdings" pitchFamily="2" charset="2"/>
            </a:endParaRPr>
          </a:p>
        </p:txBody>
      </p:sp>
      <p:sp>
        <p:nvSpPr>
          <p:cNvPr id="114" name="AutoShape 297"/>
          <p:cNvSpPr>
            <a:spLocks noChangeArrowheads="1"/>
          </p:cNvSpPr>
          <p:nvPr/>
        </p:nvSpPr>
        <p:spPr bwMode="gray">
          <a:xfrm flipV="1">
            <a:off x="1069127" y="3421759"/>
            <a:ext cx="135211" cy="80662"/>
          </a:xfrm>
          <a:prstGeom prst="triangle">
            <a:avLst>
              <a:gd name="adj" fmla="val 50000"/>
            </a:avLst>
          </a:prstGeom>
          <a:solidFill>
            <a:srgbClr val="2FB0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ko-KR" altLang="en-US" sz="900" dirty="0">
              <a:solidFill>
                <a:srgbClr val="5F5F5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sym typeface="Wingdings" pitchFamily="2" charset="2"/>
            </a:endParaRPr>
          </a:p>
        </p:txBody>
      </p:sp>
      <p:sp>
        <p:nvSpPr>
          <p:cNvPr id="115" name="AutoShape 298"/>
          <p:cNvSpPr>
            <a:spLocks noChangeArrowheads="1"/>
          </p:cNvSpPr>
          <p:nvPr/>
        </p:nvSpPr>
        <p:spPr bwMode="gray">
          <a:xfrm flipV="1">
            <a:off x="1069127" y="3387993"/>
            <a:ext cx="135211" cy="80662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ko-KR" altLang="en-US" sz="900" dirty="0">
              <a:solidFill>
                <a:srgbClr val="5F5F5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sym typeface="Wingdings" pitchFamily="2" charset="2"/>
            </a:endParaRPr>
          </a:p>
        </p:txBody>
      </p:sp>
      <p:sp>
        <p:nvSpPr>
          <p:cNvPr id="96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39139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마트 모델링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DB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이블 작업 수행 시 고객사의 전사 표준 메타시스템과 메타데이터를 활용하여 표준 용어와 도메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코드 등을 데이터 모델에 적용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일관성을 유지하며 호환성과 확장성을 확보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9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9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00" name="Oval 523"/>
          <p:cNvSpPr>
            <a:spLocks noChangeArrowheads="1"/>
          </p:cNvSpPr>
          <p:nvPr/>
        </p:nvSpPr>
        <p:spPr bwMode="auto">
          <a:xfrm>
            <a:off x="5419458" y="5883146"/>
            <a:ext cx="1078939" cy="320768"/>
          </a:xfrm>
          <a:prstGeom prst="roundRect">
            <a:avLst>
              <a:gd name="adj" fmla="val 5000"/>
            </a:avLst>
          </a:prstGeom>
          <a:solidFill>
            <a:srgbClr val="FFFFFF"/>
          </a:solidFill>
          <a:ln w="12700" algn="ctr">
            <a:solidFill>
              <a:srgbClr val="609EC4"/>
            </a:solidFill>
            <a:round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 추가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 </a:t>
            </a:r>
            <a:r>
              <a:rPr lang="ko-KR" altLang="en-US" sz="10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반려</a:t>
            </a:r>
            <a:endParaRPr lang="ko-KR" altLang="en-US" sz="10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9" name="Oval 295"/>
          <p:cNvSpPr>
            <a:spLocks noChangeArrowheads="1"/>
          </p:cNvSpPr>
          <p:nvPr/>
        </p:nvSpPr>
        <p:spPr bwMode="gray">
          <a:xfrm>
            <a:off x="1028564" y="4393081"/>
            <a:ext cx="207324" cy="187989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ko-KR" altLang="en-US" sz="900" dirty="0">
              <a:solidFill>
                <a:srgbClr val="5F5F5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sym typeface="Wingdings" pitchFamily="2" charset="2"/>
            </a:endParaRPr>
          </a:p>
        </p:txBody>
      </p:sp>
      <p:sp>
        <p:nvSpPr>
          <p:cNvPr id="102" name="AutoShape 297"/>
          <p:cNvSpPr>
            <a:spLocks noChangeArrowheads="1"/>
          </p:cNvSpPr>
          <p:nvPr/>
        </p:nvSpPr>
        <p:spPr bwMode="gray">
          <a:xfrm flipV="1">
            <a:off x="1069127" y="4473844"/>
            <a:ext cx="135211" cy="80662"/>
          </a:xfrm>
          <a:prstGeom prst="triangle">
            <a:avLst>
              <a:gd name="adj" fmla="val 50000"/>
            </a:avLst>
          </a:prstGeom>
          <a:solidFill>
            <a:srgbClr val="2FB0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ko-KR" altLang="en-US" sz="900" dirty="0">
              <a:solidFill>
                <a:srgbClr val="5F5F5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sym typeface="Wingdings" pitchFamily="2" charset="2"/>
            </a:endParaRPr>
          </a:p>
        </p:txBody>
      </p:sp>
      <p:sp>
        <p:nvSpPr>
          <p:cNvPr id="103" name="AutoShape 298"/>
          <p:cNvSpPr>
            <a:spLocks noChangeArrowheads="1"/>
          </p:cNvSpPr>
          <p:nvPr/>
        </p:nvSpPr>
        <p:spPr bwMode="gray">
          <a:xfrm flipV="1">
            <a:off x="1069127" y="4440078"/>
            <a:ext cx="135211" cy="80662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ko-KR" altLang="en-US" sz="900" dirty="0">
              <a:solidFill>
                <a:srgbClr val="5F5F5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sym typeface="Wingdings" pitchFamily="2" charset="2"/>
            </a:endParaRPr>
          </a:p>
        </p:txBody>
      </p:sp>
      <p:sp>
        <p:nvSpPr>
          <p:cNvPr id="72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8644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8.3.2 </a:t>
            </a:r>
            <a:r>
              <a:rPr lang="ko-KR" altLang="en-US" dirty="0" smtClean="0"/>
              <a:t>데이터 표준화</a:t>
            </a:r>
            <a:endParaRPr lang="ko-KR" altLang="en-US" dirty="0"/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메타 활용 데이터 표준화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)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" name="AutoShape 11"/>
          <p:cNvSpPr>
            <a:spLocks noChangeArrowheads="1"/>
          </p:cNvSpPr>
          <p:nvPr/>
        </p:nvSpPr>
        <p:spPr bwMode="auto">
          <a:xfrm>
            <a:off x="722317" y="2066191"/>
            <a:ext cx="8839200" cy="603250"/>
          </a:xfrm>
          <a:prstGeom prst="roundRect">
            <a:avLst>
              <a:gd name="adj" fmla="val 5000"/>
            </a:avLst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0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KoPub돋움체 Medium" panose="02020603020101020101" pitchFamily="18" charset="-127"/>
            </a:endParaRPr>
          </a:p>
        </p:txBody>
      </p:sp>
      <p:sp>
        <p:nvSpPr>
          <p:cNvPr id="15" name="Text Box 265"/>
          <p:cNvSpPr txBox="1">
            <a:spLocks noChangeArrowheads="1"/>
          </p:cNvSpPr>
          <p:nvPr/>
        </p:nvSpPr>
        <p:spPr bwMode="gray">
          <a:xfrm>
            <a:off x="1965330" y="2094786"/>
            <a:ext cx="556081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marL="98425" indent="-98425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219075" indent="-119063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0388" indent="-90388" algn="l" defTabSz="892761">
              <a:lnSpc>
                <a:spcPct val="12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sym typeface="Wingdings" panose="05000000000000000000" pitchFamily="2" charset="2"/>
              </a:rPr>
              <a:t>전사 메타데이터 데이터 표준 가이드 준수 및 데이터 모델 표준화 검증</a:t>
            </a:r>
            <a:r>
              <a:rPr lang="en-US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/>
            </a:r>
            <a:br>
              <a:rPr lang="en-US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</a:br>
            <a:r>
              <a:rPr lang="en-US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- </a:t>
            </a:r>
            <a:r>
              <a:rPr lang="ko-KR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사용자 관점에서 정보 요구사항 분석이 가능하므로 시스템 분석자, 설계자, 개발자 간의 이해하기 쉬운 의사소통 수단 제공</a:t>
            </a:r>
            <a:r>
              <a:rPr lang="en-US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/>
            </a:r>
            <a:br>
              <a:rPr lang="en-US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</a:br>
            <a:r>
              <a:rPr lang="en-US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- </a:t>
            </a:r>
            <a:r>
              <a:rPr lang="ko-KR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통합</a:t>
            </a:r>
            <a:r>
              <a:rPr lang="en-US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데이터베이스</a:t>
            </a:r>
            <a:r>
              <a:rPr lang="ko-KR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 설계 용이, 데이터 중심의 분석을 통해 안정적인 </a:t>
            </a:r>
            <a:r>
              <a:rPr lang="ko-KR" altLang="en-US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데이터베이스 </a:t>
            </a:r>
            <a:r>
              <a:rPr lang="ko-KR" altLang="ko-KR" sz="1000" b="1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설계 지원 </a:t>
            </a:r>
          </a:p>
        </p:txBody>
      </p:sp>
      <p:pic>
        <p:nvPicPr>
          <p:cNvPr id="16" name="Picture 510" descr="말풍선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92" y="2058045"/>
            <a:ext cx="1466850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AutoShape 219"/>
          <p:cNvSpPr>
            <a:spLocks noChangeArrowheads="1"/>
          </p:cNvSpPr>
          <p:nvPr/>
        </p:nvSpPr>
        <p:spPr bwMode="gray">
          <a:xfrm>
            <a:off x="954043" y="2393509"/>
            <a:ext cx="6668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r>
              <a:rPr lang="ko-KR" altLang="en-US" sz="11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방안 및 효과</a:t>
            </a:r>
          </a:p>
        </p:txBody>
      </p:sp>
      <p:sp>
        <p:nvSpPr>
          <p:cNvPr id="18" name="Rectangle 387"/>
          <p:cNvSpPr>
            <a:spLocks noChangeArrowheads="1"/>
          </p:cNvSpPr>
          <p:nvPr/>
        </p:nvSpPr>
        <p:spPr bwMode="auto">
          <a:xfrm>
            <a:off x="1281113" y="2969475"/>
            <a:ext cx="8280400" cy="323850"/>
          </a:xfrm>
          <a:prstGeom prst="rect">
            <a:avLst/>
          </a:prstGeom>
          <a:solidFill>
            <a:srgbClr val="F8F8F8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" name="Rectangle 389"/>
          <p:cNvSpPr>
            <a:spLocks noChangeArrowheads="1"/>
          </p:cNvSpPr>
          <p:nvPr/>
        </p:nvSpPr>
        <p:spPr bwMode="auto">
          <a:xfrm>
            <a:off x="1281113" y="3328250"/>
            <a:ext cx="8280400" cy="1223962"/>
          </a:xfrm>
          <a:prstGeom prst="rect">
            <a:avLst/>
          </a:prstGeom>
          <a:solidFill>
            <a:srgbClr val="F8F8F8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" name="Rectangle 390"/>
          <p:cNvSpPr>
            <a:spLocks noChangeArrowheads="1"/>
          </p:cNvSpPr>
          <p:nvPr/>
        </p:nvSpPr>
        <p:spPr bwMode="auto">
          <a:xfrm>
            <a:off x="1281113" y="4587138"/>
            <a:ext cx="8280400" cy="828675"/>
          </a:xfrm>
          <a:prstGeom prst="rect">
            <a:avLst/>
          </a:prstGeom>
          <a:solidFill>
            <a:srgbClr val="F8F8F8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1" name="Rectangle 391"/>
          <p:cNvSpPr>
            <a:spLocks noChangeArrowheads="1"/>
          </p:cNvSpPr>
          <p:nvPr/>
        </p:nvSpPr>
        <p:spPr bwMode="auto">
          <a:xfrm>
            <a:off x="1281113" y="5452325"/>
            <a:ext cx="8280400" cy="936625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2" name="AutoShape 364"/>
          <p:cNvSpPr>
            <a:spLocks noChangeArrowheads="1"/>
          </p:cNvSpPr>
          <p:nvPr/>
        </p:nvSpPr>
        <p:spPr bwMode="auto">
          <a:xfrm>
            <a:off x="1284288" y="2717063"/>
            <a:ext cx="8277225" cy="252412"/>
          </a:xfrm>
          <a:prstGeom prst="roundRect">
            <a:avLst>
              <a:gd name="adj" fmla="val 5000"/>
            </a:avLst>
          </a:prstGeom>
          <a:solidFill>
            <a:srgbClr val="005E9E"/>
          </a:solidFill>
          <a:ln w="9525" algn="ctr">
            <a:noFill/>
            <a:miter lim="800000"/>
            <a:headEnd/>
            <a:tailEnd/>
          </a:ln>
          <a:extLst/>
        </p:spPr>
        <p:txBody>
          <a:bodyPr lIns="0" rIns="0" anchor="ctr"/>
          <a:lstStyle/>
          <a:p>
            <a:pPr algn="ctr"/>
            <a:endParaRPr lang="ko-KR" altLang="en-US" sz="1000" spc="-50" dirty="0">
              <a:ln>
                <a:solidFill>
                  <a:srgbClr val="D64E75">
                    <a:alpha val="0"/>
                  </a:srgb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25" name="Group 370"/>
          <p:cNvGrpSpPr>
            <a:grpSpLocks/>
          </p:cNvGrpSpPr>
          <p:nvPr/>
        </p:nvGrpSpPr>
        <p:grpSpPr bwMode="auto">
          <a:xfrm>
            <a:off x="3259138" y="2717063"/>
            <a:ext cx="254000" cy="252412"/>
            <a:chOff x="2053" y="1752"/>
            <a:chExt cx="160" cy="159"/>
          </a:xfrm>
        </p:grpSpPr>
        <p:grpSp>
          <p:nvGrpSpPr>
            <p:cNvPr id="27" name="Group 477"/>
            <p:cNvGrpSpPr>
              <a:grpSpLocks/>
            </p:cNvGrpSpPr>
            <p:nvPr/>
          </p:nvGrpSpPr>
          <p:grpSpPr bwMode="auto">
            <a:xfrm>
              <a:off x="2053" y="1752"/>
              <a:ext cx="109" cy="159"/>
              <a:chOff x="-359" y="2213"/>
              <a:chExt cx="91" cy="181"/>
            </a:xfrm>
          </p:grpSpPr>
          <p:pic>
            <p:nvPicPr>
              <p:cNvPr id="29" name="Picture 478" descr="악세사리"/>
              <p:cNvPicPr preferRelativeResize="0">
                <a:picLocks noChangeArrowheads="1"/>
              </p:cNvPicPr>
              <p:nvPr/>
            </p:nvPicPr>
            <p:blipFill>
              <a:blip r:embed="rId3" cstate="print">
                <a:lum bright="24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817" b="19212"/>
              <a:stretch>
                <a:fillRect/>
              </a:stretch>
            </p:blipFill>
            <p:spPr bwMode="gray">
              <a:xfrm rot="10800000">
                <a:off x="-359" y="2213"/>
                <a:ext cx="9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Picture 479" descr="악세사리"/>
              <p:cNvPicPr preferRelativeResize="0">
                <a:picLocks noChangeArrowheads="1"/>
              </p:cNvPicPr>
              <p:nvPr/>
            </p:nvPicPr>
            <p:blipFill>
              <a:blip r:embed="rId3" cstate="print">
                <a:lum bright="24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817" b="19212"/>
              <a:stretch>
                <a:fillRect/>
              </a:stretch>
            </p:blipFill>
            <p:spPr bwMode="gray">
              <a:xfrm rot="10800000">
                <a:off x="-359" y="2213"/>
                <a:ext cx="9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8" name="Picture 586" descr="그림6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85"/>
            <a:stretch>
              <a:fillRect/>
            </a:stretch>
          </p:blipFill>
          <p:spPr bwMode="auto">
            <a:xfrm>
              <a:off x="2119" y="1786"/>
              <a:ext cx="94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Line 381"/>
          <p:cNvSpPr>
            <a:spLocks noChangeShapeType="1"/>
          </p:cNvSpPr>
          <p:nvPr/>
        </p:nvSpPr>
        <p:spPr bwMode="auto">
          <a:xfrm>
            <a:off x="3430588" y="3004400"/>
            <a:ext cx="0" cy="2413000"/>
          </a:xfrm>
          <a:prstGeom prst="line">
            <a:avLst/>
          </a:prstGeom>
          <a:noFill/>
          <a:ln w="6350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rgbClr val="CACACA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sz="900" dirty="0">
              <a:solidFill>
                <a:srgbClr val="0033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32" name="Group 371"/>
          <p:cNvGrpSpPr>
            <a:grpSpLocks/>
          </p:cNvGrpSpPr>
          <p:nvPr/>
        </p:nvGrpSpPr>
        <p:grpSpPr bwMode="auto">
          <a:xfrm>
            <a:off x="5270501" y="2717063"/>
            <a:ext cx="254000" cy="252412"/>
            <a:chOff x="2053" y="1752"/>
            <a:chExt cx="160" cy="159"/>
          </a:xfrm>
        </p:grpSpPr>
        <p:grpSp>
          <p:nvGrpSpPr>
            <p:cNvPr id="34" name="Group 477"/>
            <p:cNvGrpSpPr>
              <a:grpSpLocks/>
            </p:cNvGrpSpPr>
            <p:nvPr/>
          </p:nvGrpSpPr>
          <p:grpSpPr bwMode="auto">
            <a:xfrm>
              <a:off x="2053" y="1752"/>
              <a:ext cx="109" cy="159"/>
              <a:chOff x="-359" y="2213"/>
              <a:chExt cx="91" cy="181"/>
            </a:xfrm>
          </p:grpSpPr>
          <p:pic>
            <p:nvPicPr>
              <p:cNvPr id="36" name="Picture 478" descr="악세사리"/>
              <p:cNvPicPr preferRelativeResize="0">
                <a:picLocks noChangeArrowheads="1"/>
              </p:cNvPicPr>
              <p:nvPr/>
            </p:nvPicPr>
            <p:blipFill>
              <a:blip r:embed="rId3" cstate="print">
                <a:lum bright="24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817" b="19212"/>
              <a:stretch>
                <a:fillRect/>
              </a:stretch>
            </p:blipFill>
            <p:spPr bwMode="gray">
              <a:xfrm rot="10800000">
                <a:off x="-359" y="2213"/>
                <a:ext cx="9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Picture 479" descr="악세사리"/>
              <p:cNvPicPr preferRelativeResize="0">
                <a:picLocks noChangeArrowheads="1"/>
              </p:cNvPicPr>
              <p:nvPr/>
            </p:nvPicPr>
            <p:blipFill>
              <a:blip r:embed="rId3" cstate="print">
                <a:lum bright="24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817" b="19212"/>
              <a:stretch>
                <a:fillRect/>
              </a:stretch>
            </p:blipFill>
            <p:spPr bwMode="gray">
              <a:xfrm rot="10800000">
                <a:off x="-359" y="2213"/>
                <a:ext cx="9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5" name="Picture 586" descr="그림6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85"/>
            <a:stretch>
              <a:fillRect/>
            </a:stretch>
          </p:blipFill>
          <p:spPr bwMode="auto">
            <a:xfrm>
              <a:off x="2119" y="1786"/>
              <a:ext cx="94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3" name="Line 382"/>
          <p:cNvSpPr>
            <a:spLocks noChangeShapeType="1"/>
          </p:cNvSpPr>
          <p:nvPr/>
        </p:nvSpPr>
        <p:spPr bwMode="auto">
          <a:xfrm>
            <a:off x="5441951" y="3004400"/>
            <a:ext cx="0" cy="2413000"/>
          </a:xfrm>
          <a:prstGeom prst="line">
            <a:avLst/>
          </a:prstGeom>
          <a:noFill/>
          <a:ln w="6350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rgbClr val="CACACA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sz="900" dirty="0">
              <a:solidFill>
                <a:srgbClr val="0033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39" name="Group 376"/>
          <p:cNvGrpSpPr>
            <a:grpSpLocks/>
          </p:cNvGrpSpPr>
          <p:nvPr/>
        </p:nvGrpSpPr>
        <p:grpSpPr bwMode="auto">
          <a:xfrm>
            <a:off x="7254876" y="2717063"/>
            <a:ext cx="254000" cy="252412"/>
            <a:chOff x="2053" y="1752"/>
            <a:chExt cx="160" cy="159"/>
          </a:xfrm>
        </p:grpSpPr>
        <p:grpSp>
          <p:nvGrpSpPr>
            <p:cNvPr id="41" name="Group 477"/>
            <p:cNvGrpSpPr>
              <a:grpSpLocks/>
            </p:cNvGrpSpPr>
            <p:nvPr/>
          </p:nvGrpSpPr>
          <p:grpSpPr bwMode="auto">
            <a:xfrm>
              <a:off x="2053" y="1752"/>
              <a:ext cx="109" cy="159"/>
              <a:chOff x="-359" y="2213"/>
              <a:chExt cx="91" cy="181"/>
            </a:xfrm>
          </p:grpSpPr>
          <p:pic>
            <p:nvPicPr>
              <p:cNvPr id="43" name="Picture 478" descr="악세사리"/>
              <p:cNvPicPr preferRelativeResize="0">
                <a:picLocks noChangeArrowheads="1"/>
              </p:cNvPicPr>
              <p:nvPr/>
            </p:nvPicPr>
            <p:blipFill>
              <a:blip r:embed="rId3" cstate="print">
                <a:lum bright="24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817" b="19212"/>
              <a:stretch>
                <a:fillRect/>
              </a:stretch>
            </p:blipFill>
            <p:spPr bwMode="gray">
              <a:xfrm rot="10800000">
                <a:off x="-359" y="2213"/>
                <a:ext cx="9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4" name="Picture 479" descr="악세사리"/>
              <p:cNvPicPr preferRelativeResize="0">
                <a:picLocks noChangeArrowheads="1"/>
              </p:cNvPicPr>
              <p:nvPr/>
            </p:nvPicPr>
            <p:blipFill>
              <a:blip r:embed="rId3" cstate="print">
                <a:lum bright="24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817" b="19212"/>
              <a:stretch>
                <a:fillRect/>
              </a:stretch>
            </p:blipFill>
            <p:spPr bwMode="gray">
              <a:xfrm rot="10800000">
                <a:off x="-359" y="2213"/>
                <a:ext cx="9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42" name="Picture 586" descr="그림6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85"/>
            <a:stretch>
              <a:fillRect/>
            </a:stretch>
          </p:blipFill>
          <p:spPr bwMode="auto">
            <a:xfrm>
              <a:off x="2119" y="1786"/>
              <a:ext cx="94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0" name="Line 383"/>
          <p:cNvSpPr>
            <a:spLocks noChangeShapeType="1"/>
          </p:cNvSpPr>
          <p:nvPr/>
        </p:nvSpPr>
        <p:spPr bwMode="auto">
          <a:xfrm>
            <a:off x="7423151" y="3004400"/>
            <a:ext cx="0" cy="2413000"/>
          </a:xfrm>
          <a:prstGeom prst="line">
            <a:avLst/>
          </a:prstGeom>
          <a:noFill/>
          <a:ln w="6350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rgbClr val="CACACA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sz="900" dirty="0">
              <a:solidFill>
                <a:srgbClr val="0033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5" name="AutoShape 94"/>
          <p:cNvSpPr>
            <a:spLocks noChangeArrowheads="1"/>
          </p:cNvSpPr>
          <p:nvPr/>
        </p:nvSpPr>
        <p:spPr bwMode="auto">
          <a:xfrm>
            <a:off x="2032001" y="2756750"/>
            <a:ext cx="6667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요구사항 분석</a:t>
            </a:r>
          </a:p>
        </p:txBody>
      </p:sp>
      <p:sp>
        <p:nvSpPr>
          <p:cNvPr id="46" name="AutoShape 94"/>
          <p:cNvSpPr>
            <a:spLocks noChangeArrowheads="1"/>
          </p:cNvSpPr>
          <p:nvPr/>
        </p:nvSpPr>
        <p:spPr bwMode="auto">
          <a:xfrm>
            <a:off x="4227513" y="2756750"/>
            <a:ext cx="5588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논리 모델링</a:t>
            </a:r>
          </a:p>
        </p:txBody>
      </p:sp>
      <p:sp>
        <p:nvSpPr>
          <p:cNvPr id="47" name="AutoShape 94"/>
          <p:cNvSpPr>
            <a:spLocks noChangeArrowheads="1"/>
          </p:cNvSpPr>
          <p:nvPr/>
        </p:nvSpPr>
        <p:spPr bwMode="auto">
          <a:xfrm>
            <a:off x="6238876" y="2756750"/>
            <a:ext cx="5588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물리 모델링</a:t>
            </a:r>
          </a:p>
        </p:txBody>
      </p:sp>
      <p:sp>
        <p:nvSpPr>
          <p:cNvPr id="48" name="AutoShape 94"/>
          <p:cNvSpPr>
            <a:spLocks noChangeArrowheads="1"/>
          </p:cNvSpPr>
          <p:nvPr/>
        </p:nvSpPr>
        <p:spPr bwMode="auto">
          <a:xfrm>
            <a:off x="8290261" y="2756799"/>
            <a:ext cx="4231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변경관리</a:t>
            </a:r>
          </a:p>
        </p:txBody>
      </p:sp>
      <p:sp>
        <p:nvSpPr>
          <p:cNvPr id="50" name="F170" descr="넓은 상향 대각선"/>
          <p:cNvSpPr>
            <a:spLocks noChangeArrowheads="1"/>
          </p:cNvSpPr>
          <p:nvPr/>
        </p:nvSpPr>
        <p:spPr bwMode="auto">
          <a:xfrm>
            <a:off x="430213" y="2969475"/>
            <a:ext cx="779463" cy="323850"/>
          </a:xfrm>
          <a:prstGeom prst="rect">
            <a:avLst/>
          </a:prstGeom>
          <a:solidFill>
            <a:srgbClr val="ECF7FE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51" name="F170"/>
          <p:cNvSpPr>
            <a:spLocks noChangeArrowheads="1"/>
          </p:cNvSpPr>
          <p:nvPr/>
        </p:nvSpPr>
        <p:spPr bwMode="auto">
          <a:xfrm>
            <a:off x="1209676" y="2969475"/>
            <a:ext cx="71438" cy="323850"/>
          </a:xfrm>
          <a:prstGeom prst="rect">
            <a:avLst/>
          </a:prstGeom>
          <a:gradFill rotWithShape="1">
            <a:gsLst>
              <a:gs pos="0">
                <a:srgbClr val="B0B0B0"/>
              </a:gs>
              <a:gs pos="100000">
                <a:srgbClr val="F8F8F8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52" name="F170" descr="넓은 상향 대각선"/>
          <p:cNvSpPr>
            <a:spLocks noChangeArrowheads="1"/>
          </p:cNvSpPr>
          <p:nvPr/>
        </p:nvSpPr>
        <p:spPr bwMode="auto">
          <a:xfrm>
            <a:off x="430213" y="3328250"/>
            <a:ext cx="779463" cy="1223962"/>
          </a:xfrm>
          <a:prstGeom prst="rect">
            <a:avLst/>
          </a:prstGeom>
          <a:solidFill>
            <a:srgbClr val="ECF7FE"/>
          </a:solidFill>
          <a:ln>
            <a:noFill/>
          </a:ln>
          <a:extLst/>
        </p:spPr>
        <p:txBody>
          <a:bodyPr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3" name="F170"/>
          <p:cNvSpPr>
            <a:spLocks noChangeArrowheads="1"/>
          </p:cNvSpPr>
          <p:nvPr/>
        </p:nvSpPr>
        <p:spPr bwMode="auto">
          <a:xfrm>
            <a:off x="1209676" y="3328250"/>
            <a:ext cx="71438" cy="1223962"/>
          </a:xfrm>
          <a:prstGeom prst="rect">
            <a:avLst/>
          </a:prstGeom>
          <a:gradFill rotWithShape="1">
            <a:gsLst>
              <a:gs pos="0">
                <a:srgbClr val="B0B0B0"/>
              </a:gs>
              <a:gs pos="100000">
                <a:srgbClr val="F8F8F8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6" name="F170" descr="넓은 상향 대각선"/>
          <p:cNvSpPr>
            <a:spLocks noChangeArrowheads="1"/>
          </p:cNvSpPr>
          <p:nvPr/>
        </p:nvSpPr>
        <p:spPr bwMode="auto">
          <a:xfrm>
            <a:off x="430213" y="4587138"/>
            <a:ext cx="779463" cy="830262"/>
          </a:xfrm>
          <a:prstGeom prst="rect">
            <a:avLst/>
          </a:prstGeom>
          <a:solidFill>
            <a:srgbClr val="ECF7FE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7" name="F170"/>
          <p:cNvSpPr>
            <a:spLocks noChangeArrowheads="1"/>
          </p:cNvSpPr>
          <p:nvPr/>
        </p:nvSpPr>
        <p:spPr bwMode="auto">
          <a:xfrm>
            <a:off x="1209676" y="4587138"/>
            <a:ext cx="71438" cy="830262"/>
          </a:xfrm>
          <a:prstGeom prst="rect">
            <a:avLst/>
          </a:prstGeom>
          <a:gradFill rotWithShape="1">
            <a:gsLst>
              <a:gs pos="0">
                <a:srgbClr val="B0B0B0"/>
              </a:gs>
              <a:gs pos="100000">
                <a:srgbClr val="F8F8F8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9" name="F170" descr="넓은 상향 대각선"/>
          <p:cNvSpPr>
            <a:spLocks noChangeArrowheads="1"/>
          </p:cNvSpPr>
          <p:nvPr/>
        </p:nvSpPr>
        <p:spPr bwMode="auto">
          <a:xfrm>
            <a:off x="430213" y="5452325"/>
            <a:ext cx="779463" cy="936625"/>
          </a:xfrm>
          <a:prstGeom prst="rect">
            <a:avLst/>
          </a:prstGeom>
          <a:solidFill>
            <a:srgbClr val="005E9E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0" name="F170"/>
          <p:cNvSpPr>
            <a:spLocks noChangeArrowheads="1"/>
          </p:cNvSpPr>
          <p:nvPr/>
        </p:nvSpPr>
        <p:spPr bwMode="auto">
          <a:xfrm>
            <a:off x="1209676" y="5452325"/>
            <a:ext cx="71438" cy="936625"/>
          </a:xfrm>
          <a:prstGeom prst="rect">
            <a:avLst/>
          </a:prstGeom>
          <a:gradFill rotWithShape="1">
            <a:gsLst>
              <a:gs pos="0">
                <a:srgbClr val="B0B0B0"/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1" name="AutoShape 94"/>
          <p:cNvSpPr>
            <a:spLocks noChangeArrowheads="1"/>
          </p:cNvSpPr>
          <p:nvPr/>
        </p:nvSpPr>
        <p:spPr bwMode="auto">
          <a:xfrm>
            <a:off x="688976" y="3063138"/>
            <a:ext cx="20637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업</a:t>
            </a:r>
          </a:p>
        </p:txBody>
      </p:sp>
      <p:sp>
        <p:nvSpPr>
          <p:cNvPr id="62" name="AutoShape 94"/>
          <p:cNvSpPr>
            <a:spLocks noChangeArrowheads="1"/>
          </p:cNvSpPr>
          <p:nvPr/>
        </p:nvSpPr>
        <p:spPr bwMode="auto">
          <a:xfrm>
            <a:off x="527051" y="3864825"/>
            <a:ext cx="53498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업무 설계자</a:t>
            </a:r>
          </a:p>
        </p:txBody>
      </p:sp>
      <p:sp>
        <p:nvSpPr>
          <p:cNvPr id="63" name="AutoShape 94"/>
          <p:cNvSpPr>
            <a:spLocks noChangeArrowheads="1"/>
          </p:cNvSpPr>
          <p:nvPr/>
        </p:nvSpPr>
        <p:spPr bwMode="auto">
          <a:xfrm>
            <a:off x="527051" y="4847488"/>
            <a:ext cx="5349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데이터 표준</a:t>
            </a:r>
          </a:p>
          <a:p>
            <a:pPr algn="ctr" latinLnBrk="0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관리자</a:t>
            </a:r>
          </a:p>
        </p:txBody>
      </p:sp>
      <p:sp>
        <p:nvSpPr>
          <p:cNvPr id="64" name="AutoShape 94"/>
          <p:cNvSpPr>
            <a:spLocks noChangeArrowheads="1"/>
          </p:cNvSpPr>
          <p:nvPr/>
        </p:nvSpPr>
        <p:spPr bwMode="auto">
          <a:xfrm>
            <a:off x="527051" y="5766650"/>
            <a:ext cx="5349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메타 데이터</a:t>
            </a:r>
          </a:p>
          <a:p>
            <a:pPr algn="ctr" latinLnBrk="0">
              <a:buClr>
                <a:srgbClr val="808080"/>
              </a:buClr>
              <a:buSzPct val="80000"/>
              <a:buFont typeface="Wingdings" panose="05000000000000000000" pitchFamily="2" charset="2"/>
              <a:buNone/>
            </a:pP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관리 시스템</a:t>
            </a:r>
          </a:p>
        </p:txBody>
      </p:sp>
      <p:sp>
        <p:nvSpPr>
          <p:cNvPr id="65" name="Text Box 57"/>
          <p:cNvSpPr txBox="1">
            <a:spLocks noChangeArrowheads="1"/>
          </p:cNvSpPr>
          <p:nvPr/>
        </p:nvSpPr>
        <p:spPr bwMode="auto">
          <a:xfrm>
            <a:off x="1817272" y="5547625"/>
            <a:ext cx="112415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fontAlgn="ctr" latinLnBrk="0"/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 표준 및 사전 적재</a:t>
            </a:r>
          </a:p>
        </p:txBody>
      </p:sp>
      <p:sp>
        <p:nvSpPr>
          <p:cNvPr id="66" name="Rectangle 176"/>
          <p:cNvSpPr>
            <a:spLocks noChangeArrowheads="1"/>
          </p:cNvSpPr>
          <p:nvPr/>
        </p:nvSpPr>
        <p:spPr bwMode="auto">
          <a:xfrm>
            <a:off x="1373195" y="4664925"/>
            <a:ext cx="987425" cy="36036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 표준</a:t>
            </a:r>
            <a:endParaRPr lang="en-US" altLang="ko-KR" sz="9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침</a:t>
            </a:r>
            <a:r>
              <a:rPr lang="en-US" altLang="ko-KR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규칙제정</a:t>
            </a:r>
          </a:p>
        </p:txBody>
      </p:sp>
      <p:sp>
        <p:nvSpPr>
          <p:cNvPr id="67" name="Rectangle 176"/>
          <p:cNvSpPr>
            <a:spLocks noChangeArrowheads="1"/>
          </p:cNvSpPr>
          <p:nvPr/>
        </p:nvSpPr>
        <p:spPr bwMode="auto">
          <a:xfrm>
            <a:off x="2305057" y="5093550"/>
            <a:ext cx="987425" cy="2159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데이터 개발</a:t>
            </a:r>
          </a:p>
        </p:txBody>
      </p:sp>
      <p:sp>
        <p:nvSpPr>
          <p:cNvPr id="68" name="Rectangle 176"/>
          <p:cNvSpPr>
            <a:spLocks noChangeArrowheads="1"/>
          </p:cNvSpPr>
          <p:nvPr/>
        </p:nvSpPr>
        <p:spPr bwMode="auto">
          <a:xfrm>
            <a:off x="2860675" y="3061553"/>
            <a:ext cx="431800" cy="6842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토</a:t>
            </a:r>
          </a:p>
        </p:txBody>
      </p:sp>
      <p:sp>
        <p:nvSpPr>
          <p:cNvPr id="69" name="Rectangle 176"/>
          <p:cNvSpPr>
            <a:spLocks noChangeArrowheads="1"/>
          </p:cNvSpPr>
          <p:nvPr/>
        </p:nvSpPr>
        <p:spPr bwMode="auto">
          <a:xfrm>
            <a:off x="8939215" y="3760050"/>
            <a:ext cx="493712" cy="71437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변경사항 반영</a:t>
            </a:r>
          </a:p>
        </p:txBody>
      </p:sp>
      <p:sp>
        <p:nvSpPr>
          <p:cNvPr id="70" name="Oval 296" descr="볼1"/>
          <p:cNvSpPr>
            <a:spLocks noChangeArrowheads="1"/>
          </p:cNvSpPr>
          <p:nvPr/>
        </p:nvSpPr>
        <p:spPr bwMode="auto">
          <a:xfrm>
            <a:off x="4583113" y="3839425"/>
            <a:ext cx="827087" cy="827088"/>
          </a:xfrm>
          <a:prstGeom prst="ellipse">
            <a:avLst/>
          </a:prstGeom>
          <a:pattFill prst="wdUpDiag">
            <a:fgClr>
              <a:srgbClr val="7EB0CF"/>
            </a:fgClr>
            <a:bgClr>
              <a:srgbClr val="609EC4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데이터 모델</a:t>
            </a:r>
            <a:endParaRPr lang="en-US" altLang="ko-KR" sz="1000" spc="-81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F8F8F8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 latinLnBrk="0"/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표준 검증</a:t>
            </a:r>
          </a:p>
        </p:txBody>
      </p:sp>
      <p:cxnSp>
        <p:nvCxnSpPr>
          <p:cNvPr id="71" name="직선 화살표 연결선 117"/>
          <p:cNvCxnSpPr>
            <a:cxnSpLocks noChangeShapeType="1"/>
          </p:cNvCxnSpPr>
          <p:nvPr/>
        </p:nvCxnSpPr>
        <p:spPr bwMode="auto">
          <a:xfrm rot="16200000" flipH="1">
            <a:off x="1959776" y="4913369"/>
            <a:ext cx="176212" cy="438150"/>
          </a:xfrm>
          <a:prstGeom prst="bentConnector2">
            <a:avLst/>
          </a:prstGeom>
          <a:noFill/>
          <a:ln w="9525" algn="ctr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직선 화살표 연결선 117"/>
          <p:cNvCxnSpPr>
            <a:cxnSpLocks noChangeShapeType="1"/>
            <a:stCxn id="67" idx="0"/>
            <a:endCxn id="68" idx="2"/>
          </p:cNvCxnSpPr>
          <p:nvPr/>
        </p:nvCxnSpPr>
        <p:spPr bwMode="auto">
          <a:xfrm rot="-5400000">
            <a:off x="2263780" y="4280751"/>
            <a:ext cx="1347787" cy="277812"/>
          </a:xfrm>
          <a:prstGeom prst="bentConnector3">
            <a:avLst>
              <a:gd name="adj1" fmla="val 50060"/>
            </a:avLst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직선 화살표 연결선 117"/>
          <p:cNvCxnSpPr>
            <a:cxnSpLocks noChangeShapeType="1"/>
            <a:stCxn id="97" idx="3"/>
            <a:endCxn id="90" idx="1"/>
          </p:cNvCxnSpPr>
          <p:nvPr/>
        </p:nvCxnSpPr>
        <p:spPr bwMode="auto">
          <a:xfrm>
            <a:off x="2360614" y="4082320"/>
            <a:ext cx="1216025" cy="712787"/>
          </a:xfrm>
          <a:prstGeom prst="bentConnector3">
            <a:avLst>
              <a:gd name="adj1" fmla="val 49870"/>
            </a:avLst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4" name="Oval 296" descr="볼1"/>
          <p:cNvSpPr>
            <a:spLocks noChangeArrowheads="1"/>
          </p:cNvSpPr>
          <p:nvPr/>
        </p:nvSpPr>
        <p:spPr bwMode="auto">
          <a:xfrm>
            <a:off x="2468564" y="4055328"/>
            <a:ext cx="827087" cy="827088"/>
          </a:xfrm>
          <a:prstGeom prst="ellipse">
            <a:avLst/>
          </a:prstGeom>
          <a:pattFill prst="wdUpDiag">
            <a:fgClr>
              <a:srgbClr val="7EB0CF"/>
            </a:fgClr>
            <a:bgClr>
              <a:srgbClr val="609EC4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데이터</a:t>
            </a:r>
            <a:b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</a:b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사전을 통한</a:t>
            </a:r>
            <a:b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</a:b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표준 활용</a:t>
            </a:r>
          </a:p>
        </p:txBody>
      </p:sp>
      <p:cxnSp>
        <p:nvCxnSpPr>
          <p:cNvPr id="75" name="직선 화살표 연결선 117"/>
          <p:cNvCxnSpPr>
            <a:cxnSpLocks noChangeShapeType="1"/>
            <a:stCxn id="95" idx="3"/>
            <a:endCxn id="83" idx="1"/>
          </p:cNvCxnSpPr>
          <p:nvPr/>
        </p:nvCxnSpPr>
        <p:spPr bwMode="auto">
          <a:xfrm flipV="1">
            <a:off x="4479932" y="3404457"/>
            <a:ext cx="436563" cy="244475"/>
          </a:xfrm>
          <a:prstGeom prst="bentConnector3">
            <a:avLst>
              <a:gd name="adj1" fmla="val 49819"/>
            </a:avLst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직선 화살표 연결선 117"/>
          <p:cNvCxnSpPr>
            <a:cxnSpLocks noChangeShapeType="1"/>
            <a:stCxn id="86" idx="2"/>
            <a:endCxn id="88" idx="1"/>
          </p:cNvCxnSpPr>
          <p:nvPr/>
        </p:nvCxnSpPr>
        <p:spPr bwMode="auto">
          <a:xfrm rot="16200000" flipH="1">
            <a:off x="6106319" y="4091046"/>
            <a:ext cx="168275" cy="373063"/>
          </a:xfrm>
          <a:prstGeom prst="bentConnector2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직선 화살표 연결선 117"/>
          <p:cNvCxnSpPr>
            <a:cxnSpLocks noChangeShapeType="1"/>
            <a:stCxn id="92" idx="2"/>
            <a:endCxn id="87" idx="0"/>
          </p:cNvCxnSpPr>
          <p:nvPr/>
        </p:nvCxnSpPr>
        <p:spPr bwMode="auto">
          <a:xfrm>
            <a:off x="6003925" y="3421913"/>
            <a:ext cx="0" cy="144462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8" name="Text Box 57"/>
          <p:cNvSpPr txBox="1">
            <a:spLocks noChangeArrowheads="1"/>
          </p:cNvSpPr>
          <p:nvPr/>
        </p:nvSpPr>
        <p:spPr bwMode="auto">
          <a:xfrm>
            <a:off x="4954220" y="5547625"/>
            <a:ext cx="76572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fontAlgn="ctr" latinLnBrk="0"/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 모델 적재</a:t>
            </a:r>
          </a:p>
        </p:txBody>
      </p:sp>
      <p:sp>
        <p:nvSpPr>
          <p:cNvPr id="79" name="Text Box 57"/>
          <p:cNvSpPr txBox="1">
            <a:spLocks noChangeArrowheads="1"/>
          </p:cNvSpPr>
          <p:nvPr/>
        </p:nvSpPr>
        <p:spPr bwMode="auto">
          <a:xfrm>
            <a:off x="7759914" y="5547625"/>
            <a:ext cx="107119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fontAlgn="ctr" latinLnBrk="0"/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베이스 정보 적재</a:t>
            </a:r>
          </a:p>
        </p:txBody>
      </p:sp>
      <p:cxnSp>
        <p:nvCxnSpPr>
          <p:cNvPr id="80" name="직선 화살표 연결선 117"/>
          <p:cNvCxnSpPr>
            <a:cxnSpLocks noChangeShapeType="1"/>
            <a:stCxn id="84" idx="2"/>
            <a:endCxn id="95" idx="0"/>
          </p:cNvCxnSpPr>
          <p:nvPr/>
        </p:nvCxnSpPr>
        <p:spPr bwMode="auto">
          <a:xfrm flipH="1">
            <a:off x="4030670" y="3421913"/>
            <a:ext cx="1587" cy="144462"/>
          </a:xfrm>
          <a:prstGeom prst="straightConnector1">
            <a:avLst/>
          </a:prstGeom>
          <a:noFill/>
          <a:ln w="9525" algn="ctr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1" name="Line 189"/>
          <p:cNvSpPr>
            <a:spLocks noChangeShapeType="1"/>
          </p:cNvSpPr>
          <p:nvPr/>
        </p:nvSpPr>
        <p:spPr bwMode="auto">
          <a:xfrm rot="10800000">
            <a:off x="4495803" y="3186963"/>
            <a:ext cx="46990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0" tIns="35959" rIns="71920" bIns="35959"/>
          <a:lstStyle/>
          <a:p>
            <a:pPr eaLnBrk="0" latinLnBrk="0" hangingPunct="0"/>
            <a:endParaRPr lang="ko-KR" altLang="en-US" sz="9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2" name="Line 189"/>
          <p:cNvSpPr>
            <a:spLocks noChangeShapeType="1"/>
          </p:cNvSpPr>
          <p:nvPr/>
        </p:nvSpPr>
        <p:spPr bwMode="auto">
          <a:xfrm rot="5400000">
            <a:off x="7097717" y="4037863"/>
            <a:ext cx="1254125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0" tIns="35959" rIns="71920" bIns="35959"/>
          <a:lstStyle/>
          <a:p>
            <a:pPr eaLnBrk="0" latinLnBrk="0" hangingPunct="0"/>
            <a:endParaRPr lang="ko-KR" altLang="en-US" sz="9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3" name="Rectangle 176"/>
          <p:cNvSpPr>
            <a:spLocks noChangeArrowheads="1"/>
          </p:cNvSpPr>
          <p:nvPr/>
        </p:nvSpPr>
        <p:spPr bwMode="auto">
          <a:xfrm>
            <a:off x="4916488" y="3061553"/>
            <a:ext cx="431800" cy="6842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토</a:t>
            </a:r>
          </a:p>
        </p:txBody>
      </p:sp>
      <p:sp>
        <p:nvSpPr>
          <p:cNvPr id="84" name="Rectangle 176"/>
          <p:cNvSpPr>
            <a:spLocks noChangeArrowheads="1"/>
          </p:cNvSpPr>
          <p:nvPr/>
        </p:nvSpPr>
        <p:spPr bwMode="auto">
          <a:xfrm>
            <a:off x="3581400" y="3061552"/>
            <a:ext cx="900113" cy="36036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가 요구사항</a:t>
            </a:r>
            <a:endParaRPr lang="en-US" altLang="ko-KR" sz="9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출 및 반영</a:t>
            </a:r>
          </a:p>
        </p:txBody>
      </p:sp>
      <p:sp>
        <p:nvSpPr>
          <p:cNvPr id="86" name="Rectangle 138"/>
          <p:cNvSpPr>
            <a:spLocks noChangeArrowheads="1"/>
          </p:cNvSpPr>
          <p:nvPr/>
        </p:nvSpPr>
        <p:spPr bwMode="auto">
          <a:xfrm>
            <a:off x="5553078" y="3566375"/>
            <a:ext cx="900113" cy="627063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216000" rIns="36000" bIns="25200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테이블 정의</a:t>
            </a:r>
            <a:endParaRPr lang="en-US" altLang="ko-KR" sz="9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컬럼 정의</a:t>
            </a:r>
            <a:endParaRPr lang="en-US" altLang="ko-KR" sz="9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덱스 정의</a:t>
            </a:r>
            <a:endParaRPr lang="ko-KR" altLang="ko-KR" sz="9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7" name="Rectangle 139" descr="oj-02"/>
          <p:cNvSpPr>
            <a:spLocks noChangeArrowheads="1"/>
          </p:cNvSpPr>
          <p:nvPr/>
        </p:nvSpPr>
        <p:spPr bwMode="auto">
          <a:xfrm>
            <a:off x="5553078" y="3566375"/>
            <a:ext cx="900113" cy="179388"/>
          </a:xfrm>
          <a:prstGeom prst="rect">
            <a:avLst/>
          </a:prstGeom>
          <a:solidFill>
            <a:srgbClr val="7E909E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9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물리모델 작성</a:t>
            </a:r>
          </a:p>
        </p:txBody>
      </p:sp>
      <p:sp>
        <p:nvSpPr>
          <p:cNvPr id="88" name="Rectangle 176"/>
          <p:cNvSpPr>
            <a:spLocks noChangeArrowheads="1"/>
          </p:cNvSpPr>
          <p:nvPr/>
        </p:nvSpPr>
        <p:spPr bwMode="auto">
          <a:xfrm>
            <a:off x="6376991" y="4249000"/>
            <a:ext cx="989012" cy="22542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물리모델 변환</a:t>
            </a:r>
          </a:p>
        </p:txBody>
      </p:sp>
      <p:sp>
        <p:nvSpPr>
          <p:cNvPr id="89" name="Rectangle 176"/>
          <p:cNvSpPr>
            <a:spLocks noChangeArrowheads="1"/>
          </p:cNvSpPr>
          <p:nvPr/>
        </p:nvSpPr>
        <p:spPr bwMode="auto">
          <a:xfrm>
            <a:off x="6934200" y="3061553"/>
            <a:ext cx="431800" cy="6842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토</a:t>
            </a:r>
          </a:p>
        </p:txBody>
      </p:sp>
      <p:sp>
        <p:nvSpPr>
          <p:cNvPr id="90" name="Rectangle 176"/>
          <p:cNvSpPr>
            <a:spLocks noChangeArrowheads="1"/>
          </p:cNvSpPr>
          <p:nvPr/>
        </p:nvSpPr>
        <p:spPr bwMode="auto">
          <a:xfrm>
            <a:off x="3576645" y="4687150"/>
            <a:ext cx="987425" cy="2159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화 지침교육</a:t>
            </a:r>
          </a:p>
        </p:txBody>
      </p:sp>
      <p:sp>
        <p:nvSpPr>
          <p:cNvPr id="91" name="Rectangle 176"/>
          <p:cNvSpPr>
            <a:spLocks noChangeArrowheads="1"/>
          </p:cNvSpPr>
          <p:nvPr/>
        </p:nvSpPr>
        <p:spPr bwMode="auto">
          <a:xfrm>
            <a:off x="7597775" y="3363176"/>
            <a:ext cx="989013" cy="22542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변경 요청</a:t>
            </a:r>
            <a:endParaRPr lang="en-US" altLang="ko-KR" sz="9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2" name="Rectangle 176"/>
          <p:cNvSpPr>
            <a:spLocks noChangeArrowheads="1"/>
          </p:cNvSpPr>
          <p:nvPr/>
        </p:nvSpPr>
        <p:spPr bwMode="auto">
          <a:xfrm>
            <a:off x="5553078" y="3061552"/>
            <a:ext cx="900113" cy="36036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가 요구사항</a:t>
            </a:r>
            <a:endParaRPr lang="en-US" altLang="ko-KR" sz="9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출 및 반영</a:t>
            </a:r>
          </a:p>
        </p:txBody>
      </p:sp>
      <p:sp>
        <p:nvSpPr>
          <p:cNvPr id="94" name="Rectangle 138"/>
          <p:cNvSpPr>
            <a:spLocks noChangeArrowheads="1"/>
          </p:cNvSpPr>
          <p:nvPr/>
        </p:nvSpPr>
        <p:spPr bwMode="auto">
          <a:xfrm>
            <a:off x="3579813" y="3566375"/>
            <a:ext cx="900112" cy="757238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216000" rIns="36000" bIns="25200"/>
          <a:lstStyle/>
          <a:p>
            <a:pPr algn="ctr" defTabSz="941918" fontAlgn="ctr" latinLnBrk="0">
              <a:defRPr/>
            </a:pPr>
            <a:r>
              <a:rPr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속성 정의</a:t>
            </a:r>
            <a:endParaRPr lang="en-US" altLang="ko-KR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charset="0"/>
            </a:endParaRPr>
          </a:p>
          <a:p>
            <a:pPr algn="ctr" defTabSz="941918" fontAlgn="ctr" latinLnBrk="0">
              <a:defRPr/>
            </a:pPr>
            <a:r>
              <a:rPr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식별자 정의 </a:t>
            </a:r>
            <a:endParaRPr lang="en-US" altLang="ko-KR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charset="0"/>
            </a:endParaRPr>
          </a:p>
          <a:p>
            <a:pPr algn="ctr" defTabSz="941918" fontAlgn="ctr" latinLnBrk="0">
              <a:defRPr/>
            </a:pPr>
            <a:r>
              <a:rPr lang="ko-KR" altLang="en-US" sz="8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rPr>
              <a:t>엔터티 도출 관계정의 정규화</a:t>
            </a:r>
            <a:endParaRPr lang="ko-KR" altLang="ko-KR" sz="800" kern="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charset="0"/>
            </a:endParaRPr>
          </a:p>
        </p:txBody>
      </p:sp>
      <p:sp>
        <p:nvSpPr>
          <p:cNvPr id="95" name="Rectangle 139" descr="oj-02"/>
          <p:cNvSpPr>
            <a:spLocks noChangeArrowheads="1"/>
          </p:cNvSpPr>
          <p:nvPr/>
        </p:nvSpPr>
        <p:spPr bwMode="auto">
          <a:xfrm>
            <a:off x="3579813" y="3566375"/>
            <a:ext cx="900112" cy="165100"/>
          </a:xfrm>
          <a:prstGeom prst="rect">
            <a:avLst/>
          </a:prstGeom>
          <a:solidFill>
            <a:srgbClr val="7C8E9C"/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9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논리모델 작성</a:t>
            </a:r>
          </a:p>
        </p:txBody>
      </p:sp>
      <p:sp>
        <p:nvSpPr>
          <p:cNvPr id="96" name="Rectangle 176"/>
          <p:cNvSpPr>
            <a:spLocks noChangeArrowheads="1"/>
          </p:cNvSpPr>
          <p:nvPr/>
        </p:nvSpPr>
        <p:spPr bwMode="auto">
          <a:xfrm>
            <a:off x="1373195" y="3385402"/>
            <a:ext cx="987425" cy="2159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en-US" altLang="ko-KR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S-IS </a:t>
            </a: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황분석</a:t>
            </a:r>
          </a:p>
        </p:txBody>
      </p:sp>
      <p:sp>
        <p:nvSpPr>
          <p:cNvPr id="97" name="Rectangle 176"/>
          <p:cNvSpPr>
            <a:spLocks noChangeArrowheads="1"/>
          </p:cNvSpPr>
          <p:nvPr/>
        </p:nvSpPr>
        <p:spPr bwMode="auto">
          <a:xfrm>
            <a:off x="1374775" y="3974364"/>
            <a:ext cx="985838" cy="2159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구사항 도출</a:t>
            </a:r>
          </a:p>
        </p:txBody>
      </p:sp>
      <p:sp>
        <p:nvSpPr>
          <p:cNvPr id="98" name="Line 477"/>
          <p:cNvSpPr>
            <a:spLocks noChangeShapeType="1"/>
          </p:cNvSpPr>
          <p:nvPr/>
        </p:nvSpPr>
        <p:spPr bwMode="auto">
          <a:xfrm flipH="1">
            <a:off x="6465895" y="3185375"/>
            <a:ext cx="466725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0" tIns="35959" rIns="71920" bIns="35959"/>
          <a:lstStyle/>
          <a:p>
            <a:pPr eaLnBrk="0" latinLnBrk="0" hangingPunct="0"/>
            <a:endParaRPr lang="ko-KR" altLang="en-US" sz="9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9" name="Line 478"/>
          <p:cNvSpPr>
            <a:spLocks noChangeShapeType="1"/>
          </p:cNvSpPr>
          <p:nvPr/>
        </p:nvSpPr>
        <p:spPr bwMode="auto">
          <a:xfrm>
            <a:off x="7150100" y="3760050"/>
            <a:ext cx="0" cy="47625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triangle" w="med" len="sm"/>
            <a:tailEnd type="non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0" tIns="35959" rIns="71920" bIns="35959"/>
          <a:lstStyle/>
          <a:p>
            <a:pPr eaLnBrk="0" latinLnBrk="0" hangingPunct="0"/>
            <a:endParaRPr lang="ko-KR" altLang="en-US" sz="9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0" name="Line 481"/>
          <p:cNvSpPr>
            <a:spLocks noChangeShapeType="1"/>
          </p:cNvSpPr>
          <p:nvPr/>
        </p:nvSpPr>
        <p:spPr bwMode="auto">
          <a:xfrm>
            <a:off x="3313120" y="3648925"/>
            <a:ext cx="250825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1920" tIns="35959" rIns="71920" bIns="35959"/>
          <a:lstStyle/>
          <a:p>
            <a:pPr eaLnBrk="0" latinLnBrk="0" hangingPunct="0"/>
            <a:endParaRPr lang="ko-KR" altLang="en-US" sz="9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1" name="AutoShape 483"/>
          <p:cNvCxnSpPr>
            <a:cxnSpLocks noChangeShapeType="1"/>
            <a:stCxn id="96" idx="2"/>
            <a:endCxn id="97" idx="0"/>
          </p:cNvCxnSpPr>
          <p:nvPr/>
        </p:nvCxnSpPr>
        <p:spPr bwMode="auto">
          <a:xfrm>
            <a:off x="1866900" y="3601307"/>
            <a:ext cx="1588" cy="373063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2" name="AutoShape 484"/>
          <p:cNvCxnSpPr>
            <a:cxnSpLocks noChangeShapeType="1"/>
            <a:stCxn id="97" idx="2"/>
            <a:endCxn id="66" idx="0"/>
          </p:cNvCxnSpPr>
          <p:nvPr/>
        </p:nvCxnSpPr>
        <p:spPr bwMode="auto">
          <a:xfrm flipH="1">
            <a:off x="1866900" y="4190263"/>
            <a:ext cx="1588" cy="474662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Freeform 485" descr="넓은 상향 대각선"/>
          <p:cNvSpPr>
            <a:spLocks/>
          </p:cNvSpPr>
          <p:nvPr/>
        </p:nvSpPr>
        <p:spPr bwMode="auto">
          <a:xfrm>
            <a:off x="8172450" y="4104545"/>
            <a:ext cx="757238" cy="592137"/>
          </a:xfrm>
          <a:custGeom>
            <a:avLst/>
            <a:gdLst>
              <a:gd name="T0" fmla="*/ 0 w 477"/>
              <a:gd name="T1" fmla="*/ 2147483646 h 385"/>
              <a:gd name="T2" fmla="*/ 0 w 477"/>
              <a:gd name="T3" fmla="*/ 0 h 385"/>
              <a:gd name="T4" fmla="*/ 2147483646 w 477"/>
              <a:gd name="T5" fmla="*/ 0 h 385"/>
              <a:gd name="T6" fmla="*/ 0 60000 65536"/>
              <a:gd name="T7" fmla="*/ 0 60000 65536"/>
              <a:gd name="T8" fmla="*/ 0 60000 65536"/>
              <a:gd name="T9" fmla="*/ 0 w 477"/>
              <a:gd name="T10" fmla="*/ 0 h 385"/>
              <a:gd name="T11" fmla="*/ 477 w 477"/>
              <a:gd name="T12" fmla="*/ 385 h 38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77" h="385">
                <a:moveTo>
                  <a:pt x="0" y="385"/>
                </a:moveTo>
                <a:lnTo>
                  <a:pt x="0" y="0"/>
                </a:lnTo>
                <a:lnTo>
                  <a:pt x="477" y="0"/>
                </a:lnTo>
              </a:path>
            </a:pathLst>
          </a:custGeom>
          <a:noFill/>
          <a:ln w="9525" cap="flat" cmpd="sng">
            <a:solidFill>
              <a:srgbClr val="808080"/>
            </a:solidFill>
            <a:prstDash val="solid"/>
            <a:round/>
            <a:headEnd type="non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1920" tIns="35959" rIns="71920" bIns="35959"/>
          <a:lstStyle/>
          <a:p>
            <a:pPr eaLnBrk="0" latinLnBrk="0" hangingPunct="0"/>
            <a:endParaRPr lang="ko-KR" altLang="en-US" sz="9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4" name="Rectangle 176"/>
          <p:cNvSpPr>
            <a:spLocks noChangeArrowheads="1"/>
          </p:cNvSpPr>
          <p:nvPr/>
        </p:nvSpPr>
        <p:spPr bwMode="auto">
          <a:xfrm>
            <a:off x="4635507" y="4687150"/>
            <a:ext cx="4657725" cy="2159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 준수 확인</a:t>
            </a:r>
          </a:p>
        </p:txBody>
      </p:sp>
      <p:sp>
        <p:nvSpPr>
          <p:cNvPr id="105" name="Rectangle 176"/>
          <p:cNvSpPr>
            <a:spLocks noChangeArrowheads="1"/>
          </p:cNvSpPr>
          <p:nvPr/>
        </p:nvSpPr>
        <p:spPr bwMode="auto">
          <a:xfrm>
            <a:off x="4635507" y="5093550"/>
            <a:ext cx="4657725" cy="2159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609EC4"/>
            </a:solidFill>
            <a:miter lim="800000"/>
            <a:headEnd/>
            <a:tailEnd/>
          </a:ln>
          <a:effectLst>
            <a:outerShdw dist="17961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 검토</a:t>
            </a:r>
            <a:r>
              <a:rPr lang="en-US" altLang="ko-KR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승인</a:t>
            </a:r>
            <a:r>
              <a:rPr lang="en-US" altLang="ko-KR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9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반려</a:t>
            </a:r>
          </a:p>
        </p:txBody>
      </p:sp>
      <p:sp>
        <p:nvSpPr>
          <p:cNvPr id="106" name="Oval 296" descr="볼1"/>
          <p:cNvSpPr>
            <a:spLocks noChangeArrowheads="1"/>
          </p:cNvSpPr>
          <p:nvPr/>
        </p:nvSpPr>
        <p:spPr bwMode="auto">
          <a:xfrm>
            <a:off x="8394700" y="4409340"/>
            <a:ext cx="827088" cy="827087"/>
          </a:xfrm>
          <a:prstGeom prst="ellipse">
            <a:avLst/>
          </a:prstGeom>
          <a:pattFill prst="wdUpDiag">
            <a:fgClr>
              <a:srgbClr val="7EB0CF"/>
            </a:fgClr>
            <a:bgClr>
              <a:srgbClr val="609EC4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메타</a:t>
            </a:r>
            <a:b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</a:b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시스템을</a:t>
            </a:r>
            <a:b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</a:b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통한 </a:t>
            </a:r>
            <a:r>
              <a:rPr lang="en-US" altLang="ko-KR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DB</a:t>
            </a: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와</a:t>
            </a:r>
            <a:b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</a:br>
            <a:r>
              <a:rPr lang="ko-KR" altLang="en-US" sz="100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8F8F8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정합성 체크</a:t>
            </a:r>
          </a:p>
        </p:txBody>
      </p:sp>
      <p:pic>
        <p:nvPicPr>
          <p:cNvPr id="108" name="Picture 512" descr="Untitled-2-0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178" y="5714263"/>
            <a:ext cx="1174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" name="F458"/>
          <p:cNvSpPr txBox="1">
            <a:spLocks noChangeAspect="1" noChangeArrowheads="1"/>
          </p:cNvSpPr>
          <p:nvPr/>
        </p:nvSpPr>
        <p:spPr bwMode="auto">
          <a:xfrm>
            <a:off x="1831978" y="5839676"/>
            <a:ext cx="10731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표준관리</a:t>
            </a:r>
            <a:r>
              <a:rPr lang="en-US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원칙/절차</a:t>
            </a:r>
            <a:r>
              <a:rPr lang="en-US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데이터</a:t>
            </a:r>
            <a:r>
              <a:rPr lang="en-US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전</a:t>
            </a:r>
          </a:p>
          <a:p>
            <a:pPr algn="ctr" latinLnBrk="0"/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표준용어/도메인/코드</a:t>
            </a:r>
          </a:p>
        </p:txBody>
      </p:sp>
      <p:pic>
        <p:nvPicPr>
          <p:cNvPr id="111" name="Picture 512" descr="Untitled-2-0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450" y="5714263"/>
            <a:ext cx="1174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" name="F458"/>
          <p:cNvSpPr txBox="1">
            <a:spLocks noChangeAspect="1" noChangeArrowheads="1"/>
          </p:cNvSpPr>
          <p:nvPr/>
        </p:nvSpPr>
        <p:spPr bwMode="auto">
          <a:xfrm>
            <a:off x="4794250" y="5961913"/>
            <a:ext cx="10731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데이터 모델</a:t>
            </a:r>
          </a:p>
          <a:p>
            <a:pPr algn="ctr" latinLnBrk="0"/>
            <a:r>
              <a:rPr lang="ko-KR" altLang="en-US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리포지터리</a:t>
            </a:r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정보</a:t>
            </a:r>
          </a:p>
        </p:txBody>
      </p:sp>
      <p:pic>
        <p:nvPicPr>
          <p:cNvPr id="114" name="Picture 512" descr="Untitled-2-0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725" y="5714263"/>
            <a:ext cx="1174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5" name="F458"/>
          <p:cNvSpPr txBox="1">
            <a:spLocks noChangeAspect="1" noChangeArrowheads="1"/>
          </p:cNvSpPr>
          <p:nvPr/>
        </p:nvSpPr>
        <p:spPr bwMode="auto">
          <a:xfrm>
            <a:off x="7756525" y="6030176"/>
            <a:ext cx="1073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9376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9376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r>
              <a:rPr lang="ko-KR" altLang="ko-KR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데이터베이스 정보</a:t>
            </a:r>
          </a:p>
        </p:txBody>
      </p:sp>
      <p:sp>
        <p:nvSpPr>
          <p:cNvPr id="117" name="Text Box 57"/>
          <p:cNvSpPr txBox="1">
            <a:spLocks noChangeArrowheads="1"/>
          </p:cNvSpPr>
          <p:nvPr/>
        </p:nvSpPr>
        <p:spPr bwMode="auto">
          <a:xfrm>
            <a:off x="3605213" y="5669810"/>
            <a:ext cx="601663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fontAlgn="ctr" latinLnBrk="0">
              <a:lnSpc>
                <a:spcPct val="90000"/>
              </a:lnSpc>
            </a:pPr>
            <a:r>
              <a:rPr lang="ko-KR" altLang="en-US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 표준 </a:t>
            </a:r>
            <a:endParaRPr lang="en-US" altLang="ko-KR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fontAlgn="ctr" latinLnBrk="0">
              <a:lnSpc>
                <a:spcPct val="90000"/>
              </a:lnSpc>
            </a:pPr>
            <a:r>
              <a:rPr lang="ko-KR" altLang="en-US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증 및 동기화</a:t>
            </a:r>
          </a:p>
        </p:txBody>
      </p:sp>
      <p:sp>
        <p:nvSpPr>
          <p:cNvPr id="118" name="Text Box 57"/>
          <p:cNvSpPr txBox="1">
            <a:spLocks noChangeArrowheads="1"/>
          </p:cNvSpPr>
          <p:nvPr/>
        </p:nvSpPr>
        <p:spPr bwMode="auto">
          <a:xfrm>
            <a:off x="3621088" y="6134948"/>
            <a:ext cx="576263" cy="12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fontAlgn="ctr" latinLnBrk="0">
              <a:lnSpc>
                <a:spcPct val="90000"/>
              </a:lnSpc>
            </a:pPr>
            <a:r>
              <a:rPr lang="ko-KR" altLang="en-US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정보 조회</a:t>
            </a:r>
          </a:p>
        </p:txBody>
      </p:sp>
      <p:sp>
        <p:nvSpPr>
          <p:cNvPr id="119" name="AutoShape 497"/>
          <p:cNvSpPr>
            <a:spLocks noChangeArrowheads="1"/>
          </p:cNvSpPr>
          <p:nvPr/>
        </p:nvSpPr>
        <p:spPr bwMode="auto">
          <a:xfrm>
            <a:off x="2973388" y="5920635"/>
            <a:ext cx="1752600" cy="95250"/>
          </a:xfrm>
          <a:prstGeom prst="rightArrow">
            <a:avLst>
              <a:gd name="adj1" fmla="val 53333"/>
              <a:gd name="adj2" fmla="val 65933"/>
            </a:avLst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609EC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0" name="AutoShape 498"/>
          <p:cNvSpPr>
            <a:spLocks noChangeArrowheads="1"/>
          </p:cNvSpPr>
          <p:nvPr/>
        </p:nvSpPr>
        <p:spPr bwMode="auto">
          <a:xfrm flipH="1">
            <a:off x="2973388" y="6038110"/>
            <a:ext cx="1752600" cy="95250"/>
          </a:xfrm>
          <a:prstGeom prst="rightArrow">
            <a:avLst>
              <a:gd name="adj1" fmla="val 53333"/>
              <a:gd name="adj2" fmla="val 65933"/>
            </a:avLst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609EC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2" name="Text Box 57"/>
          <p:cNvSpPr txBox="1">
            <a:spLocks noChangeArrowheads="1"/>
          </p:cNvSpPr>
          <p:nvPr/>
        </p:nvSpPr>
        <p:spPr bwMode="auto">
          <a:xfrm>
            <a:off x="6496051" y="5669810"/>
            <a:ext cx="785813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fontAlgn="ctr" latinLnBrk="0">
              <a:lnSpc>
                <a:spcPct val="90000"/>
              </a:lnSpc>
            </a:pPr>
            <a:r>
              <a:rPr lang="ko-KR" altLang="ko-KR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</a:t>
            </a:r>
            <a:r>
              <a:rPr lang="en-US" altLang="ko-KR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ko-KR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 일치성</a:t>
            </a:r>
          </a:p>
          <a:p>
            <a:pPr algn="ctr" fontAlgn="ctr" latinLnBrk="0">
              <a:lnSpc>
                <a:spcPct val="90000"/>
              </a:lnSpc>
            </a:pPr>
            <a:r>
              <a:rPr lang="ko-KR" altLang="ko-KR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증 및 동기화</a:t>
            </a:r>
          </a:p>
        </p:txBody>
      </p:sp>
      <p:sp>
        <p:nvSpPr>
          <p:cNvPr id="123" name="Text Box 57"/>
          <p:cNvSpPr txBox="1">
            <a:spLocks noChangeArrowheads="1"/>
          </p:cNvSpPr>
          <p:nvPr/>
        </p:nvSpPr>
        <p:spPr bwMode="auto">
          <a:xfrm>
            <a:off x="6535738" y="6134948"/>
            <a:ext cx="693738" cy="12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42975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fontAlgn="ctr" latinLnBrk="0">
              <a:lnSpc>
                <a:spcPct val="90000"/>
              </a:lnSpc>
            </a:pPr>
            <a:r>
              <a:rPr lang="ko-KR" altLang="en-US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이블 구조 조회</a:t>
            </a:r>
          </a:p>
        </p:txBody>
      </p:sp>
      <p:sp>
        <p:nvSpPr>
          <p:cNvPr id="124" name="AutoShape 504"/>
          <p:cNvSpPr>
            <a:spLocks noChangeArrowheads="1"/>
          </p:cNvSpPr>
          <p:nvPr/>
        </p:nvSpPr>
        <p:spPr bwMode="auto">
          <a:xfrm>
            <a:off x="5935663" y="5920635"/>
            <a:ext cx="1752600" cy="95250"/>
          </a:xfrm>
          <a:prstGeom prst="rightArrow">
            <a:avLst>
              <a:gd name="adj1" fmla="val 53333"/>
              <a:gd name="adj2" fmla="val 65933"/>
            </a:avLst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609EC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5" name="AutoShape 505"/>
          <p:cNvSpPr>
            <a:spLocks noChangeArrowheads="1"/>
          </p:cNvSpPr>
          <p:nvPr/>
        </p:nvSpPr>
        <p:spPr bwMode="auto">
          <a:xfrm flipH="1">
            <a:off x="5935663" y="6038110"/>
            <a:ext cx="1752600" cy="95250"/>
          </a:xfrm>
          <a:prstGeom prst="rightArrow">
            <a:avLst>
              <a:gd name="adj1" fmla="val 53333"/>
              <a:gd name="adj2" fmla="val 65933"/>
            </a:avLst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609EC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latinLnBrk="0"/>
            <a:endParaRPr lang="ko-KR" altLang="en-US" sz="13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6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30513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현황 분석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코드 정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전환 설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설계 등의 주요 분야에 메타 시스템을 활용하여 데이터 모델에 반영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표준 용어와 도메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코드 등의 일관성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호환성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확장성 등을 확보하여 개발 시 적용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1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29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1229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8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표준화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3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8202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8.4 </a:t>
            </a:r>
            <a:r>
              <a:rPr lang="ko-KR" altLang="en-US" dirty="0" smtClean="0"/>
              <a:t>명명 규칙 표준화</a:t>
            </a:r>
            <a:endParaRPr lang="ko-KR" altLang="en-US" dirty="0"/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9040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하드웨어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소프트웨어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어플리케이션 명명 규칙 표준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3" name="Group 241"/>
          <p:cNvGraphicFramePr>
            <a:graphicFrameLocks noGrp="1"/>
          </p:cNvGraphicFramePr>
          <p:nvPr>
            <p:extLst/>
          </p:nvPr>
        </p:nvGraphicFramePr>
        <p:xfrm>
          <a:off x="236476" y="2068513"/>
          <a:ext cx="9433048" cy="4420823"/>
        </p:xfrm>
        <a:graphic>
          <a:graphicData uri="http://schemas.openxmlformats.org/drawingml/2006/table">
            <a:tbl>
              <a:tblPr/>
              <a:tblGrid>
                <a:gridCol w="9593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550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008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20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종류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규칙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예시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012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/W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표준화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Linux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통합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시스템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업무서비스 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+[“sv”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용도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1)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일련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Hpgwsvp01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0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Windows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서버분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시스템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업무서비스 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기능 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용도 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일련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HPMEAPP01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041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Filesystem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[“vg”]+[“_”]+[“fs”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일련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Vg_fs01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20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DB Datafile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[“vg”]+[“_”]+[“db”]+[“dat”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구분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1)]+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일련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]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Cg_dbdat101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20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/W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표준화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고객사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/W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표준에 따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-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2012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어플리케이션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표준화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ommand Clas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&lt;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작업유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&gt;+&lt;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의미 있는 이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&gt;+&lt;List][Page]+Cmd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RetrieveUserInfoCmd.java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20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JSP/HTML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업무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2)+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화면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5)+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팝업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“P”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KP11100P.jsp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934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메시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시스템코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+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서브시스템코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+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메시지유형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+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일련번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3)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에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error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경고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warn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정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info)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확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(confirm)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으로 메시지 정보 구성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Hr.ka.err.001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737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Java Attribute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용어사전의 용어를 조합하여 의미 있는 명사로 명명한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. 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Tabl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Column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명과 매칭되는 경우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Column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명과 동일하게 사용한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. 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recevNo(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332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Java Method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동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+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명사의 구조로 명명한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.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명명시 용어사전과 아래 표에 기술된 동사를 사용한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. 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ingl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처리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lis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처리의 구분을 위해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lis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처리인 경우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Method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명에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Lis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를 붙인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. 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createCode(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14" name="Picture 239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366250" y="2106613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9330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을 이루는 주요 구성요소에 체계적이고 일관되게 식별할 수 있는 명명 규칙으로 </a:t>
            </a:r>
            <a:r>
              <a:rPr lang="ko-KR" altLang="en-US" sz="1100" dirty="0" err="1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러한 명명 규칙은 고객사의 표준화 정책을 준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8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1135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8.5 </a:t>
            </a:r>
            <a:r>
              <a:rPr lang="ko-KR" altLang="en-US" dirty="0" smtClean="0"/>
              <a:t>사용자 인터페이스 표준화 방안</a:t>
            </a:r>
            <a:endParaRPr lang="ko-KR" altLang="en-US" dirty="0"/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9040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사용자 인터페이스 표준화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3" name="AutoShape 103"/>
          <p:cNvSpPr>
            <a:spLocks noChangeArrowheads="1"/>
          </p:cNvSpPr>
          <p:nvPr/>
        </p:nvSpPr>
        <p:spPr bwMode="auto">
          <a:xfrm>
            <a:off x="369543" y="2373177"/>
            <a:ext cx="4446588" cy="881063"/>
          </a:xfrm>
          <a:prstGeom prst="roundRect">
            <a:avLst>
              <a:gd name="adj" fmla="val 0"/>
            </a:avLst>
          </a:prstGeom>
          <a:solidFill>
            <a:srgbClr val="EAEAEA"/>
          </a:solidFill>
          <a:ln w="6350" algn="ctr">
            <a:solidFill>
              <a:srgbClr val="CDD1CF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100" b="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4" name="Rectangle 314"/>
          <p:cNvSpPr>
            <a:spLocks noChangeArrowheads="1"/>
          </p:cNvSpPr>
          <p:nvPr/>
        </p:nvSpPr>
        <p:spPr bwMode="auto">
          <a:xfrm>
            <a:off x="486223" y="2462077"/>
            <a:ext cx="406400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rIns="18000">
            <a:spAutoFit/>
          </a:bodyPr>
          <a:lstStyle>
            <a:lvl1pPr marL="87313" indent="-8731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88900" indent="-88900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tabLst>
                <a:tab pos="715963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화면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UI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사용자 관점에서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표준화</a:t>
            </a:r>
            <a:endParaRPr lang="en-US" altLang="ko-KR" sz="1000" dirty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8900" indent="-88900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tabLst>
                <a:tab pos="715963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화면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yle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과 영역이벤트로 구성</a:t>
            </a:r>
          </a:p>
          <a:p>
            <a:pPr marL="88900" indent="-88900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tabLst>
                <a:tab pos="715963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형기반의 템플릿 소스 코드생성으로 개발생산성 극대화 </a:t>
            </a:r>
          </a:p>
        </p:txBody>
      </p:sp>
      <p:sp>
        <p:nvSpPr>
          <p:cNvPr id="15" name="AutoShape 111"/>
          <p:cNvSpPr>
            <a:spLocks noChangeArrowheads="1"/>
          </p:cNvSpPr>
          <p:nvPr/>
        </p:nvSpPr>
        <p:spPr bwMode="auto">
          <a:xfrm>
            <a:off x="369543" y="3593874"/>
            <a:ext cx="4446588" cy="1839913"/>
          </a:xfrm>
          <a:prstGeom prst="roundRect">
            <a:avLst>
              <a:gd name="adj" fmla="val 0"/>
            </a:avLst>
          </a:prstGeom>
          <a:solidFill>
            <a:srgbClr val="EAEAEA"/>
          </a:solidFill>
          <a:ln w="6350" algn="ctr">
            <a:solidFill>
              <a:srgbClr val="CDD1CF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/>
            <a:endParaRPr lang="ko-KR" altLang="en-US" sz="1100" b="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6" name="Rectangle 314"/>
          <p:cNvSpPr>
            <a:spLocks noChangeArrowheads="1"/>
          </p:cNvSpPr>
          <p:nvPr/>
        </p:nvSpPr>
        <p:spPr bwMode="auto">
          <a:xfrm>
            <a:off x="494955" y="3693886"/>
            <a:ext cx="4029075" cy="1713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rIns="18000">
            <a:spAutoFit/>
          </a:bodyPr>
          <a:lstStyle>
            <a:lvl1pPr marL="73025" indent="-73025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174625" indent="-10001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88900" indent="-88900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tabLst>
                <a:tab pos="715963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온라인 트랜잭션 유형에 따른 패턴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  <a:p>
            <a:pPr marL="187325" lvl="1" indent="-96838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70000"/>
              <a:buFont typeface="나눔고딕" panose="020D0604000000000000" pitchFamily="50" charset="-127"/>
              <a:buChar char="-"/>
              <a:tabLst>
                <a:tab pos="498475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단건 </a:t>
            </a:r>
            <a:r>
              <a:rPr lang="en-US" altLang="ko-KR" sz="100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UD(Create, Update, Delete)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색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다건 처리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페이징 처리형</a:t>
            </a:r>
          </a:p>
          <a:p>
            <a:pPr marL="187325" lvl="1" indent="-96838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70000"/>
              <a:buFont typeface="나눔고딕" panose="020D0604000000000000" pitchFamily="50" charset="-127"/>
              <a:buChar char="-"/>
              <a:tabLst>
                <a:tab pos="498475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실시간 처리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Defered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처리형</a:t>
            </a:r>
          </a:p>
          <a:p>
            <a:pPr marL="187325" lvl="1" indent="-96838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70000"/>
              <a:buFont typeface="나눔고딕" panose="020D0604000000000000" pitchFamily="50" charset="-127"/>
              <a:buChar char="-"/>
              <a:tabLst>
                <a:tab pos="498475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배치호출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온라인서비스호출형</a:t>
            </a:r>
          </a:p>
          <a:p>
            <a:pPr marL="88900" indent="-88900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tabLst>
                <a:tab pos="715963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배치작업 유형</a:t>
            </a:r>
          </a:p>
          <a:p>
            <a:pPr marL="187325" lvl="1" indent="-96838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70000"/>
              <a:buFont typeface="나눔고딕" panose="020D0604000000000000" pitchFamily="50" charset="-127"/>
              <a:buChar char="-"/>
              <a:tabLst>
                <a:tab pos="498475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실행구조 유형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Single Job, Flow Job, Cyclic Job</a:t>
            </a:r>
          </a:p>
          <a:p>
            <a:pPr marL="187325" lvl="1" indent="-96838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70000"/>
              <a:buFont typeface="나눔고딕" panose="020D0604000000000000" pitchFamily="50" charset="-127"/>
              <a:buChar char="-"/>
              <a:tabLst>
                <a:tab pos="498475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실행로직 유형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단순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호출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온라인 호출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일처리형</a:t>
            </a:r>
          </a:p>
        </p:txBody>
      </p:sp>
      <p:sp>
        <p:nvSpPr>
          <p:cNvPr id="17" name="AutoShape 118"/>
          <p:cNvSpPr>
            <a:spLocks noChangeArrowheads="1"/>
          </p:cNvSpPr>
          <p:nvPr/>
        </p:nvSpPr>
        <p:spPr bwMode="auto">
          <a:xfrm>
            <a:off x="369543" y="5781336"/>
            <a:ext cx="4446588" cy="608013"/>
          </a:xfrm>
          <a:prstGeom prst="roundRect">
            <a:avLst>
              <a:gd name="adj" fmla="val 0"/>
            </a:avLst>
          </a:prstGeom>
          <a:solidFill>
            <a:srgbClr val="EAEAEA"/>
          </a:solidFill>
          <a:ln w="6350" algn="ctr">
            <a:solidFill>
              <a:srgbClr val="CDD1CF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/>
            <a:endParaRPr lang="ko-KR" altLang="en-US" sz="1100" b="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8" name="Rectangle 314"/>
          <p:cNvSpPr>
            <a:spLocks noChangeArrowheads="1"/>
          </p:cNvSpPr>
          <p:nvPr/>
        </p:nvSpPr>
        <p:spPr bwMode="auto">
          <a:xfrm>
            <a:off x="494955" y="5870236"/>
            <a:ext cx="4064000" cy="48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rIns="18000">
            <a:spAutoFit/>
          </a:bodyPr>
          <a:lstStyle>
            <a:lvl1pPr marL="87313" indent="-8731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88900" indent="-88900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tabLst>
                <a:tab pos="715963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프로그램 소스코드 작성 표준 준수</a:t>
            </a:r>
            <a:endParaRPr lang="en-US" altLang="ko-KR" sz="1000" dirty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8900" indent="-88900" defTabSz="849313" eaLnBrk="1" latinLnBrk="0" hangingPunct="1">
              <a:lnSpc>
                <a:spcPts val="1400"/>
              </a:lnSpc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tabLst>
                <a:tab pos="715963" algn="l"/>
              </a:tabLst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개발 프레임워크 표준 기능 제공</a:t>
            </a:r>
            <a:endParaRPr lang="en-US" altLang="ko-KR" sz="1000" dirty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" name="AutoShape 125"/>
          <p:cNvSpPr>
            <a:spLocks noChangeArrowheads="1"/>
          </p:cNvSpPr>
          <p:nvPr/>
        </p:nvSpPr>
        <p:spPr bwMode="auto">
          <a:xfrm>
            <a:off x="5056188" y="2353923"/>
            <a:ext cx="4446588" cy="4035425"/>
          </a:xfrm>
          <a:prstGeom prst="roundRect">
            <a:avLst>
              <a:gd name="adj" fmla="val 1102"/>
            </a:avLst>
          </a:prstGeom>
          <a:solidFill>
            <a:srgbClr val="EAEAEA"/>
          </a:solidFill>
          <a:ln w="6350" algn="ctr">
            <a:solidFill>
              <a:srgbClr val="CDD1CF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/>
            <a:endParaRPr lang="ko-KR" altLang="en-US" sz="1100" b="1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" name="Rectangle 18"/>
          <p:cNvSpPr>
            <a:spLocks noChangeArrowheads="1"/>
          </p:cNvSpPr>
          <p:nvPr/>
        </p:nvSpPr>
        <p:spPr bwMode="auto">
          <a:xfrm>
            <a:off x="5165958" y="2465048"/>
            <a:ext cx="2084388" cy="923925"/>
          </a:xfrm>
          <a:prstGeom prst="rect">
            <a:avLst/>
          </a:prstGeom>
          <a:solidFill>
            <a:srgbClr val="E2E7EA"/>
          </a:solidFill>
          <a:ln w="12700" algn="ctr">
            <a:solidFill>
              <a:srgbClr val="99A7B1"/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>
              <a:spcBef>
                <a:spcPct val="200000"/>
              </a:spcBef>
              <a:defRPr/>
            </a:pPr>
            <a:endParaRPr lang="ko-KR" altLang="ko-KR" sz="1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1" name="Rectangle 18"/>
          <p:cNvSpPr>
            <a:spLocks noChangeArrowheads="1"/>
          </p:cNvSpPr>
          <p:nvPr/>
        </p:nvSpPr>
        <p:spPr bwMode="auto">
          <a:xfrm>
            <a:off x="5165958" y="4374810"/>
            <a:ext cx="2084388" cy="923925"/>
          </a:xfrm>
          <a:prstGeom prst="rect">
            <a:avLst/>
          </a:prstGeom>
          <a:solidFill>
            <a:srgbClr val="E2E7EA"/>
          </a:solidFill>
          <a:ln w="12700" algn="ctr">
            <a:solidFill>
              <a:srgbClr val="99A7B1"/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>
              <a:spcBef>
                <a:spcPct val="200000"/>
              </a:spcBef>
              <a:defRPr/>
            </a:pPr>
            <a:endParaRPr lang="ko-KR" altLang="ko-KR" sz="1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2" name="Rectangle 18"/>
          <p:cNvSpPr>
            <a:spLocks noChangeArrowheads="1"/>
          </p:cNvSpPr>
          <p:nvPr/>
        </p:nvSpPr>
        <p:spPr bwMode="auto">
          <a:xfrm>
            <a:off x="7299325" y="4374810"/>
            <a:ext cx="2082800" cy="923925"/>
          </a:xfrm>
          <a:prstGeom prst="rect">
            <a:avLst/>
          </a:prstGeom>
          <a:solidFill>
            <a:srgbClr val="E2E7EA"/>
          </a:solidFill>
          <a:ln w="12700" algn="ctr">
            <a:solidFill>
              <a:srgbClr val="99A7B1"/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>
              <a:spcBef>
                <a:spcPct val="200000"/>
              </a:spcBef>
              <a:defRPr/>
            </a:pPr>
            <a:endParaRPr lang="ko-KR" altLang="ko-KR" sz="1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5165958" y="5330485"/>
            <a:ext cx="2084388" cy="923925"/>
          </a:xfrm>
          <a:prstGeom prst="rect">
            <a:avLst/>
          </a:prstGeom>
          <a:solidFill>
            <a:srgbClr val="E2E7EA"/>
          </a:solidFill>
          <a:ln w="12700" algn="ctr">
            <a:solidFill>
              <a:srgbClr val="99A7B1"/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>
              <a:spcBef>
                <a:spcPct val="200000"/>
              </a:spcBef>
              <a:defRPr/>
            </a:pPr>
            <a:endParaRPr lang="ko-KR" altLang="ko-KR" sz="1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" name="Rectangle 18"/>
          <p:cNvSpPr>
            <a:spLocks noChangeArrowheads="1"/>
          </p:cNvSpPr>
          <p:nvPr/>
        </p:nvSpPr>
        <p:spPr bwMode="auto">
          <a:xfrm>
            <a:off x="7299325" y="5330485"/>
            <a:ext cx="2082800" cy="923925"/>
          </a:xfrm>
          <a:prstGeom prst="rect">
            <a:avLst/>
          </a:prstGeom>
          <a:solidFill>
            <a:srgbClr val="E2E7EA"/>
          </a:solidFill>
          <a:ln w="12700" algn="ctr">
            <a:solidFill>
              <a:srgbClr val="99A7B1"/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>
              <a:spcBef>
                <a:spcPct val="200000"/>
              </a:spcBef>
              <a:defRPr/>
            </a:pPr>
            <a:endParaRPr lang="ko-KR" altLang="ko-KR" sz="1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" name="AutoShape 169"/>
          <p:cNvSpPr>
            <a:spLocks noChangeArrowheads="1"/>
          </p:cNvSpPr>
          <p:nvPr/>
        </p:nvSpPr>
        <p:spPr bwMode="auto">
          <a:xfrm>
            <a:off x="5862638" y="2522198"/>
            <a:ext cx="1343025" cy="823912"/>
          </a:xfrm>
          <a:prstGeom prst="roundRect">
            <a:avLst>
              <a:gd name="adj" fmla="val 4963"/>
            </a:avLst>
          </a:prstGeom>
          <a:solidFill>
            <a:srgbClr val="FFFFFF"/>
          </a:solidFill>
          <a:ln>
            <a:noFill/>
          </a:ln>
          <a:effectLst>
            <a:prstShdw prst="shdw17" dist="17961" dir="13500000">
              <a:srgbClr val="CCDEF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7" name="AutoShape 173"/>
          <p:cNvSpPr>
            <a:spLocks noChangeArrowheads="1"/>
          </p:cNvSpPr>
          <p:nvPr/>
        </p:nvSpPr>
        <p:spPr bwMode="auto">
          <a:xfrm>
            <a:off x="5862638" y="4424023"/>
            <a:ext cx="1343025" cy="822325"/>
          </a:xfrm>
          <a:prstGeom prst="roundRect">
            <a:avLst>
              <a:gd name="adj" fmla="val 4963"/>
            </a:avLst>
          </a:prstGeom>
          <a:solidFill>
            <a:srgbClr val="FFFFFF"/>
          </a:solidFill>
          <a:ln>
            <a:noFill/>
          </a:ln>
          <a:effectLst>
            <a:prstShdw prst="shdw17" dist="17961" dir="13500000">
              <a:srgbClr val="CCDEF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8" name="AutoShape 174"/>
          <p:cNvSpPr>
            <a:spLocks noChangeArrowheads="1"/>
          </p:cNvSpPr>
          <p:nvPr/>
        </p:nvSpPr>
        <p:spPr bwMode="auto">
          <a:xfrm>
            <a:off x="7991475" y="4424023"/>
            <a:ext cx="1344613" cy="822325"/>
          </a:xfrm>
          <a:prstGeom prst="roundRect">
            <a:avLst>
              <a:gd name="adj" fmla="val 4963"/>
            </a:avLst>
          </a:prstGeom>
          <a:solidFill>
            <a:srgbClr val="FFFFFF"/>
          </a:solidFill>
          <a:ln>
            <a:noFill/>
          </a:ln>
          <a:effectLst>
            <a:prstShdw prst="shdw17" dist="17961" dir="13500000">
              <a:srgbClr val="CCDEF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9" name="AutoShape 175"/>
          <p:cNvSpPr>
            <a:spLocks noChangeArrowheads="1"/>
          </p:cNvSpPr>
          <p:nvPr/>
        </p:nvSpPr>
        <p:spPr bwMode="auto">
          <a:xfrm>
            <a:off x="5862638" y="5370173"/>
            <a:ext cx="1343025" cy="822325"/>
          </a:xfrm>
          <a:prstGeom prst="roundRect">
            <a:avLst>
              <a:gd name="adj" fmla="val 4963"/>
            </a:avLst>
          </a:prstGeom>
          <a:solidFill>
            <a:srgbClr val="FFFFFF"/>
          </a:solidFill>
          <a:ln>
            <a:noFill/>
          </a:ln>
          <a:effectLst>
            <a:prstShdw prst="shdw17" dist="17961" dir="13500000">
              <a:srgbClr val="CCDEF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" name="AutoShape 176"/>
          <p:cNvSpPr>
            <a:spLocks noChangeArrowheads="1"/>
          </p:cNvSpPr>
          <p:nvPr/>
        </p:nvSpPr>
        <p:spPr bwMode="auto">
          <a:xfrm>
            <a:off x="7991475" y="5370173"/>
            <a:ext cx="1344613" cy="822325"/>
          </a:xfrm>
          <a:prstGeom prst="roundRect">
            <a:avLst>
              <a:gd name="adj" fmla="val 4963"/>
            </a:avLst>
          </a:prstGeom>
          <a:solidFill>
            <a:srgbClr val="FFFFFF"/>
          </a:solidFill>
          <a:ln>
            <a:noFill/>
          </a:ln>
          <a:effectLst>
            <a:prstShdw prst="shdw17" dist="17961" dir="13500000">
              <a:srgbClr val="CCDEF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" name="Rectangle 187"/>
          <p:cNvSpPr>
            <a:spLocks noChangeArrowheads="1"/>
          </p:cNvSpPr>
          <p:nvPr/>
        </p:nvSpPr>
        <p:spPr bwMode="auto">
          <a:xfrm>
            <a:off x="5271742" y="2693861"/>
            <a:ext cx="53091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ko-KR" altLang="en-US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단순형</a:t>
            </a:r>
            <a:br>
              <a:rPr lang="ko-KR" altLang="en-US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1)</a:t>
            </a: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auto">
          <a:xfrm>
            <a:off x="5165958" y="3426278"/>
            <a:ext cx="2082800" cy="923925"/>
          </a:xfrm>
          <a:prstGeom prst="rect">
            <a:avLst/>
          </a:prstGeom>
          <a:solidFill>
            <a:srgbClr val="E2E7EA"/>
          </a:solidFill>
          <a:ln w="12700" algn="ctr">
            <a:solidFill>
              <a:srgbClr val="99A7B1"/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>
              <a:spcBef>
                <a:spcPct val="200000"/>
              </a:spcBef>
              <a:defRPr/>
            </a:pPr>
            <a:endParaRPr lang="ko-KR" altLang="ko-KR" sz="100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4" name="AutoShape 170"/>
          <p:cNvSpPr>
            <a:spLocks noChangeArrowheads="1"/>
          </p:cNvSpPr>
          <p:nvPr/>
        </p:nvSpPr>
        <p:spPr bwMode="auto">
          <a:xfrm>
            <a:off x="5858108" y="3483428"/>
            <a:ext cx="1344613" cy="823912"/>
          </a:xfrm>
          <a:prstGeom prst="roundRect">
            <a:avLst>
              <a:gd name="adj" fmla="val 4963"/>
            </a:avLst>
          </a:prstGeom>
          <a:solidFill>
            <a:srgbClr val="FFFFFF"/>
          </a:solidFill>
          <a:ln>
            <a:noFill/>
          </a:ln>
          <a:effectLst>
            <a:prstShdw prst="shdw17" dist="17961" dir="13500000">
              <a:srgbClr val="CCDEF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5" name="Rectangle 188"/>
          <p:cNvSpPr>
            <a:spLocks noChangeArrowheads="1"/>
          </p:cNvSpPr>
          <p:nvPr/>
        </p:nvSpPr>
        <p:spPr bwMode="auto">
          <a:xfrm>
            <a:off x="5283088" y="3746995"/>
            <a:ext cx="53091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ko-KR" altLang="en-US" sz="105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복합형</a:t>
            </a:r>
          </a:p>
        </p:txBody>
      </p:sp>
      <p:sp>
        <p:nvSpPr>
          <p:cNvPr id="37" name="Rectangle 18"/>
          <p:cNvSpPr>
            <a:spLocks noChangeArrowheads="1"/>
          </p:cNvSpPr>
          <p:nvPr/>
        </p:nvSpPr>
        <p:spPr bwMode="auto">
          <a:xfrm>
            <a:off x="7308402" y="2457336"/>
            <a:ext cx="2084388" cy="923925"/>
          </a:xfrm>
          <a:prstGeom prst="rect">
            <a:avLst/>
          </a:prstGeom>
          <a:solidFill>
            <a:srgbClr val="E2E7EA"/>
          </a:solidFill>
          <a:ln w="12700" algn="ctr">
            <a:solidFill>
              <a:srgbClr val="99A7B1"/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 algn="ctr">
              <a:spcBef>
                <a:spcPct val="200000"/>
              </a:spcBef>
              <a:defRPr/>
            </a:pPr>
            <a:endParaRPr lang="ko-KR" altLang="ko-KR" sz="11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8" name="AutoShape 171"/>
          <p:cNvSpPr>
            <a:spLocks noChangeArrowheads="1"/>
          </p:cNvSpPr>
          <p:nvPr/>
        </p:nvSpPr>
        <p:spPr bwMode="auto">
          <a:xfrm>
            <a:off x="7998965" y="2504961"/>
            <a:ext cx="1343025" cy="823912"/>
          </a:xfrm>
          <a:prstGeom prst="roundRect">
            <a:avLst>
              <a:gd name="adj" fmla="val 4963"/>
            </a:avLst>
          </a:prstGeom>
          <a:solidFill>
            <a:srgbClr val="FFFFFF"/>
          </a:solidFill>
          <a:ln>
            <a:noFill/>
          </a:ln>
          <a:effectLst>
            <a:prstShdw prst="shdw17" dist="17961" dir="13500000">
              <a:srgbClr val="CCDEF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9" name="Rectangle 189"/>
          <p:cNvSpPr>
            <a:spLocks noChangeArrowheads="1"/>
          </p:cNvSpPr>
          <p:nvPr/>
        </p:nvSpPr>
        <p:spPr bwMode="auto">
          <a:xfrm>
            <a:off x="7408069" y="2702024"/>
            <a:ext cx="53091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ko-KR" altLang="en-US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단순형</a:t>
            </a:r>
            <a:br>
              <a:rPr lang="ko-KR" altLang="en-US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2)</a:t>
            </a:r>
          </a:p>
        </p:txBody>
      </p:sp>
      <p:sp>
        <p:nvSpPr>
          <p:cNvPr id="40" name="Rectangle 191"/>
          <p:cNvSpPr>
            <a:spLocks noChangeArrowheads="1"/>
          </p:cNvSpPr>
          <p:nvPr/>
        </p:nvSpPr>
        <p:spPr bwMode="auto">
          <a:xfrm>
            <a:off x="5246881" y="4569298"/>
            <a:ext cx="5838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Master</a:t>
            </a:r>
            <a:b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etail</a:t>
            </a:r>
          </a:p>
          <a:p>
            <a:pPr algn="ctr">
              <a:defRPr/>
            </a:pP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1)</a:t>
            </a:r>
          </a:p>
        </p:txBody>
      </p:sp>
      <p:sp>
        <p:nvSpPr>
          <p:cNvPr id="41" name="Rectangle 193"/>
          <p:cNvSpPr>
            <a:spLocks noChangeArrowheads="1"/>
          </p:cNvSpPr>
          <p:nvPr/>
        </p:nvSpPr>
        <p:spPr bwMode="auto">
          <a:xfrm>
            <a:off x="5258234" y="5606923"/>
            <a:ext cx="534122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ree-</a:t>
            </a:r>
            <a:b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etail</a:t>
            </a:r>
          </a:p>
        </p:txBody>
      </p:sp>
      <p:sp>
        <p:nvSpPr>
          <p:cNvPr id="42" name="Rectangle 194"/>
          <p:cNvSpPr>
            <a:spLocks noChangeArrowheads="1"/>
          </p:cNvSpPr>
          <p:nvPr/>
        </p:nvSpPr>
        <p:spPr bwMode="auto">
          <a:xfrm>
            <a:off x="7382309" y="5594223"/>
            <a:ext cx="534122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ree-</a:t>
            </a:r>
            <a:b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List</a:t>
            </a:r>
            <a:endParaRPr lang="ko-KR" altLang="en-US" sz="100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43" name="Rectangle 194"/>
          <p:cNvSpPr>
            <a:spLocks noChangeArrowheads="1"/>
          </p:cNvSpPr>
          <p:nvPr/>
        </p:nvSpPr>
        <p:spPr bwMode="auto">
          <a:xfrm>
            <a:off x="7402706" y="4593110"/>
            <a:ext cx="5838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Master</a:t>
            </a:r>
          </a:p>
          <a:p>
            <a:pPr algn="ctr">
              <a:defRPr/>
            </a:pP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etail</a:t>
            </a:r>
          </a:p>
          <a:p>
            <a:pPr algn="ctr">
              <a:defRPr/>
            </a:pPr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2)</a:t>
            </a:r>
            <a:endParaRPr lang="ko-KR" altLang="en-US" sz="100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68750" y="2132820"/>
            <a:ext cx="4448174" cy="241298"/>
            <a:chOff x="368750" y="2132820"/>
            <a:chExt cx="4448174" cy="241298"/>
          </a:xfrm>
        </p:grpSpPr>
        <p:sp>
          <p:nvSpPr>
            <p:cNvPr id="44" name="Rectangle 127"/>
            <p:cNvSpPr>
              <a:spLocks noChangeArrowheads="1"/>
            </p:cNvSpPr>
            <p:nvPr/>
          </p:nvSpPr>
          <p:spPr bwMode="gray">
            <a:xfrm>
              <a:off x="370336" y="2348718"/>
              <a:ext cx="4446588" cy="25400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5" name="AutoShape 128"/>
            <p:cNvSpPr>
              <a:spLocks noChangeArrowheads="1"/>
            </p:cNvSpPr>
            <p:nvPr/>
          </p:nvSpPr>
          <p:spPr bwMode="gray">
            <a:xfrm>
              <a:off x="368750" y="2132820"/>
              <a:ext cx="2409142" cy="239713"/>
            </a:xfrm>
            <a:prstGeom prst="roundRect">
              <a:avLst>
                <a:gd name="adj" fmla="val 8526"/>
              </a:avLst>
            </a:prstGeom>
            <a:solidFill>
              <a:srgbClr val="038CDC"/>
            </a:solidFill>
            <a:ln w="6350">
              <a:solidFill>
                <a:srgbClr val="0074C3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6" name="Rectangle 11"/>
            <p:cNvSpPr>
              <a:spLocks noChangeAspect="1" noChangeArrowheads="1"/>
            </p:cNvSpPr>
            <p:nvPr/>
          </p:nvSpPr>
          <p:spPr bwMode="auto">
            <a:xfrm>
              <a:off x="1365729" y="2175439"/>
              <a:ext cx="415177" cy="169277"/>
            </a:xfrm>
            <a:prstGeom prst="rect">
              <a:avLst/>
            </a:prstGeom>
            <a:solidFill>
              <a:srgbClr val="038CDC"/>
            </a:solidFill>
            <a:ln w="635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UI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패턴</a:t>
              </a: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368750" y="3352576"/>
            <a:ext cx="4448174" cy="241298"/>
            <a:chOff x="368750" y="2097895"/>
            <a:chExt cx="4448174" cy="241298"/>
          </a:xfrm>
        </p:grpSpPr>
        <p:grpSp>
          <p:nvGrpSpPr>
            <p:cNvPr id="48" name="그룹 47"/>
            <p:cNvGrpSpPr/>
            <p:nvPr/>
          </p:nvGrpSpPr>
          <p:grpSpPr>
            <a:xfrm>
              <a:off x="368750" y="2097895"/>
              <a:ext cx="4448174" cy="241298"/>
              <a:chOff x="198681" y="2097895"/>
              <a:chExt cx="4652859" cy="241298"/>
            </a:xfrm>
          </p:grpSpPr>
          <p:sp>
            <p:nvSpPr>
              <p:cNvPr id="50" name="Rectangle 127"/>
              <p:cNvSpPr>
                <a:spLocks noChangeArrowheads="1"/>
              </p:cNvSpPr>
              <p:nvPr/>
            </p:nvSpPr>
            <p:spPr bwMode="gray">
              <a:xfrm>
                <a:off x="200340" y="2313793"/>
                <a:ext cx="4651200" cy="25400"/>
              </a:xfrm>
              <a:prstGeom prst="rect">
                <a:avLst/>
              </a:prstGeom>
              <a:solidFill>
                <a:srgbClr val="038CDC"/>
              </a:solidFill>
              <a:ln w="6350">
                <a:solidFill>
                  <a:srgbClr val="0074C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  <p:sp>
            <p:nvSpPr>
              <p:cNvPr id="51" name="AutoShape 128"/>
              <p:cNvSpPr>
                <a:spLocks noChangeArrowheads="1"/>
              </p:cNvSpPr>
              <p:nvPr/>
            </p:nvSpPr>
            <p:spPr bwMode="gray">
              <a:xfrm>
                <a:off x="198681" y="2097895"/>
                <a:ext cx="2520000" cy="239713"/>
              </a:xfrm>
              <a:prstGeom prst="roundRect">
                <a:avLst>
                  <a:gd name="adj" fmla="val 8526"/>
                </a:avLst>
              </a:prstGeom>
              <a:solidFill>
                <a:srgbClr val="038CDC"/>
              </a:solidFill>
              <a:ln w="6350">
                <a:solidFill>
                  <a:srgbClr val="0074C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  <p:sp>
          <p:nvSpPr>
            <p:cNvPr id="49" name="Rectangle 11"/>
            <p:cNvSpPr>
              <a:spLocks noChangeAspect="1" noChangeArrowheads="1"/>
            </p:cNvSpPr>
            <p:nvPr/>
          </p:nvSpPr>
          <p:spPr bwMode="auto">
            <a:xfrm>
              <a:off x="1182188" y="2140514"/>
              <a:ext cx="782265" cy="169277"/>
            </a:xfrm>
            <a:prstGeom prst="rect">
              <a:avLst/>
            </a:prstGeom>
            <a:solidFill>
              <a:srgbClr val="038CDC"/>
            </a:solidFill>
            <a:ln w="635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업무로직 패턴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368750" y="5533799"/>
            <a:ext cx="4448174" cy="241298"/>
            <a:chOff x="368750" y="2097895"/>
            <a:chExt cx="4448174" cy="241298"/>
          </a:xfrm>
        </p:grpSpPr>
        <p:grpSp>
          <p:nvGrpSpPr>
            <p:cNvPr id="53" name="그룹 52"/>
            <p:cNvGrpSpPr/>
            <p:nvPr/>
          </p:nvGrpSpPr>
          <p:grpSpPr>
            <a:xfrm>
              <a:off x="368750" y="2097895"/>
              <a:ext cx="4448174" cy="241298"/>
              <a:chOff x="198681" y="2097895"/>
              <a:chExt cx="4652859" cy="241298"/>
            </a:xfrm>
          </p:grpSpPr>
          <p:sp>
            <p:nvSpPr>
              <p:cNvPr id="56" name="Rectangle 127"/>
              <p:cNvSpPr>
                <a:spLocks noChangeArrowheads="1"/>
              </p:cNvSpPr>
              <p:nvPr/>
            </p:nvSpPr>
            <p:spPr bwMode="gray">
              <a:xfrm>
                <a:off x="200340" y="2313793"/>
                <a:ext cx="4651200" cy="25400"/>
              </a:xfrm>
              <a:prstGeom prst="rect">
                <a:avLst/>
              </a:prstGeom>
              <a:solidFill>
                <a:srgbClr val="038CDC"/>
              </a:solidFill>
              <a:ln w="6350">
                <a:solidFill>
                  <a:srgbClr val="0074C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  <p:sp>
            <p:nvSpPr>
              <p:cNvPr id="57" name="AutoShape 128"/>
              <p:cNvSpPr>
                <a:spLocks noChangeArrowheads="1"/>
              </p:cNvSpPr>
              <p:nvPr/>
            </p:nvSpPr>
            <p:spPr bwMode="gray">
              <a:xfrm>
                <a:off x="198681" y="2097895"/>
                <a:ext cx="2520000" cy="239713"/>
              </a:xfrm>
              <a:prstGeom prst="roundRect">
                <a:avLst>
                  <a:gd name="adj" fmla="val 8526"/>
                </a:avLst>
              </a:prstGeom>
              <a:solidFill>
                <a:srgbClr val="038CDC"/>
              </a:solidFill>
              <a:ln w="6350">
                <a:solidFill>
                  <a:srgbClr val="0074C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  <p:sp>
          <p:nvSpPr>
            <p:cNvPr id="55" name="Rectangle 11"/>
            <p:cNvSpPr>
              <a:spLocks noChangeAspect="1" noChangeArrowheads="1"/>
            </p:cNvSpPr>
            <p:nvPr/>
          </p:nvSpPr>
          <p:spPr bwMode="auto">
            <a:xfrm>
              <a:off x="1103640" y="2140514"/>
              <a:ext cx="939360" cy="169277"/>
            </a:xfrm>
            <a:prstGeom prst="rect">
              <a:avLst/>
            </a:prstGeom>
            <a:solidFill>
              <a:srgbClr val="038CDC"/>
            </a:solidFill>
            <a:ln w="635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고객사 표준 준수</a:t>
              </a:r>
            </a:p>
          </p:txBody>
        </p:sp>
      </p:grpSp>
      <p:grpSp>
        <p:nvGrpSpPr>
          <p:cNvPr id="58" name="그룹 57"/>
          <p:cNvGrpSpPr/>
          <p:nvPr/>
        </p:nvGrpSpPr>
        <p:grpSpPr>
          <a:xfrm>
            <a:off x="5055395" y="2132820"/>
            <a:ext cx="4447381" cy="241298"/>
            <a:chOff x="369543" y="2097895"/>
            <a:chExt cx="4447381" cy="241298"/>
          </a:xfrm>
        </p:grpSpPr>
        <p:grpSp>
          <p:nvGrpSpPr>
            <p:cNvPr id="59" name="그룹 58"/>
            <p:cNvGrpSpPr/>
            <p:nvPr/>
          </p:nvGrpSpPr>
          <p:grpSpPr>
            <a:xfrm>
              <a:off x="369543" y="2097895"/>
              <a:ext cx="4447381" cy="241298"/>
              <a:chOff x="199511" y="2097895"/>
              <a:chExt cx="4652029" cy="241298"/>
            </a:xfrm>
          </p:grpSpPr>
          <p:sp>
            <p:nvSpPr>
              <p:cNvPr id="61" name="Rectangle 127"/>
              <p:cNvSpPr>
                <a:spLocks noChangeArrowheads="1"/>
              </p:cNvSpPr>
              <p:nvPr/>
            </p:nvSpPr>
            <p:spPr bwMode="gray">
              <a:xfrm>
                <a:off x="200340" y="2313793"/>
                <a:ext cx="4651200" cy="25400"/>
              </a:xfrm>
              <a:prstGeom prst="rect">
                <a:avLst/>
              </a:prstGeom>
              <a:solidFill>
                <a:srgbClr val="038CDC"/>
              </a:solidFill>
              <a:ln w="6350">
                <a:solidFill>
                  <a:srgbClr val="0074C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  <p:sp>
            <p:nvSpPr>
              <p:cNvPr id="62" name="AutoShape 128"/>
              <p:cNvSpPr>
                <a:spLocks noChangeArrowheads="1"/>
              </p:cNvSpPr>
              <p:nvPr/>
            </p:nvSpPr>
            <p:spPr bwMode="gray">
              <a:xfrm>
                <a:off x="199511" y="2097895"/>
                <a:ext cx="2520000" cy="239713"/>
              </a:xfrm>
              <a:prstGeom prst="roundRect">
                <a:avLst>
                  <a:gd name="adj" fmla="val 8526"/>
                </a:avLst>
              </a:prstGeom>
              <a:solidFill>
                <a:srgbClr val="038CDC"/>
              </a:solidFill>
              <a:ln w="6350">
                <a:solidFill>
                  <a:srgbClr val="0074C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  <p:sp>
          <p:nvSpPr>
            <p:cNvPr id="60" name="Rectangle 11"/>
            <p:cNvSpPr>
              <a:spLocks noChangeAspect="1" noChangeArrowheads="1"/>
            </p:cNvSpPr>
            <p:nvPr/>
          </p:nvSpPr>
          <p:spPr bwMode="auto">
            <a:xfrm>
              <a:off x="1182981" y="2140514"/>
              <a:ext cx="782265" cy="169277"/>
            </a:xfrm>
            <a:prstGeom prst="rect">
              <a:avLst/>
            </a:prstGeom>
            <a:solidFill>
              <a:srgbClr val="038CDC"/>
            </a:solidFill>
            <a:ln w="635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업무화면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유형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</p:grpSp>
      <p:pic>
        <p:nvPicPr>
          <p:cNvPr id="70" name="Picture 239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7330843" y="2221286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39139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응용 시스템 개발을 위한 업무 유형이나 유틸리티 목록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사 개발 표준을 준수하여 도출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사용자 인터페이스를 구현하기 위해서 이러한 표준화에 기초한 구현 템플릿과 샘플 등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pic>
        <p:nvPicPr>
          <p:cNvPr id="72" name="그림 7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438" y="3521165"/>
            <a:ext cx="1116227" cy="74810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4" name="그림 73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940439" y="2623296"/>
            <a:ext cx="1129091" cy="61327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6" name="그림 75"/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8047982" y="2586143"/>
            <a:ext cx="1154935" cy="69707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8" name="그림 77"/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940439" y="4491977"/>
            <a:ext cx="1116227" cy="66826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0" name="그림 79"/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047982" y="4479585"/>
            <a:ext cx="1250232" cy="65525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2" name="그림 81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5940439" y="5462706"/>
            <a:ext cx="1172862" cy="70259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4" name="그림 83"/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8047982" y="5462706"/>
            <a:ext cx="1234827" cy="70259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6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6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3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8408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8.6 </a:t>
            </a:r>
            <a:r>
              <a:rPr lang="ko-KR" altLang="en-US" dirty="0" smtClean="0"/>
              <a:t>시스템 인터페이스 표준화 방안 </a:t>
            </a:r>
            <a:r>
              <a:rPr lang="en-US" altLang="ko-KR" dirty="0" smtClean="0"/>
              <a:t>(1/2)</a:t>
            </a:r>
            <a:endParaRPr lang="ko-KR" altLang="en-US" dirty="0"/>
          </a:p>
        </p:txBody>
      </p:sp>
      <p:sp>
        <p:nvSpPr>
          <p:cNvPr id="54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9040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인터페이스 표준화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sp>
        <p:nvSpPr>
          <p:cNvPr id="14" name="Rectangle 73"/>
          <p:cNvSpPr>
            <a:spLocks noChangeArrowheads="1"/>
          </p:cNvSpPr>
          <p:nvPr/>
        </p:nvSpPr>
        <p:spPr bwMode="auto">
          <a:xfrm>
            <a:off x="244337" y="2341563"/>
            <a:ext cx="4631106" cy="4147777"/>
          </a:xfrm>
          <a:prstGeom prst="rect">
            <a:avLst/>
          </a:prstGeom>
          <a:noFill/>
          <a:ln w="9525" algn="ctr">
            <a:solidFill>
              <a:srgbClr val="7C8E9C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endParaRPr lang="ko-KR" altLang="en-US" sz="18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" name="Rectangle 152"/>
          <p:cNvSpPr>
            <a:spLocks noChangeArrowheads="1"/>
          </p:cNvSpPr>
          <p:nvPr/>
        </p:nvSpPr>
        <p:spPr bwMode="gray">
          <a:xfrm rot="16200000">
            <a:off x="2522182" y="1155378"/>
            <a:ext cx="922362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16" name="AutoShape 136"/>
          <p:cNvSpPr>
            <a:spLocks noChangeArrowheads="1"/>
          </p:cNvSpPr>
          <p:nvPr/>
        </p:nvSpPr>
        <p:spPr bwMode="gray">
          <a:xfrm>
            <a:off x="390976" y="2475906"/>
            <a:ext cx="903287" cy="925032"/>
          </a:xfrm>
          <a:prstGeom prst="roundRect">
            <a:avLst>
              <a:gd name="adj" fmla="val 6949"/>
            </a:avLst>
          </a:prstGeom>
          <a:solidFill>
            <a:srgbClr val="79C9F9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 latinLnBrk="0"/>
            <a:endParaRPr lang="ko-KR" altLang="en-US" sz="900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" name="AutoShape 94"/>
          <p:cNvSpPr>
            <a:spLocks noChangeArrowheads="1"/>
          </p:cNvSpPr>
          <p:nvPr/>
        </p:nvSpPr>
        <p:spPr bwMode="auto">
          <a:xfrm>
            <a:off x="630921" y="2700831"/>
            <a:ext cx="407291" cy="473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100" b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스템</a:t>
            </a:r>
            <a:b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아키텍처</a:t>
            </a:r>
          </a:p>
          <a:p>
            <a:pPr algn="ctr" latinLnBrk="0"/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의</a:t>
            </a:r>
          </a:p>
        </p:txBody>
      </p:sp>
      <p:sp>
        <p:nvSpPr>
          <p:cNvPr id="18" name="Rectangle 152"/>
          <p:cNvSpPr>
            <a:spLocks noChangeArrowheads="1"/>
          </p:cNvSpPr>
          <p:nvPr/>
        </p:nvSpPr>
        <p:spPr bwMode="gray">
          <a:xfrm rot="16200000">
            <a:off x="2713557" y="1945914"/>
            <a:ext cx="539614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19" name="Group 131"/>
          <p:cNvGrpSpPr>
            <a:grpSpLocks/>
          </p:cNvGrpSpPr>
          <p:nvPr/>
        </p:nvGrpSpPr>
        <p:grpSpPr bwMode="auto">
          <a:xfrm>
            <a:off x="390976" y="3457606"/>
            <a:ext cx="917540" cy="541494"/>
            <a:chOff x="-1940" y="888"/>
            <a:chExt cx="515" cy="1700"/>
          </a:xfrm>
        </p:grpSpPr>
        <p:sp>
          <p:nvSpPr>
            <p:cNvPr id="82" name="AutoShape 136"/>
            <p:cNvSpPr>
              <a:spLocks noChangeArrowheads="1"/>
            </p:cNvSpPr>
            <p:nvPr/>
          </p:nvSpPr>
          <p:spPr bwMode="gray">
            <a:xfrm>
              <a:off x="-1940" y="889"/>
              <a:ext cx="507" cy="1699"/>
            </a:xfrm>
            <a:prstGeom prst="roundRect">
              <a:avLst>
                <a:gd name="adj" fmla="val 6949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83" name="AutoShape 137"/>
            <p:cNvSpPr>
              <a:spLocks noChangeArrowheads="1"/>
            </p:cNvSpPr>
            <p:nvPr/>
          </p:nvSpPr>
          <p:spPr bwMode="gray">
            <a:xfrm>
              <a:off x="-1475" y="888"/>
              <a:ext cx="50" cy="1699"/>
            </a:xfrm>
            <a:prstGeom prst="roundRect">
              <a:avLst>
                <a:gd name="adj" fmla="val 7352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20" name="AutoShape 94"/>
          <p:cNvSpPr>
            <a:spLocks noChangeArrowheads="1"/>
          </p:cNvSpPr>
          <p:nvPr/>
        </p:nvSpPr>
        <p:spPr bwMode="auto">
          <a:xfrm>
            <a:off x="645476" y="3574935"/>
            <a:ext cx="4337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프로토콜</a:t>
            </a:r>
            <a:endParaRPr lang="en-US" altLang="ko-KR" sz="1000" b="0" spc="-81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latinLnBrk="0"/>
            <a:r>
              <a:rPr lang="ko-KR" altLang="en-US" sz="1000" b="0" spc="-81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의</a:t>
            </a:r>
            <a:endParaRPr lang="ko-KR" altLang="en-US" sz="1000" b="0" spc="-81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" name="Rectangle 152"/>
          <p:cNvSpPr>
            <a:spLocks noChangeArrowheads="1"/>
          </p:cNvSpPr>
          <p:nvPr/>
        </p:nvSpPr>
        <p:spPr bwMode="gray">
          <a:xfrm rot="16200000">
            <a:off x="2327671" y="2924337"/>
            <a:ext cx="1311386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22" name="Group 137"/>
          <p:cNvGrpSpPr>
            <a:grpSpLocks/>
          </p:cNvGrpSpPr>
          <p:nvPr/>
        </p:nvGrpSpPr>
        <p:grpSpPr bwMode="auto">
          <a:xfrm>
            <a:off x="390976" y="4049471"/>
            <a:ext cx="917540" cy="1315955"/>
            <a:chOff x="-1940" y="888"/>
            <a:chExt cx="515" cy="1700"/>
          </a:xfrm>
        </p:grpSpPr>
        <p:sp>
          <p:nvSpPr>
            <p:cNvPr id="80" name="AutoShape 136"/>
            <p:cNvSpPr>
              <a:spLocks noChangeArrowheads="1"/>
            </p:cNvSpPr>
            <p:nvPr/>
          </p:nvSpPr>
          <p:spPr bwMode="gray">
            <a:xfrm>
              <a:off x="-1940" y="889"/>
              <a:ext cx="507" cy="1699"/>
            </a:xfrm>
            <a:prstGeom prst="roundRect">
              <a:avLst>
                <a:gd name="adj" fmla="val 6949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81" name="AutoShape 137"/>
            <p:cNvSpPr>
              <a:spLocks noChangeArrowheads="1"/>
            </p:cNvSpPr>
            <p:nvPr/>
          </p:nvSpPr>
          <p:spPr bwMode="gray">
            <a:xfrm>
              <a:off x="-1475" y="888"/>
              <a:ext cx="50" cy="1699"/>
            </a:xfrm>
            <a:prstGeom prst="roundRect">
              <a:avLst>
                <a:gd name="adj" fmla="val 7352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23" name="AutoShape 94"/>
          <p:cNvSpPr>
            <a:spLocks noChangeArrowheads="1"/>
          </p:cNvSpPr>
          <p:nvPr/>
        </p:nvSpPr>
        <p:spPr bwMode="auto">
          <a:xfrm>
            <a:off x="604439" y="4552418"/>
            <a:ext cx="46025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연동 기술</a:t>
            </a:r>
            <a:endParaRPr lang="en-US" altLang="ko-KR" sz="1000" b="0" spc="-81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latinLnBrk="0"/>
            <a:r>
              <a:rPr lang="ko-KR" altLang="en-US" sz="1000" b="0" spc="-81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의</a:t>
            </a:r>
            <a:endParaRPr lang="ko-KR" altLang="en-US" sz="1000" b="0" spc="-81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5" name="Rectangle 152"/>
          <p:cNvSpPr>
            <a:spLocks noChangeArrowheads="1"/>
          </p:cNvSpPr>
          <p:nvPr/>
        </p:nvSpPr>
        <p:spPr bwMode="gray">
          <a:xfrm rot="16200000">
            <a:off x="2522182" y="4102110"/>
            <a:ext cx="922362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26" name="Group 143"/>
          <p:cNvGrpSpPr>
            <a:grpSpLocks/>
          </p:cNvGrpSpPr>
          <p:nvPr/>
        </p:nvGrpSpPr>
        <p:grpSpPr bwMode="auto">
          <a:xfrm>
            <a:off x="390976" y="5422094"/>
            <a:ext cx="917540" cy="925576"/>
            <a:chOff x="-1940" y="888"/>
            <a:chExt cx="515" cy="1700"/>
          </a:xfrm>
        </p:grpSpPr>
        <p:sp>
          <p:nvSpPr>
            <p:cNvPr id="78" name="AutoShape 136"/>
            <p:cNvSpPr>
              <a:spLocks noChangeArrowheads="1"/>
            </p:cNvSpPr>
            <p:nvPr/>
          </p:nvSpPr>
          <p:spPr bwMode="gray">
            <a:xfrm>
              <a:off x="-1940" y="889"/>
              <a:ext cx="507" cy="1699"/>
            </a:xfrm>
            <a:prstGeom prst="roundRect">
              <a:avLst>
                <a:gd name="adj" fmla="val 6949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79" name="AutoShape 137"/>
            <p:cNvSpPr>
              <a:spLocks noChangeArrowheads="1"/>
            </p:cNvSpPr>
            <p:nvPr/>
          </p:nvSpPr>
          <p:spPr bwMode="gray">
            <a:xfrm>
              <a:off x="-1475" y="888"/>
              <a:ext cx="50" cy="1699"/>
            </a:xfrm>
            <a:prstGeom prst="roundRect">
              <a:avLst>
                <a:gd name="adj" fmla="val 7352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27" name="AutoShape 94"/>
          <p:cNvSpPr>
            <a:spLocks noChangeArrowheads="1"/>
          </p:cNvSpPr>
          <p:nvPr/>
        </p:nvSpPr>
        <p:spPr bwMode="auto">
          <a:xfrm>
            <a:off x="452500" y="5731796"/>
            <a:ext cx="7657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인터페이스 유형</a:t>
            </a:r>
            <a:endParaRPr lang="en-US" altLang="ko-KR" sz="1000" b="0" spc="-81" dirty="0" smtClean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latinLnBrk="0"/>
            <a:r>
              <a:rPr lang="ko-KR" altLang="en-US" sz="1000" b="0" spc="-81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의</a:t>
            </a:r>
            <a:endParaRPr lang="ko-KR" altLang="en-US" sz="1000" b="0" spc="-81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2" name="Oval 382"/>
          <p:cNvSpPr>
            <a:spLocks noChangeArrowheads="1"/>
          </p:cNvSpPr>
          <p:nvPr/>
        </p:nvSpPr>
        <p:spPr bwMode="auto">
          <a:xfrm>
            <a:off x="697364" y="3334825"/>
            <a:ext cx="176213" cy="16685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10000"/>
              </a:lnSpc>
            </a:pPr>
            <a:endParaRPr kumimoji="0" lang="ko-KR" altLang="en-US" sz="1000" b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" name="Freeform 386"/>
          <p:cNvSpPr>
            <a:spLocks/>
          </p:cNvSpPr>
          <p:nvPr/>
        </p:nvSpPr>
        <p:spPr bwMode="gray">
          <a:xfrm rot="5400000">
            <a:off x="743134" y="3364496"/>
            <a:ext cx="84673" cy="117475"/>
          </a:xfrm>
          <a:custGeom>
            <a:avLst/>
            <a:gdLst>
              <a:gd name="T0" fmla="*/ 0 w 246"/>
              <a:gd name="T1" fmla="*/ 0 h 374"/>
              <a:gd name="T2" fmla="*/ 0 w 246"/>
              <a:gd name="T3" fmla="*/ 0 h 374"/>
              <a:gd name="T4" fmla="*/ 0 w 246"/>
              <a:gd name="T5" fmla="*/ 0 h 374"/>
              <a:gd name="T6" fmla="*/ 0 w 246"/>
              <a:gd name="T7" fmla="*/ 0 h 374"/>
              <a:gd name="T8" fmla="*/ 0 w 246"/>
              <a:gd name="T9" fmla="*/ 0 h 374"/>
              <a:gd name="T10" fmla="*/ 0 w 246"/>
              <a:gd name="T11" fmla="*/ 0 h 374"/>
              <a:gd name="T12" fmla="*/ 0 w 246"/>
              <a:gd name="T13" fmla="*/ 0 h 374"/>
              <a:gd name="T14" fmla="*/ 0 w 246"/>
              <a:gd name="T15" fmla="*/ 0 h 374"/>
              <a:gd name="T16" fmla="*/ 0 w 246"/>
              <a:gd name="T17" fmla="*/ 0 h 374"/>
              <a:gd name="T18" fmla="*/ 0 w 246"/>
              <a:gd name="T19" fmla="*/ 0 h 374"/>
              <a:gd name="T20" fmla="*/ 0 w 246"/>
              <a:gd name="T21" fmla="*/ 0 h 374"/>
              <a:gd name="T22" fmla="*/ 0 w 246"/>
              <a:gd name="T23" fmla="*/ 0 h 374"/>
              <a:gd name="T24" fmla="*/ 0 w 246"/>
              <a:gd name="T25" fmla="*/ 0 h 374"/>
              <a:gd name="T26" fmla="*/ 0 w 246"/>
              <a:gd name="T27" fmla="*/ 0 h 374"/>
              <a:gd name="T28" fmla="*/ 0 w 246"/>
              <a:gd name="T29" fmla="*/ 0 h 374"/>
              <a:gd name="T30" fmla="*/ 0 w 246"/>
              <a:gd name="T31" fmla="*/ 0 h 374"/>
              <a:gd name="T32" fmla="*/ 0 w 246"/>
              <a:gd name="T33" fmla="*/ 0 h 374"/>
              <a:gd name="T34" fmla="*/ 0 w 246"/>
              <a:gd name="T35" fmla="*/ 0 h 374"/>
              <a:gd name="T36" fmla="*/ 0 w 246"/>
              <a:gd name="T37" fmla="*/ 0 h 374"/>
              <a:gd name="T38" fmla="*/ 0 w 246"/>
              <a:gd name="T39" fmla="*/ 0 h 374"/>
              <a:gd name="T40" fmla="*/ 0 w 246"/>
              <a:gd name="T41" fmla="*/ 0 h 374"/>
              <a:gd name="T42" fmla="*/ 0 w 246"/>
              <a:gd name="T43" fmla="*/ 0 h 374"/>
              <a:gd name="T44" fmla="*/ 0 w 246"/>
              <a:gd name="T45" fmla="*/ 0 h 374"/>
              <a:gd name="T46" fmla="*/ 0 w 246"/>
              <a:gd name="T47" fmla="*/ 0 h 374"/>
              <a:gd name="T48" fmla="*/ 0 w 246"/>
              <a:gd name="T49" fmla="*/ 0 h 374"/>
              <a:gd name="T50" fmla="*/ 0 w 246"/>
              <a:gd name="T51" fmla="*/ 0 h 374"/>
              <a:gd name="T52" fmla="*/ 0 w 246"/>
              <a:gd name="T53" fmla="*/ 0 h 374"/>
              <a:gd name="T54" fmla="*/ 0 w 246"/>
              <a:gd name="T55" fmla="*/ 0 h 374"/>
              <a:gd name="T56" fmla="*/ 0 w 246"/>
              <a:gd name="T57" fmla="*/ 0 h 374"/>
              <a:gd name="T58" fmla="*/ 0 w 246"/>
              <a:gd name="T59" fmla="*/ 0 h 374"/>
              <a:gd name="T60" fmla="*/ 0 w 246"/>
              <a:gd name="T61" fmla="*/ 0 h 374"/>
              <a:gd name="T62" fmla="*/ 0 w 246"/>
              <a:gd name="T63" fmla="*/ 0 h 374"/>
              <a:gd name="T64" fmla="*/ 0 w 246"/>
              <a:gd name="T65" fmla="*/ 0 h 374"/>
              <a:gd name="T66" fmla="*/ 0 w 246"/>
              <a:gd name="T67" fmla="*/ 0 h 374"/>
              <a:gd name="T68" fmla="*/ 0 w 246"/>
              <a:gd name="T69" fmla="*/ 0 h 374"/>
              <a:gd name="T70" fmla="*/ 0 w 246"/>
              <a:gd name="T71" fmla="*/ 0 h 374"/>
              <a:gd name="T72" fmla="*/ 0 w 246"/>
              <a:gd name="T73" fmla="*/ 0 h 374"/>
              <a:gd name="T74" fmla="*/ 0 w 246"/>
              <a:gd name="T75" fmla="*/ 0 h 374"/>
              <a:gd name="T76" fmla="*/ 0 w 246"/>
              <a:gd name="T77" fmla="*/ 0 h 374"/>
              <a:gd name="T78" fmla="*/ 0 w 246"/>
              <a:gd name="T79" fmla="*/ 0 h 374"/>
              <a:gd name="T80" fmla="*/ 0 w 246"/>
              <a:gd name="T81" fmla="*/ 0 h 374"/>
              <a:gd name="T82" fmla="*/ 0 w 246"/>
              <a:gd name="T83" fmla="*/ 0 h 374"/>
              <a:gd name="T84" fmla="*/ 0 w 246"/>
              <a:gd name="T85" fmla="*/ 0 h 374"/>
              <a:gd name="T86" fmla="*/ 0 w 246"/>
              <a:gd name="T87" fmla="*/ 0 h 374"/>
              <a:gd name="T88" fmla="*/ 0 w 246"/>
              <a:gd name="T89" fmla="*/ 0 h 374"/>
              <a:gd name="T90" fmla="*/ 0 w 246"/>
              <a:gd name="T91" fmla="*/ 0 h 374"/>
              <a:gd name="T92" fmla="*/ 0 w 246"/>
              <a:gd name="T93" fmla="*/ 0 h 374"/>
              <a:gd name="T94" fmla="*/ 0 w 246"/>
              <a:gd name="T95" fmla="*/ 0 h 374"/>
              <a:gd name="T96" fmla="*/ 0 w 246"/>
              <a:gd name="T97" fmla="*/ 0 h 374"/>
              <a:gd name="T98" fmla="*/ 0 w 246"/>
              <a:gd name="T99" fmla="*/ 0 h 374"/>
              <a:gd name="T100" fmla="*/ 0 w 246"/>
              <a:gd name="T101" fmla="*/ 0 h 374"/>
              <a:gd name="T102" fmla="*/ 0 w 246"/>
              <a:gd name="T103" fmla="*/ 0 h 374"/>
              <a:gd name="T104" fmla="*/ 0 w 246"/>
              <a:gd name="T105" fmla="*/ 0 h 37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374"/>
              <a:gd name="T161" fmla="*/ 246 w 246"/>
              <a:gd name="T162" fmla="*/ 374 h 37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374">
                <a:moveTo>
                  <a:pt x="44" y="374"/>
                </a:moveTo>
                <a:lnTo>
                  <a:pt x="44" y="374"/>
                </a:lnTo>
                <a:lnTo>
                  <a:pt x="36" y="374"/>
                </a:lnTo>
                <a:lnTo>
                  <a:pt x="30" y="372"/>
                </a:lnTo>
                <a:lnTo>
                  <a:pt x="22" y="368"/>
                </a:lnTo>
                <a:lnTo>
                  <a:pt x="16" y="362"/>
                </a:lnTo>
                <a:lnTo>
                  <a:pt x="10" y="356"/>
                </a:lnTo>
                <a:lnTo>
                  <a:pt x="8" y="350"/>
                </a:lnTo>
                <a:lnTo>
                  <a:pt x="6" y="342"/>
                </a:lnTo>
                <a:lnTo>
                  <a:pt x="4" y="334"/>
                </a:lnTo>
                <a:lnTo>
                  <a:pt x="6" y="326"/>
                </a:lnTo>
                <a:lnTo>
                  <a:pt x="8" y="318"/>
                </a:lnTo>
                <a:lnTo>
                  <a:pt x="12" y="312"/>
                </a:lnTo>
                <a:lnTo>
                  <a:pt x="18" y="306"/>
                </a:lnTo>
                <a:lnTo>
                  <a:pt x="146" y="184"/>
                </a:lnTo>
                <a:lnTo>
                  <a:pt x="14" y="70"/>
                </a:lnTo>
                <a:lnTo>
                  <a:pt x="8" y="64"/>
                </a:lnTo>
                <a:lnTo>
                  <a:pt x="4" y="56"/>
                </a:lnTo>
                <a:lnTo>
                  <a:pt x="0" y="50"/>
                </a:lnTo>
                <a:lnTo>
                  <a:pt x="0" y="42"/>
                </a:lnTo>
                <a:lnTo>
                  <a:pt x="0" y="34"/>
                </a:lnTo>
                <a:lnTo>
                  <a:pt x="2" y="26"/>
                </a:lnTo>
                <a:lnTo>
                  <a:pt x="4" y="20"/>
                </a:lnTo>
                <a:lnTo>
                  <a:pt x="8" y="12"/>
                </a:lnTo>
                <a:lnTo>
                  <a:pt x="14" y="8"/>
                </a:lnTo>
                <a:lnTo>
                  <a:pt x="22" y="4"/>
                </a:lnTo>
                <a:lnTo>
                  <a:pt x="28" y="0"/>
                </a:lnTo>
                <a:lnTo>
                  <a:pt x="36" y="0"/>
                </a:lnTo>
                <a:lnTo>
                  <a:pt x="44" y="0"/>
                </a:lnTo>
                <a:lnTo>
                  <a:pt x="52" y="0"/>
                </a:lnTo>
                <a:lnTo>
                  <a:pt x="58" y="4"/>
                </a:lnTo>
                <a:lnTo>
                  <a:pt x="66" y="8"/>
                </a:lnTo>
                <a:lnTo>
                  <a:pt x="232" y="152"/>
                </a:lnTo>
                <a:lnTo>
                  <a:pt x="238" y="158"/>
                </a:lnTo>
                <a:lnTo>
                  <a:pt x="242" y="164"/>
                </a:lnTo>
                <a:lnTo>
                  <a:pt x="244" y="172"/>
                </a:lnTo>
                <a:lnTo>
                  <a:pt x="246" y="180"/>
                </a:lnTo>
                <a:lnTo>
                  <a:pt x="246" y="188"/>
                </a:lnTo>
                <a:lnTo>
                  <a:pt x="242" y="196"/>
                </a:lnTo>
                <a:lnTo>
                  <a:pt x="240" y="204"/>
                </a:lnTo>
                <a:lnTo>
                  <a:pt x="234" y="210"/>
                </a:lnTo>
                <a:lnTo>
                  <a:pt x="72" y="364"/>
                </a:lnTo>
                <a:lnTo>
                  <a:pt x="66" y="368"/>
                </a:lnTo>
                <a:lnTo>
                  <a:pt x="60" y="372"/>
                </a:lnTo>
                <a:lnTo>
                  <a:pt x="52" y="374"/>
                </a:lnTo>
                <a:lnTo>
                  <a:pt x="44" y="374"/>
                </a:lnTo>
                <a:close/>
              </a:path>
            </a:pathLst>
          </a:cu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0" latinLnBrk="0" hangingPunct="0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" name="Oval 382"/>
          <p:cNvSpPr>
            <a:spLocks noChangeArrowheads="1"/>
          </p:cNvSpPr>
          <p:nvPr/>
        </p:nvSpPr>
        <p:spPr bwMode="auto">
          <a:xfrm>
            <a:off x="697364" y="3940858"/>
            <a:ext cx="176213" cy="16685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10000"/>
              </a:lnSpc>
            </a:pPr>
            <a:endParaRPr kumimoji="0" lang="ko-KR" altLang="en-US" sz="1000" b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5" name="Freeform 386"/>
          <p:cNvSpPr>
            <a:spLocks/>
          </p:cNvSpPr>
          <p:nvPr/>
        </p:nvSpPr>
        <p:spPr bwMode="gray">
          <a:xfrm rot="5400000">
            <a:off x="743134" y="3970529"/>
            <a:ext cx="84673" cy="117475"/>
          </a:xfrm>
          <a:custGeom>
            <a:avLst/>
            <a:gdLst>
              <a:gd name="T0" fmla="*/ 0 w 246"/>
              <a:gd name="T1" fmla="*/ 0 h 374"/>
              <a:gd name="T2" fmla="*/ 0 w 246"/>
              <a:gd name="T3" fmla="*/ 0 h 374"/>
              <a:gd name="T4" fmla="*/ 0 w 246"/>
              <a:gd name="T5" fmla="*/ 0 h 374"/>
              <a:gd name="T6" fmla="*/ 0 w 246"/>
              <a:gd name="T7" fmla="*/ 0 h 374"/>
              <a:gd name="T8" fmla="*/ 0 w 246"/>
              <a:gd name="T9" fmla="*/ 0 h 374"/>
              <a:gd name="T10" fmla="*/ 0 w 246"/>
              <a:gd name="T11" fmla="*/ 0 h 374"/>
              <a:gd name="T12" fmla="*/ 0 w 246"/>
              <a:gd name="T13" fmla="*/ 0 h 374"/>
              <a:gd name="T14" fmla="*/ 0 w 246"/>
              <a:gd name="T15" fmla="*/ 0 h 374"/>
              <a:gd name="T16" fmla="*/ 0 w 246"/>
              <a:gd name="T17" fmla="*/ 0 h 374"/>
              <a:gd name="T18" fmla="*/ 0 w 246"/>
              <a:gd name="T19" fmla="*/ 0 h 374"/>
              <a:gd name="T20" fmla="*/ 0 w 246"/>
              <a:gd name="T21" fmla="*/ 0 h 374"/>
              <a:gd name="T22" fmla="*/ 0 w 246"/>
              <a:gd name="T23" fmla="*/ 0 h 374"/>
              <a:gd name="T24" fmla="*/ 0 w 246"/>
              <a:gd name="T25" fmla="*/ 0 h 374"/>
              <a:gd name="T26" fmla="*/ 0 w 246"/>
              <a:gd name="T27" fmla="*/ 0 h 374"/>
              <a:gd name="T28" fmla="*/ 0 w 246"/>
              <a:gd name="T29" fmla="*/ 0 h 374"/>
              <a:gd name="T30" fmla="*/ 0 w 246"/>
              <a:gd name="T31" fmla="*/ 0 h 374"/>
              <a:gd name="T32" fmla="*/ 0 w 246"/>
              <a:gd name="T33" fmla="*/ 0 h 374"/>
              <a:gd name="T34" fmla="*/ 0 w 246"/>
              <a:gd name="T35" fmla="*/ 0 h 374"/>
              <a:gd name="T36" fmla="*/ 0 w 246"/>
              <a:gd name="T37" fmla="*/ 0 h 374"/>
              <a:gd name="T38" fmla="*/ 0 w 246"/>
              <a:gd name="T39" fmla="*/ 0 h 374"/>
              <a:gd name="T40" fmla="*/ 0 w 246"/>
              <a:gd name="T41" fmla="*/ 0 h 374"/>
              <a:gd name="T42" fmla="*/ 0 w 246"/>
              <a:gd name="T43" fmla="*/ 0 h 374"/>
              <a:gd name="T44" fmla="*/ 0 w 246"/>
              <a:gd name="T45" fmla="*/ 0 h 374"/>
              <a:gd name="T46" fmla="*/ 0 w 246"/>
              <a:gd name="T47" fmla="*/ 0 h 374"/>
              <a:gd name="T48" fmla="*/ 0 w 246"/>
              <a:gd name="T49" fmla="*/ 0 h 374"/>
              <a:gd name="T50" fmla="*/ 0 w 246"/>
              <a:gd name="T51" fmla="*/ 0 h 374"/>
              <a:gd name="T52" fmla="*/ 0 w 246"/>
              <a:gd name="T53" fmla="*/ 0 h 374"/>
              <a:gd name="T54" fmla="*/ 0 w 246"/>
              <a:gd name="T55" fmla="*/ 0 h 374"/>
              <a:gd name="T56" fmla="*/ 0 w 246"/>
              <a:gd name="T57" fmla="*/ 0 h 374"/>
              <a:gd name="T58" fmla="*/ 0 w 246"/>
              <a:gd name="T59" fmla="*/ 0 h 374"/>
              <a:gd name="T60" fmla="*/ 0 w 246"/>
              <a:gd name="T61" fmla="*/ 0 h 374"/>
              <a:gd name="T62" fmla="*/ 0 w 246"/>
              <a:gd name="T63" fmla="*/ 0 h 374"/>
              <a:gd name="T64" fmla="*/ 0 w 246"/>
              <a:gd name="T65" fmla="*/ 0 h 374"/>
              <a:gd name="T66" fmla="*/ 0 w 246"/>
              <a:gd name="T67" fmla="*/ 0 h 374"/>
              <a:gd name="T68" fmla="*/ 0 w 246"/>
              <a:gd name="T69" fmla="*/ 0 h 374"/>
              <a:gd name="T70" fmla="*/ 0 w 246"/>
              <a:gd name="T71" fmla="*/ 0 h 374"/>
              <a:gd name="T72" fmla="*/ 0 w 246"/>
              <a:gd name="T73" fmla="*/ 0 h 374"/>
              <a:gd name="T74" fmla="*/ 0 w 246"/>
              <a:gd name="T75" fmla="*/ 0 h 374"/>
              <a:gd name="T76" fmla="*/ 0 w 246"/>
              <a:gd name="T77" fmla="*/ 0 h 374"/>
              <a:gd name="T78" fmla="*/ 0 w 246"/>
              <a:gd name="T79" fmla="*/ 0 h 374"/>
              <a:gd name="T80" fmla="*/ 0 w 246"/>
              <a:gd name="T81" fmla="*/ 0 h 374"/>
              <a:gd name="T82" fmla="*/ 0 w 246"/>
              <a:gd name="T83" fmla="*/ 0 h 374"/>
              <a:gd name="T84" fmla="*/ 0 w 246"/>
              <a:gd name="T85" fmla="*/ 0 h 374"/>
              <a:gd name="T86" fmla="*/ 0 w 246"/>
              <a:gd name="T87" fmla="*/ 0 h 374"/>
              <a:gd name="T88" fmla="*/ 0 w 246"/>
              <a:gd name="T89" fmla="*/ 0 h 374"/>
              <a:gd name="T90" fmla="*/ 0 w 246"/>
              <a:gd name="T91" fmla="*/ 0 h 374"/>
              <a:gd name="T92" fmla="*/ 0 w 246"/>
              <a:gd name="T93" fmla="*/ 0 h 374"/>
              <a:gd name="T94" fmla="*/ 0 w 246"/>
              <a:gd name="T95" fmla="*/ 0 h 374"/>
              <a:gd name="T96" fmla="*/ 0 w 246"/>
              <a:gd name="T97" fmla="*/ 0 h 374"/>
              <a:gd name="T98" fmla="*/ 0 w 246"/>
              <a:gd name="T99" fmla="*/ 0 h 374"/>
              <a:gd name="T100" fmla="*/ 0 w 246"/>
              <a:gd name="T101" fmla="*/ 0 h 374"/>
              <a:gd name="T102" fmla="*/ 0 w 246"/>
              <a:gd name="T103" fmla="*/ 0 h 374"/>
              <a:gd name="T104" fmla="*/ 0 w 246"/>
              <a:gd name="T105" fmla="*/ 0 h 37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374"/>
              <a:gd name="T161" fmla="*/ 246 w 246"/>
              <a:gd name="T162" fmla="*/ 374 h 37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374">
                <a:moveTo>
                  <a:pt x="44" y="374"/>
                </a:moveTo>
                <a:lnTo>
                  <a:pt x="44" y="374"/>
                </a:lnTo>
                <a:lnTo>
                  <a:pt x="36" y="374"/>
                </a:lnTo>
                <a:lnTo>
                  <a:pt x="30" y="372"/>
                </a:lnTo>
                <a:lnTo>
                  <a:pt x="22" y="368"/>
                </a:lnTo>
                <a:lnTo>
                  <a:pt x="16" y="362"/>
                </a:lnTo>
                <a:lnTo>
                  <a:pt x="10" y="356"/>
                </a:lnTo>
                <a:lnTo>
                  <a:pt x="8" y="350"/>
                </a:lnTo>
                <a:lnTo>
                  <a:pt x="6" y="342"/>
                </a:lnTo>
                <a:lnTo>
                  <a:pt x="4" y="334"/>
                </a:lnTo>
                <a:lnTo>
                  <a:pt x="6" y="326"/>
                </a:lnTo>
                <a:lnTo>
                  <a:pt x="8" y="318"/>
                </a:lnTo>
                <a:lnTo>
                  <a:pt x="12" y="312"/>
                </a:lnTo>
                <a:lnTo>
                  <a:pt x="18" y="306"/>
                </a:lnTo>
                <a:lnTo>
                  <a:pt x="146" y="184"/>
                </a:lnTo>
                <a:lnTo>
                  <a:pt x="14" y="70"/>
                </a:lnTo>
                <a:lnTo>
                  <a:pt x="8" y="64"/>
                </a:lnTo>
                <a:lnTo>
                  <a:pt x="4" y="56"/>
                </a:lnTo>
                <a:lnTo>
                  <a:pt x="0" y="50"/>
                </a:lnTo>
                <a:lnTo>
                  <a:pt x="0" y="42"/>
                </a:lnTo>
                <a:lnTo>
                  <a:pt x="0" y="34"/>
                </a:lnTo>
                <a:lnTo>
                  <a:pt x="2" y="26"/>
                </a:lnTo>
                <a:lnTo>
                  <a:pt x="4" y="20"/>
                </a:lnTo>
                <a:lnTo>
                  <a:pt x="8" y="12"/>
                </a:lnTo>
                <a:lnTo>
                  <a:pt x="14" y="8"/>
                </a:lnTo>
                <a:lnTo>
                  <a:pt x="22" y="4"/>
                </a:lnTo>
                <a:lnTo>
                  <a:pt x="28" y="0"/>
                </a:lnTo>
                <a:lnTo>
                  <a:pt x="36" y="0"/>
                </a:lnTo>
                <a:lnTo>
                  <a:pt x="44" y="0"/>
                </a:lnTo>
                <a:lnTo>
                  <a:pt x="52" y="0"/>
                </a:lnTo>
                <a:lnTo>
                  <a:pt x="58" y="4"/>
                </a:lnTo>
                <a:lnTo>
                  <a:pt x="66" y="8"/>
                </a:lnTo>
                <a:lnTo>
                  <a:pt x="232" y="152"/>
                </a:lnTo>
                <a:lnTo>
                  <a:pt x="238" y="158"/>
                </a:lnTo>
                <a:lnTo>
                  <a:pt x="242" y="164"/>
                </a:lnTo>
                <a:lnTo>
                  <a:pt x="244" y="172"/>
                </a:lnTo>
                <a:lnTo>
                  <a:pt x="246" y="180"/>
                </a:lnTo>
                <a:lnTo>
                  <a:pt x="246" y="188"/>
                </a:lnTo>
                <a:lnTo>
                  <a:pt x="242" y="196"/>
                </a:lnTo>
                <a:lnTo>
                  <a:pt x="240" y="204"/>
                </a:lnTo>
                <a:lnTo>
                  <a:pt x="234" y="210"/>
                </a:lnTo>
                <a:lnTo>
                  <a:pt x="72" y="364"/>
                </a:lnTo>
                <a:lnTo>
                  <a:pt x="66" y="368"/>
                </a:lnTo>
                <a:lnTo>
                  <a:pt x="60" y="372"/>
                </a:lnTo>
                <a:lnTo>
                  <a:pt x="52" y="374"/>
                </a:lnTo>
                <a:lnTo>
                  <a:pt x="44" y="374"/>
                </a:lnTo>
                <a:close/>
              </a:path>
            </a:pathLst>
          </a:cu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0" latinLnBrk="0" hangingPunct="0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6" name="Oval 382"/>
          <p:cNvSpPr>
            <a:spLocks noChangeArrowheads="1"/>
          </p:cNvSpPr>
          <p:nvPr/>
        </p:nvSpPr>
        <p:spPr bwMode="auto">
          <a:xfrm>
            <a:off x="697364" y="5318203"/>
            <a:ext cx="176213" cy="16685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10000"/>
              </a:lnSpc>
            </a:pPr>
            <a:endParaRPr kumimoji="0" lang="ko-KR" altLang="en-US" sz="1000" b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Freeform 386"/>
          <p:cNvSpPr>
            <a:spLocks/>
          </p:cNvSpPr>
          <p:nvPr/>
        </p:nvSpPr>
        <p:spPr bwMode="gray">
          <a:xfrm rot="5400000">
            <a:off x="743134" y="5347874"/>
            <a:ext cx="84673" cy="117475"/>
          </a:xfrm>
          <a:custGeom>
            <a:avLst/>
            <a:gdLst>
              <a:gd name="T0" fmla="*/ 0 w 246"/>
              <a:gd name="T1" fmla="*/ 0 h 374"/>
              <a:gd name="T2" fmla="*/ 0 w 246"/>
              <a:gd name="T3" fmla="*/ 0 h 374"/>
              <a:gd name="T4" fmla="*/ 0 w 246"/>
              <a:gd name="T5" fmla="*/ 0 h 374"/>
              <a:gd name="T6" fmla="*/ 0 w 246"/>
              <a:gd name="T7" fmla="*/ 0 h 374"/>
              <a:gd name="T8" fmla="*/ 0 w 246"/>
              <a:gd name="T9" fmla="*/ 0 h 374"/>
              <a:gd name="T10" fmla="*/ 0 w 246"/>
              <a:gd name="T11" fmla="*/ 0 h 374"/>
              <a:gd name="T12" fmla="*/ 0 w 246"/>
              <a:gd name="T13" fmla="*/ 0 h 374"/>
              <a:gd name="T14" fmla="*/ 0 w 246"/>
              <a:gd name="T15" fmla="*/ 0 h 374"/>
              <a:gd name="T16" fmla="*/ 0 w 246"/>
              <a:gd name="T17" fmla="*/ 0 h 374"/>
              <a:gd name="T18" fmla="*/ 0 w 246"/>
              <a:gd name="T19" fmla="*/ 0 h 374"/>
              <a:gd name="T20" fmla="*/ 0 w 246"/>
              <a:gd name="T21" fmla="*/ 0 h 374"/>
              <a:gd name="T22" fmla="*/ 0 w 246"/>
              <a:gd name="T23" fmla="*/ 0 h 374"/>
              <a:gd name="T24" fmla="*/ 0 w 246"/>
              <a:gd name="T25" fmla="*/ 0 h 374"/>
              <a:gd name="T26" fmla="*/ 0 w 246"/>
              <a:gd name="T27" fmla="*/ 0 h 374"/>
              <a:gd name="T28" fmla="*/ 0 w 246"/>
              <a:gd name="T29" fmla="*/ 0 h 374"/>
              <a:gd name="T30" fmla="*/ 0 w 246"/>
              <a:gd name="T31" fmla="*/ 0 h 374"/>
              <a:gd name="T32" fmla="*/ 0 w 246"/>
              <a:gd name="T33" fmla="*/ 0 h 374"/>
              <a:gd name="T34" fmla="*/ 0 w 246"/>
              <a:gd name="T35" fmla="*/ 0 h 374"/>
              <a:gd name="T36" fmla="*/ 0 w 246"/>
              <a:gd name="T37" fmla="*/ 0 h 374"/>
              <a:gd name="T38" fmla="*/ 0 w 246"/>
              <a:gd name="T39" fmla="*/ 0 h 374"/>
              <a:gd name="T40" fmla="*/ 0 w 246"/>
              <a:gd name="T41" fmla="*/ 0 h 374"/>
              <a:gd name="T42" fmla="*/ 0 w 246"/>
              <a:gd name="T43" fmla="*/ 0 h 374"/>
              <a:gd name="T44" fmla="*/ 0 w 246"/>
              <a:gd name="T45" fmla="*/ 0 h 374"/>
              <a:gd name="T46" fmla="*/ 0 w 246"/>
              <a:gd name="T47" fmla="*/ 0 h 374"/>
              <a:gd name="T48" fmla="*/ 0 w 246"/>
              <a:gd name="T49" fmla="*/ 0 h 374"/>
              <a:gd name="T50" fmla="*/ 0 w 246"/>
              <a:gd name="T51" fmla="*/ 0 h 374"/>
              <a:gd name="T52" fmla="*/ 0 w 246"/>
              <a:gd name="T53" fmla="*/ 0 h 374"/>
              <a:gd name="T54" fmla="*/ 0 w 246"/>
              <a:gd name="T55" fmla="*/ 0 h 374"/>
              <a:gd name="T56" fmla="*/ 0 w 246"/>
              <a:gd name="T57" fmla="*/ 0 h 374"/>
              <a:gd name="T58" fmla="*/ 0 w 246"/>
              <a:gd name="T59" fmla="*/ 0 h 374"/>
              <a:gd name="T60" fmla="*/ 0 w 246"/>
              <a:gd name="T61" fmla="*/ 0 h 374"/>
              <a:gd name="T62" fmla="*/ 0 w 246"/>
              <a:gd name="T63" fmla="*/ 0 h 374"/>
              <a:gd name="T64" fmla="*/ 0 w 246"/>
              <a:gd name="T65" fmla="*/ 0 h 374"/>
              <a:gd name="T66" fmla="*/ 0 w 246"/>
              <a:gd name="T67" fmla="*/ 0 h 374"/>
              <a:gd name="T68" fmla="*/ 0 w 246"/>
              <a:gd name="T69" fmla="*/ 0 h 374"/>
              <a:gd name="T70" fmla="*/ 0 w 246"/>
              <a:gd name="T71" fmla="*/ 0 h 374"/>
              <a:gd name="T72" fmla="*/ 0 w 246"/>
              <a:gd name="T73" fmla="*/ 0 h 374"/>
              <a:gd name="T74" fmla="*/ 0 w 246"/>
              <a:gd name="T75" fmla="*/ 0 h 374"/>
              <a:gd name="T76" fmla="*/ 0 w 246"/>
              <a:gd name="T77" fmla="*/ 0 h 374"/>
              <a:gd name="T78" fmla="*/ 0 w 246"/>
              <a:gd name="T79" fmla="*/ 0 h 374"/>
              <a:gd name="T80" fmla="*/ 0 w 246"/>
              <a:gd name="T81" fmla="*/ 0 h 374"/>
              <a:gd name="T82" fmla="*/ 0 w 246"/>
              <a:gd name="T83" fmla="*/ 0 h 374"/>
              <a:gd name="T84" fmla="*/ 0 w 246"/>
              <a:gd name="T85" fmla="*/ 0 h 374"/>
              <a:gd name="T86" fmla="*/ 0 w 246"/>
              <a:gd name="T87" fmla="*/ 0 h 374"/>
              <a:gd name="T88" fmla="*/ 0 w 246"/>
              <a:gd name="T89" fmla="*/ 0 h 374"/>
              <a:gd name="T90" fmla="*/ 0 w 246"/>
              <a:gd name="T91" fmla="*/ 0 h 374"/>
              <a:gd name="T92" fmla="*/ 0 w 246"/>
              <a:gd name="T93" fmla="*/ 0 h 374"/>
              <a:gd name="T94" fmla="*/ 0 w 246"/>
              <a:gd name="T95" fmla="*/ 0 h 374"/>
              <a:gd name="T96" fmla="*/ 0 w 246"/>
              <a:gd name="T97" fmla="*/ 0 h 374"/>
              <a:gd name="T98" fmla="*/ 0 w 246"/>
              <a:gd name="T99" fmla="*/ 0 h 374"/>
              <a:gd name="T100" fmla="*/ 0 w 246"/>
              <a:gd name="T101" fmla="*/ 0 h 374"/>
              <a:gd name="T102" fmla="*/ 0 w 246"/>
              <a:gd name="T103" fmla="*/ 0 h 374"/>
              <a:gd name="T104" fmla="*/ 0 w 246"/>
              <a:gd name="T105" fmla="*/ 0 h 37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374"/>
              <a:gd name="T161" fmla="*/ 246 w 246"/>
              <a:gd name="T162" fmla="*/ 374 h 37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374">
                <a:moveTo>
                  <a:pt x="44" y="374"/>
                </a:moveTo>
                <a:lnTo>
                  <a:pt x="44" y="374"/>
                </a:lnTo>
                <a:lnTo>
                  <a:pt x="36" y="374"/>
                </a:lnTo>
                <a:lnTo>
                  <a:pt x="30" y="372"/>
                </a:lnTo>
                <a:lnTo>
                  <a:pt x="22" y="368"/>
                </a:lnTo>
                <a:lnTo>
                  <a:pt x="16" y="362"/>
                </a:lnTo>
                <a:lnTo>
                  <a:pt x="10" y="356"/>
                </a:lnTo>
                <a:lnTo>
                  <a:pt x="8" y="350"/>
                </a:lnTo>
                <a:lnTo>
                  <a:pt x="6" y="342"/>
                </a:lnTo>
                <a:lnTo>
                  <a:pt x="4" y="334"/>
                </a:lnTo>
                <a:lnTo>
                  <a:pt x="6" y="326"/>
                </a:lnTo>
                <a:lnTo>
                  <a:pt x="8" y="318"/>
                </a:lnTo>
                <a:lnTo>
                  <a:pt x="12" y="312"/>
                </a:lnTo>
                <a:lnTo>
                  <a:pt x="18" y="306"/>
                </a:lnTo>
                <a:lnTo>
                  <a:pt x="146" y="184"/>
                </a:lnTo>
                <a:lnTo>
                  <a:pt x="14" y="70"/>
                </a:lnTo>
                <a:lnTo>
                  <a:pt x="8" y="64"/>
                </a:lnTo>
                <a:lnTo>
                  <a:pt x="4" y="56"/>
                </a:lnTo>
                <a:lnTo>
                  <a:pt x="0" y="50"/>
                </a:lnTo>
                <a:lnTo>
                  <a:pt x="0" y="42"/>
                </a:lnTo>
                <a:lnTo>
                  <a:pt x="0" y="34"/>
                </a:lnTo>
                <a:lnTo>
                  <a:pt x="2" y="26"/>
                </a:lnTo>
                <a:lnTo>
                  <a:pt x="4" y="20"/>
                </a:lnTo>
                <a:lnTo>
                  <a:pt x="8" y="12"/>
                </a:lnTo>
                <a:lnTo>
                  <a:pt x="14" y="8"/>
                </a:lnTo>
                <a:lnTo>
                  <a:pt x="22" y="4"/>
                </a:lnTo>
                <a:lnTo>
                  <a:pt x="28" y="0"/>
                </a:lnTo>
                <a:lnTo>
                  <a:pt x="36" y="0"/>
                </a:lnTo>
                <a:lnTo>
                  <a:pt x="44" y="0"/>
                </a:lnTo>
                <a:lnTo>
                  <a:pt x="52" y="0"/>
                </a:lnTo>
                <a:lnTo>
                  <a:pt x="58" y="4"/>
                </a:lnTo>
                <a:lnTo>
                  <a:pt x="66" y="8"/>
                </a:lnTo>
                <a:lnTo>
                  <a:pt x="232" y="152"/>
                </a:lnTo>
                <a:lnTo>
                  <a:pt x="238" y="158"/>
                </a:lnTo>
                <a:lnTo>
                  <a:pt x="242" y="164"/>
                </a:lnTo>
                <a:lnTo>
                  <a:pt x="244" y="172"/>
                </a:lnTo>
                <a:lnTo>
                  <a:pt x="246" y="180"/>
                </a:lnTo>
                <a:lnTo>
                  <a:pt x="246" y="188"/>
                </a:lnTo>
                <a:lnTo>
                  <a:pt x="242" y="196"/>
                </a:lnTo>
                <a:lnTo>
                  <a:pt x="240" y="204"/>
                </a:lnTo>
                <a:lnTo>
                  <a:pt x="234" y="210"/>
                </a:lnTo>
                <a:lnTo>
                  <a:pt x="72" y="364"/>
                </a:lnTo>
                <a:lnTo>
                  <a:pt x="66" y="368"/>
                </a:lnTo>
                <a:lnTo>
                  <a:pt x="60" y="372"/>
                </a:lnTo>
                <a:lnTo>
                  <a:pt x="52" y="374"/>
                </a:lnTo>
                <a:lnTo>
                  <a:pt x="44" y="374"/>
                </a:lnTo>
                <a:close/>
              </a:path>
            </a:pathLst>
          </a:cu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0" latinLnBrk="0" hangingPunct="0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8" name="Rectangle 6"/>
          <p:cNvSpPr>
            <a:spLocks noChangeArrowheads="1"/>
          </p:cNvSpPr>
          <p:nvPr/>
        </p:nvSpPr>
        <p:spPr bwMode="auto">
          <a:xfrm>
            <a:off x="1444657" y="2648514"/>
            <a:ext cx="2462213" cy="579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4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UB &amp; Spoke</a:t>
            </a:r>
          </a:p>
          <a:p>
            <a:pPr latinLnBrk="0">
              <a:spcBef>
                <a:spcPct val="4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ederated Architecture</a:t>
            </a:r>
          </a:p>
          <a:p>
            <a:pPr latinLnBrk="0">
              <a:spcBef>
                <a:spcPct val="4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P2P</a:t>
            </a:r>
          </a:p>
        </p:txBody>
      </p:sp>
      <p:sp>
        <p:nvSpPr>
          <p:cNvPr id="39" name="Rectangle 6"/>
          <p:cNvSpPr>
            <a:spLocks noChangeArrowheads="1"/>
          </p:cNvSpPr>
          <p:nvPr/>
        </p:nvSpPr>
        <p:spPr bwMode="auto">
          <a:xfrm>
            <a:off x="1444657" y="3652795"/>
            <a:ext cx="2460625" cy="151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4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연계 대상 시스템 별 정의</a:t>
            </a:r>
          </a:p>
        </p:txBody>
      </p:sp>
      <p:sp>
        <p:nvSpPr>
          <p:cNvPr id="40" name="Rectangle 6"/>
          <p:cNvSpPr>
            <a:spLocks noChangeArrowheads="1"/>
          </p:cNvSpPr>
          <p:nvPr/>
        </p:nvSpPr>
        <p:spPr bwMode="auto">
          <a:xfrm>
            <a:off x="1444657" y="4173826"/>
            <a:ext cx="2460625" cy="1068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187325" indent="-96838" defTabSz="849313"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46831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2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 Connector</a:t>
            </a:r>
          </a:p>
          <a:p>
            <a:pPr lvl="1" latinLnBrk="0">
              <a:spcBef>
                <a:spcPct val="20000"/>
              </a:spcBef>
              <a:buClr>
                <a:srgbClr val="969696"/>
              </a:buClr>
              <a:buFont typeface="나눔고딕" panose="020D0604000000000000" pitchFamily="50" charset="-127"/>
              <a:buChar char="-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DB Connector             </a:t>
            </a:r>
            <a:endParaRPr lang="ko-KR" altLang="en-US" sz="1000" b="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lvl="1" latinLnBrk="0">
              <a:spcBef>
                <a:spcPct val="20000"/>
              </a:spcBef>
              <a:buClr>
                <a:srgbClr val="969696"/>
              </a:buClr>
              <a:buFont typeface="나눔고딕" panose="020D0604000000000000" pitchFamily="50" charset="-127"/>
              <a:buChar char="-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File/FTP Connector</a:t>
            </a:r>
          </a:p>
          <a:p>
            <a:pPr lvl="1" latinLnBrk="0">
              <a:spcBef>
                <a:spcPct val="20000"/>
              </a:spcBef>
              <a:buClr>
                <a:srgbClr val="969696"/>
              </a:buClr>
              <a:buFont typeface="나눔고딕" panose="020D0604000000000000" pitchFamily="50" charset="-127"/>
              <a:buChar char="-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ocket                       </a:t>
            </a:r>
            <a:endParaRPr lang="ko-KR" altLang="en-US" sz="1000" b="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lvl="1" latinLnBrk="0">
              <a:spcBef>
                <a:spcPct val="20000"/>
              </a:spcBef>
              <a:buClr>
                <a:srgbClr val="969696"/>
              </a:buClr>
              <a:buFont typeface="나눔고딕" panose="020D0604000000000000" pitchFamily="50" charset="-127"/>
              <a:buChar char="-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Web Service</a:t>
            </a:r>
          </a:p>
          <a:p>
            <a:pPr lvl="1" latinLnBrk="0">
              <a:spcBef>
                <a:spcPct val="20000"/>
              </a:spcBef>
              <a:buClr>
                <a:srgbClr val="969696"/>
              </a:buClr>
              <a:buFont typeface="나눔고딕" panose="020D0604000000000000" pitchFamily="50" charset="-127"/>
              <a:buChar char="-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iddleware Connector</a:t>
            </a:r>
          </a:p>
        </p:txBody>
      </p:sp>
      <p:sp>
        <p:nvSpPr>
          <p:cNvPr id="41" name="Rectangle 6"/>
          <p:cNvSpPr>
            <a:spLocks noChangeArrowheads="1"/>
          </p:cNvSpPr>
          <p:nvPr/>
        </p:nvSpPr>
        <p:spPr bwMode="auto">
          <a:xfrm>
            <a:off x="1444657" y="5595246"/>
            <a:ext cx="2463800" cy="579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4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온라인 서비스</a:t>
            </a:r>
          </a:p>
          <a:p>
            <a:pPr latinLnBrk="0">
              <a:spcBef>
                <a:spcPct val="4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배치 서비스</a:t>
            </a:r>
          </a:p>
          <a:p>
            <a:pPr latinLnBrk="0">
              <a:spcBef>
                <a:spcPct val="4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후행 서비스</a:t>
            </a:r>
          </a:p>
        </p:txBody>
      </p:sp>
      <p:sp>
        <p:nvSpPr>
          <p:cNvPr id="42" name="Rectangle 152"/>
          <p:cNvSpPr>
            <a:spLocks noChangeArrowheads="1"/>
          </p:cNvSpPr>
          <p:nvPr/>
        </p:nvSpPr>
        <p:spPr bwMode="gray">
          <a:xfrm rot="16200000">
            <a:off x="7275137" y="1155378"/>
            <a:ext cx="922362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43" name="Group 174"/>
          <p:cNvGrpSpPr>
            <a:grpSpLocks/>
          </p:cNvGrpSpPr>
          <p:nvPr/>
        </p:nvGrpSpPr>
        <p:grpSpPr bwMode="auto">
          <a:xfrm>
            <a:off x="5143931" y="2475362"/>
            <a:ext cx="917540" cy="925576"/>
            <a:chOff x="-1940" y="888"/>
            <a:chExt cx="515" cy="1700"/>
          </a:xfrm>
        </p:grpSpPr>
        <p:sp>
          <p:nvSpPr>
            <p:cNvPr id="76" name="AutoShape 136"/>
            <p:cNvSpPr>
              <a:spLocks noChangeArrowheads="1"/>
            </p:cNvSpPr>
            <p:nvPr/>
          </p:nvSpPr>
          <p:spPr bwMode="gray">
            <a:xfrm>
              <a:off x="-1940" y="889"/>
              <a:ext cx="507" cy="1699"/>
            </a:xfrm>
            <a:prstGeom prst="roundRect">
              <a:avLst>
                <a:gd name="adj" fmla="val 6949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77" name="AutoShape 137"/>
            <p:cNvSpPr>
              <a:spLocks noChangeArrowheads="1"/>
            </p:cNvSpPr>
            <p:nvPr/>
          </p:nvSpPr>
          <p:spPr bwMode="gray">
            <a:xfrm>
              <a:off x="-1475" y="888"/>
              <a:ext cx="50" cy="1699"/>
            </a:xfrm>
            <a:prstGeom prst="roundRect">
              <a:avLst>
                <a:gd name="adj" fmla="val 7352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44" name="AutoShape 94"/>
          <p:cNvSpPr>
            <a:spLocks noChangeArrowheads="1"/>
          </p:cNvSpPr>
          <p:nvPr/>
        </p:nvSpPr>
        <p:spPr bwMode="auto">
          <a:xfrm>
            <a:off x="5312369" y="2778733"/>
            <a:ext cx="445763" cy="320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100" b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요건</a:t>
            </a:r>
            <a:b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분석</a:t>
            </a:r>
          </a:p>
        </p:txBody>
      </p:sp>
      <p:sp>
        <p:nvSpPr>
          <p:cNvPr id="45" name="Rectangle 152"/>
          <p:cNvSpPr>
            <a:spLocks noChangeArrowheads="1"/>
          </p:cNvSpPr>
          <p:nvPr/>
        </p:nvSpPr>
        <p:spPr bwMode="gray">
          <a:xfrm rot="16200000">
            <a:off x="7275137" y="4102110"/>
            <a:ext cx="922362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46" name="Group 192"/>
          <p:cNvGrpSpPr>
            <a:grpSpLocks/>
          </p:cNvGrpSpPr>
          <p:nvPr/>
        </p:nvGrpSpPr>
        <p:grpSpPr bwMode="auto">
          <a:xfrm>
            <a:off x="5143931" y="5422094"/>
            <a:ext cx="917540" cy="925576"/>
            <a:chOff x="-1940" y="888"/>
            <a:chExt cx="515" cy="1700"/>
          </a:xfrm>
        </p:grpSpPr>
        <p:sp>
          <p:nvSpPr>
            <p:cNvPr id="74" name="AutoShape 136"/>
            <p:cNvSpPr>
              <a:spLocks noChangeArrowheads="1"/>
            </p:cNvSpPr>
            <p:nvPr/>
          </p:nvSpPr>
          <p:spPr bwMode="gray">
            <a:xfrm>
              <a:off x="-1940" y="889"/>
              <a:ext cx="507" cy="1699"/>
            </a:xfrm>
            <a:prstGeom prst="roundRect">
              <a:avLst>
                <a:gd name="adj" fmla="val 6949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75" name="AutoShape 137"/>
            <p:cNvSpPr>
              <a:spLocks noChangeArrowheads="1"/>
            </p:cNvSpPr>
            <p:nvPr/>
          </p:nvSpPr>
          <p:spPr bwMode="gray">
            <a:xfrm>
              <a:off x="-1475" y="888"/>
              <a:ext cx="50" cy="1699"/>
            </a:xfrm>
            <a:prstGeom prst="roundRect">
              <a:avLst>
                <a:gd name="adj" fmla="val 7352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47" name="AutoShape 94"/>
          <p:cNvSpPr>
            <a:spLocks noChangeArrowheads="1"/>
          </p:cNvSpPr>
          <p:nvPr/>
        </p:nvSpPr>
        <p:spPr bwMode="auto">
          <a:xfrm>
            <a:off x="5263037" y="5725465"/>
            <a:ext cx="549189" cy="320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100" b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인터페이스</a:t>
            </a:r>
            <a:b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표준 완성</a:t>
            </a:r>
          </a:p>
        </p:txBody>
      </p:sp>
      <p:sp>
        <p:nvSpPr>
          <p:cNvPr id="48" name="Rectangle 152"/>
          <p:cNvSpPr>
            <a:spLocks noChangeArrowheads="1"/>
          </p:cNvSpPr>
          <p:nvPr/>
        </p:nvSpPr>
        <p:spPr bwMode="gray">
          <a:xfrm rot="16200000">
            <a:off x="7275137" y="2137622"/>
            <a:ext cx="922362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49" name="Group 215"/>
          <p:cNvGrpSpPr>
            <a:grpSpLocks/>
          </p:cNvGrpSpPr>
          <p:nvPr/>
        </p:nvGrpSpPr>
        <p:grpSpPr bwMode="auto">
          <a:xfrm>
            <a:off x="5143931" y="3457606"/>
            <a:ext cx="917540" cy="925576"/>
            <a:chOff x="-1940" y="888"/>
            <a:chExt cx="515" cy="1700"/>
          </a:xfrm>
        </p:grpSpPr>
        <p:sp>
          <p:nvSpPr>
            <p:cNvPr id="72" name="AutoShape 136"/>
            <p:cNvSpPr>
              <a:spLocks noChangeArrowheads="1"/>
            </p:cNvSpPr>
            <p:nvPr/>
          </p:nvSpPr>
          <p:spPr bwMode="gray">
            <a:xfrm>
              <a:off x="-1940" y="889"/>
              <a:ext cx="507" cy="1699"/>
            </a:xfrm>
            <a:prstGeom prst="roundRect">
              <a:avLst>
                <a:gd name="adj" fmla="val 6949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73" name="AutoShape 137"/>
            <p:cNvSpPr>
              <a:spLocks noChangeArrowheads="1"/>
            </p:cNvSpPr>
            <p:nvPr/>
          </p:nvSpPr>
          <p:spPr bwMode="gray">
            <a:xfrm>
              <a:off x="-1475" y="888"/>
              <a:ext cx="50" cy="1699"/>
            </a:xfrm>
            <a:prstGeom prst="roundRect">
              <a:avLst>
                <a:gd name="adj" fmla="val 7352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50" name="AutoShape 94"/>
          <p:cNvSpPr>
            <a:spLocks noChangeArrowheads="1"/>
          </p:cNvSpPr>
          <p:nvPr/>
        </p:nvSpPr>
        <p:spPr bwMode="auto">
          <a:xfrm>
            <a:off x="5320752" y="3760977"/>
            <a:ext cx="432170" cy="320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100" b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메시지</a:t>
            </a:r>
            <a:b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유형 도출</a:t>
            </a:r>
          </a:p>
        </p:txBody>
      </p:sp>
      <p:sp>
        <p:nvSpPr>
          <p:cNvPr id="51" name="Rectangle 152"/>
          <p:cNvSpPr>
            <a:spLocks noChangeArrowheads="1"/>
          </p:cNvSpPr>
          <p:nvPr/>
        </p:nvSpPr>
        <p:spPr bwMode="gray">
          <a:xfrm rot="16200000">
            <a:off x="7275137" y="3119866"/>
            <a:ext cx="922362" cy="3563938"/>
          </a:xfrm>
          <a:prstGeom prst="rect">
            <a:avLst/>
          </a:prstGeom>
          <a:solidFill>
            <a:srgbClr val="F0F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747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747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sz="900" b="0" dirty="0" smtClean="0">
              <a:solidFill>
                <a:srgbClr val="4D4D4D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52" name="Group 225"/>
          <p:cNvGrpSpPr>
            <a:grpSpLocks/>
          </p:cNvGrpSpPr>
          <p:nvPr/>
        </p:nvGrpSpPr>
        <p:grpSpPr bwMode="auto">
          <a:xfrm>
            <a:off x="5143931" y="4439850"/>
            <a:ext cx="917540" cy="925576"/>
            <a:chOff x="-1940" y="888"/>
            <a:chExt cx="515" cy="1700"/>
          </a:xfrm>
        </p:grpSpPr>
        <p:sp>
          <p:nvSpPr>
            <p:cNvPr id="70" name="AutoShape 136"/>
            <p:cNvSpPr>
              <a:spLocks noChangeArrowheads="1"/>
            </p:cNvSpPr>
            <p:nvPr/>
          </p:nvSpPr>
          <p:spPr bwMode="gray">
            <a:xfrm>
              <a:off x="-1940" y="889"/>
              <a:ext cx="507" cy="1699"/>
            </a:xfrm>
            <a:prstGeom prst="roundRect">
              <a:avLst>
                <a:gd name="adj" fmla="val 6949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71" name="AutoShape 137"/>
            <p:cNvSpPr>
              <a:spLocks noChangeArrowheads="1"/>
            </p:cNvSpPr>
            <p:nvPr/>
          </p:nvSpPr>
          <p:spPr bwMode="gray">
            <a:xfrm>
              <a:off x="-1475" y="888"/>
              <a:ext cx="50" cy="1699"/>
            </a:xfrm>
            <a:prstGeom prst="roundRect">
              <a:avLst>
                <a:gd name="adj" fmla="val 7352"/>
              </a:avLst>
            </a:prstGeom>
            <a:solidFill>
              <a:srgbClr val="79C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latinLnBrk="0"/>
              <a:endParaRPr lang="ko-KR" altLang="en-US" sz="9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53" name="AutoShape 94"/>
          <p:cNvSpPr>
            <a:spLocks noChangeArrowheads="1"/>
          </p:cNvSpPr>
          <p:nvPr/>
        </p:nvSpPr>
        <p:spPr bwMode="auto">
          <a:xfrm>
            <a:off x="5320752" y="4743221"/>
            <a:ext cx="432170" cy="320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100" b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메시지</a:t>
            </a:r>
            <a:b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000" b="0" spc="-8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표준 설계</a:t>
            </a:r>
          </a:p>
        </p:txBody>
      </p:sp>
      <p:sp>
        <p:nvSpPr>
          <p:cNvPr id="57" name="Oval 382"/>
          <p:cNvSpPr>
            <a:spLocks noChangeArrowheads="1"/>
          </p:cNvSpPr>
          <p:nvPr/>
        </p:nvSpPr>
        <p:spPr bwMode="auto">
          <a:xfrm>
            <a:off x="5450319" y="3334825"/>
            <a:ext cx="176213" cy="16685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10000"/>
              </a:lnSpc>
            </a:pPr>
            <a:endParaRPr kumimoji="0" lang="ko-KR" altLang="en-US" sz="1000" b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8" name="Freeform 386"/>
          <p:cNvSpPr>
            <a:spLocks/>
          </p:cNvSpPr>
          <p:nvPr/>
        </p:nvSpPr>
        <p:spPr bwMode="gray">
          <a:xfrm rot="5400000">
            <a:off x="5496089" y="3364496"/>
            <a:ext cx="84673" cy="117475"/>
          </a:xfrm>
          <a:custGeom>
            <a:avLst/>
            <a:gdLst>
              <a:gd name="T0" fmla="*/ 0 w 246"/>
              <a:gd name="T1" fmla="*/ 0 h 374"/>
              <a:gd name="T2" fmla="*/ 0 w 246"/>
              <a:gd name="T3" fmla="*/ 0 h 374"/>
              <a:gd name="T4" fmla="*/ 0 w 246"/>
              <a:gd name="T5" fmla="*/ 0 h 374"/>
              <a:gd name="T6" fmla="*/ 0 w 246"/>
              <a:gd name="T7" fmla="*/ 0 h 374"/>
              <a:gd name="T8" fmla="*/ 0 w 246"/>
              <a:gd name="T9" fmla="*/ 0 h 374"/>
              <a:gd name="T10" fmla="*/ 0 w 246"/>
              <a:gd name="T11" fmla="*/ 0 h 374"/>
              <a:gd name="T12" fmla="*/ 0 w 246"/>
              <a:gd name="T13" fmla="*/ 0 h 374"/>
              <a:gd name="T14" fmla="*/ 0 w 246"/>
              <a:gd name="T15" fmla="*/ 0 h 374"/>
              <a:gd name="T16" fmla="*/ 0 w 246"/>
              <a:gd name="T17" fmla="*/ 0 h 374"/>
              <a:gd name="T18" fmla="*/ 0 w 246"/>
              <a:gd name="T19" fmla="*/ 0 h 374"/>
              <a:gd name="T20" fmla="*/ 0 w 246"/>
              <a:gd name="T21" fmla="*/ 0 h 374"/>
              <a:gd name="T22" fmla="*/ 0 w 246"/>
              <a:gd name="T23" fmla="*/ 0 h 374"/>
              <a:gd name="T24" fmla="*/ 0 w 246"/>
              <a:gd name="T25" fmla="*/ 0 h 374"/>
              <a:gd name="T26" fmla="*/ 0 w 246"/>
              <a:gd name="T27" fmla="*/ 0 h 374"/>
              <a:gd name="T28" fmla="*/ 0 w 246"/>
              <a:gd name="T29" fmla="*/ 0 h 374"/>
              <a:gd name="T30" fmla="*/ 0 w 246"/>
              <a:gd name="T31" fmla="*/ 0 h 374"/>
              <a:gd name="T32" fmla="*/ 0 w 246"/>
              <a:gd name="T33" fmla="*/ 0 h 374"/>
              <a:gd name="T34" fmla="*/ 0 w 246"/>
              <a:gd name="T35" fmla="*/ 0 h 374"/>
              <a:gd name="T36" fmla="*/ 0 w 246"/>
              <a:gd name="T37" fmla="*/ 0 h 374"/>
              <a:gd name="T38" fmla="*/ 0 w 246"/>
              <a:gd name="T39" fmla="*/ 0 h 374"/>
              <a:gd name="T40" fmla="*/ 0 w 246"/>
              <a:gd name="T41" fmla="*/ 0 h 374"/>
              <a:gd name="T42" fmla="*/ 0 w 246"/>
              <a:gd name="T43" fmla="*/ 0 h 374"/>
              <a:gd name="T44" fmla="*/ 0 w 246"/>
              <a:gd name="T45" fmla="*/ 0 h 374"/>
              <a:gd name="T46" fmla="*/ 0 w 246"/>
              <a:gd name="T47" fmla="*/ 0 h 374"/>
              <a:gd name="T48" fmla="*/ 0 w 246"/>
              <a:gd name="T49" fmla="*/ 0 h 374"/>
              <a:gd name="T50" fmla="*/ 0 w 246"/>
              <a:gd name="T51" fmla="*/ 0 h 374"/>
              <a:gd name="T52" fmla="*/ 0 w 246"/>
              <a:gd name="T53" fmla="*/ 0 h 374"/>
              <a:gd name="T54" fmla="*/ 0 w 246"/>
              <a:gd name="T55" fmla="*/ 0 h 374"/>
              <a:gd name="T56" fmla="*/ 0 w 246"/>
              <a:gd name="T57" fmla="*/ 0 h 374"/>
              <a:gd name="T58" fmla="*/ 0 w 246"/>
              <a:gd name="T59" fmla="*/ 0 h 374"/>
              <a:gd name="T60" fmla="*/ 0 w 246"/>
              <a:gd name="T61" fmla="*/ 0 h 374"/>
              <a:gd name="T62" fmla="*/ 0 w 246"/>
              <a:gd name="T63" fmla="*/ 0 h 374"/>
              <a:gd name="T64" fmla="*/ 0 w 246"/>
              <a:gd name="T65" fmla="*/ 0 h 374"/>
              <a:gd name="T66" fmla="*/ 0 w 246"/>
              <a:gd name="T67" fmla="*/ 0 h 374"/>
              <a:gd name="T68" fmla="*/ 0 w 246"/>
              <a:gd name="T69" fmla="*/ 0 h 374"/>
              <a:gd name="T70" fmla="*/ 0 w 246"/>
              <a:gd name="T71" fmla="*/ 0 h 374"/>
              <a:gd name="T72" fmla="*/ 0 w 246"/>
              <a:gd name="T73" fmla="*/ 0 h 374"/>
              <a:gd name="T74" fmla="*/ 0 w 246"/>
              <a:gd name="T75" fmla="*/ 0 h 374"/>
              <a:gd name="T76" fmla="*/ 0 w 246"/>
              <a:gd name="T77" fmla="*/ 0 h 374"/>
              <a:gd name="T78" fmla="*/ 0 w 246"/>
              <a:gd name="T79" fmla="*/ 0 h 374"/>
              <a:gd name="T80" fmla="*/ 0 w 246"/>
              <a:gd name="T81" fmla="*/ 0 h 374"/>
              <a:gd name="T82" fmla="*/ 0 w 246"/>
              <a:gd name="T83" fmla="*/ 0 h 374"/>
              <a:gd name="T84" fmla="*/ 0 w 246"/>
              <a:gd name="T85" fmla="*/ 0 h 374"/>
              <a:gd name="T86" fmla="*/ 0 w 246"/>
              <a:gd name="T87" fmla="*/ 0 h 374"/>
              <a:gd name="T88" fmla="*/ 0 w 246"/>
              <a:gd name="T89" fmla="*/ 0 h 374"/>
              <a:gd name="T90" fmla="*/ 0 w 246"/>
              <a:gd name="T91" fmla="*/ 0 h 374"/>
              <a:gd name="T92" fmla="*/ 0 w 246"/>
              <a:gd name="T93" fmla="*/ 0 h 374"/>
              <a:gd name="T94" fmla="*/ 0 w 246"/>
              <a:gd name="T95" fmla="*/ 0 h 374"/>
              <a:gd name="T96" fmla="*/ 0 w 246"/>
              <a:gd name="T97" fmla="*/ 0 h 374"/>
              <a:gd name="T98" fmla="*/ 0 w 246"/>
              <a:gd name="T99" fmla="*/ 0 h 374"/>
              <a:gd name="T100" fmla="*/ 0 w 246"/>
              <a:gd name="T101" fmla="*/ 0 h 374"/>
              <a:gd name="T102" fmla="*/ 0 w 246"/>
              <a:gd name="T103" fmla="*/ 0 h 374"/>
              <a:gd name="T104" fmla="*/ 0 w 246"/>
              <a:gd name="T105" fmla="*/ 0 h 37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374"/>
              <a:gd name="T161" fmla="*/ 246 w 246"/>
              <a:gd name="T162" fmla="*/ 374 h 37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374">
                <a:moveTo>
                  <a:pt x="44" y="374"/>
                </a:moveTo>
                <a:lnTo>
                  <a:pt x="44" y="374"/>
                </a:lnTo>
                <a:lnTo>
                  <a:pt x="36" y="374"/>
                </a:lnTo>
                <a:lnTo>
                  <a:pt x="30" y="372"/>
                </a:lnTo>
                <a:lnTo>
                  <a:pt x="22" y="368"/>
                </a:lnTo>
                <a:lnTo>
                  <a:pt x="16" y="362"/>
                </a:lnTo>
                <a:lnTo>
                  <a:pt x="10" y="356"/>
                </a:lnTo>
                <a:lnTo>
                  <a:pt x="8" y="350"/>
                </a:lnTo>
                <a:lnTo>
                  <a:pt x="6" y="342"/>
                </a:lnTo>
                <a:lnTo>
                  <a:pt x="4" y="334"/>
                </a:lnTo>
                <a:lnTo>
                  <a:pt x="6" y="326"/>
                </a:lnTo>
                <a:lnTo>
                  <a:pt x="8" y="318"/>
                </a:lnTo>
                <a:lnTo>
                  <a:pt x="12" y="312"/>
                </a:lnTo>
                <a:lnTo>
                  <a:pt x="18" y="306"/>
                </a:lnTo>
                <a:lnTo>
                  <a:pt x="146" y="184"/>
                </a:lnTo>
                <a:lnTo>
                  <a:pt x="14" y="70"/>
                </a:lnTo>
                <a:lnTo>
                  <a:pt x="8" y="64"/>
                </a:lnTo>
                <a:lnTo>
                  <a:pt x="4" y="56"/>
                </a:lnTo>
                <a:lnTo>
                  <a:pt x="0" y="50"/>
                </a:lnTo>
                <a:lnTo>
                  <a:pt x="0" y="42"/>
                </a:lnTo>
                <a:lnTo>
                  <a:pt x="0" y="34"/>
                </a:lnTo>
                <a:lnTo>
                  <a:pt x="2" y="26"/>
                </a:lnTo>
                <a:lnTo>
                  <a:pt x="4" y="20"/>
                </a:lnTo>
                <a:lnTo>
                  <a:pt x="8" y="12"/>
                </a:lnTo>
                <a:lnTo>
                  <a:pt x="14" y="8"/>
                </a:lnTo>
                <a:lnTo>
                  <a:pt x="22" y="4"/>
                </a:lnTo>
                <a:lnTo>
                  <a:pt x="28" y="0"/>
                </a:lnTo>
                <a:lnTo>
                  <a:pt x="36" y="0"/>
                </a:lnTo>
                <a:lnTo>
                  <a:pt x="44" y="0"/>
                </a:lnTo>
                <a:lnTo>
                  <a:pt x="52" y="0"/>
                </a:lnTo>
                <a:lnTo>
                  <a:pt x="58" y="4"/>
                </a:lnTo>
                <a:lnTo>
                  <a:pt x="66" y="8"/>
                </a:lnTo>
                <a:lnTo>
                  <a:pt x="232" y="152"/>
                </a:lnTo>
                <a:lnTo>
                  <a:pt x="238" y="158"/>
                </a:lnTo>
                <a:lnTo>
                  <a:pt x="242" y="164"/>
                </a:lnTo>
                <a:lnTo>
                  <a:pt x="244" y="172"/>
                </a:lnTo>
                <a:lnTo>
                  <a:pt x="246" y="180"/>
                </a:lnTo>
                <a:lnTo>
                  <a:pt x="246" y="188"/>
                </a:lnTo>
                <a:lnTo>
                  <a:pt x="242" y="196"/>
                </a:lnTo>
                <a:lnTo>
                  <a:pt x="240" y="204"/>
                </a:lnTo>
                <a:lnTo>
                  <a:pt x="234" y="210"/>
                </a:lnTo>
                <a:lnTo>
                  <a:pt x="72" y="364"/>
                </a:lnTo>
                <a:lnTo>
                  <a:pt x="66" y="368"/>
                </a:lnTo>
                <a:lnTo>
                  <a:pt x="60" y="372"/>
                </a:lnTo>
                <a:lnTo>
                  <a:pt x="52" y="374"/>
                </a:lnTo>
                <a:lnTo>
                  <a:pt x="44" y="374"/>
                </a:lnTo>
                <a:close/>
              </a:path>
            </a:pathLst>
          </a:cu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0" latinLnBrk="0" hangingPunct="0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9" name="Rectangle 6"/>
          <p:cNvSpPr>
            <a:spLocks noChangeArrowheads="1"/>
          </p:cNvSpPr>
          <p:nvPr/>
        </p:nvSpPr>
        <p:spPr bwMode="auto">
          <a:xfrm>
            <a:off x="6197612" y="2566660"/>
            <a:ext cx="2462213" cy="741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터페이스 대상 식별</a:t>
            </a:r>
          </a:p>
          <a:p>
            <a:pPr latinLnBrk="0"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S-IS </a:t>
            </a: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비즈니스 인터페이스 흐름 분석</a:t>
            </a:r>
          </a:p>
          <a:p>
            <a:pPr latinLnBrk="0"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S-IS </a:t>
            </a: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터페이스 식별</a:t>
            </a:r>
          </a:p>
          <a:p>
            <a:pPr latinLnBrk="0"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S-IS </a:t>
            </a: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터페이스 명세서 작성</a:t>
            </a:r>
          </a:p>
        </p:txBody>
      </p:sp>
      <p:sp>
        <p:nvSpPr>
          <p:cNvPr id="60" name="Rectangle 6"/>
          <p:cNvSpPr>
            <a:spLocks noChangeArrowheads="1"/>
          </p:cNvSpPr>
          <p:nvPr/>
        </p:nvSpPr>
        <p:spPr bwMode="auto">
          <a:xfrm>
            <a:off x="6197612" y="5610220"/>
            <a:ext cx="2463800" cy="5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터페이스 유형 식별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형별 인터페이스 상세 흐름 파악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표준 인터페이스 아키텍처 설계</a:t>
            </a:r>
          </a:p>
        </p:txBody>
      </p:sp>
      <p:sp>
        <p:nvSpPr>
          <p:cNvPr id="62" name="Oval 382"/>
          <p:cNvSpPr>
            <a:spLocks noChangeArrowheads="1"/>
          </p:cNvSpPr>
          <p:nvPr/>
        </p:nvSpPr>
        <p:spPr bwMode="auto">
          <a:xfrm>
            <a:off x="5450319" y="4313921"/>
            <a:ext cx="176213" cy="16685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10000"/>
              </a:lnSpc>
            </a:pPr>
            <a:endParaRPr kumimoji="0" lang="ko-KR" altLang="en-US" sz="1000" b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3" name="Freeform 386"/>
          <p:cNvSpPr>
            <a:spLocks/>
          </p:cNvSpPr>
          <p:nvPr/>
        </p:nvSpPr>
        <p:spPr bwMode="gray">
          <a:xfrm rot="5400000">
            <a:off x="5496089" y="4343592"/>
            <a:ext cx="84673" cy="117475"/>
          </a:xfrm>
          <a:custGeom>
            <a:avLst/>
            <a:gdLst>
              <a:gd name="T0" fmla="*/ 0 w 246"/>
              <a:gd name="T1" fmla="*/ 0 h 374"/>
              <a:gd name="T2" fmla="*/ 0 w 246"/>
              <a:gd name="T3" fmla="*/ 0 h 374"/>
              <a:gd name="T4" fmla="*/ 0 w 246"/>
              <a:gd name="T5" fmla="*/ 0 h 374"/>
              <a:gd name="T6" fmla="*/ 0 w 246"/>
              <a:gd name="T7" fmla="*/ 0 h 374"/>
              <a:gd name="T8" fmla="*/ 0 w 246"/>
              <a:gd name="T9" fmla="*/ 0 h 374"/>
              <a:gd name="T10" fmla="*/ 0 w 246"/>
              <a:gd name="T11" fmla="*/ 0 h 374"/>
              <a:gd name="T12" fmla="*/ 0 w 246"/>
              <a:gd name="T13" fmla="*/ 0 h 374"/>
              <a:gd name="T14" fmla="*/ 0 w 246"/>
              <a:gd name="T15" fmla="*/ 0 h 374"/>
              <a:gd name="T16" fmla="*/ 0 w 246"/>
              <a:gd name="T17" fmla="*/ 0 h 374"/>
              <a:gd name="T18" fmla="*/ 0 w 246"/>
              <a:gd name="T19" fmla="*/ 0 h 374"/>
              <a:gd name="T20" fmla="*/ 0 w 246"/>
              <a:gd name="T21" fmla="*/ 0 h 374"/>
              <a:gd name="T22" fmla="*/ 0 w 246"/>
              <a:gd name="T23" fmla="*/ 0 h 374"/>
              <a:gd name="T24" fmla="*/ 0 w 246"/>
              <a:gd name="T25" fmla="*/ 0 h 374"/>
              <a:gd name="T26" fmla="*/ 0 w 246"/>
              <a:gd name="T27" fmla="*/ 0 h 374"/>
              <a:gd name="T28" fmla="*/ 0 w 246"/>
              <a:gd name="T29" fmla="*/ 0 h 374"/>
              <a:gd name="T30" fmla="*/ 0 w 246"/>
              <a:gd name="T31" fmla="*/ 0 h 374"/>
              <a:gd name="T32" fmla="*/ 0 w 246"/>
              <a:gd name="T33" fmla="*/ 0 h 374"/>
              <a:gd name="T34" fmla="*/ 0 w 246"/>
              <a:gd name="T35" fmla="*/ 0 h 374"/>
              <a:gd name="T36" fmla="*/ 0 w 246"/>
              <a:gd name="T37" fmla="*/ 0 h 374"/>
              <a:gd name="T38" fmla="*/ 0 w 246"/>
              <a:gd name="T39" fmla="*/ 0 h 374"/>
              <a:gd name="T40" fmla="*/ 0 w 246"/>
              <a:gd name="T41" fmla="*/ 0 h 374"/>
              <a:gd name="T42" fmla="*/ 0 w 246"/>
              <a:gd name="T43" fmla="*/ 0 h 374"/>
              <a:gd name="T44" fmla="*/ 0 w 246"/>
              <a:gd name="T45" fmla="*/ 0 h 374"/>
              <a:gd name="T46" fmla="*/ 0 w 246"/>
              <a:gd name="T47" fmla="*/ 0 h 374"/>
              <a:gd name="T48" fmla="*/ 0 w 246"/>
              <a:gd name="T49" fmla="*/ 0 h 374"/>
              <a:gd name="T50" fmla="*/ 0 w 246"/>
              <a:gd name="T51" fmla="*/ 0 h 374"/>
              <a:gd name="T52" fmla="*/ 0 w 246"/>
              <a:gd name="T53" fmla="*/ 0 h 374"/>
              <a:gd name="T54" fmla="*/ 0 w 246"/>
              <a:gd name="T55" fmla="*/ 0 h 374"/>
              <a:gd name="T56" fmla="*/ 0 w 246"/>
              <a:gd name="T57" fmla="*/ 0 h 374"/>
              <a:gd name="T58" fmla="*/ 0 w 246"/>
              <a:gd name="T59" fmla="*/ 0 h 374"/>
              <a:gd name="T60" fmla="*/ 0 w 246"/>
              <a:gd name="T61" fmla="*/ 0 h 374"/>
              <a:gd name="T62" fmla="*/ 0 w 246"/>
              <a:gd name="T63" fmla="*/ 0 h 374"/>
              <a:gd name="T64" fmla="*/ 0 w 246"/>
              <a:gd name="T65" fmla="*/ 0 h 374"/>
              <a:gd name="T66" fmla="*/ 0 w 246"/>
              <a:gd name="T67" fmla="*/ 0 h 374"/>
              <a:gd name="T68" fmla="*/ 0 w 246"/>
              <a:gd name="T69" fmla="*/ 0 h 374"/>
              <a:gd name="T70" fmla="*/ 0 w 246"/>
              <a:gd name="T71" fmla="*/ 0 h 374"/>
              <a:gd name="T72" fmla="*/ 0 w 246"/>
              <a:gd name="T73" fmla="*/ 0 h 374"/>
              <a:gd name="T74" fmla="*/ 0 w 246"/>
              <a:gd name="T75" fmla="*/ 0 h 374"/>
              <a:gd name="T76" fmla="*/ 0 w 246"/>
              <a:gd name="T77" fmla="*/ 0 h 374"/>
              <a:gd name="T78" fmla="*/ 0 w 246"/>
              <a:gd name="T79" fmla="*/ 0 h 374"/>
              <a:gd name="T80" fmla="*/ 0 w 246"/>
              <a:gd name="T81" fmla="*/ 0 h 374"/>
              <a:gd name="T82" fmla="*/ 0 w 246"/>
              <a:gd name="T83" fmla="*/ 0 h 374"/>
              <a:gd name="T84" fmla="*/ 0 w 246"/>
              <a:gd name="T85" fmla="*/ 0 h 374"/>
              <a:gd name="T86" fmla="*/ 0 w 246"/>
              <a:gd name="T87" fmla="*/ 0 h 374"/>
              <a:gd name="T88" fmla="*/ 0 w 246"/>
              <a:gd name="T89" fmla="*/ 0 h 374"/>
              <a:gd name="T90" fmla="*/ 0 w 246"/>
              <a:gd name="T91" fmla="*/ 0 h 374"/>
              <a:gd name="T92" fmla="*/ 0 w 246"/>
              <a:gd name="T93" fmla="*/ 0 h 374"/>
              <a:gd name="T94" fmla="*/ 0 w 246"/>
              <a:gd name="T95" fmla="*/ 0 h 374"/>
              <a:gd name="T96" fmla="*/ 0 w 246"/>
              <a:gd name="T97" fmla="*/ 0 h 374"/>
              <a:gd name="T98" fmla="*/ 0 w 246"/>
              <a:gd name="T99" fmla="*/ 0 h 374"/>
              <a:gd name="T100" fmla="*/ 0 w 246"/>
              <a:gd name="T101" fmla="*/ 0 h 374"/>
              <a:gd name="T102" fmla="*/ 0 w 246"/>
              <a:gd name="T103" fmla="*/ 0 h 374"/>
              <a:gd name="T104" fmla="*/ 0 w 246"/>
              <a:gd name="T105" fmla="*/ 0 h 37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374"/>
              <a:gd name="T161" fmla="*/ 246 w 246"/>
              <a:gd name="T162" fmla="*/ 374 h 37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374">
                <a:moveTo>
                  <a:pt x="44" y="374"/>
                </a:moveTo>
                <a:lnTo>
                  <a:pt x="44" y="374"/>
                </a:lnTo>
                <a:lnTo>
                  <a:pt x="36" y="374"/>
                </a:lnTo>
                <a:lnTo>
                  <a:pt x="30" y="372"/>
                </a:lnTo>
                <a:lnTo>
                  <a:pt x="22" y="368"/>
                </a:lnTo>
                <a:lnTo>
                  <a:pt x="16" y="362"/>
                </a:lnTo>
                <a:lnTo>
                  <a:pt x="10" y="356"/>
                </a:lnTo>
                <a:lnTo>
                  <a:pt x="8" y="350"/>
                </a:lnTo>
                <a:lnTo>
                  <a:pt x="6" y="342"/>
                </a:lnTo>
                <a:lnTo>
                  <a:pt x="4" y="334"/>
                </a:lnTo>
                <a:lnTo>
                  <a:pt x="6" y="326"/>
                </a:lnTo>
                <a:lnTo>
                  <a:pt x="8" y="318"/>
                </a:lnTo>
                <a:lnTo>
                  <a:pt x="12" y="312"/>
                </a:lnTo>
                <a:lnTo>
                  <a:pt x="18" y="306"/>
                </a:lnTo>
                <a:lnTo>
                  <a:pt x="146" y="184"/>
                </a:lnTo>
                <a:lnTo>
                  <a:pt x="14" y="70"/>
                </a:lnTo>
                <a:lnTo>
                  <a:pt x="8" y="64"/>
                </a:lnTo>
                <a:lnTo>
                  <a:pt x="4" y="56"/>
                </a:lnTo>
                <a:lnTo>
                  <a:pt x="0" y="50"/>
                </a:lnTo>
                <a:lnTo>
                  <a:pt x="0" y="42"/>
                </a:lnTo>
                <a:lnTo>
                  <a:pt x="0" y="34"/>
                </a:lnTo>
                <a:lnTo>
                  <a:pt x="2" y="26"/>
                </a:lnTo>
                <a:lnTo>
                  <a:pt x="4" y="20"/>
                </a:lnTo>
                <a:lnTo>
                  <a:pt x="8" y="12"/>
                </a:lnTo>
                <a:lnTo>
                  <a:pt x="14" y="8"/>
                </a:lnTo>
                <a:lnTo>
                  <a:pt x="22" y="4"/>
                </a:lnTo>
                <a:lnTo>
                  <a:pt x="28" y="0"/>
                </a:lnTo>
                <a:lnTo>
                  <a:pt x="36" y="0"/>
                </a:lnTo>
                <a:lnTo>
                  <a:pt x="44" y="0"/>
                </a:lnTo>
                <a:lnTo>
                  <a:pt x="52" y="0"/>
                </a:lnTo>
                <a:lnTo>
                  <a:pt x="58" y="4"/>
                </a:lnTo>
                <a:lnTo>
                  <a:pt x="66" y="8"/>
                </a:lnTo>
                <a:lnTo>
                  <a:pt x="232" y="152"/>
                </a:lnTo>
                <a:lnTo>
                  <a:pt x="238" y="158"/>
                </a:lnTo>
                <a:lnTo>
                  <a:pt x="242" y="164"/>
                </a:lnTo>
                <a:lnTo>
                  <a:pt x="244" y="172"/>
                </a:lnTo>
                <a:lnTo>
                  <a:pt x="246" y="180"/>
                </a:lnTo>
                <a:lnTo>
                  <a:pt x="246" y="188"/>
                </a:lnTo>
                <a:lnTo>
                  <a:pt x="242" y="196"/>
                </a:lnTo>
                <a:lnTo>
                  <a:pt x="240" y="204"/>
                </a:lnTo>
                <a:lnTo>
                  <a:pt x="234" y="210"/>
                </a:lnTo>
                <a:lnTo>
                  <a:pt x="72" y="364"/>
                </a:lnTo>
                <a:lnTo>
                  <a:pt x="66" y="368"/>
                </a:lnTo>
                <a:lnTo>
                  <a:pt x="60" y="372"/>
                </a:lnTo>
                <a:lnTo>
                  <a:pt x="52" y="374"/>
                </a:lnTo>
                <a:lnTo>
                  <a:pt x="44" y="374"/>
                </a:lnTo>
                <a:close/>
              </a:path>
            </a:pathLst>
          </a:cu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0" latinLnBrk="0" hangingPunct="0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5" name="Oval 382"/>
          <p:cNvSpPr>
            <a:spLocks noChangeArrowheads="1"/>
          </p:cNvSpPr>
          <p:nvPr/>
        </p:nvSpPr>
        <p:spPr bwMode="auto">
          <a:xfrm>
            <a:off x="5450319" y="5293017"/>
            <a:ext cx="176213" cy="16685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lnSpc>
                <a:spcPct val="110000"/>
              </a:lnSpc>
            </a:pPr>
            <a:endParaRPr kumimoji="0" lang="ko-KR" altLang="en-US" sz="1000" b="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6" name="Freeform 386"/>
          <p:cNvSpPr>
            <a:spLocks/>
          </p:cNvSpPr>
          <p:nvPr/>
        </p:nvSpPr>
        <p:spPr bwMode="gray">
          <a:xfrm rot="5400000">
            <a:off x="5496089" y="5322688"/>
            <a:ext cx="84673" cy="117475"/>
          </a:xfrm>
          <a:custGeom>
            <a:avLst/>
            <a:gdLst>
              <a:gd name="T0" fmla="*/ 0 w 246"/>
              <a:gd name="T1" fmla="*/ 0 h 374"/>
              <a:gd name="T2" fmla="*/ 0 w 246"/>
              <a:gd name="T3" fmla="*/ 0 h 374"/>
              <a:gd name="T4" fmla="*/ 0 w 246"/>
              <a:gd name="T5" fmla="*/ 0 h 374"/>
              <a:gd name="T6" fmla="*/ 0 w 246"/>
              <a:gd name="T7" fmla="*/ 0 h 374"/>
              <a:gd name="T8" fmla="*/ 0 w 246"/>
              <a:gd name="T9" fmla="*/ 0 h 374"/>
              <a:gd name="T10" fmla="*/ 0 w 246"/>
              <a:gd name="T11" fmla="*/ 0 h 374"/>
              <a:gd name="T12" fmla="*/ 0 w 246"/>
              <a:gd name="T13" fmla="*/ 0 h 374"/>
              <a:gd name="T14" fmla="*/ 0 w 246"/>
              <a:gd name="T15" fmla="*/ 0 h 374"/>
              <a:gd name="T16" fmla="*/ 0 w 246"/>
              <a:gd name="T17" fmla="*/ 0 h 374"/>
              <a:gd name="T18" fmla="*/ 0 w 246"/>
              <a:gd name="T19" fmla="*/ 0 h 374"/>
              <a:gd name="T20" fmla="*/ 0 w 246"/>
              <a:gd name="T21" fmla="*/ 0 h 374"/>
              <a:gd name="T22" fmla="*/ 0 w 246"/>
              <a:gd name="T23" fmla="*/ 0 h 374"/>
              <a:gd name="T24" fmla="*/ 0 w 246"/>
              <a:gd name="T25" fmla="*/ 0 h 374"/>
              <a:gd name="T26" fmla="*/ 0 w 246"/>
              <a:gd name="T27" fmla="*/ 0 h 374"/>
              <a:gd name="T28" fmla="*/ 0 w 246"/>
              <a:gd name="T29" fmla="*/ 0 h 374"/>
              <a:gd name="T30" fmla="*/ 0 w 246"/>
              <a:gd name="T31" fmla="*/ 0 h 374"/>
              <a:gd name="T32" fmla="*/ 0 w 246"/>
              <a:gd name="T33" fmla="*/ 0 h 374"/>
              <a:gd name="T34" fmla="*/ 0 w 246"/>
              <a:gd name="T35" fmla="*/ 0 h 374"/>
              <a:gd name="T36" fmla="*/ 0 w 246"/>
              <a:gd name="T37" fmla="*/ 0 h 374"/>
              <a:gd name="T38" fmla="*/ 0 w 246"/>
              <a:gd name="T39" fmla="*/ 0 h 374"/>
              <a:gd name="T40" fmla="*/ 0 w 246"/>
              <a:gd name="T41" fmla="*/ 0 h 374"/>
              <a:gd name="T42" fmla="*/ 0 w 246"/>
              <a:gd name="T43" fmla="*/ 0 h 374"/>
              <a:gd name="T44" fmla="*/ 0 w 246"/>
              <a:gd name="T45" fmla="*/ 0 h 374"/>
              <a:gd name="T46" fmla="*/ 0 w 246"/>
              <a:gd name="T47" fmla="*/ 0 h 374"/>
              <a:gd name="T48" fmla="*/ 0 w 246"/>
              <a:gd name="T49" fmla="*/ 0 h 374"/>
              <a:gd name="T50" fmla="*/ 0 w 246"/>
              <a:gd name="T51" fmla="*/ 0 h 374"/>
              <a:gd name="T52" fmla="*/ 0 w 246"/>
              <a:gd name="T53" fmla="*/ 0 h 374"/>
              <a:gd name="T54" fmla="*/ 0 w 246"/>
              <a:gd name="T55" fmla="*/ 0 h 374"/>
              <a:gd name="T56" fmla="*/ 0 w 246"/>
              <a:gd name="T57" fmla="*/ 0 h 374"/>
              <a:gd name="T58" fmla="*/ 0 w 246"/>
              <a:gd name="T59" fmla="*/ 0 h 374"/>
              <a:gd name="T60" fmla="*/ 0 w 246"/>
              <a:gd name="T61" fmla="*/ 0 h 374"/>
              <a:gd name="T62" fmla="*/ 0 w 246"/>
              <a:gd name="T63" fmla="*/ 0 h 374"/>
              <a:gd name="T64" fmla="*/ 0 w 246"/>
              <a:gd name="T65" fmla="*/ 0 h 374"/>
              <a:gd name="T66" fmla="*/ 0 w 246"/>
              <a:gd name="T67" fmla="*/ 0 h 374"/>
              <a:gd name="T68" fmla="*/ 0 w 246"/>
              <a:gd name="T69" fmla="*/ 0 h 374"/>
              <a:gd name="T70" fmla="*/ 0 w 246"/>
              <a:gd name="T71" fmla="*/ 0 h 374"/>
              <a:gd name="T72" fmla="*/ 0 w 246"/>
              <a:gd name="T73" fmla="*/ 0 h 374"/>
              <a:gd name="T74" fmla="*/ 0 w 246"/>
              <a:gd name="T75" fmla="*/ 0 h 374"/>
              <a:gd name="T76" fmla="*/ 0 w 246"/>
              <a:gd name="T77" fmla="*/ 0 h 374"/>
              <a:gd name="T78" fmla="*/ 0 w 246"/>
              <a:gd name="T79" fmla="*/ 0 h 374"/>
              <a:gd name="T80" fmla="*/ 0 w 246"/>
              <a:gd name="T81" fmla="*/ 0 h 374"/>
              <a:gd name="T82" fmla="*/ 0 w 246"/>
              <a:gd name="T83" fmla="*/ 0 h 374"/>
              <a:gd name="T84" fmla="*/ 0 w 246"/>
              <a:gd name="T85" fmla="*/ 0 h 374"/>
              <a:gd name="T86" fmla="*/ 0 w 246"/>
              <a:gd name="T87" fmla="*/ 0 h 374"/>
              <a:gd name="T88" fmla="*/ 0 w 246"/>
              <a:gd name="T89" fmla="*/ 0 h 374"/>
              <a:gd name="T90" fmla="*/ 0 w 246"/>
              <a:gd name="T91" fmla="*/ 0 h 374"/>
              <a:gd name="T92" fmla="*/ 0 w 246"/>
              <a:gd name="T93" fmla="*/ 0 h 374"/>
              <a:gd name="T94" fmla="*/ 0 w 246"/>
              <a:gd name="T95" fmla="*/ 0 h 374"/>
              <a:gd name="T96" fmla="*/ 0 w 246"/>
              <a:gd name="T97" fmla="*/ 0 h 374"/>
              <a:gd name="T98" fmla="*/ 0 w 246"/>
              <a:gd name="T99" fmla="*/ 0 h 374"/>
              <a:gd name="T100" fmla="*/ 0 w 246"/>
              <a:gd name="T101" fmla="*/ 0 h 374"/>
              <a:gd name="T102" fmla="*/ 0 w 246"/>
              <a:gd name="T103" fmla="*/ 0 h 374"/>
              <a:gd name="T104" fmla="*/ 0 w 246"/>
              <a:gd name="T105" fmla="*/ 0 h 37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374"/>
              <a:gd name="T161" fmla="*/ 246 w 246"/>
              <a:gd name="T162" fmla="*/ 374 h 37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374">
                <a:moveTo>
                  <a:pt x="44" y="374"/>
                </a:moveTo>
                <a:lnTo>
                  <a:pt x="44" y="374"/>
                </a:lnTo>
                <a:lnTo>
                  <a:pt x="36" y="374"/>
                </a:lnTo>
                <a:lnTo>
                  <a:pt x="30" y="372"/>
                </a:lnTo>
                <a:lnTo>
                  <a:pt x="22" y="368"/>
                </a:lnTo>
                <a:lnTo>
                  <a:pt x="16" y="362"/>
                </a:lnTo>
                <a:lnTo>
                  <a:pt x="10" y="356"/>
                </a:lnTo>
                <a:lnTo>
                  <a:pt x="8" y="350"/>
                </a:lnTo>
                <a:lnTo>
                  <a:pt x="6" y="342"/>
                </a:lnTo>
                <a:lnTo>
                  <a:pt x="4" y="334"/>
                </a:lnTo>
                <a:lnTo>
                  <a:pt x="6" y="326"/>
                </a:lnTo>
                <a:lnTo>
                  <a:pt x="8" y="318"/>
                </a:lnTo>
                <a:lnTo>
                  <a:pt x="12" y="312"/>
                </a:lnTo>
                <a:lnTo>
                  <a:pt x="18" y="306"/>
                </a:lnTo>
                <a:lnTo>
                  <a:pt x="146" y="184"/>
                </a:lnTo>
                <a:lnTo>
                  <a:pt x="14" y="70"/>
                </a:lnTo>
                <a:lnTo>
                  <a:pt x="8" y="64"/>
                </a:lnTo>
                <a:lnTo>
                  <a:pt x="4" y="56"/>
                </a:lnTo>
                <a:lnTo>
                  <a:pt x="0" y="50"/>
                </a:lnTo>
                <a:lnTo>
                  <a:pt x="0" y="42"/>
                </a:lnTo>
                <a:lnTo>
                  <a:pt x="0" y="34"/>
                </a:lnTo>
                <a:lnTo>
                  <a:pt x="2" y="26"/>
                </a:lnTo>
                <a:lnTo>
                  <a:pt x="4" y="20"/>
                </a:lnTo>
                <a:lnTo>
                  <a:pt x="8" y="12"/>
                </a:lnTo>
                <a:lnTo>
                  <a:pt x="14" y="8"/>
                </a:lnTo>
                <a:lnTo>
                  <a:pt x="22" y="4"/>
                </a:lnTo>
                <a:lnTo>
                  <a:pt x="28" y="0"/>
                </a:lnTo>
                <a:lnTo>
                  <a:pt x="36" y="0"/>
                </a:lnTo>
                <a:lnTo>
                  <a:pt x="44" y="0"/>
                </a:lnTo>
                <a:lnTo>
                  <a:pt x="52" y="0"/>
                </a:lnTo>
                <a:lnTo>
                  <a:pt x="58" y="4"/>
                </a:lnTo>
                <a:lnTo>
                  <a:pt x="66" y="8"/>
                </a:lnTo>
                <a:lnTo>
                  <a:pt x="232" y="152"/>
                </a:lnTo>
                <a:lnTo>
                  <a:pt x="238" y="158"/>
                </a:lnTo>
                <a:lnTo>
                  <a:pt x="242" y="164"/>
                </a:lnTo>
                <a:lnTo>
                  <a:pt x="244" y="172"/>
                </a:lnTo>
                <a:lnTo>
                  <a:pt x="246" y="180"/>
                </a:lnTo>
                <a:lnTo>
                  <a:pt x="246" y="188"/>
                </a:lnTo>
                <a:lnTo>
                  <a:pt x="242" y="196"/>
                </a:lnTo>
                <a:lnTo>
                  <a:pt x="240" y="204"/>
                </a:lnTo>
                <a:lnTo>
                  <a:pt x="234" y="210"/>
                </a:lnTo>
                <a:lnTo>
                  <a:pt x="72" y="364"/>
                </a:lnTo>
                <a:lnTo>
                  <a:pt x="66" y="368"/>
                </a:lnTo>
                <a:lnTo>
                  <a:pt x="60" y="372"/>
                </a:lnTo>
                <a:lnTo>
                  <a:pt x="52" y="374"/>
                </a:lnTo>
                <a:lnTo>
                  <a:pt x="44" y="374"/>
                </a:lnTo>
                <a:close/>
              </a:path>
            </a:pathLst>
          </a:cu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0" latinLnBrk="0" hangingPunct="0"/>
            <a:endParaRPr lang="ko-KR" altLang="en-US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7" name="Rectangle 6"/>
          <p:cNvSpPr>
            <a:spLocks noChangeArrowheads="1"/>
          </p:cNvSpPr>
          <p:nvPr/>
        </p:nvSpPr>
        <p:spPr bwMode="auto">
          <a:xfrm>
            <a:off x="6197612" y="3548904"/>
            <a:ext cx="2462213" cy="741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합 대상 메시지 유형 파악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메시지 상세내역 파악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터페이스 대상 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plication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악</a:t>
            </a: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인터페이스 대상 </a:t>
            </a:r>
            <a:r>
              <a:rPr lang="en-US" altLang="ko-KR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able </a:t>
            </a:r>
            <a:r>
              <a:rPr lang="ko-KR" altLang="en-US" sz="1000" b="0" dirty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악</a:t>
            </a:r>
          </a:p>
        </p:txBody>
      </p:sp>
      <p:sp>
        <p:nvSpPr>
          <p:cNvPr id="68" name="Rectangle 6"/>
          <p:cNvSpPr>
            <a:spLocks noChangeArrowheads="1"/>
          </p:cNvSpPr>
          <p:nvPr/>
        </p:nvSpPr>
        <p:spPr bwMode="auto">
          <a:xfrm>
            <a:off x="6197612" y="4624853"/>
            <a:ext cx="246221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8900" indent="-889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49313"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49313" eaLnBrk="0" fontAlgn="base" hangingPunct="0">
              <a:spcBef>
                <a:spcPct val="0"/>
              </a:spcBef>
              <a:spcAft>
                <a:spcPct val="0"/>
              </a:spcAft>
              <a:tabLst>
                <a:tab pos="715963" algn="l"/>
              </a:tabLs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메시지 단순화</a:t>
            </a:r>
            <a:endParaRPr lang="en-US" altLang="ko-KR" sz="1000" b="0" dirty="0" smtClean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메시지 패턴화</a:t>
            </a:r>
            <a:endParaRPr lang="en-US" altLang="ko-KR" sz="1000" b="0" dirty="0" smtClean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>
              <a:spcBef>
                <a:spcPct val="3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b="0" dirty="0" smtClean="0"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공통 정보 도출</a:t>
            </a:r>
            <a:endParaRPr lang="en-US" altLang="ko-KR" sz="1000" b="0" dirty="0" smtClean="0"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9" name="Rectangle 76"/>
          <p:cNvSpPr>
            <a:spLocks noChangeArrowheads="1"/>
          </p:cNvSpPr>
          <p:nvPr/>
        </p:nvSpPr>
        <p:spPr bwMode="auto">
          <a:xfrm>
            <a:off x="5004640" y="2341563"/>
            <a:ext cx="4649788" cy="4147777"/>
          </a:xfrm>
          <a:prstGeom prst="rect">
            <a:avLst/>
          </a:prstGeom>
          <a:noFill/>
          <a:ln w="9525" algn="ctr">
            <a:solidFill>
              <a:srgbClr val="7C8E9C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endParaRPr lang="ko-KR" altLang="en-US" sz="18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4" name="한쪽 모서리가 잘린 사각형 83"/>
          <p:cNvSpPr/>
          <p:nvPr/>
        </p:nvSpPr>
        <p:spPr>
          <a:xfrm>
            <a:off x="244338" y="2059593"/>
            <a:ext cx="4649787" cy="282884"/>
          </a:xfrm>
          <a:prstGeom prst="snip1Rect">
            <a:avLst>
              <a:gd name="adj" fmla="val 0"/>
            </a:avLst>
          </a:prstGeom>
          <a:solidFill>
            <a:srgbClr val="005E9E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sz="12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5" name="한쪽 모서리가 잘린 사각형 84"/>
          <p:cNvSpPr/>
          <p:nvPr/>
        </p:nvSpPr>
        <p:spPr>
          <a:xfrm>
            <a:off x="5004640" y="2059593"/>
            <a:ext cx="4664884" cy="282884"/>
          </a:xfrm>
          <a:prstGeom prst="snip1Rect">
            <a:avLst>
              <a:gd name="adj" fmla="val 0"/>
            </a:avLst>
          </a:prstGeom>
          <a:solidFill>
            <a:srgbClr val="005E9E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sz="1200" spc="-7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280592" y="2035756"/>
            <a:ext cx="2605535" cy="3139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2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인터페이스 </a:t>
            </a:r>
            <a:r>
              <a:rPr lang="ko-KR" altLang="en-US" sz="12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표준화 절차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6052203" y="2035756"/>
            <a:ext cx="2582918" cy="3139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2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인터페이스 </a:t>
            </a:r>
            <a:r>
              <a:rPr lang="ko-KR" altLang="en-US" sz="12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관리 절차</a:t>
            </a:r>
          </a:p>
        </p:txBody>
      </p:sp>
      <p:sp>
        <p:nvSpPr>
          <p:cNvPr id="88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6868" y="2501209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</a:t>
            </a:r>
          </a:p>
        </p:txBody>
      </p:sp>
      <p:sp>
        <p:nvSpPr>
          <p:cNvPr id="89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6868" y="3493432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90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6868" y="4473116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</a:t>
            </a:r>
          </a:p>
        </p:txBody>
      </p:sp>
      <p:sp>
        <p:nvSpPr>
          <p:cNvPr id="91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6868" y="5453537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4</a:t>
            </a:r>
          </a:p>
        </p:txBody>
      </p:sp>
      <p:sp>
        <p:nvSpPr>
          <p:cNvPr id="92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05028" y="2501209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</a:t>
            </a:r>
          </a:p>
        </p:txBody>
      </p:sp>
      <p:sp>
        <p:nvSpPr>
          <p:cNvPr id="93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05028" y="3493432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94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05028" y="4473116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</a:t>
            </a:r>
          </a:p>
        </p:txBody>
      </p:sp>
      <p:sp>
        <p:nvSpPr>
          <p:cNvPr id="95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05028" y="5453537"/>
            <a:ext cx="180020" cy="17928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4</a:t>
            </a:r>
          </a:p>
        </p:txBody>
      </p:sp>
      <p:sp>
        <p:nvSpPr>
          <p:cNvPr id="96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5197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간 인터페이스 현황을 파악하여 표준화 범위를 규정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 절차에 따라서 표준화를 진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sp>
        <p:nvSpPr>
          <p:cNvPr id="9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9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9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095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인터페이스 표준화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0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88" name="Group 241"/>
          <p:cNvGraphicFramePr>
            <a:graphicFrameLocks noGrp="1"/>
          </p:cNvGraphicFramePr>
          <p:nvPr>
            <p:extLst/>
          </p:nvPr>
        </p:nvGraphicFramePr>
        <p:xfrm>
          <a:off x="236476" y="2348850"/>
          <a:ext cx="4572504" cy="4104490"/>
        </p:xfrm>
        <a:graphic>
          <a:graphicData uri="http://schemas.openxmlformats.org/drawingml/2006/table">
            <a:tbl>
              <a:tblPr/>
              <a:tblGrid>
                <a:gridCol w="929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87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147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40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주제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원칙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0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일반 원칙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배치와 통합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명확한 기능 요건에 근거하여 최적의 위치에 배치되고 실질적으로는 통합 운용될 수 있도록 설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00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어플리케이션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원칙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어플리케이션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공유 및 재활용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다양한 비즈니스 프로세스에서 활용되는 공통 기능은 중복되지 않은 단일 어플리케이션으로 공유할 수 있도록 구성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84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데이터 원칙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데이터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표준준수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공유되는 데이터의 표현 및 접근 방법은 표준화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0038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논리적 통합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분산되거나 중복된 데이터는 효과적인 연계수단을 통해 논리적으로 통합되어 일관성 있게 제공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00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술원칙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상호 운용성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기술 변화에 유연하게 대응할 수 있도록 개방형 구조를 가지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기존 자원과의 상호 운영이 가능하도록 인터페이스 표준 규약을 준수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9" name="Group 2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138203"/>
              </p:ext>
            </p:extLst>
          </p:nvPr>
        </p:nvGraphicFramePr>
        <p:xfrm>
          <a:off x="5109721" y="2348850"/>
          <a:ext cx="4559804" cy="4104488"/>
        </p:xfrm>
        <a:graphic>
          <a:graphicData uri="http://schemas.openxmlformats.org/drawingml/2006/table">
            <a:tbl>
              <a:tblPr/>
              <a:tblGrid>
                <a:gridCol w="987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22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4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표준화 대상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표준화 내역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8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인터페이스 유형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시스템 및 어플리케이션 실행 환경 분석을 통하여 인터페이스 유형을 단순화 및 표준화를 실행하고 각 유형 별 템플릿을 개발하여 인터페이스 개발 표준화 및 생산성 향상을 실행</a:t>
                      </a:r>
                      <a:endParaRPr kumimoji="1" lang="ko-KR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6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전문 표준화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전문의 표준화는 인터페이스 업무 처리 서비스 개발을 단순화 시켜 업무 개발의 효율성을 증대</a:t>
                      </a:r>
                      <a:endParaRPr kumimoji="1" lang="ko-KR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6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업무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API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표준화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업무 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API 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표준화는 업무 인터페이스 개발자나 시스템 환경에 제약 없이 표준적으로 사용 가능하도록 단일화된 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API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는 인터페이스 개발 편리성과 생산성을 향상</a:t>
                      </a:r>
                      <a:endParaRPr kumimoji="1" lang="ko-KR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오류 코드 표준화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00" marR="72000" marT="36004" marB="36004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  <a:cs typeface="+mn-cs"/>
                        </a:rPr>
                        <a:t>오류 코드 표준화로 발생된 인터페이스 오류의 원인 분석을 쉽고 용이하도록 지원함</a:t>
                      </a:r>
                      <a:endParaRPr kumimoji="1" lang="ko-KR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  <a:cs typeface="+mn-cs"/>
                      </a:endParaRPr>
                    </a:p>
                  </a:txBody>
                  <a:tcPr marL="72000" marR="72000" marT="36004" marB="36004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2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5197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시스템 연계 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된 인터페이스 방법을 제공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데이터 관리나 메시지 전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PI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오류 코드 등 인터페이스에 관한 요소를 표준화하여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31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308484" y="2132856"/>
            <a:ext cx="1569528" cy="169277"/>
            <a:chOff x="307914" y="1927833"/>
            <a:chExt cx="1569528" cy="169277"/>
          </a:xfrm>
        </p:grpSpPr>
        <p:sp>
          <p:nvSpPr>
            <p:cNvPr id="32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135293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spcBef>
                  <a:spcPct val="50000"/>
                </a:spcBef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인터페이스 표준화 원칙</a:t>
              </a:r>
            </a:p>
          </p:txBody>
        </p:sp>
        <p:grpSp>
          <p:nvGrpSpPr>
            <p:cNvPr id="33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34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36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endParaRPr>
                </a:p>
              </p:txBody>
            </p:sp>
            <p:sp>
              <p:nvSpPr>
                <p:cNvPr id="37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endParaRPr>
                </a:p>
              </p:txBody>
            </p:sp>
          </p:grpSp>
          <p:sp>
            <p:nvSpPr>
              <p:cNvPr id="35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</p:grpSp>
      </p:grpSp>
      <p:grpSp>
        <p:nvGrpSpPr>
          <p:cNvPr id="45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5205028" y="2146768"/>
            <a:ext cx="893061" cy="169277"/>
            <a:chOff x="307914" y="1927833"/>
            <a:chExt cx="893061" cy="169277"/>
          </a:xfrm>
        </p:grpSpPr>
        <p:sp>
          <p:nvSpPr>
            <p:cNvPr id="46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676467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spcBef>
                  <a:spcPct val="50000"/>
                </a:spcBef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표준화 대상</a:t>
              </a:r>
            </a:p>
          </p:txBody>
        </p:sp>
        <p:grpSp>
          <p:nvGrpSpPr>
            <p:cNvPr id="47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48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50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endParaRPr>
                </a:p>
              </p:txBody>
            </p:sp>
            <p:sp>
              <p:nvSpPr>
                <p:cNvPr id="51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endParaRPr>
                </a:p>
              </p:txBody>
            </p:sp>
          </p:grpSp>
          <p:sp>
            <p:nvSpPr>
              <p:cNvPr id="49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</p:grpSp>
      </p:grpSp>
      <p:sp>
        <p:nvSpPr>
          <p:cNvPr id="2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40" y="0"/>
            <a:ext cx="35799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8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76" y="836712"/>
            <a:ext cx="9433048" cy="200055"/>
          </a:xfrm>
        </p:spPr>
        <p:txBody>
          <a:bodyPr/>
          <a:lstStyle/>
          <a:p>
            <a:r>
              <a:rPr lang="en-US" altLang="ko-KR" dirty="0" smtClean="0"/>
              <a:t>2.2.8.6 </a:t>
            </a:r>
            <a:r>
              <a:rPr lang="ko-KR" altLang="en-US" dirty="0" smtClean="0"/>
              <a:t>시스템 인터페이스 표준화 방안 </a:t>
            </a:r>
            <a:r>
              <a:rPr lang="en-US" altLang="ko-KR" dirty="0" smtClean="0"/>
              <a:t>(2/2)</a:t>
            </a:r>
            <a:endParaRPr lang="ko-KR" altLang="en-US" dirty="0"/>
          </a:p>
        </p:txBody>
      </p:sp>
      <p:sp>
        <p:nvSpPr>
          <p:cNvPr id="39" name="Rt9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9040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8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표준화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40" name="Picture 239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403511" y="2203584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39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71596" y="2219211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8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666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2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현황 분석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신규 및 일회성 거래 고객에 대한 고객확인 누락을 예방하기 위하여 부산은행이 수행하는 업무를 검토하여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대상 거래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완전성을 검토하고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 거래별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대상자를 선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확인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대상거래 및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거래 유형별 고객확인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대상 검토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89" name="그룹 188"/>
          <p:cNvGrpSpPr/>
          <p:nvPr/>
        </p:nvGrpSpPr>
        <p:grpSpPr>
          <a:xfrm>
            <a:off x="1460914" y="2329537"/>
            <a:ext cx="2823172" cy="226731"/>
            <a:chOff x="2231446" y="2226795"/>
            <a:chExt cx="1839513" cy="226731"/>
          </a:xfrm>
        </p:grpSpPr>
        <p:sp>
          <p:nvSpPr>
            <p:cNvPr id="192" name="Text Box 52"/>
            <p:cNvSpPr txBox="1">
              <a:spLocks noChangeArrowheads="1"/>
            </p:cNvSpPr>
            <p:nvPr/>
          </p:nvSpPr>
          <p:spPr bwMode="auto">
            <a:xfrm>
              <a:off x="2735428" y="2226795"/>
              <a:ext cx="829643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Bold" panose="00000800000000000000" pitchFamily="2" charset="-127"/>
                </a:rPr>
                <a:t>고객확인 대상 거래</a:t>
              </a:r>
              <a:endParaRPr kumimoji="1"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Bold" panose="00000800000000000000" pitchFamily="2" charset="-127"/>
              </a:endParaRPr>
            </a:p>
          </p:txBody>
        </p:sp>
        <p:sp>
          <p:nvSpPr>
            <p:cNvPr id="193" name="Line 57"/>
            <p:cNvSpPr>
              <a:spLocks noChangeShapeType="1"/>
            </p:cNvSpPr>
            <p:nvPr/>
          </p:nvSpPr>
          <p:spPr bwMode="auto">
            <a:xfrm>
              <a:off x="2231446" y="2453526"/>
              <a:ext cx="183951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Bold" panose="00000800000000000000" pitchFamily="2" charset="-127"/>
              </a:endParaRPr>
            </a:p>
          </p:txBody>
        </p:sp>
      </p:grpSp>
      <p:grpSp>
        <p:nvGrpSpPr>
          <p:cNvPr id="194" name="그룹 193"/>
          <p:cNvGrpSpPr/>
          <p:nvPr/>
        </p:nvGrpSpPr>
        <p:grpSpPr>
          <a:xfrm>
            <a:off x="5816570" y="2338173"/>
            <a:ext cx="2823172" cy="226731"/>
            <a:chOff x="2231446" y="2226795"/>
            <a:chExt cx="1839513" cy="226731"/>
          </a:xfrm>
        </p:grpSpPr>
        <p:sp>
          <p:nvSpPr>
            <p:cNvPr id="195" name="Text Box 52"/>
            <p:cNvSpPr txBox="1">
              <a:spLocks noChangeArrowheads="1"/>
            </p:cNvSpPr>
            <p:nvPr/>
          </p:nvSpPr>
          <p:spPr bwMode="auto">
            <a:xfrm>
              <a:off x="2789219" y="2226795"/>
              <a:ext cx="722062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Bold" panose="00000800000000000000" pitchFamily="2" charset="-127"/>
                </a:rPr>
                <a:t>고객확인 대상자</a:t>
              </a:r>
              <a:endParaRPr kumimoji="1"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Bold" panose="00000800000000000000" pitchFamily="2" charset="-127"/>
              </a:endParaRPr>
            </a:p>
          </p:txBody>
        </p:sp>
        <p:sp>
          <p:nvSpPr>
            <p:cNvPr id="196" name="Line 57"/>
            <p:cNvSpPr>
              <a:spLocks noChangeShapeType="1"/>
            </p:cNvSpPr>
            <p:nvPr/>
          </p:nvSpPr>
          <p:spPr bwMode="auto">
            <a:xfrm>
              <a:off x="2231446" y="2453526"/>
              <a:ext cx="183951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Bold" panose="00000800000000000000" pitchFamily="2" charset="-127"/>
              </a:endParaRPr>
            </a:p>
          </p:txBody>
        </p:sp>
      </p:grpSp>
      <p:graphicFrame>
        <p:nvGraphicFramePr>
          <p:cNvPr id="198" name="Group 12"/>
          <p:cNvGraphicFramePr>
            <a:graphicFrameLocks noGrp="1"/>
          </p:cNvGraphicFramePr>
          <p:nvPr>
            <p:extLst/>
          </p:nvPr>
        </p:nvGraphicFramePr>
        <p:xfrm>
          <a:off x="5192799" y="2823109"/>
          <a:ext cx="4032001" cy="3166546"/>
        </p:xfrm>
        <a:graphic>
          <a:graphicData uri="http://schemas.openxmlformats.org/drawingml/2006/table">
            <a:tbl>
              <a:tblPr/>
              <a:tblGrid>
                <a:gridCol w="7391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10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4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32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76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58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1100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32831">
                <a:tc rowSpan="2"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구분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gridSpan="2"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개인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법인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11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본인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대리인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6175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법인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6175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대표자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6175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대리인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6175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보증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, 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설정자 등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3600"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514350" marR="0" lvl="0" indent="-51435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신원확인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8321"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신원검증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0080"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W/L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3600"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위험평가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342900" indent="-342900"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342900" marR="0" lvl="0" indent="-34290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-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O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-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-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-</a:t>
                      </a:r>
                    </a:p>
                  </a:txBody>
                  <a:tcPr marL="54000" marR="5400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99" name="Group 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1580806"/>
              </p:ext>
            </p:extLst>
          </p:nvPr>
        </p:nvGraphicFramePr>
        <p:xfrm>
          <a:off x="860656" y="2823110"/>
          <a:ext cx="3870594" cy="3166546"/>
        </p:xfrm>
        <a:graphic>
          <a:graphicData uri="http://schemas.openxmlformats.org/drawingml/2006/table">
            <a:tbl>
              <a:tblPr/>
              <a:tblGrid>
                <a:gridCol w="68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8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22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45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대분류</a:t>
                      </a: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중준류</a:t>
                      </a: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상품분류</a:t>
                      </a: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KoPubWorld돋움체 Bold" panose="00000800000000000000" pitchFamily="2" charset="-127"/>
                        </a:rPr>
                        <a:t>채널</a:t>
                      </a: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000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예금</a:t>
                      </a:r>
                      <a:r>
                        <a:rPr kumimoji="0" lang="en-US" altLang="ko-KR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신탁</a:t>
                      </a:r>
                      <a:endParaRPr kumimoji="0" lang="en-US" altLang="ko-KR" sz="10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예금</a:t>
                      </a:r>
                      <a:endParaRPr kumimoji="0" lang="en-US" altLang="ko-KR" sz="1000" b="0" i="0" u="none" strike="noStrike" cap="none" spc="-100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입출금자유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임형</a:t>
                      </a:r>
                      <a:r>
                        <a:rPr kumimoji="0" lang="en-US" altLang="ko-KR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ISA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비대면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주택청약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비대면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8000">
                <a:tc rowSpan="8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여신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대출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신용대출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비대면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담보대출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비대면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294" marB="452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기업대출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카드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개인카드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비대면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8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기업카드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영업점</a:t>
                      </a: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…</a:t>
                      </a:r>
                      <a:endParaRPr kumimoji="0" lang="ko-KR" altLang="en-US" sz="1000" b="0" i="0" u="none" strike="noStrike" cap="none" spc="-100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KoPubWorld돋움체 Medium" panose="00000600000000000000" pitchFamily="2" charset="-127"/>
                        </a:rPr>
                        <a:t>...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KoPubWorld돋움체 Medium" panose="00000600000000000000" pitchFamily="2" charset="-127"/>
                      </a:endParaRPr>
                    </a:p>
                  </a:txBody>
                  <a:tcPr marL="7200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25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03612" y="271963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403208" y="271963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1988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1.1 </a:t>
            </a:r>
            <a:r>
              <a:rPr lang="ko-KR" altLang="en-US" dirty="0"/>
              <a:t>테스트 전략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축의 성공적 운영을 위하여 환경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술적 위험요소를 감안한 단계별 테스트 방안을 제시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의 검증된 테스트 절차 및 방법론 적용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조직운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수행을 통해 안정적인 시스템을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테스트 전략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4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377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요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7" name="Group 79"/>
          <p:cNvGrpSpPr>
            <a:grpSpLocks/>
          </p:cNvGrpSpPr>
          <p:nvPr/>
        </p:nvGrpSpPr>
        <p:grpSpPr bwMode="auto">
          <a:xfrm>
            <a:off x="1505363" y="2107664"/>
            <a:ext cx="6716713" cy="1997075"/>
            <a:chOff x="599" y="1053"/>
            <a:chExt cx="3122" cy="1043"/>
          </a:xfrm>
        </p:grpSpPr>
        <p:pic>
          <p:nvPicPr>
            <p:cNvPr id="18" name="Picture 80" descr="헤드-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" y="1053"/>
              <a:ext cx="3122" cy="1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ectangle 81"/>
            <p:cNvSpPr>
              <a:spLocks noChangeArrowheads="1"/>
            </p:cNvSpPr>
            <p:nvPr/>
          </p:nvSpPr>
          <p:spPr bwMode="auto">
            <a:xfrm>
              <a:off x="1270" y="1198"/>
              <a:ext cx="2033" cy="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ko-KR" altLang="en-US" sz="14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검증된 단계적 테스트 시나리오 적용</a:t>
              </a:r>
              <a:r>
                <a:rPr lang="ko-KR" altLang="ko-KR" sz="14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과 </a:t>
              </a:r>
              <a:r>
                <a:rPr lang="ko-KR" altLang="en-US" sz="14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테스트 수행으</a:t>
              </a:r>
              <a:r>
                <a:rPr lang="ko-KR" altLang="ko-KR" sz="14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로</a:t>
              </a:r>
              <a:endPara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>
                <a:lnSpc>
                  <a:spcPct val="120000"/>
                </a:lnSpc>
                <a:buFont typeface="Monotype Sorts"/>
                <a:buNone/>
              </a:pPr>
              <a:r>
                <a:rPr lang="ko-KR" altLang="ko-KR" sz="24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A50034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안정적이고 성능 향상된 시스템 구축</a:t>
              </a:r>
              <a:endParaRPr lang="en-US" altLang="ko-KR" sz="24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A50034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pic>
        <p:nvPicPr>
          <p:cNvPr id="20" name="Picture 78" descr="바닥03"/>
          <p:cNvPicPr>
            <a:picLocks noChangeAspect="1" noChangeArrowheads="1"/>
          </p:cNvPicPr>
          <p:nvPr/>
        </p:nvPicPr>
        <p:blipFill>
          <a:blip r:embed="rId3" cstate="print">
            <a:lum bright="6000" contrast="-6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5" r="5125"/>
          <a:stretch>
            <a:fillRect/>
          </a:stretch>
        </p:blipFill>
        <p:spPr bwMode="auto">
          <a:xfrm>
            <a:off x="389351" y="3966991"/>
            <a:ext cx="9178925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" name="Group 28"/>
          <p:cNvGrpSpPr>
            <a:grpSpLocks/>
          </p:cNvGrpSpPr>
          <p:nvPr/>
        </p:nvGrpSpPr>
        <p:grpSpPr bwMode="auto">
          <a:xfrm>
            <a:off x="1130706" y="3914329"/>
            <a:ext cx="7658100" cy="354012"/>
            <a:chOff x="341" y="2927"/>
            <a:chExt cx="3628" cy="164"/>
          </a:xfrm>
        </p:grpSpPr>
        <p:grpSp>
          <p:nvGrpSpPr>
            <p:cNvPr id="22" name="Group 29"/>
            <p:cNvGrpSpPr>
              <a:grpSpLocks/>
            </p:cNvGrpSpPr>
            <p:nvPr/>
          </p:nvGrpSpPr>
          <p:grpSpPr bwMode="auto">
            <a:xfrm>
              <a:off x="341" y="2965"/>
              <a:ext cx="1240" cy="86"/>
              <a:chOff x="479" y="3674"/>
              <a:chExt cx="1324" cy="86"/>
            </a:xfrm>
          </p:grpSpPr>
          <p:sp>
            <p:nvSpPr>
              <p:cNvPr id="29" name="AutoShape 30"/>
              <p:cNvSpPr>
                <a:spLocks noChangeArrowheads="1"/>
              </p:cNvSpPr>
              <p:nvPr/>
            </p:nvSpPr>
            <p:spPr bwMode="auto">
              <a:xfrm>
                <a:off x="533" y="3708"/>
                <a:ext cx="1270" cy="18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C3D9E3"/>
                  </a:gs>
                  <a:gs pos="100000">
                    <a:srgbClr val="83B5CD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0" name="AutoShape 31"/>
              <p:cNvSpPr>
                <a:spLocks noChangeArrowheads="1"/>
              </p:cNvSpPr>
              <p:nvPr/>
            </p:nvSpPr>
            <p:spPr bwMode="auto">
              <a:xfrm>
                <a:off x="479" y="3674"/>
                <a:ext cx="1270" cy="18"/>
              </a:xfrm>
              <a:prstGeom prst="roundRect">
                <a:avLst>
                  <a:gd name="adj" fmla="val 50000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31" name="AutoShape 32"/>
              <p:cNvSpPr>
                <a:spLocks noChangeArrowheads="1"/>
              </p:cNvSpPr>
              <p:nvPr/>
            </p:nvSpPr>
            <p:spPr bwMode="auto">
              <a:xfrm>
                <a:off x="479" y="3742"/>
                <a:ext cx="1270" cy="18"/>
              </a:xfrm>
              <a:prstGeom prst="roundRect">
                <a:avLst>
                  <a:gd name="adj" fmla="val 50000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grpSp>
          <p:nvGrpSpPr>
            <p:cNvPr id="23" name="Group 33"/>
            <p:cNvGrpSpPr>
              <a:grpSpLocks/>
            </p:cNvGrpSpPr>
            <p:nvPr/>
          </p:nvGrpSpPr>
          <p:grpSpPr bwMode="auto">
            <a:xfrm flipH="1">
              <a:off x="2729" y="2965"/>
              <a:ext cx="1240" cy="86"/>
              <a:chOff x="479" y="3674"/>
              <a:chExt cx="1324" cy="86"/>
            </a:xfrm>
          </p:grpSpPr>
          <p:sp>
            <p:nvSpPr>
              <p:cNvPr id="26" name="AutoShape 34"/>
              <p:cNvSpPr>
                <a:spLocks noChangeArrowheads="1"/>
              </p:cNvSpPr>
              <p:nvPr/>
            </p:nvSpPr>
            <p:spPr bwMode="auto">
              <a:xfrm>
                <a:off x="533" y="3708"/>
                <a:ext cx="1270" cy="18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C3D9E3"/>
                  </a:gs>
                  <a:gs pos="100000">
                    <a:srgbClr val="83B5CD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7" name="AutoShape 35"/>
              <p:cNvSpPr>
                <a:spLocks noChangeArrowheads="1"/>
              </p:cNvSpPr>
              <p:nvPr/>
            </p:nvSpPr>
            <p:spPr bwMode="auto">
              <a:xfrm>
                <a:off x="479" y="3674"/>
                <a:ext cx="1270" cy="18"/>
              </a:xfrm>
              <a:prstGeom prst="roundRect">
                <a:avLst>
                  <a:gd name="adj" fmla="val 50000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8" name="AutoShape 36"/>
              <p:cNvSpPr>
                <a:spLocks noChangeArrowheads="1"/>
              </p:cNvSpPr>
              <p:nvPr/>
            </p:nvSpPr>
            <p:spPr bwMode="auto">
              <a:xfrm>
                <a:off x="479" y="3742"/>
                <a:ext cx="1270" cy="18"/>
              </a:xfrm>
              <a:prstGeom prst="roundRect">
                <a:avLst>
                  <a:gd name="adj" fmla="val 50000"/>
                </a:avLst>
              </a:pr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sp>
          <p:nvSpPr>
            <p:cNvPr id="25" name="AutoShape 37"/>
            <p:cNvSpPr>
              <a:spLocks noChangeArrowheads="1"/>
            </p:cNvSpPr>
            <p:nvPr/>
          </p:nvSpPr>
          <p:spPr bwMode="auto">
            <a:xfrm>
              <a:off x="879" y="2927"/>
              <a:ext cx="2610" cy="16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E4E4E4"/>
                </a:gs>
              </a:gsLst>
              <a:lin ang="2700000" scaled="1"/>
            </a:gradFill>
            <a:ln w="19050" algn="ctr">
              <a:solidFill>
                <a:srgbClr val="A3A3A3"/>
              </a:solidFill>
              <a:round/>
              <a:headEnd/>
              <a:tailEnd/>
            </a:ln>
          </p:spPr>
          <p:txBody>
            <a:bodyPr lIns="36000" tIns="0" rIns="36000" bIns="0" anchor="ctr"/>
            <a:lstStyle>
              <a:lvl1pPr algn="r" defTabSz="808038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 defTabSz="808038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 defTabSz="808038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 defTabSz="808038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 defTabSz="808038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ko-KR" altLang="en-US" sz="130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체계적 테스트를 통한 오류 제거와 시스템 성능 확보</a:t>
              </a:r>
            </a:p>
          </p:txBody>
        </p:sp>
      </p:grpSp>
      <p:grpSp>
        <p:nvGrpSpPr>
          <p:cNvPr id="32" name="Group 74"/>
          <p:cNvGrpSpPr>
            <a:grpSpLocks/>
          </p:cNvGrpSpPr>
          <p:nvPr/>
        </p:nvGrpSpPr>
        <p:grpSpPr bwMode="auto">
          <a:xfrm>
            <a:off x="363944" y="4560513"/>
            <a:ext cx="2965450" cy="1771650"/>
            <a:chOff x="217" y="2908"/>
            <a:chExt cx="1837" cy="1207"/>
          </a:xfrm>
        </p:grpSpPr>
        <p:sp>
          <p:nvSpPr>
            <p:cNvPr id="33" name="AutoShape 38"/>
            <p:cNvSpPr>
              <a:spLocks noChangeArrowheads="1"/>
            </p:cNvSpPr>
            <p:nvPr/>
          </p:nvSpPr>
          <p:spPr bwMode="auto">
            <a:xfrm>
              <a:off x="217" y="2908"/>
              <a:ext cx="1837" cy="120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algn="ctr">
              <a:solidFill>
                <a:srgbClr val="4A7EBB"/>
              </a:solidFill>
              <a:round/>
              <a:headEnd/>
              <a:tailEnd/>
            </a:ln>
          </p:spPr>
          <p:txBody>
            <a:bodyPr tIns="306000"/>
            <a:lstStyle/>
            <a:p>
              <a:pPr marL="87215" indent="-87215" algn="ctr" fontAlgn="ctr">
                <a:buClr>
                  <a:srgbClr val="777777"/>
                </a:buClr>
                <a:buSzPct val="80000"/>
                <a:buFont typeface="Wingdings" pitchFamily="2" charset="2"/>
                <a:buChar char="§"/>
                <a:defRPr/>
              </a:pPr>
              <a:endParaRPr lang="ko-KR" altLang="en-US" sz="1100" kern="0" dirty="0">
                <a:solidFill>
                  <a:srgbClr val="1C1C1C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4" name="AutoShape 39"/>
            <p:cNvSpPr>
              <a:spLocks noChangeArrowheads="1"/>
            </p:cNvSpPr>
            <p:nvPr/>
          </p:nvSpPr>
          <p:spPr bwMode="auto">
            <a:xfrm>
              <a:off x="217" y="2908"/>
              <a:ext cx="1837" cy="261"/>
            </a:xfrm>
            <a:prstGeom prst="roundRect">
              <a:avLst>
                <a:gd name="adj" fmla="val 0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ko-KR" altLang="en-US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검증된 테스트 방법론 적용</a:t>
              </a:r>
              <a:endParaRPr lang="en-US" altLang="ko-KR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35" name="Group 75"/>
          <p:cNvGrpSpPr>
            <a:grpSpLocks/>
          </p:cNvGrpSpPr>
          <p:nvPr/>
        </p:nvGrpSpPr>
        <p:grpSpPr bwMode="auto">
          <a:xfrm>
            <a:off x="3488151" y="4560513"/>
            <a:ext cx="2967037" cy="1771650"/>
            <a:chOff x="2201" y="2908"/>
            <a:chExt cx="1837" cy="1207"/>
          </a:xfrm>
        </p:grpSpPr>
        <p:sp>
          <p:nvSpPr>
            <p:cNvPr id="36" name="AutoShape 38"/>
            <p:cNvSpPr>
              <a:spLocks noChangeArrowheads="1"/>
            </p:cNvSpPr>
            <p:nvPr/>
          </p:nvSpPr>
          <p:spPr bwMode="auto">
            <a:xfrm>
              <a:off x="2201" y="2908"/>
              <a:ext cx="1837" cy="120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algn="ctr">
              <a:solidFill>
                <a:srgbClr val="4A7EBB"/>
              </a:solidFill>
              <a:round/>
              <a:headEnd/>
              <a:tailEnd/>
            </a:ln>
          </p:spPr>
          <p:txBody>
            <a:bodyPr tIns="306000"/>
            <a:lstStyle/>
            <a:p>
              <a:pPr marL="87215" indent="-87215" algn="ctr" fontAlgn="ctr">
                <a:buClr>
                  <a:srgbClr val="777777"/>
                </a:buClr>
                <a:buSzPct val="80000"/>
                <a:buFont typeface="Wingdings" pitchFamily="2" charset="2"/>
                <a:buChar char="§"/>
                <a:defRPr/>
              </a:pPr>
              <a:endParaRPr lang="ko-KR" altLang="en-US" sz="1100" kern="0" dirty="0">
                <a:solidFill>
                  <a:srgbClr val="1C1C1C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7" name="AutoShape 39"/>
            <p:cNvSpPr>
              <a:spLocks noChangeArrowheads="1"/>
            </p:cNvSpPr>
            <p:nvPr/>
          </p:nvSpPr>
          <p:spPr bwMode="auto">
            <a:xfrm>
              <a:off x="2201" y="2908"/>
              <a:ext cx="1837" cy="261"/>
            </a:xfrm>
            <a:prstGeom prst="roundRect">
              <a:avLst>
                <a:gd name="adj" fmla="val 0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en-US" altLang="ko-KR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시스템 안정성 및 성능 확보</a:t>
              </a:r>
            </a:p>
          </p:txBody>
        </p:sp>
      </p:grpSp>
      <p:grpSp>
        <p:nvGrpSpPr>
          <p:cNvPr id="38" name="Group 76"/>
          <p:cNvGrpSpPr>
            <a:grpSpLocks/>
          </p:cNvGrpSpPr>
          <p:nvPr/>
        </p:nvGrpSpPr>
        <p:grpSpPr bwMode="auto">
          <a:xfrm>
            <a:off x="6615519" y="4560513"/>
            <a:ext cx="2965450" cy="1771650"/>
            <a:chOff x="4186" y="2908"/>
            <a:chExt cx="1837" cy="1207"/>
          </a:xfrm>
        </p:grpSpPr>
        <p:sp>
          <p:nvSpPr>
            <p:cNvPr id="46" name="AutoShape 38"/>
            <p:cNvSpPr>
              <a:spLocks noChangeArrowheads="1"/>
            </p:cNvSpPr>
            <p:nvPr/>
          </p:nvSpPr>
          <p:spPr bwMode="auto">
            <a:xfrm>
              <a:off x="4186" y="2908"/>
              <a:ext cx="1837" cy="120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algn="ctr">
              <a:solidFill>
                <a:srgbClr val="4A7EBB"/>
              </a:solidFill>
              <a:round/>
              <a:headEnd/>
              <a:tailEnd/>
            </a:ln>
          </p:spPr>
          <p:txBody>
            <a:bodyPr tIns="306000"/>
            <a:lstStyle/>
            <a:p>
              <a:pPr marL="87215" indent="-87215" algn="ctr" fontAlgn="ctr">
                <a:buClr>
                  <a:srgbClr val="777777"/>
                </a:buClr>
                <a:buSzPct val="80000"/>
                <a:buFont typeface="Wingdings" pitchFamily="2" charset="2"/>
                <a:buChar char="§"/>
                <a:defRPr/>
              </a:pPr>
              <a:endParaRPr lang="ko-KR" altLang="en-US" sz="1100" kern="0" dirty="0">
                <a:solidFill>
                  <a:srgbClr val="1C1C1C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7" name="AutoShape 39"/>
            <p:cNvSpPr>
              <a:spLocks noChangeArrowheads="1"/>
            </p:cNvSpPr>
            <p:nvPr/>
          </p:nvSpPr>
          <p:spPr bwMode="auto">
            <a:xfrm>
              <a:off x="4186" y="2908"/>
              <a:ext cx="1837" cy="261"/>
            </a:xfrm>
            <a:prstGeom prst="roundRect">
              <a:avLst>
                <a:gd name="adj" fmla="val 0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ko-KR" altLang="en-US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검증된 테스트 시나리오</a:t>
              </a:r>
              <a:r>
                <a:rPr lang="en-US" altLang="ko-KR" sz="1200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와 </a:t>
              </a:r>
              <a:r>
                <a:rPr lang="ko-KR" altLang="en-US" sz="1200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테스트</a:t>
              </a:r>
              <a:r>
                <a:rPr lang="en-US" altLang="ko-KR" sz="1200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en-US" altLang="ko-KR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경험 활용</a:t>
              </a:r>
            </a:p>
          </p:txBody>
        </p:sp>
      </p:grpSp>
      <p:sp>
        <p:nvSpPr>
          <p:cNvPr id="48" name="Rectangle 23"/>
          <p:cNvSpPr>
            <a:spLocks noChangeArrowheads="1"/>
          </p:cNvSpPr>
          <p:nvPr/>
        </p:nvSpPr>
        <p:spPr bwMode="auto">
          <a:xfrm>
            <a:off x="6755224" y="4976144"/>
            <a:ext cx="2674937" cy="937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0488" indent="-90488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안사의 풍부한 테스트 경험을 활용한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수행</a:t>
            </a:r>
          </a:p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적절한 테스트 케이스 및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나리오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활용</a:t>
            </a:r>
          </a:p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 가이드를 준수한 테스트 수행</a:t>
            </a:r>
          </a:p>
        </p:txBody>
      </p:sp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3638961" y="4976144"/>
            <a:ext cx="2676525" cy="717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0488" indent="-90488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요소 중점 활동 및 조기 안정화 지원</a:t>
            </a:r>
          </a:p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효율적인 테스트 운영을 위한 조직체계 구성</a:t>
            </a:r>
            <a:endParaRPr lang="en-US" altLang="ko-KR" sz="11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능 측정 시 검증된 자동화 도구 활용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533806" y="4976144"/>
            <a:ext cx="2676525" cy="1129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0488" indent="-90488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839788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839788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 업무별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계적 테스트를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한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용자 요구사항에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한 충분한 검증</a:t>
            </a:r>
            <a:endParaRPr lang="en-US" altLang="ko-KR" sz="11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14174" indent="-114174" algn="l" defTabSz="892761">
              <a:lnSpc>
                <a:spcPct val="130000"/>
              </a:lnSpc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3558" algn="l"/>
              </a:tabLst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방법론에 의한 체계적인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실시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능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위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합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용자 인수 테스트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기능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능</a:t>
            </a:r>
            <a:r>
              <a:rPr lang="en-US" altLang="ko-KR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</a:t>
            </a:r>
            <a:endParaRPr lang="ko-KR" altLang="en-US" sz="11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1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55398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456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1.2 </a:t>
            </a:r>
            <a:r>
              <a:rPr lang="ko-KR" altLang="en-US" dirty="0"/>
              <a:t>테스트 관리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다양한 프로젝트 수행 경험을 바탕으로 시스템의 안정성과 신뢰성을 확보하기 위해 테스트 유형별 계획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설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실행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의 체계적인 절차를 통해 실무 중심의 테스트 방법을 적용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테스트 관리 방안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96" name="Group 1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8547694"/>
              </p:ext>
            </p:extLst>
          </p:nvPr>
        </p:nvGraphicFramePr>
        <p:xfrm>
          <a:off x="346014" y="4351500"/>
          <a:ext cx="9215498" cy="2101836"/>
        </p:xfrm>
        <a:graphic>
          <a:graphicData uri="http://schemas.openxmlformats.org/drawingml/2006/table">
            <a:tbl>
              <a:tblPr/>
              <a:tblGrid>
                <a:gridCol w="826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79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649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20469"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유형</a:t>
                      </a:r>
                      <a:endParaRPr kumimoji="1" lang="en-US" altLang="ko-KR" sz="1000" b="0" kern="1200" spc="0" baseline="0" dirty="0" smtClean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내용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주관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주요 점검사항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주요 관리 항목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778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단위 테스트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하나의 소프트웨어 모듈이 정상적으로 그 기능을 수행하는지의 여부</a:t>
                      </a:r>
                      <a:r>
                        <a:rPr kumimoji="1" lang="en-US" altLang="ko-KR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확인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제안사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화면표준 준수 여부 확인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입력 값 검증</a:t>
                      </a:r>
                      <a:r>
                        <a:rPr kumimoji="1" lang="en-US" altLang="ko-KR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단위 업무기능 관점의 로직 확인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단위테스트시나리오 완료율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화면표준 준수여부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778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통합 테스트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어플리케이션의 업무관점의 데이터 및 업무기능의 인터페이스 정상 작동 여부</a:t>
                      </a:r>
                      <a:r>
                        <a:rPr kumimoji="1" lang="en-US" altLang="ko-KR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확인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실제 운영 환경과 동일한 테스트 환경에서 업무 프로세스 검증 및 기능 이상 동작 여부 확인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제안사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업무 통합관점의 기능 및 연계 적합성 확인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업무 프로세스</a:t>
                      </a:r>
                      <a:r>
                        <a:rPr kumimoji="1" lang="ko-KR" altLang="en-US" sz="1000" b="0" kern="1200" spc="-7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및 </a:t>
                      </a: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데이터 정합성 확인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통합테스트시나리오 실행률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도출된 결함 조치 완료율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778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성능 테스트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실제 운영 환경에서 발생할 수 있는 성능 부</a:t>
                      </a:r>
                      <a:r>
                        <a:rPr kumimoji="1" lang="ko-KR" altLang="en-US" sz="1000" b="0" kern="1200" spc="-7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하에 대하여 확인</a:t>
                      </a:r>
                      <a:endParaRPr kumimoji="1" lang="ko-KR" altLang="en-US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제안사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성능 부하 측정 및 튜닝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성능테스트시나리오 실행률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도출된 결함 조치 완료율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211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사용자 인수 테스트</a:t>
                      </a: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개발 완료된 시스템을 사용자가 직접 시험운영하고</a:t>
                      </a:r>
                      <a:r>
                        <a:rPr kumimoji="1" lang="ko-KR" altLang="ko-KR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사용자 요구사항 및 기능이 적합하게 구현되어 있는지 확인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56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고객사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요구사항 시스템 반영여부 확인</a:t>
                      </a:r>
                      <a:r>
                        <a:rPr kumimoji="1" lang="en-US" altLang="ko-KR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</a:t>
                      </a:r>
                    </a:p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데이터 및 업무 프로세스 정합성 확인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사용자테스트시나리오 실행률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0488" marR="0" lvl="0" indent="-90488" algn="l" defTabSz="893763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0488" algn="l"/>
                        </a:tabLst>
                      </a:pPr>
                      <a:r>
                        <a:rPr kumimoji="1" lang="ko-KR" altLang="en-US" sz="1000" b="0" kern="1200" spc="-7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도출된 결함 조치 완료율</a:t>
                      </a:r>
                      <a:endParaRPr kumimoji="1" lang="en-US" altLang="ko-KR" sz="1000" b="0" kern="1200" spc="-7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7" name="Rectangle 71"/>
          <p:cNvSpPr>
            <a:spLocks noChangeArrowheads="1"/>
          </p:cNvSpPr>
          <p:nvPr/>
        </p:nvSpPr>
        <p:spPr bwMode="auto">
          <a:xfrm>
            <a:off x="2448129" y="2402053"/>
            <a:ext cx="16605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88900" indent="-889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0388" indent="-90388" algn="l" defTabSz="892761"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위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합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능테스트 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획수립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토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승인</a:t>
            </a:r>
          </a:p>
        </p:txBody>
      </p:sp>
      <p:sp>
        <p:nvSpPr>
          <p:cNvPr id="98" name="Rectangle 72"/>
          <p:cNvSpPr>
            <a:spLocks noChangeArrowheads="1"/>
          </p:cNvSpPr>
          <p:nvPr/>
        </p:nvSpPr>
        <p:spPr bwMode="auto">
          <a:xfrm>
            <a:off x="2448128" y="3691103"/>
            <a:ext cx="1492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88900" indent="-889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0388" indent="-90388" algn="l" defTabSz="892761"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형별 </a:t>
            </a:r>
            <a:r>
              <a:rPr lang="ko-KR" altLang="en-US" sz="1000" spc="-7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과 보고서 작성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승인</a:t>
            </a:r>
          </a:p>
        </p:txBody>
      </p:sp>
      <p:sp>
        <p:nvSpPr>
          <p:cNvPr id="99" name="Oval 52"/>
          <p:cNvSpPr>
            <a:spLocks noChangeArrowheads="1"/>
          </p:cNvSpPr>
          <p:nvPr/>
        </p:nvSpPr>
        <p:spPr bwMode="auto">
          <a:xfrm>
            <a:off x="3965785" y="2170274"/>
            <a:ext cx="1979613" cy="1979613"/>
          </a:xfrm>
          <a:prstGeom prst="ellipse">
            <a:avLst/>
          </a:prstGeom>
          <a:noFill/>
          <a:ln w="12700" algn="ctr">
            <a:solidFill>
              <a:srgbClr val="DDDDD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endParaRPr lang="ko-KR" altLang="en-US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00" name="Group 226"/>
          <p:cNvGrpSpPr>
            <a:grpSpLocks/>
          </p:cNvGrpSpPr>
          <p:nvPr/>
        </p:nvGrpSpPr>
        <p:grpSpPr bwMode="auto">
          <a:xfrm>
            <a:off x="690766" y="2324259"/>
            <a:ext cx="1312863" cy="1671638"/>
            <a:chOff x="400" y="1594"/>
            <a:chExt cx="827" cy="1053"/>
          </a:xfrm>
        </p:grpSpPr>
        <p:sp>
          <p:nvSpPr>
            <p:cNvPr id="101" name="AutoShape 42" descr="채우기4"/>
            <p:cNvSpPr>
              <a:spLocks noChangeArrowheads="1"/>
            </p:cNvSpPr>
            <p:nvPr/>
          </p:nvSpPr>
          <p:spPr bwMode="auto">
            <a:xfrm>
              <a:off x="400" y="1877"/>
              <a:ext cx="827" cy="204"/>
            </a:xfrm>
            <a:prstGeom prst="roundRect">
              <a:avLst>
                <a:gd name="adj" fmla="val 8801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E4E4E4"/>
                </a:gs>
              </a:gsLst>
              <a:lin ang="2700000" scaled="1"/>
            </a:gradFill>
            <a:ln w="1905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36000" tIns="0" rIns="3600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ko-KR" altLang="en-US" sz="100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합 테스트</a:t>
              </a:r>
            </a:p>
          </p:txBody>
        </p:sp>
        <p:sp>
          <p:nvSpPr>
            <p:cNvPr id="102" name="AutoShape 45" descr="채우기4"/>
            <p:cNvSpPr>
              <a:spLocks noChangeArrowheads="1"/>
            </p:cNvSpPr>
            <p:nvPr/>
          </p:nvSpPr>
          <p:spPr bwMode="auto">
            <a:xfrm>
              <a:off x="400" y="2160"/>
              <a:ext cx="827" cy="204"/>
            </a:xfrm>
            <a:prstGeom prst="roundRect">
              <a:avLst>
                <a:gd name="adj" fmla="val 8801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E4E4E4"/>
                </a:gs>
              </a:gsLst>
              <a:lin ang="2700000" scaled="1"/>
            </a:gradFill>
            <a:ln w="1905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36000" tIns="0" rIns="3600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ko-KR" altLang="en-US" sz="10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성능 </a:t>
              </a:r>
              <a:r>
                <a:rPr lang="ko-KR" altLang="en-US" sz="100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테스트</a:t>
              </a:r>
            </a:p>
          </p:txBody>
        </p:sp>
        <p:sp>
          <p:nvSpPr>
            <p:cNvPr id="103" name="AutoShape 48" descr="채우기4"/>
            <p:cNvSpPr>
              <a:spLocks noChangeArrowheads="1"/>
            </p:cNvSpPr>
            <p:nvPr/>
          </p:nvSpPr>
          <p:spPr bwMode="auto">
            <a:xfrm>
              <a:off x="400" y="2443"/>
              <a:ext cx="827" cy="204"/>
            </a:xfrm>
            <a:prstGeom prst="roundRect">
              <a:avLst>
                <a:gd name="adj" fmla="val 8801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E4E4E4"/>
                </a:gs>
              </a:gsLst>
              <a:lin ang="2700000" scaled="1"/>
            </a:gradFill>
            <a:ln w="1905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36000" tIns="0" rIns="3600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ko-KR" altLang="en-US" sz="1000" dirty="0" smtClean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사용자 인수 테스트</a:t>
              </a:r>
              <a:endParaRPr lang="ko-KR" altLang="en-US" sz="1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04" name="AutoShape 51" descr="채우기4"/>
            <p:cNvSpPr>
              <a:spLocks noChangeArrowheads="1"/>
            </p:cNvSpPr>
            <p:nvPr/>
          </p:nvSpPr>
          <p:spPr bwMode="auto">
            <a:xfrm>
              <a:off x="400" y="1594"/>
              <a:ext cx="827" cy="204"/>
            </a:xfrm>
            <a:prstGeom prst="roundRect">
              <a:avLst>
                <a:gd name="adj" fmla="val 8801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E4E4E4"/>
                </a:gs>
              </a:gsLst>
              <a:lin ang="2700000" scaled="1"/>
            </a:gradFill>
            <a:ln w="1905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36000" tIns="0" rIns="3600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ko-KR" altLang="en-US" sz="100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단위 테스트</a:t>
              </a:r>
            </a:p>
          </p:txBody>
        </p:sp>
      </p:grpSp>
      <p:grpSp>
        <p:nvGrpSpPr>
          <p:cNvPr id="105" name="Group 225"/>
          <p:cNvGrpSpPr>
            <a:grpSpLocks/>
          </p:cNvGrpSpPr>
          <p:nvPr/>
        </p:nvGrpSpPr>
        <p:grpSpPr bwMode="auto">
          <a:xfrm>
            <a:off x="7905954" y="2324259"/>
            <a:ext cx="1312863" cy="1671638"/>
            <a:chOff x="4945" y="1594"/>
            <a:chExt cx="827" cy="1053"/>
          </a:xfrm>
        </p:grpSpPr>
        <p:sp>
          <p:nvSpPr>
            <p:cNvPr id="106" name="AutoShape 38" descr="채우기1"/>
            <p:cNvSpPr>
              <a:spLocks noChangeArrowheads="1"/>
            </p:cNvSpPr>
            <p:nvPr/>
          </p:nvSpPr>
          <p:spPr bwMode="auto">
            <a:xfrm>
              <a:off x="4945" y="1594"/>
              <a:ext cx="827" cy="204"/>
            </a:xfrm>
            <a:prstGeom prst="roundRect">
              <a:avLst>
                <a:gd name="adj" fmla="val 16667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ko-KR" altLang="en-US" sz="1000" b="1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단위 기능 확인</a:t>
              </a:r>
            </a:p>
          </p:txBody>
        </p:sp>
        <p:sp>
          <p:nvSpPr>
            <p:cNvPr id="107" name="AutoShape 38" descr="채우기1"/>
            <p:cNvSpPr>
              <a:spLocks noChangeArrowheads="1"/>
            </p:cNvSpPr>
            <p:nvPr/>
          </p:nvSpPr>
          <p:spPr bwMode="auto">
            <a:xfrm>
              <a:off x="4945" y="1877"/>
              <a:ext cx="827" cy="204"/>
            </a:xfrm>
            <a:prstGeom prst="roundRect">
              <a:avLst>
                <a:gd name="adj" fmla="val 16667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ko-KR" altLang="en-US" sz="1000" b="1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무 </a:t>
              </a:r>
              <a:r>
                <a:rPr lang="ko-KR" altLang="en-US" sz="1000" b="1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통합</a:t>
              </a:r>
              <a:r>
                <a:rPr lang="en-US" altLang="ko-KR" sz="1000" b="1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1000" b="1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프로세스 </a:t>
              </a:r>
              <a:r>
                <a:rPr lang="ko-KR" altLang="en-US" sz="1000" b="1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확인</a:t>
              </a:r>
            </a:p>
          </p:txBody>
        </p:sp>
        <p:sp>
          <p:nvSpPr>
            <p:cNvPr id="108" name="AutoShape 38" descr="채우기1"/>
            <p:cNvSpPr>
              <a:spLocks noChangeArrowheads="1"/>
            </p:cNvSpPr>
            <p:nvPr/>
          </p:nvSpPr>
          <p:spPr bwMode="auto">
            <a:xfrm>
              <a:off x="4945" y="2160"/>
              <a:ext cx="827" cy="204"/>
            </a:xfrm>
            <a:prstGeom prst="roundRect">
              <a:avLst>
                <a:gd name="adj" fmla="val 16667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ko-KR" altLang="en-US" sz="1000" b="1" spc="-50" dirty="0" smtClean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시스템 성능 확인</a:t>
              </a:r>
              <a:endParaRPr lang="ko-KR" altLang="en-US" sz="1000" b="1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09" name="AutoShape 38" descr="채우기1"/>
            <p:cNvSpPr>
              <a:spLocks noChangeArrowheads="1"/>
            </p:cNvSpPr>
            <p:nvPr/>
          </p:nvSpPr>
          <p:spPr bwMode="auto">
            <a:xfrm>
              <a:off x="4945" y="2443"/>
              <a:ext cx="827" cy="204"/>
            </a:xfrm>
            <a:prstGeom prst="roundRect">
              <a:avLst>
                <a:gd name="adj" fmla="val 16667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ko-KR" altLang="en-US" sz="1000" b="1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사용자 요구사항 확인</a:t>
              </a:r>
            </a:p>
          </p:txBody>
        </p:sp>
      </p:grpSp>
      <p:grpSp>
        <p:nvGrpSpPr>
          <p:cNvPr id="110" name="Group 211"/>
          <p:cNvGrpSpPr>
            <a:grpSpLocks/>
          </p:cNvGrpSpPr>
          <p:nvPr/>
        </p:nvGrpSpPr>
        <p:grpSpPr bwMode="auto">
          <a:xfrm>
            <a:off x="3953079" y="2173446"/>
            <a:ext cx="2003425" cy="1971675"/>
            <a:chOff x="2378" y="1489"/>
            <a:chExt cx="1262" cy="1242"/>
          </a:xfrm>
        </p:grpSpPr>
        <p:grpSp>
          <p:nvGrpSpPr>
            <p:cNvPr id="111" name="Group 199"/>
            <p:cNvGrpSpPr>
              <a:grpSpLocks/>
            </p:cNvGrpSpPr>
            <p:nvPr/>
          </p:nvGrpSpPr>
          <p:grpSpPr bwMode="auto">
            <a:xfrm>
              <a:off x="3122" y="1489"/>
              <a:ext cx="518" cy="516"/>
              <a:chOff x="-1366" y="1981"/>
              <a:chExt cx="534" cy="532"/>
            </a:xfrm>
          </p:grpSpPr>
          <p:sp>
            <p:nvSpPr>
              <p:cNvPr id="121" name="Oval 54" descr="원_L2"/>
              <p:cNvSpPr>
                <a:spLocks noChangeArrowheads="1"/>
              </p:cNvSpPr>
              <p:nvPr/>
            </p:nvSpPr>
            <p:spPr bwMode="auto">
              <a:xfrm>
                <a:off x="-1366" y="1981"/>
                <a:ext cx="534" cy="532"/>
              </a:xfrm>
              <a:prstGeom prst="ellipse">
                <a:avLst/>
              </a:prstGeom>
              <a:blipFill dpi="0" rotWithShape="0">
                <a:blip r:embed="rId2" cstate="print"/>
                <a:srcRect/>
                <a:stretch>
                  <a:fillRect/>
                </a:stretch>
              </a:blip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sz="11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22" name="Oval 201" descr="원-03"/>
              <p:cNvSpPr>
                <a:spLocks noChangeArrowheads="1"/>
              </p:cNvSpPr>
              <p:nvPr/>
            </p:nvSpPr>
            <p:spPr bwMode="auto">
              <a:xfrm>
                <a:off x="-1326" y="2020"/>
                <a:ext cx="456" cy="456"/>
              </a:xfrm>
              <a:prstGeom prst="ellipse">
                <a:avLst/>
              </a:prstGeom>
              <a:blipFill dpi="0" rotWithShape="1">
                <a:blip r:embed="rId3" cstate="print"/>
                <a:srcRect/>
                <a:stretch>
                  <a:fillRect/>
                </a:stretch>
              </a:blipFill>
              <a:ln w="9525">
                <a:solidFill>
                  <a:srgbClr val="3F96C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r>
                  <a:rPr lang="ko-KR" altLang="en-US" sz="1200" b="1" dirty="0">
                    <a:ln>
                      <a:solidFill>
                        <a:srgbClr val="5B9BD5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설계</a:t>
                </a:r>
              </a:p>
            </p:txBody>
          </p:sp>
        </p:grpSp>
        <p:grpSp>
          <p:nvGrpSpPr>
            <p:cNvPr id="112" name="Group 202"/>
            <p:cNvGrpSpPr>
              <a:grpSpLocks/>
            </p:cNvGrpSpPr>
            <p:nvPr/>
          </p:nvGrpSpPr>
          <p:grpSpPr bwMode="auto">
            <a:xfrm>
              <a:off x="3122" y="2215"/>
              <a:ext cx="518" cy="516"/>
              <a:chOff x="-1366" y="1981"/>
              <a:chExt cx="534" cy="532"/>
            </a:xfrm>
          </p:grpSpPr>
          <p:sp>
            <p:nvSpPr>
              <p:cNvPr id="119" name="Oval 54" descr="원_L2"/>
              <p:cNvSpPr>
                <a:spLocks noChangeArrowheads="1"/>
              </p:cNvSpPr>
              <p:nvPr/>
            </p:nvSpPr>
            <p:spPr bwMode="auto">
              <a:xfrm>
                <a:off x="-1366" y="1981"/>
                <a:ext cx="534" cy="532"/>
              </a:xfrm>
              <a:prstGeom prst="ellipse">
                <a:avLst/>
              </a:prstGeom>
              <a:blipFill dpi="0" rotWithShape="0">
                <a:blip r:embed="rId2" cstate="print"/>
                <a:srcRect/>
                <a:stretch>
                  <a:fillRect/>
                </a:stretch>
              </a:blip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sz="11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20" name="Oval 204" descr="원-03"/>
              <p:cNvSpPr>
                <a:spLocks noChangeArrowheads="1"/>
              </p:cNvSpPr>
              <p:nvPr/>
            </p:nvSpPr>
            <p:spPr bwMode="auto">
              <a:xfrm>
                <a:off x="-1326" y="2020"/>
                <a:ext cx="456" cy="456"/>
              </a:xfrm>
              <a:prstGeom prst="ellipse">
                <a:avLst/>
              </a:prstGeom>
              <a:blipFill dpi="0" rotWithShape="1">
                <a:blip r:embed="rId3" cstate="print"/>
                <a:srcRect/>
                <a:stretch>
                  <a:fillRect/>
                </a:stretch>
              </a:blipFill>
              <a:ln w="9525" algn="ctr">
                <a:solidFill>
                  <a:srgbClr val="3F96C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r>
                  <a:rPr lang="ko-KR" altLang="en-US" sz="1200" b="1" dirty="0">
                    <a:ln>
                      <a:solidFill>
                        <a:srgbClr val="5B9BD5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실행</a:t>
                </a:r>
              </a:p>
            </p:txBody>
          </p:sp>
        </p:grpSp>
        <p:grpSp>
          <p:nvGrpSpPr>
            <p:cNvPr id="113" name="Group 205"/>
            <p:cNvGrpSpPr>
              <a:grpSpLocks/>
            </p:cNvGrpSpPr>
            <p:nvPr/>
          </p:nvGrpSpPr>
          <p:grpSpPr bwMode="auto">
            <a:xfrm>
              <a:off x="2378" y="1489"/>
              <a:ext cx="518" cy="516"/>
              <a:chOff x="-1366" y="1981"/>
              <a:chExt cx="534" cy="532"/>
            </a:xfrm>
          </p:grpSpPr>
          <p:sp>
            <p:nvSpPr>
              <p:cNvPr id="117" name="Oval 54" descr="원_L2"/>
              <p:cNvSpPr>
                <a:spLocks noChangeArrowheads="1"/>
              </p:cNvSpPr>
              <p:nvPr/>
            </p:nvSpPr>
            <p:spPr bwMode="auto">
              <a:xfrm>
                <a:off x="-1366" y="1981"/>
                <a:ext cx="534" cy="532"/>
              </a:xfrm>
              <a:prstGeom prst="ellipse">
                <a:avLst/>
              </a:prstGeom>
              <a:blipFill dpi="0" rotWithShape="0">
                <a:blip r:embed="rId2" cstate="print"/>
                <a:srcRect/>
                <a:stretch>
                  <a:fillRect/>
                </a:stretch>
              </a:blip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sz="11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18" name="Oval 207" descr="원-03"/>
              <p:cNvSpPr>
                <a:spLocks noChangeArrowheads="1"/>
              </p:cNvSpPr>
              <p:nvPr/>
            </p:nvSpPr>
            <p:spPr bwMode="auto">
              <a:xfrm>
                <a:off x="-1326" y="2020"/>
                <a:ext cx="456" cy="456"/>
              </a:xfrm>
              <a:prstGeom prst="ellipse">
                <a:avLst/>
              </a:prstGeom>
              <a:blipFill dpi="0" rotWithShape="1">
                <a:blip r:embed="rId3" cstate="print"/>
                <a:srcRect/>
                <a:stretch>
                  <a:fillRect/>
                </a:stretch>
              </a:blipFill>
              <a:ln w="9525" algn="ctr">
                <a:solidFill>
                  <a:srgbClr val="3F96C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r>
                  <a:rPr lang="ko-KR" altLang="en-US" sz="1200" b="1" dirty="0">
                    <a:ln>
                      <a:solidFill>
                        <a:srgbClr val="5B9BD5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계획</a:t>
                </a:r>
              </a:p>
            </p:txBody>
          </p:sp>
        </p:grpSp>
        <p:grpSp>
          <p:nvGrpSpPr>
            <p:cNvPr id="114" name="Group 208"/>
            <p:cNvGrpSpPr>
              <a:grpSpLocks/>
            </p:cNvGrpSpPr>
            <p:nvPr/>
          </p:nvGrpSpPr>
          <p:grpSpPr bwMode="auto">
            <a:xfrm>
              <a:off x="2378" y="2215"/>
              <a:ext cx="518" cy="516"/>
              <a:chOff x="-1366" y="1981"/>
              <a:chExt cx="534" cy="532"/>
            </a:xfrm>
          </p:grpSpPr>
          <p:sp>
            <p:nvSpPr>
              <p:cNvPr id="115" name="Oval 54" descr="원_L2"/>
              <p:cNvSpPr>
                <a:spLocks noChangeArrowheads="1"/>
              </p:cNvSpPr>
              <p:nvPr/>
            </p:nvSpPr>
            <p:spPr bwMode="auto">
              <a:xfrm>
                <a:off x="-1366" y="1981"/>
                <a:ext cx="534" cy="532"/>
              </a:xfrm>
              <a:prstGeom prst="ellipse">
                <a:avLst/>
              </a:prstGeom>
              <a:blipFill dpi="0" rotWithShape="0">
                <a:blip r:embed="rId2" cstate="print"/>
                <a:srcRect/>
                <a:stretch>
                  <a:fillRect/>
                </a:stretch>
              </a:blip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endParaRPr lang="ko-KR" altLang="en-US" sz="11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16" name="Oval 210" descr="원-03"/>
              <p:cNvSpPr>
                <a:spLocks noChangeArrowheads="1"/>
              </p:cNvSpPr>
              <p:nvPr/>
            </p:nvSpPr>
            <p:spPr bwMode="auto">
              <a:xfrm>
                <a:off x="-1326" y="2020"/>
                <a:ext cx="456" cy="456"/>
              </a:xfrm>
              <a:prstGeom prst="ellipse">
                <a:avLst/>
              </a:prstGeom>
              <a:blipFill dpi="0" rotWithShape="1">
                <a:blip r:embed="rId3" cstate="print"/>
                <a:srcRect/>
                <a:stretch>
                  <a:fillRect/>
                </a:stretch>
              </a:blipFill>
              <a:ln w="9525" algn="ctr">
                <a:solidFill>
                  <a:srgbClr val="3F96C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1pPr>
                <a:lvl2pPr marL="742950" indent="-28575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2pPr>
                <a:lvl3pPr marL="11430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3pPr>
                <a:lvl4pPr marL="16002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4pPr>
                <a:lvl5pPr marL="2057400" indent="-228600" algn="r"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900">
                    <a:solidFill>
                      <a:srgbClr val="003300"/>
                    </a:solidFill>
                    <a:latin typeface="산돌고딕B" panose="02030504000101010101" pitchFamily="18" charset="-127"/>
                    <a:ea typeface="산돌고딕B" panose="02030504000101010101" pitchFamily="18" charset="-127"/>
                  </a:defRPr>
                </a:lvl9pPr>
              </a:lstStyle>
              <a:p>
                <a:r>
                  <a:rPr lang="ko-KR" altLang="en-US" sz="1200" b="1" dirty="0">
                    <a:ln>
                      <a:solidFill>
                        <a:srgbClr val="5B9BD5">
                          <a:alpha val="0"/>
                        </a:srgbClr>
                      </a:solidFill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평가</a:t>
                </a:r>
              </a:p>
            </p:txBody>
          </p:sp>
        </p:grpSp>
      </p:grpSp>
      <p:grpSp>
        <p:nvGrpSpPr>
          <p:cNvPr id="123" name="Group 198"/>
          <p:cNvGrpSpPr>
            <a:grpSpLocks/>
          </p:cNvGrpSpPr>
          <p:nvPr/>
        </p:nvGrpSpPr>
        <p:grpSpPr bwMode="auto">
          <a:xfrm>
            <a:off x="4578553" y="2816384"/>
            <a:ext cx="801688" cy="804862"/>
            <a:chOff x="2746" y="1865"/>
            <a:chExt cx="505" cy="507"/>
          </a:xfrm>
        </p:grpSpPr>
        <p:grpSp>
          <p:nvGrpSpPr>
            <p:cNvPr id="124" name="Group 58"/>
            <p:cNvGrpSpPr>
              <a:grpSpLocks/>
            </p:cNvGrpSpPr>
            <p:nvPr/>
          </p:nvGrpSpPr>
          <p:grpSpPr bwMode="auto">
            <a:xfrm rot="268768">
              <a:off x="2759" y="1865"/>
              <a:ext cx="479" cy="507"/>
              <a:chOff x="1423" y="1934"/>
              <a:chExt cx="473" cy="484"/>
            </a:xfrm>
          </p:grpSpPr>
          <p:sp>
            <p:nvSpPr>
              <p:cNvPr id="129" name="AutoShape 59"/>
              <p:cNvSpPr>
                <a:spLocks noChangeArrowheads="1"/>
              </p:cNvSpPr>
              <p:nvPr/>
            </p:nvSpPr>
            <p:spPr bwMode="auto">
              <a:xfrm rot="7888389">
                <a:off x="1537" y="2048"/>
                <a:ext cx="382" cy="33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3166 w 21600"/>
                  <a:gd name="T19" fmla="*/ 3200 h 21600"/>
                  <a:gd name="T20" fmla="*/ 18434 w 21600"/>
                  <a:gd name="T21" fmla="*/ 185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4643" y="5250"/>
                    </a:moveTo>
                    <a:cubicBezTo>
                      <a:pt x="13514" y="4468"/>
                      <a:pt x="12173" y="4049"/>
                      <a:pt x="10800" y="4049"/>
                    </a:cubicBezTo>
                    <a:cubicBezTo>
                      <a:pt x="7856" y="4048"/>
                      <a:pt x="5251" y="5956"/>
                      <a:pt x="4363" y="8763"/>
                    </a:cubicBezTo>
                    <a:lnTo>
                      <a:pt x="503" y="7541"/>
                    </a:lnTo>
                    <a:cubicBezTo>
                      <a:pt x="1924" y="3051"/>
                      <a:pt x="6090" y="-1"/>
                      <a:pt x="10800" y="0"/>
                    </a:cubicBezTo>
                    <a:cubicBezTo>
                      <a:pt x="12997" y="0"/>
                      <a:pt x="15142" y="670"/>
                      <a:pt x="16949" y="1921"/>
                    </a:cubicBezTo>
                    <a:lnTo>
                      <a:pt x="18486" y="-299"/>
                    </a:lnTo>
                    <a:lnTo>
                      <a:pt x="19680" y="6275"/>
                    </a:lnTo>
                    <a:lnTo>
                      <a:pt x="13106" y="7469"/>
                    </a:lnTo>
                    <a:lnTo>
                      <a:pt x="14643" y="525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477D93"/>
                  </a:gs>
                  <a:gs pos="100000">
                    <a:srgbClr val="FFFFFF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7712" tIns="53857" rIns="107712" bIns="53857" anchor="ctr">
                <a:spAutoFit/>
              </a:bodyPr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30" name="AutoShape 60"/>
              <p:cNvSpPr>
                <a:spLocks noChangeArrowheads="1"/>
              </p:cNvSpPr>
              <p:nvPr/>
            </p:nvSpPr>
            <p:spPr bwMode="auto">
              <a:xfrm rot="2773641">
                <a:off x="1522" y="1957"/>
                <a:ext cx="383" cy="33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3158 w 21600"/>
                  <a:gd name="T19" fmla="*/ 3200 h 21600"/>
                  <a:gd name="T20" fmla="*/ 18442 w 21600"/>
                  <a:gd name="T21" fmla="*/ 185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4643" y="5250"/>
                    </a:moveTo>
                    <a:cubicBezTo>
                      <a:pt x="13514" y="4468"/>
                      <a:pt x="12173" y="4049"/>
                      <a:pt x="10800" y="4049"/>
                    </a:cubicBezTo>
                    <a:cubicBezTo>
                      <a:pt x="7856" y="4048"/>
                      <a:pt x="5251" y="5956"/>
                      <a:pt x="4363" y="8763"/>
                    </a:cubicBezTo>
                    <a:lnTo>
                      <a:pt x="503" y="7541"/>
                    </a:lnTo>
                    <a:cubicBezTo>
                      <a:pt x="1924" y="3051"/>
                      <a:pt x="6090" y="-1"/>
                      <a:pt x="10800" y="0"/>
                    </a:cubicBezTo>
                    <a:cubicBezTo>
                      <a:pt x="12997" y="0"/>
                      <a:pt x="15142" y="670"/>
                      <a:pt x="16949" y="1921"/>
                    </a:cubicBezTo>
                    <a:lnTo>
                      <a:pt x="18486" y="-299"/>
                    </a:lnTo>
                    <a:lnTo>
                      <a:pt x="19680" y="6275"/>
                    </a:lnTo>
                    <a:lnTo>
                      <a:pt x="13106" y="7469"/>
                    </a:lnTo>
                    <a:lnTo>
                      <a:pt x="14643" y="525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FFFFFF"/>
                  </a:gs>
                  <a:gs pos="100000">
                    <a:srgbClr val="477D9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7712" tIns="53857" rIns="107712" bIns="53857" anchor="ctr">
                <a:spAutoFit/>
              </a:bodyPr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31" name="AutoShape 61"/>
              <p:cNvSpPr>
                <a:spLocks noChangeArrowheads="1"/>
              </p:cNvSpPr>
              <p:nvPr/>
            </p:nvSpPr>
            <p:spPr bwMode="auto">
              <a:xfrm rot="19289681">
                <a:off x="1423" y="1959"/>
                <a:ext cx="382" cy="32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3166 w 21600"/>
                  <a:gd name="T19" fmla="*/ 3100 h 21600"/>
                  <a:gd name="T20" fmla="*/ 18434 w 21600"/>
                  <a:gd name="T21" fmla="*/ 185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4643" y="5250"/>
                    </a:moveTo>
                    <a:cubicBezTo>
                      <a:pt x="13514" y="4468"/>
                      <a:pt x="12173" y="4049"/>
                      <a:pt x="10800" y="4049"/>
                    </a:cubicBezTo>
                    <a:cubicBezTo>
                      <a:pt x="7856" y="4048"/>
                      <a:pt x="5251" y="5956"/>
                      <a:pt x="4363" y="8763"/>
                    </a:cubicBezTo>
                    <a:lnTo>
                      <a:pt x="503" y="7541"/>
                    </a:lnTo>
                    <a:cubicBezTo>
                      <a:pt x="1924" y="3051"/>
                      <a:pt x="6090" y="-1"/>
                      <a:pt x="10800" y="0"/>
                    </a:cubicBezTo>
                    <a:cubicBezTo>
                      <a:pt x="12997" y="0"/>
                      <a:pt x="15142" y="670"/>
                      <a:pt x="16949" y="1921"/>
                    </a:cubicBezTo>
                    <a:lnTo>
                      <a:pt x="18486" y="-299"/>
                    </a:lnTo>
                    <a:lnTo>
                      <a:pt x="19680" y="6275"/>
                    </a:lnTo>
                    <a:lnTo>
                      <a:pt x="13106" y="7469"/>
                    </a:lnTo>
                    <a:lnTo>
                      <a:pt x="14643" y="525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E6EEF1"/>
                  </a:gs>
                  <a:gs pos="100000">
                    <a:srgbClr val="477D93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7712" tIns="53857" rIns="107712" bIns="53857" anchor="ctr">
                <a:spAutoFit/>
              </a:bodyPr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32" name="AutoShape 62"/>
              <p:cNvSpPr>
                <a:spLocks noChangeArrowheads="1"/>
              </p:cNvSpPr>
              <p:nvPr/>
            </p:nvSpPr>
            <p:spPr bwMode="auto">
              <a:xfrm rot="13817959">
                <a:off x="1421" y="2058"/>
                <a:ext cx="383" cy="337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3158 w 21600"/>
                  <a:gd name="T19" fmla="*/ 3200 h 21600"/>
                  <a:gd name="T20" fmla="*/ 18442 w 21600"/>
                  <a:gd name="T21" fmla="*/ 185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14643" y="5250"/>
                    </a:moveTo>
                    <a:cubicBezTo>
                      <a:pt x="13514" y="4468"/>
                      <a:pt x="12173" y="4049"/>
                      <a:pt x="10800" y="4049"/>
                    </a:cubicBezTo>
                    <a:cubicBezTo>
                      <a:pt x="7856" y="4048"/>
                      <a:pt x="5251" y="5956"/>
                      <a:pt x="4363" y="8763"/>
                    </a:cubicBezTo>
                    <a:lnTo>
                      <a:pt x="503" y="7541"/>
                    </a:lnTo>
                    <a:cubicBezTo>
                      <a:pt x="1924" y="3051"/>
                      <a:pt x="6090" y="-1"/>
                      <a:pt x="10800" y="0"/>
                    </a:cubicBezTo>
                    <a:cubicBezTo>
                      <a:pt x="12997" y="0"/>
                      <a:pt x="15142" y="670"/>
                      <a:pt x="16949" y="1921"/>
                    </a:cubicBezTo>
                    <a:lnTo>
                      <a:pt x="18486" y="-299"/>
                    </a:lnTo>
                    <a:lnTo>
                      <a:pt x="19680" y="6275"/>
                    </a:lnTo>
                    <a:lnTo>
                      <a:pt x="13106" y="7469"/>
                    </a:lnTo>
                    <a:lnTo>
                      <a:pt x="14643" y="525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477D93"/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7712" tIns="53857" rIns="107712" bIns="53857" anchor="ctr">
                <a:spAutoFit/>
              </a:bodyPr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sp>
          <p:nvSpPr>
            <p:cNvPr id="125" name="AutoShape 64" descr="숫자박스"/>
            <p:cNvSpPr>
              <a:spLocks noChangeArrowheads="1"/>
            </p:cNvSpPr>
            <p:nvPr/>
          </p:nvSpPr>
          <p:spPr bwMode="auto">
            <a:xfrm>
              <a:off x="2746" y="1875"/>
              <a:ext cx="101" cy="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 algn="ctr">
              <a:solidFill>
                <a:srgbClr val="558CAB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en-US" altLang="ko-KR" sz="10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1</a:t>
              </a:r>
              <a:endParaRPr lang="ko-KR" altLang="ko-KR" sz="1000" b="1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26" name="AutoShape 65" descr="숫자박스"/>
            <p:cNvSpPr>
              <a:spLocks noChangeArrowheads="1"/>
            </p:cNvSpPr>
            <p:nvPr/>
          </p:nvSpPr>
          <p:spPr bwMode="auto">
            <a:xfrm>
              <a:off x="3150" y="1875"/>
              <a:ext cx="101" cy="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 algn="ctr">
              <a:solidFill>
                <a:srgbClr val="558CAB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en-US" altLang="ko-KR" sz="10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2</a:t>
              </a:r>
              <a:endParaRPr lang="ko-KR" altLang="ko-KR" sz="1000" b="1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27" name="AutoShape 66" descr="숫자박스"/>
            <p:cNvSpPr>
              <a:spLocks noChangeArrowheads="1"/>
            </p:cNvSpPr>
            <p:nvPr/>
          </p:nvSpPr>
          <p:spPr bwMode="auto">
            <a:xfrm>
              <a:off x="2746" y="2239"/>
              <a:ext cx="101" cy="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 algn="ctr">
              <a:solidFill>
                <a:srgbClr val="558CAB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en-US" altLang="ko-KR" sz="10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4</a:t>
              </a:r>
              <a:endParaRPr lang="ko-KR" altLang="ko-KR" sz="1000" b="1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28" name="AutoShape 67" descr="숫자박스"/>
            <p:cNvSpPr>
              <a:spLocks noChangeArrowheads="1"/>
            </p:cNvSpPr>
            <p:nvPr/>
          </p:nvSpPr>
          <p:spPr bwMode="auto">
            <a:xfrm>
              <a:off x="3150" y="2239"/>
              <a:ext cx="101" cy="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 algn="ctr">
              <a:solidFill>
                <a:srgbClr val="558CAB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en-US" altLang="ko-KR" sz="1000" b="1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3</a:t>
              </a:r>
              <a:endParaRPr lang="ko-KR" altLang="ko-KR" sz="1000" b="1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133" name="Group 194"/>
          <p:cNvGrpSpPr>
            <a:grpSpLocks/>
          </p:cNvGrpSpPr>
          <p:nvPr/>
        </p:nvGrpSpPr>
        <p:grpSpPr bwMode="auto">
          <a:xfrm flipH="1">
            <a:off x="2327485" y="2903696"/>
            <a:ext cx="1274763" cy="527050"/>
            <a:chOff x="755" y="2868"/>
            <a:chExt cx="1043" cy="730"/>
          </a:xfrm>
        </p:grpSpPr>
        <p:sp>
          <p:nvSpPr>
            <p:cNvPr id="134" name="AutoShape 195"/>
            <p:cNvSpPr>
              <a:spLocks noChangeArrowheads="1"/>
            </p:cNvSpPr>
            <p:nvPr/>
          </p:nvSpPr>
          <p:spPr bwMode="auto">
            <a:xfrm rot="10800000" flipV="1">
              <a:off x="755" y="2868"/>
              <a:ext cx="1040" cy="730"/>
            </a:xfrm>
            <a:prstGeom prst="rightArrow">
              <a:avLst>
                <a:gd name="adj1" fmla="val 74287"/>
                <a:gd name="adj2" fmla="val 37292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A8C8E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5" name="AutoShape 196"/>
            <p:cNvSpPr>
              <a:spLocks noChangeArrowheads="1"/>
            </p:cNvSpPr>
            <p:nvPr/>
          </p:nvSpPr>
          <p:spPr bwMode="auto">
            <a:xfrm rot="10800000" flipV="1">
              <a:off x="799" y="2893"/>
              <a:ext cx="999" cy="680"/>
            </a:xfrm>
            <a:prstGeom prst="rightArrow">
              <a:avLst>
                <a:gd name="adj1" fmla="val 73306"/>
                <a:gd name="adj2" fmla="val 33837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0772" tIns="40386" rIns="80772" bIns="40386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136" name="Group 236"/>
          <p:cNvGrpSpPr>
            <a:grpSpLocks/>
          </p:cNvGrpSpPr>
          <p:nvPr/>
        </p:nvGrpSpPr>
        <p:grpSpPr bwMode="auto">
          <a:xfrm>
            <a:off x="6354966" y="2903696"/>
            <a:ext cx="1274762" cy="527050"/>
            <a:chOff x="4103" y="1952"/>
            <a:chExt cx="692" cy="332"/>
          </a:xfrm>
        </p:grpSpPr>
        <p:sp>
          <p:nvSpPr>
            <p:cNvPr id="137" name="AutoShape 195"/>
            <p:cNvSpPr>
              <a:spLocks noChangeArrowheads="1"/>
            </p:cNvSpPr>
            <p:nvPr/>
          </p:nvSpPr>
          <p:spPr bwMode="auto">
            <a:xfrm rot="10800000" flipH="1" flipV="1">
              <a:off x="4105" y="1952"/>
              <a:ext cx="690" cy="332"/>
            </a:xfrm>
            <a:prstGeom prst="rightArrow">
              <a:avLst>
                <a:gd name="adj1" fmla="val 74287"/>
                <a:gd name="adj2" fmla="val 54402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A8C8E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bIns="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8" name="AutoShape 196"/>
            <p:cNvSpPr>
              <a:spLocks noChangeArrowheads="1"/>
            </p:cNvSpPr>
            <p:nvPr/>
          </p:nvSpPr>
          <p:spPr bwMode="auto">
            <a:xfrm rot="10800000" flipH="1" flipV="1">
              <a:off x="4103" y="1963"/>
              <a:ext cx="663" cy="310"/>
            </a:xfrm>
            <a:prstGeom prst="rightArrow">
              <a:avLst>
                <a:gd name="adj1" fmla="val 73306"/>
                <a:gd name="adj2" fmla="val 4926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0772" tIns="40386" rIns="80772" bIns="40386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139" name="Rectangle 73"/>
          <p:cNvSpPr>
            <a:spLocks noChangeArrowheads="1"/>
          </p:cNvSpPr>
          <p:nvPr/>
        </p:nvSpPr>
        <p:spPr bwMode="auto">
          <a:xfrm>
            <a:off x="6066048" y="2403634"/>
            <a:ext cx="13620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88900" indent="-889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0388" indent="-90388" algn="l" defTabSz="892761"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명세 및 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세 작업절차 수립</a:t>
            </a:r>
          </a:p>
        </p:txBody>
      </p:sp>
      <p:sp>
        <p:nvSpPr>
          <p:cNvPr id="140" name="Rectangle 74"/>
          <p:cNvSpPr>
            <a:spLocks noChangeArrowheads="1"/>
          </p:cNvSpPr>
          <p:nvPr/>
        </p:nvSpPr>
        <p:spPr bwMode="auto">
          <a:xfrm>
            <a:off x="6066044" y="3661958"/>
            <a:ext cx="1557337" cy="33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88900" indent="-889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0388" indent="-90388" algn="l" defTabSz="892761"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진행 관리</a:t>
            </a:r>
          </a:p>
          <a:p>
            <a:pPr marL="90388" indent="-90388" algn="l" defTabSz="892761">
              <a:spcAft>
                <a:spcPct val="17000"/>
              </a:spcAft>
              <a:buClr>
                <a:srgbClr val="015791"/>
              </a:buClr>
              <a:buSzPct val="110000"/>
              <a:buFont typeface="Wingdings" panose="05000000000000000000" pitchFamily="2" charset="2"/>
              <a:buChar char="§"/>
              <a:tabLst>
                <a:tab pos="90388" algn="l"/>
              </a:tabLst>
            </a:pP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기록 및</a:t>
            </a:r>
            <a:r>
              <a:rPr lang="en-US" altLang="ko-KR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0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>
                    <a:lumMod val="65000"/>
                    <a:lumOff val="3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함관리</a:t>
            </a:r>
          </a:p>
        </p:txBody>
      </p:sp>
      <p:sp>
        <p:nvSpPr>
          <p:cNvPr id="5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377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요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474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1.3 </a:t>
            </a:r>
            <a:r>
              <a:rPr lang="ko-KR" altLang="en-US" dirty="0"/>
              <a:t>테스트 조직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단계별로 효과적이고 체계적인 테스트 활동을 진행하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문제 발생시 신속하고 원활한 해결을 위해 제안사의 테스트 인력과 함께 고객사의 업무 담당자 및 운영자가 참여할 수 있도록 테스트 조직체계를 구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테스트 조직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58" name="Group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423949"/>
              </p:ext>
            </p:extLst>
          </p:nvPr>
        </p:nvGraphicFramePr>
        <p:xfrm>
          <a:off x="354025" y="3844955"/>
          <a:ext cx="9253526" cy="2516159"/>
        </p:xfrm>
        <a:graphic>
          <a:graphicData uri="http://schemas.openxmlformats.org/drawingml/2006/table">
            <a:tbl>
              <a:tblPr/>
              <a:tblGrid>
                <a:gridCol w="12304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27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3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7826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조직</a:t>
                      </a:r>
                    </a:p>
                  </a:txBody>
                  <a:tcPr marL="108000" marR="108000" marT="40317" marB="40317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역할</a:t>
                      </a:r>
                    </a:p>
                  </a:txBody>
                  <a:tcPr marL="108000" marR="108000" marT="40317" marB="40317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2613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테스트팀</a:t>
                      </a:r>
                    </a:p>
                  </a:txBody>
                  <a:tcPr marL="108000" marR="108000" marT="40317" marB="40317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관리부서</a:t>
                      </a:r>
                      <a:r>
                        <a:rPr kumimoji="1" lang="en-US" altLang="ko-KR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,</a:t>
                      </a:r>
                    </a:p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업무 담당자 및 운영자</a:t>
                      </a:r>
                    </a:p>
                  </a:txBody>
                  <a:tcPr marL="108000" marR="108000" marT="40317" marB="40317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통합 테스트 데이터 검증</a:t>
                      </a:r>
                    </a:p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업무 구축팀 및 데이터 구축팀과 공동 통합 테스트 수행</a:t>
                      </a:r>
                      <a:endParaRPr kumimoji="1" lang="en-US" altLang="ko-KR" sz="1000" b="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시나리오 작성 및 확인 검증</a:t>
                      </a:r>
                    </a:p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각 업무별 인터페이스 담당자 코디네이트</a:t>
                      </a:r>
                    </a:p>
                  </a:txBody>
                  <a:tcPr marL="108000" marR="108000" marT="40317" marB="40317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52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데이터 구축팀</a:t>
                      </a:r>
                    </a:p>
                  </a:txBody>
                  <a:tcPr marL="108000" marR="108000" marT="40317" marB="40317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통합 테스트 데이터 작성 및 데이터 정합성 확인 </a:t>
                      </a:r>
                    </a:p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통합 테스트 진행 지원 및 테스트 진행시 업무</a:t>
                      </a:r>
                      <a:r>
                        <a:rPr kumimoji="1" lang="en-US" altLang="ko-KR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기술적 문제점 해결책 제시 </a:t>
                      </a:r>
                    </a:p>
                  </a:txBody>
                  <a:tcPr marL="108000" marR="108000" marT="40317" marB="40317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52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업무 구축팀</a:t>
                      </a:r>
                    </a:p>
                  </a:txBody>
                  <a:tcPr marL="108000" marR="108000" marT="40317" marB="40317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케이스 도출</a:t>
                      </a:r>
                    </a:p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각 단계별 테스트 수행 및 결함 사항에 대한 시정조치 실시</a:t>
                      </a:r>
                    </a:p>
                  </a:txBody>
                  <a:tcPr marL="108000" marR="108000" marT="40317" marB="40317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524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프로젝트관리자</a:t>
                      </a:r>
                      <a:r>
                        <a:rPr kumimoji="1" lang="en-US" altLang="ko-KR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, QA, TA</a:t>
                      </a:r>
                    </a:p>
                  </a:txBody>
                  <a:tcPr marL="108000" marR="108000" marT="40317" marB="40317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단계별 테스트 계획</a:t>
                      </a:r>
                      <a:r>
                        <a:rPr kumimoji="1" lang="en-US" altLang="ko-KR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진행상황 파악 및 테스트 진행 지원</a:t>
                      </a:r>
                    </a:p>
                    <a:p>
                      <a:pPr marL="114300" marR="0" lvl="0" indent="-114300" algn="l" defTabSz="893763" rtl="0" eaLnBrk="1" fontAlgn="ctr" latinLnBrk="1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단계별 테스트 결함사항에 대한 업무 구축팀 및 데이터</a:t>
                      </a:r>
                      <a:r>
                        <a:rPr kumimoji="1" lang="en-US" altLang="ko-KR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구축팀 시정조치 여부 확인 </a:t>
                      </a:r>
                    </a:p>
                  </a:txBody>
                  <a:tcPr marL="108000" marR="108000" marT="40317" marB="40317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59" name="Group 174"/>
          <p:cNvGrpSpPr>
            <a:grpSpLocks/>
          </p:cNvGrpSpPr>
          <p:nvPr/>
        </p:nvGrpSpPr>
        <p:grpSpPr bwMode="auto">
          <a:xfrm>
            <a:off x="6281130" y="2212090"/>
            <a:ext cx="2085975" cy="325438"/>
            <a:chOff x="1422" y="2008"/>
            <a:chExt cx="802" cy="166"/>
          </a:xfrm>
        </p:grpSpPr>
        <p:sp>
          <p:nvSpPr>
            <p:cNvPr id="60" name="AutoShape 172"/>
            <p:cNvSpPr>
              <a:spLocks noChangeArrowheads="1"/>
            </p:cNvSpPr>
            <p:nvPr/>
          </p:nvSpPr>
          <p:spPr bwMode="auto">
            <a:xfrm rot="10800000" flipH="1" flipV="1">
              <a:off x="1422" y="2108"/>
              <a:ext cx="802" cy="6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01 w 21600"/>
                <a:gd name="T13" fmla="*/ 2880 h 21600"/>
                <a:gd name="T14" fmla="*/ 18799 w 21600"/>
                <a:gd name="T15" fmla="*/ 1872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24" y="21600"/>
                  </a:lnTo>
                  <a:lnTo>
                    <a:pt x="19576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ABABAB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>
                <a:defRPr/>
              </a:pPr>
              <a:r>
                <a:rPr lang="en-US" altLang="ko-KR" sz="1100" kern="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`</a:t>
              </a:r>
            </a:p>
          </p:txBody>
        </p:sp>
        <p:sp>
          <p:nvSpPr>
            <p:cNvPr id="61" name="AutoShape 173"/>
            <p:cNvSpPr>
              <a:spLocks noChangeArrowheads="1"/>
            </p:cNvSpPr>
            <p:nvPr/>
          </p:nvSpPr>
          <p:spPr bwMode="auto">
            <a:xfrm>
              <a:off x="1499" y="2008"/>
              <a:ext cx="648" cy="166"/>
            </a:xfrm>
            <a:prstGeom prst="roundRect">
              <a:avLst>
                <a:gd name="adj" fmla="val 4074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algn="ctr"/>
              <a:r>
                <a:rPr lang="ko-KR" altLang="en-US" sz="105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프로젝트관리자</a:t>
              </a:r>
            </a:p>
          </p:txBody>
        </p:sp>
      </p:grpSp>
      <p:sp>
        <p:nvSpPr>
          <p:cNvPr id="62" name="Rectangle 80" descr="채우기3-1"/>
          <p:cNvSpPr>
            <a:spLocks noChangeArrowheads="1"/>
          </p:cNvSpPr>
          <p:nvPr/>
        </p:nvSpPr>
        <p:spPr bwMode="auto">
          <a:xfrm>
            <a:off x="7739944" y="2699459"/>
            <a:ext cx="1689100" cy="315913"/>
          </a:xfrm>
          <a:prstGeom prst="rect">
            <a:avLst/>
          </a:prstGeom>
          <a:solidFill>
            <a:srgbClr val="D5D5D5"/>
          </a:solidFill>
          <a:ln w="9525" algn="ctr">
            <a:noFill/>
            <a:miter lim="800000"/>
            <a:headEnd/>
            <a:tailEnd/>
          </a:ln>
          <a:effectLst>
            <a:outerShdw dist="12700" dir="16200000" algn="ctr" rotWithShape="0">
              <a:srgbClr val="B2B2B2"/>
            </a:outerShdw>
          </a:effectLst>
        </p:spPr>
        <p:txBody>
          <a:bodyPr wrap="none" lIns="91338" tIns="45668" rIns="91338" bIns="45668" anchor="ctr"/>
          <a:lstStyle/>
          <a:p>
            <a:pPr algn="ctr">
              <a:defRPr/>
            </a:pPr>
            <a:r>
              <a:rPr lang="en-US" altLang="ko-KR" sz="1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QA, TA</a:t>
            </a:r>
            <a:endParaRPr lang="en-US" altLang="ko-KR" sz="1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3" name="AutoShape 68"/>
          <p:cNvSpPr>
            <a:spLocks noChangeArrowheads="1"/>
          </p:cNvSpPr>
          <p:nvPr/>
        </p:nvSpPr>
        <p:spPr bwMode="auto">
          <a:xfrm>
            <a:off x="7455231" y="3272462"/>
            <a:ext cx="1800225" cy="315913"/>
          </a:xfrm>
          <a:prstGeom prst="rect">
            <a:avLst/>
          </a:prstGeom>
          <a:solidFill>
            <a:srgbClr val="F2F2F2"/>
          </a:solidFill>
          <a:ln w="9525" algn="ctr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lIns="91338" tIns="45668" rIns="91338" bIns="45668" anchor="ctr"/>
          <a:lstStyle/>
          <a:p>
            <a:pPr algn="ctr">
              <a:defRPr/>
            </a:pPr>
            <a:r>
              <a:rPr lang="ko-KR" altLang="en-US" sz="1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구축팀</a:t>
            </a:r>
            <a:endParaRPr lang="ko-KR" altLang="en-US" sz="1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4" name="AutoShape 74"/>
          <p:cNvSpPr>
            <a:spLocks noChangeArrowheads="1"/>
          </p:cNvSpPr>
          <p:nvPr/>
        </p:nvSpPr>
        <p:spPr bwMode="auto">
          <a:xfrm>
            <a:off x="5381017" y="3272462"/>
            <a:ext cx="1800225" cy="315913"/>
          </a:xfrm>
          <a:prstGeom prst="rect">
            <a:avLst/>
          </a:prstGeom>
          <a:solidFill>
            <a:srgbClr val="F2F2F2"/>
          </a:solidFill>
          <a:ln w="9525" algn="ctr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lIns="91338" tIns="45668" rIns="91338" bIns="45668" anchor="ctr"/>
          <a:lstStyle/>
          <a:p>
            <a:pPr algn="ctr">
              <a:defRPr/>
            </a:pPr>
            <a:r>
              <a:rPr lang="ko-KR" altLang="en-US" sz="1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 구축팀</a:t>
            </a:r>
            <a:endParaRPr lang="ko-KR" altLang="en-US" sz="1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5" name="AutoShape 80"/>
          <p:cNvSpPr>
            <a:spLocks noChangeArrowheads="1"/>
          </p:cNvSpPr>
          <p:nvPr/>
        </p:nvSpPr>
        <p:spPr bwMode="auto">
          <a:xfrm>
            <a:off x="804244" y="3272462"/>
            <a:ext cx="1800225" cy="315913"/>
          </a:xfrm>
          <a:prstGeom prst="rect">
            <a:avLst/>
          </a:prstGeom>
          <a:solidFill>
            <a:srgbClr val="F2F2F2"/>
          </a:solidFill>
          <a:ln w="9525" algn="ctr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lIns="91338" tIns="45668" rIns="91338" bIns="45668" anchor="ctr"/>
          <a:lstStyle/>
          <a:p>
            <a:pPr algn="ctr">
              <a:defRPr/>
            </a:pPr>
            <a:r>
              <a:rPr lang="ko-KR" altLang="en-US" sz="1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 담당자 및 운영자</a:t>
            </a:r>
            <a:endParaRPr lang="en-US" altLang="ko-KR" sz="1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6" name="꺾인 연결선 65"/>
          <p:cNvCxnSpPr>
            <a:stCxn id="61" idx="2"/>
            <a:endCxn id="63" idx="0"/>
          </p:cNvCxnSpPr>
          <p:nvPr/>
        </p:nvCxnSpPr>
        <p:spPr>
          <a:xfrm rot="16200000" flipH="1">
            <a:off x="7472263" y="2389381"/>
            <a:ext cx="734934" cy="1031227"/>
          </a:xfrm>
          <a:prstGeom prst="bentConnector3">
            <a:avLst>
              <a:gd name="adj1" fmla="val 74625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7" name="직선 연결선 66"/>
          <p:cNvCxnSpPr>
            <a:stCxn id="68" idx="2"/>
            <a:endCxn id="65" idx="0"/>
          </p:cNvCxnSpPr>
          <p:nvPr/>
        </p:nvCxnSpPr>
        <p:spPr>
          <a:xfrm>
            <a:off x="1704357" y="2835873"/>
            <a:ext cx="0" cy="436589"/>
          </a:xfrm>
          <a:prstGeom prst="line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8" name="AutoShape 80"/>
          <p:cNvSpPr>
            <a:spLocks noChangeArrowheads="1"/>
          </p:cNvSpPr>
          <p:nvPr/>
        </p:nvSpPr>
        <p:spPr bwMode="auto">
          <a:xfrm>
            <a:off x="804244" y="2519960"/>
            <a:ext cx="1800225" cy="315913"/>
          </a:xfrm>
          <a:prstGeom prst="rect">
            <a:avLst/>
          </a:prstGeom>
          <a:solidFill>
            <a:srgbClr val="F2F2F2"/>
          </a:solidFill>
          <a:ln w="9525" algn="ctr">
            <a:solidFill>
              <a:srgbClr val="C0C0C0"/>
            </a:solidFill>
            <a:miter lim="800000"/>
            <a:headEnd type="none" w="sm" len="sm"/>
            <a:tailEnd type="none" w="sm" len="sm"/>
          </a:ln>
        </p:spPr>
        <p:txBody>
          <a:bodyPr wrap="none" lIns="91338" tIns="45668" rIns="91338" bIns="45668" anchor="ctr"/>
          <a:lstStyle/>
          <a:p>
            <a:pPr algn="ctr">
              <a:defRPr/>
            </a:pPr>
            <a:r>
              <a:rPr lang="ko-KR" altLang="en-US" sz="110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관리부서</a:t>
            </a:r>
            <a:endParaRPr lang="en-US" altLang="ko-KR" sz="11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9" name="꺾인 연결선 68"/>
          <p:cNvCxnSpPr>
            <a:stCxn id="61" idx="2"/>
            <a:endCxn id="64" idx="0"/>
          </p:cNvCxnSpPr>
          <p:nvPr/>
        </p:nvCxnSpPr>
        <p:spPr>
          <a:xfrm rot="5400000">
            <a:off x="6435157" y="2383502"/>
            <a:ext cx="734934" cy="1042987"/>
          </a:xfrm>
          <a:prstGeom prst="bentConnector3">
            <a:avLst>
              <a:gd name="adj1" fmla="val 74624"/>
            </a:avLst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0" name="직선 연결선 69"/>
          <p:cNvCxnSpPr>
            <a:stCxn id="62" idx="1"/>
          </p:cNvCxnSpPr>
          <p:nvPr/>
        </p:nvCxnSpPr>
        <p:spPr>
          <a:xfrm flipH="1">
            <a:off x="7324118" y="2857416"/>
            <a:ext cx="415826" cy="0"/>
          </a:xfrm>
          <a:prstGeom prst="line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round/>
            <a:headEnd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71" name="Group 520"/>
          <p:cNvGrpSpPr>
            <a:grpSpLocks/>
          </p:cNvGrpSpPr>
          <p:nvPr/>
        </p:nvGrpSpPr>
        <p:grpSpPr bwMode="auto">
          <a:xfrm>
            <a:off x="732658" y="3200400"/>
            <a:ext cx="8610661" cy="460036"/>
            <a:chOff x="5461" y="3976"/>
            <a:chExt cx="250" cy="92"/>
          </a:xfrm>
        </p:grpSpPr>
        <p:sp>
          <p:nvSpPr>
            <p:cNvPr id="72" name="직사각형 520"/>
            <p:cNvSpPr>
              <a:spLocks noChangeArrowheads="1"/>
            </p:cNvSpPr>
            <p:nvPr/>
          </p:nvSpPr>
          <p:spPr bwMode="gray">
            <a:xfrm flipH="1">
              <a:off x="5461" y="3976"/>
              <a:ext cx="250" cy="92"/>
            </a:xfrm>
            <a:prstGeom prst="rect">
              <a:avLst/>
            </a:prstGeom>
            <a:noFill/>
            <a:ln w="38100" algn="ctr">
              <a:solidFill>
                <a:srgbClr val="FF3300"/>
              </a:solidFill>
              <a:miter lim="800000"/>
              <a:headEnd/>
              <a:tailEnd/>
            </a:ln>
            <a:effectLst>
              <a:outerShdw dist="17961" dir="2700000" algn="ctr" rotWithShape="0">
                <a:srgbClr val="C0C0C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/>
              <a:endParaRPr kumimoji="0"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73" name="직사각형 520"/>
            <p:cNvSpPr>
              <a:spLocks noChangeArrowheads="1"/>
            </p:cNvSpPr>
            <p:nvPr/>
          </p:nvSpPr>
          <p:spPr bwMode="gray">
            <a:xfrm flipH="1">
              <a:off x="5461" y="3976"/>
              <a:ext cx="250" cy="92"/>
            </a:xfrm>
            <a:prstGeom prst="rect">
              <a:avLst/>
            </a:prstGeom>
            <a:noFill/>
            <a:ln w="28575" algn="ctr">
              <a:solidFill>
                <a:schemeClr val="bg1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algn="ctr"/>
              <a:endParaRPr kumimoji="0"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700582" y="2976050"/>
            <a:ext cx="6989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팀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377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요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44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308484" y="2132856"/>
            <a:ext cx="893061" cy="169277"/>
            <a:chOff x="307914" y="1927833"/>
            <a:chExt cx="893061" cy="169277"/>
          </a:xfrm>
        </p:grpSpPr>
        <p:sp>
          <p:nvSpPr>
            <p:cNvPr id="45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676467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spcBef>
                  <a:spcPct val="50000"/>
                </a:spcBef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사 조직</a:t>
              </a:r>
            </a:p>
          </p:txBody>
        </p:sp>
        <p:grpSp>
          <p:nvGrpSpPr>
            <p:cNvPr id="46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47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49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50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</p:grpSp>
          <p:sp>
            <p:nvSpPr>
              <p:cNvPr id="48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</p:grpSp>
      <p:grpSp>
        <p:nvGrpSpPr>
          <p:cNvPr id="52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4907358" y="2132063"/>
            <a:ext cx="893061" cy="169277"/>
            <a:chOff x="307914" y="1927833"/>
            <a:chExt cx="893061" cy="169277"/>
          </a:xfrm>
        </p:grpSpPr>
        <p:sp>
          <p:nvSpPr>
            <p:cNvPr id="53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676467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spcBef>
                  <a:spcPct val="50000"/>
                </a:spcBef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제안사 조직</a:t>
              </a:r>
            </a:p>
          </p:txBody>
        </p:sp>
        <p:grpSp>
          <p:nvGrpSpPr>
            <p:cNvPr id="54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55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57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81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</p:grpSp>
          <p:sp>
            <p:nvSpPr>
              <p:cNvPr id="56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</p:grp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4903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1.4 </a:t>
            </a:r>
            <a:r>
              <a:rPr lang="ko-KR" altLang="en-US" dirty="0"/>
              <a:t>테스트 절차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다음 절차에 따라 테스트를 진행하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사 요구사항을 수렴하여 테스트 계획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테스트 절차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36" name="Group 232"/>
          <p:cNvGraphicFramePr>
            <a:graphicFrameLocks noGrp="1"/>
          </p:cNvGraphicFramePr>
          <p:nvPr>
            <p:extLst/>
          </p:nvPr>
        </p:nvGraphicFramePr>
        <p:xfrm>
          <a:off x="341313" y="2075833"/>
          <a:ext cx="9266236" cy="4397375"/>
        </p:xfrm>
        <a:graphic>
          <a:graphicData uri="http://schemas.openxmlformats.org/drawingml/2006/table">
            <a:tbl>
              <a:tblPr/>
              <a:tblGrid>
                <a:gridCol w="10538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40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851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40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140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851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36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절차</a:t>
                      </a:r>
                      <a:endParaRPr kumimoji="1" lang="ko-KR" altLang="ko-KR" sz="1000" b="0" kern="1200" spc="0" baseline="0" dirty="0" smtClean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7200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계획 수립</a:t>
                      </a:r>
                    </a:p>
                  </a:txBody>
                  <a:tcPr marL="7200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테스트 준비</a:t>
                      </a:r>
                    </a:p>
                  </a:txBody>
                  <a:tcPr marL="72000" marR="0" marT="0" marB="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테스트 개시</a:t>
                      </a:r>
                    </a:p>
                  </a:txBody>
                  <a:tcPr marL="7200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테스트케이스 실행</a:t>
                      </a:r>
                    </a:p>
                  </a:txBody>
                  <a:tcPr marL="7200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결과검토 및 조치</a:t>
                      </a:r>
                      <a:endParaRPr kumimoji="1" lang="en-US" altLang="ko-KR" sz="1000" b="0" kern="1200" spc="0" baseline="0" dirty="0" smtClean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srgbClr val="FFFFFF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7200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7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주요 작업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계획 수립</a:t>
                      </a:r>
                    </a:p>
                  </a:txBody>
                  <a:tcPr marL="72000" marR="72000" marT="72000" marB="36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교육</a:t>
                      </a: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수행</a:t>
                      </a:r>
                    </a:p>
                  </a:txBody>
                  <a:tcPr marL="72000" marR="72000" marT="72000" marB="36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착수 회의</a:t>
                      </a:r>
                    </a:p>
                  </a:txBody>
                  <a:tcPr marL="72000" marR="72000" marT="72000" marB="36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단계별 테스트 수행</a:t>
                      </a:r>
                    </a:p>
                  </a:txBody>
                  <a:tcPr marL="72000" marR="72000" marT="72000" marB="36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단계별 테스트 결과 공유</a:t>
                      </a:r>
                    </a:p>
                  </a:txBody>
                  <a:tcPr marL="72000" marR="72000" marT="72000" marB="36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875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세부 활동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계획 수립 및 합의 도출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시나리오/케이스 작성 방안 협의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각종 품질 지표에 대한 확정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환경 및 제반 준비</a:t>
                      </a:r>
                    </a:p>
                    <a:p>
                      <a:pPr marL="114300" marR="0" lvl="0" indent="-114300" algn="l" defTabSz="893763" rtl="0" eaLnBrk="1" fontAlgn="ctr" latinLnBrk="1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17000"/>
                        </a:spcAft>
                        <a:buClr>
                          <a:srgbClr val="015791"/>
                        </a:buClr>
                        <a:buSzPct val="110000"/>
                        <a:buFont typeface="Wingdings" panose="05000000000000000000" pitchFamily="2" charset="2"/>
                        <a:buChar char="§"/>
                        <a:tabLst>
                          <a:tab pos="93663" algn="l"/>
                        </a:tabLst>
                      </a:pPr>
                      <a:endParaRPr kumimoji="1" lang="ko-KR" altLang="ko-KR" sz="1000" b="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개발팀 및 테스트 관련자에 대한 교육 수행</a:t>
                      </a:r>
                      <a:endParaRPr kumimoji="1" lang="ko-KR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프로세스 및 사전 준비 상황</a:t>
                      </a:r>
                      <a:endParaRPr kumimoji="1" lang="ko-KR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관련 시스템 사용 방법</a:t>
                      </a:r>
                      <a:endParaRPr kumimoji="1" lang="ko-KR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시나리오/케이스 작성 방법 </a:t>
                      </a: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관련 이해 당사자 참석 하에 공유 회의 실시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개시 선언 </a:t>
                      </a: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수행 후 결과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및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결함 등록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진행 현황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모니터링 및 보고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결함 현황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모니터링 및 보고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이슈 제기 및 조치</a:t>
                      </a: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테스트 결과에 대한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평가 수행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다음 단계로 이행 여부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ko-KR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의사 결정</a:t>
                      </a: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890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관련 산출물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54000" marB="36000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38" name="Group 310"/>
          <p:cNvGrpSpPr>
            <a:grpSpLocks/>
          </p:cNvGrpSpPr>
          <p:nvPr/>
        </p:nvGrpSpPr>
        <p:grpSpPr bwMode="auto">
          <a:xfrm>
            <a:off x="2952288" y="2159968"/>
            <a:ext cx="133327" cy="130175"/>
            <a:chOff x="2158" y="4168"/>
            <a:chExt cx="172" cy="168"/>
          </a:xfrm>
        </p:grpSpPr>
        <p:sp>
          <p:nvSpPr>
            <p:cNvPr id="94" name="Oval 311"/>
            <p:cNvSpPr>
              <a:spLocks noChangeArrowheads="1"/>
            </p:cNvSpPr>
            <p:nvPr/>
          </p:nvSpPr>
          <p:spPr bwMode="gray">
            <a:xfrm>
              <a:off x="2158" y="4168"/>
              <a:ext cx="172" cy="16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5" name="Freeform 312"/>
            <p:cNvSpPr>
              <a:spLocks/>
            </p:cNvSpPr>
            <p:nvPr/>
          </p:nvSpPr>
          <p:spPr bwMode="auto">
            <a:xfrm>
              <a:off x="2207" y="4196"/>
              <a:ext cx="102" cy="112"/>
            </a:xfrm>
            <a:custGeom>
              <a:avLst/>
              <a:gdLst>
                <a:gd name="T0" fmla="*/ 0 w 2932"/>
                <a:gd name="T1" fmla="*/ 0 h 3263"/>
                <a:gd name="T2" fmla="*/ 0 w 2932"/>
                <a:gd name="T3" fmla="*/ 0 h 3263"/>
                <a:gd name="T4" fmla="*/ 0 w 2932"/>
                <a:gd name="T5" fmla="*/ 0 h 3263"/>
                <a:gd name="T6" fmla="*/ 0 w 2932"/>
                <a:gd name="T7" fmla="*/ 0 h 3263"/>
                <a:gd name="T8" fmla="*/ 0 w 2932"/>
                <a:gd name="T9" fmla="*/ 0 h 3263"/>
                <a:gd name="T10" fmla="*/ 0 w 2932"/>
                <a:gd name="T11" fmla="*/ 0 h 3263"/>
                <a:gd name="T12" fmla="*/ 0 w 2932"/>
                <a:gd name="T13" fmla="*/ 0 h 32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32"/>
                <a:gd name="T22" fmla="*/ 0 h 3263"/>
                <a:gd name="T23" fmla="*/ 2932 w 2932"/>
                <a:gd name="T24" fmla="*/ 3263 h 32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32" h="3263">
                  <a:moveTo>
                    <a:pt x="0" y="0"/>
                  </a:moveTo>
                  <a:lnTo>
                    <a:pt x="1301" y="0"/>
                  </a:lnTo>
                  <a:lnTo>
                    <a:pt x="2932" y="1631"/>
                  </a:lnTo>
                  <a:lnTo>
                    <a:pt x="1301" y="3263"/>
                  </a:lnTo>
                  <a:lnTo>
                    <a:pt x="0" y="3263"/>
                  </a:lnTo>
                  <a:lnTo>
                    <a:pt x="1631" y="16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C7FF"/>
            </a:solidFill>
            <a:ln w="9525">
              <a:noFill/>
              <a:round/>
              <a:headEnd/>
              <a:tailEnd/>
            </a:ln>
          </p:spPr>
          <p:txBody>
            <a:bodyPr rot="10800000" vert="eaVert" lIns="0" tIns="0" rIns="0" bIns="0" anchor="b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46" name="Group 310"/>
          <p:cNvGrpSpPr>
            <a:grpSpLocks/>
          </p:cNvGrpSpPr>
          <p:nvPr/>
        </p:nvGrpSpPr>
        <p:grpSpPr bwMode="auto">
          <a:xfrm>
            <a:off x="4599832" y="2159968"/>
            <a:ext cx="130153" cy="130175"/>
            <a:chOff x="2049" y="4168"/>
            <a:chExt cx="168" cy="168"/>
          </a:xfrm>
        </p:grpSpPr>
        <p:sp>
          <p:nvSpPr>
            <p:cNvPr id="92" name="Oval 311"/>
            <p:cNvSpPr>
              <a:spLocks noChangeArrowheads="1"/>
            </p:cNvSpPr>
            <p:nvPr/>
          </p:nvSpPr>
          <p:spPr bwMode="gray">
            <a:xfrm>
              <a:off x="2049" y="4168"/>
              <a:ext cx="168" cy="16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3" name="Freeform 312"/>
            <p:cNvSpPr>
              <a:spLocks/>
            </p:cNvSpPr>
            <p:nvPr/>
          </p:nvSpPr>
          <p:spPr bwMode="auto">
            <a:xfrm>
              <a:off x="2092" y="4196"/>
              <a:ext cx="102" cy="112"/>
            </a:xfrm>
            <a:custGeom>
              <a:avLst/>
              <a:gdLst>
                <a:gd name="T0" fmla="*/ 0 w 2932"/>
                <a:gd name="T1" fmla="*/ 0 h 3263"/>
                <a:gd name="T2" fmla="*/ 0 w 2932"/>
                <a:gd name="T3" fmla="*/ 0 h 3263"/>
                <a:gd name="T4" fmla="*/ 0 w 2932"/>
                <a:gd name="T5" fmla="*/ 0 h 3263"/>
                <a:gd name="T6" fmla="*/ 0 w 2932"/>
                <a:gd name="T7" fmla="*/ 0 h 3263"/>
                <a:gd name="T8" fmla="*/ 0 w 2932"/>
                <a:gd name="T9" fmla="*/ 0 h 3263"/>
                <a:gd name="T10" fmla="*/ 0 w 2932"/>
                <a:gd name="T11" fmla="*/ 0 h 3263"/>
                <a:gd name="T12" fmla="*/ 0 w 2932"/>
                <a:gd name="T13" fmla="*/ 0 h 32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32"/>
                <a:gd name="T22" fmla="*/ 0 h 3263"/>
                <a:gd name="T23" fmla="*/ 2932 w 2932"/>
                <a:gd name="T24" fmla="*/ 3263 h 32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32" h="3263">
                  <a:moveTo>
                    <a:pt x="0" y="0"/>
                  </a:moveTo>
                  <a:lnTo>
                    <a:pt x="1301" y="0"/>
                  </a:lnTo>
                  <a:lnTo>
                    <a:pt x="2932" y="1631"/>
                  </a:lnTo>
                  <a:lnTo>
                    <a:pt x="1301" y="3263"/>
                  </a:lnTo>
                  <a:lnTo>
                    <a:pt x="0" y="3263"/>
                  </a:lnTo>
                  <a:lnTo>
                    <a:pt x="1631" y="16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C7FF"/>
            </a:solidFill>
            <a:ln w="9525">
              <a:noFill/>
              <a:round/>
              <a:headEnd/>
              <a:tailEnd/>
            </a:ln>
          </p:spPr>
          <p:txBody>
            <a:bodyPr rot="10800000" vert="eaVert" lIns="0" tIns="0" rIns="0" bIns="0" anchor="b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47" name="Group 310"/>
          <p:cNvGrpSpPr>
            <a:grpSpLocks/>
          </p:cNvGrpSpPr>
          <p:nvPr/>
        </p:nvGrpSpPr>
        <p:grpSpPr bwMode="auto">
          <a:xfrm>
            <a:off x="6255312" y="2159968"/>
            <a:ext cx="130153" cy="130175"/>
            <a:chOff x="2049" y="4168"/>
            <a:chExt cx="168" cy="168"/>
          </a:xfrm>
        </p:grpSpPr>
        <p:sp>
          <p:nvSpPr>
            <p:cNvPr id="90" name="Oval 311"/>
            <p:cNvSpPr>
              <a:spLocks noChangeArrowheads="1"/>
            </p:cNvSpPr>
            <p:nvPr/>
          </p:nvSpPr>
          <p:spPr bwMode="gray">
            <a:xfrm>
              <a:off x="2049" y="4168"/>
              <a:ext cx="168" cy="16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1" name="Freeform 312"/>
            <p:cNvSpPr>
              <a:spLocks/>
            </p:cNvSpPr>
            <p:nvPr/>
          </p:nvSpPr>
          <p:spPr bwMode="auto">
            <a:xfrm>
              <a:off x="2092" y="4196"/>
              <a:ext cx="102" cy="112"/>
            </a:xfrm>
            <a:custGeom>
              <a:avLst/>
              <a:gdLst>
                <a:gd name="T0" fmla="*/ 0 w 2932"/>
                <a:gd name="T1" fmla="*/ 0 h 3263"/>
                <a:gd name="T2" fmla="*/ 0 w 2932"/>
                <a:gd name="T3" fmla="*/ 0 h 3263"/>
                <a:gd name="T4" fmla="*/ 0 w 2932"/>
                <a:gd name="T5" fmla="*/ 0 h 3263"/>
                <a:gd name="T6" fmla="*/ 0 w 2932"/>
                <a:gd name="T7" fmla="*/ 0 h 3263"/>
                <a:gd name="T8" fmla="*/ 0 w 2932"/>
                <a:gd name="T9" fmla="*/ 0 h 3263"/>
                <a:gd name="T10" fmla="*/ 0 w 2932"/>
                <a:gd name="T11" fmla="*/ 0 h 3263"/>
                <a:gd name="T12" fmla="*/ 0 w 2932"/>
                <a:gd name="T13" fmla="*/ 0 h 32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32"/>
                <a:gd name="T22" fmla="*/ 0 h 3263"/>
                <a:gd name="T23" fmla="*/ 2932 w 2932"/>
                <a:gd name="T24" fmla="*/ 3263 h 32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32" h="3263">
                  <a:moveTo>
                    <a:pt x="0" y="0"/>
                  </a:moveTo>
                  <a:lnTo>
                    <a:pt x="1301" y="0"/>
                  </a:lnTo>
                  <a:lnTo>
                    <a:pt x="2932" y="1631"/>
                  </a:lnTo>
                  <a:lnTo>
                    <a:pt x="1301" y="3263"/>
                  </a:lnTo>
                  <a:lnTo>
                    <a:pt x="0" y="3263"/>
                  </a:lnTo>
                  <a:lnTo>
                    <a:pt x="1631" y="16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C7FF"/>
            </a:solidFill>
            <a:ln w="9525">
              <a:noFill/>
              <a:round/>
              <a:headEnd/>
              <a:tailEnd/>
            </a:ln>
          </p:spPr>
          <p:txBody>
            <a:bodyPr rot="10800000" vert="eaVert" lIns="0" tIns="0" rIns="0" bIns="0" anchor="b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48" name="Group 310"/>
          <p:cNvGrpSpPr>
            <a:grpSpLocks/>
          </p:cNvGrpSpPr>
          <p:nvPr/>
        </p:nvGrpSpPr>
        <p:grpSpPr bwMode="auto">
          <a:xfrm>
            <a:off x="7866349" y="2159968"/>
            <a:ext cx="130153" cy="130175"/>
            <a:chOff x="2001" y="4168"/>
            <a:chExt cx="168" cy="168"/>
          </a:xfrm>
        </p:grpSpPr>
        <p:sp>
          <p:nvSpPr>
            <p:cNvPr id="88" name="Oval 311"/>
            <p:cNvSpPr>
              <a:spLocks noChangeArrowheads="1"/>
            </p:cNvSpPr>
            <p:nvPr/>
          </p:nvSpPr>
          <p:spPr bwMode="gray">
            <a:xfrm>
              <a:off x="2001" y="4168"/>
              <a:ext cx="168" cy="16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9" name="Freeform 312"/>
            <p:cNvSpPr>
              <a:spLocks/>
            </p:cNvSpPr>
            <p:nvPr/>
          </p:nvSpPr>
          <p:spPr bwMode="auto">
            <a:xfrm>
              <a:off x="2044" y="4196"/>
              <a:ext cx="102" cy="112"/>
            </a:xfrm>
            <a:custGeom>
              <a:avLst/>
              <a:gdLst>
                <a:gd name="T0" fmla="*/ 0 w 2932"/>
                <a:gd name="T1" fmla="*/ 0 h 3263"/>
                <a:gd name="T2" fmla="*/ 0 w 2932"/>
                <a:gd name="T3" fmla="*/ 0 h 3263"/>
                <a:gd name="T4" fmla="*/ 0 w 2932"/>
                <a:gd name="T5" fmla="*/ 0 h 3263"/>
                <a:gd name="T6" fmla="*/ 0 w 2932"/>
                <a:gd name="T7" fmla="*/ 0 h 3263"/>
                <a:gd name="T8" fmla="*/ 0 w 2932"/>
                <a:gd name="T9" fmla="*/ 0 h 3263"/>
                <a:gd name="T10" fmla="*/ 0 w 2932"/>
                <a:gd name="T11" fmla="*/ 0 h 3263"/>
                <a:gd name="T12" fmla="*/ 0 w 2932"/>
                <a:gd name="T13" fmla="*/ 0 h 32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32"/>
                <a:gd name="T22" fmla="*/ 0 h 3263"/>
                <a:gd name="T23" fmla="*/ 2932 w 2932"/>
                <a:gd name="T24" fmla="*/ 3263 h 32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32" h="3263">
                  <a:moveTo>
                    <a:pt x="0" y="0"/>
                  </a:moveTo>
                  <a:lnTo>
                    <a:pt x="1301" y="0"/>
                  </a:lnTo>
                  <a:lnTo>
                    <a:pt x="2932" y="1631"/>
                  </a:lnTo>
                  <a:lnTo>
                    <a:pt x="1301" y="3263"/>
                  </a:lnTo>
                  <a:lnTo>
                    <a:pt x="0" y="3263"/>
                  </a:lnTo>
                  <a:lnTo>
                    <a:pt x="1631" y="16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C7FF"/>
            </a:solidFill>
            <a:ln w="9525">
              <a:noFill/>
              <a:round/>
              <a:headEnd/>
              <a:tailEnd/>
            </a:ln>
          </p:spPr>
          <p:txBody>
            <a:bodyPr rot="10800000" vert="eaVert" lIns="0" tIns="0" rIns="0" bIns="0" anchor="b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49" name="AutoShape 168"/>
          <p:cNvSpPr>
            <a:spLocks noChangeArrowheads="1"/>
          </p:cNvSpPr>
          <p:nvPr/>
        </p:nvSpPr>
        <p:spPr bwMode="auto">
          <a:xfrm>
            <a:off x="1499973" y="2153618"/>
            <a:ext cx="144438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7632"/>
            <a:r>
              <a:rPr lang="en-US" altLang="ko-KR" sz="1000" b="1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rPr>
              <a:t>1</a:t>
            </a:r>
          </a:p>
        </p:txBody>
      </p:sp>
      <p:sp>
        <p:nvSpPr>
          <p:cNvPr id="50" name="AutoShape 168"/>
          <p:cNvSpPr>
            <a:spLocks noChangeArrowheads="1"/>
          </p:cNvSpPr>
          <p:nvPr/>
        </p:nvSpPr>
        <p:spPr bwMode="auto">
          <a:xfrm>
            <a:off x="3147517" y="2153618"/>
            <a:ext cx="144438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7632"/>
            <a:r>
              <a:rPr lang="en-US" altLang="ko-KR" sz="1000" b="1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rPr>
              <a:t>2</a:t>
            </a:r>
          </a:p>
        </p:txBody>
      </p:sp>
      <p:sp>
        <p:nvSpPr>
          <p:cNvPr id="51" name="AutoShape 168"/>
          <p:cNvSpPr>
            <a:spLocks noChangeArrowheads="1"/>
          </p:cNvSpPr>
          <p:nvPr/>
        </p:nvSpPr>
        <p:spPr bwMode="auto">
          <a:xfrm>
            <a:off x="4807759" y="2153618"/>
            <a:ext cx="144438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7632"/>
            <a:r>
              <a:rPr lang="en-US" altLang="ko-KR" sz="1000" b="1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rPr>
              <a:t>3</a:t>
            </a:r>
          </a:p>
        </p:txBody>
      </p:sp>
      <p:sp>
        <p:nvSpPr>
          <p:cNvPr id="52" name="AutoShape 168"/>
          <p:cNvSpPr>
            <a:spLocks noChangeArrowheads="1"/>
          </p:cNvSpPr>
          <p:nvPr/>
        </p:nvSpPr>
        <p:spPr bwMode="auto">
          <a:xfrm>
            <a:off x="6464826" y="2153618"/>
            <a:ext cx="144438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7632"/>
            <a:r>
              <a:rPr lang="en-US" altLang="ko-KR" sz="1000" b="1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rPr>
              <a:t>4</a:t>
            </a:r>
          </a:p>
        </p:txBody>
      </p:sp>
      <p:sp>
        <p:nvSpPr>
          <p:cNvPr id="53" name="AutoShape 168"/>
          <p:cNvSpPr>
            <a:spLocks noChangeArrowheads="1"/>
          </p:cNvSpPr>
          <p:nvPr/>
        </p:nvSpPr>
        <p:spPr bwMode="auto">
          <a:xfrm>
            <a:off x="8063166" y="2153618"/>
            <a:ext cx="144438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7632"/>
            <a:r>
              <a:rPr lang="en-US" altLang="ko-KR" sz="1000" b="1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rPr>
              <a:t>5</a:t>
            </a:r>
          </a:p>
        </p:txBody>
      </p:sp>
      <p:sp>
        <p:nvSpPr>
          <p:cNvPr id="55" name="Rectangle 517" descr="5차전산센터ob-10"/>
          <p:cNvSpPr>
            <a:spLocks noChangeArrowheads="1"/>
          </p:cNvSpPr>
          <p:nvPr/>
        </p:nvSpPr>
        <p:spPr bwMode="auto">
          <a:xfrm>
            <a:off x="1492037" y="5182568"/>
            <a:ext cx="1430093" cy="228600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계획서</a:t>
            </a:r>
          </a:p>
        </p:txBody>
      </p:sp>
      <p:sp>
        <p:nvSpPr>
          <p:cNvPr id="56" name="Rectangle 517" descr="5차전산센터ob-10"/>
          <p:cNvSpPr>
            <a:spLocks noChangeArrowheads="1"/>
          </p:cNvSpPr>
          <p:nvPr/>
        </p:nvSpPr>
        <p:spPr bwMode="auto">
          <a:xfrm>
            <a:off x="3120534" y="5182568"/>
            <a:ext cx="1474536" cy="228600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시나리오</a:t>
            </a:r>
            <a:r>
              <a:rPr lang="en-US" altLang="ko-KR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케이스</a:t>
            </a:r>
          </a:p>
        </p:txBody>
      </p:sp>
      <p:sp>
        <p:nvSpPr>
          <p:cNvPr id="57" name="Rectangle 517" descr="5차전산센터ob-10"/>
          <p:cNvSpPr>
            <a:spLocks noChangeArrowheads="1"/>
          </p:cNvSpPr>
          <p:nvPr/>
        </p:nvSpPr>
        <p:spPr bwMode="auto">
          <a:xfrm>
            <a:off x="4768078" y="5182568"/>
            <a:ext cx="1472949" cy="228600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진척보고서</a:t>
            </a:r>
          </a:p>
        </p:txBody>
      </p:sp>
      <p:sp>
        <p:nvSpPr>
          <p:cNvPr id="81" name="Rectangle 517" descr="5차전산센터ob-10"/>
          <p:cNvSpPr>
            <a:spLocks noChangeArrowheads="1"/>
          </p:cNvSpPr>
          <p:nvPr/>
        </p:nvSpPr>
        <p:spPr bwMode="auto">
          <a:xfrm>
            <a:off x="6372767" y="5182568"/>
            <a:ext cx="1474536" cy="228600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결과보고서</a:t>
            </a:r>
          </a:p>
        </p:txBody>
      </p:sp>
      <p:sp>
        <p:nvSpPr>
          <p:cNvPr id="82" name="Rectangle 517" descr="5차전산센터ob-10"/>
          <p:cNvSpPr>
            <a:spLocks noChangeArrowheads="1"/>
          </p:cNvSpPr>
          <p:nvPr/>
        </p:nvSpPr>
        <p:spPr bwMode="auto">
          <a:xfrm>
            <a:off x="8018723" y="5182568"/>
            <a:ext cx="1474536" cy="228600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10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함관리대장</a:t>
            </a:r>
          </a:p>
        </p:txBody>
      </p:sp>
      <p:sp>
        <p:nvSpPr>
          <p:cNvPr id="83" name="Rectangle 296"/>
          <p:cNvSpPr>
            <a:spLocks noChangeArrowheads="1"/>
          </p:cNvSpPr>
          <p:nvPr/>
        </p:nvSpPr>
        <p:spPr bwMode="auto">
          <a:xfrm>
            <a:off x="1495211" y="5465709"/>
            <a:ext cx="1368192" cy="900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 단계별 테스트에 대한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획서</a:t>
            </a:r>
          </a:p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종 품질 평가 기준</a:t>
            </a:r>
          </a:p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 단계별 테스트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가이드 등 포함</a:t>
            </a:r>
          </a:p>
        </p:txBody>
      </p:sp>
      <p:sp>
        <p:nvSpPr>
          <p:cNvPr id="84" name="Rectangle 296"/>
          <p:cNvSpPr>
            <a:spLocks noChangeArrowheads="1"/>
          </p:cNvSpPr>
          <p:nvPr/>
        </p:nvSpPr>
        <p:spPr bwMode="auto">
          <a:xfrm>
            <a:off x="3120534" y="5462564"/>
            <a:ext cx="1458664" cy="500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>
                <a:tab pos="93558" algn="l"/>
              </a:tabLst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할 테스트 시나리오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및 케이스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결과포함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</a:p>
        </p:txBody>
      </p:sp>
      <p:sp>
        <p:nvSpPr>
          <p:cNvPr id="85" name="Rectangle 296"/>
          <p:cNvSpPr>
            <a:spLocks noChangeArrowheads="1"/>
          </p:cNvSpPr>
          <p:nvPr/>
        </p:nvSpPr>
        <p:spPr bwMode="auto">
          <a:xfrm>
            <a:off x="4780776" y="5448554"/>
            <a:ext cx="1466600" cy="869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>
                <a:tab pos="93558" algn="l"/>
              </a:tabLst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일일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간 단위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진척 현황에 대한 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</a:t>
            </a:r>
          </a:p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>
                <a:tab pos="93558" algn="l"/>
              </a:tabLst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수행 결과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함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치현황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진척현황</a:t>
            </a:r>
          </a:p>
        </p:txBody>
      </p:sp>
      <p:sp>
        <p:nvSpPr>
          <p:cNvPr id="86" name="Rectangle 296"/>
          <p:cNvSpPr>
            <a:spLocks noChangeArrowheads="1"/>
          </p:cNvSpPr>
          <p:nvPr/>
        </p:nvSpPr>
        <p:spPr bwMode="auto">
          <a:xfrm>
            <a:off x="6406098" y="5464136"/>
            <a:ext cx="1438030" cy="70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>
                <a:tab pos="93558" algn="l"/>
              </a:tabLst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관련 각종 결과에 대한 보고서</a:t>
            </a:r>
          </a:p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>
                <a:tab pos="93558" algn="l"/>
              </a:tabLst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결과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함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</a:t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요 이슈 사항</a:t>
            </a:r>
          </a:p>
        </p:txBody>
      </p:sp>
      <p:sp>
        <p:nvSpPr>
          <p:cNvPr id="87" name="Rectangle 296"/>
          <p:cNvSpPr>
            <a:spLocks noChangeArrowheads="1"/>
          </p:cNvSpPr>
          <p:nvPr/>
        </p:nvSpPr>
        <p:spPr bwMode="auto">
          <a:xfrm>
            <a:off x="8072689" y="5462564"/>
            <a:ext cx="1368192" cy="500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95250" indent="-95250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>
                <a:tab pos="93558" algn="l"/>
              </a:tabLst>
            </a:pP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활동 과정에서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록된 결함 및</a:t>
            </a:r>
            <a: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1"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1"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선사항에 대한 내용 </a:t>
            </a:r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377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요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384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1.5 </a:t>
            </a:r>
            <a:r>
              <a:rPr lang="ko-KR" altLang="en-US" dirty="0"/>
              <a:t>결함 통제 절차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진행시 많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인원이 테스트에 참여할 뿐 아니라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결함을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시 조치하는 경우가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많아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혼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지를 위한 체계적 결함 조치 절차는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결함 통제 절차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58" name="Rectangle 185"/>
          <p:cNvSpPr>
            <a:spLocks noChangeArrowheads="1"/>
          </p:cNvSpPr>
          <p:nvPr/>
        </p:nvSpPr>
        <p:spPr bwMode="gray">
          <a:xfrm>
            <a:off x="7172523" y="2210579"/>
            <a:ext cx="2438400" cy="4176466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9" name="Rectangle 186"/>
          <p:cNvSpPr>
            <a:spLocks noChangeArrowheads="1"/>
          </p:cNvSpPr>
          <p:nvPr/>
        </p:nvSpPr>
        <p:spPr bwMode="gray">
          <a:xfrm>
            <a:off x="7115398" y="2210579"/>
            <a:ext cx="69850" cy="4176466"/>
          </a:xfrm>
          <a:prstGeom prst="rect">
            <a:avLst/>
          </a:prstGeom>
          <a:gradFill rotWithShape="1">
            <a:gsLst>
              <a:gs pos="0">
                <a:srgbClr val="BDBDBD"/>
              </a:gs>
              <a:gs pos="100000">
                <a:srgbClr val="EAEAEA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60" name="Group 187"/>
          <p:cNvGrpSpPr>
            <a:grpSpLocks/>
          </p:cNvGrpSpPr>
          <p:nvPr/>
        </p:nvGrpSpPr>
        <p:grpSpPr bwMode="auto">
          <a:xfrm>
            <a:off x="7699573" y="2132856"/>
            <a:ext cx="1354137" cy="237174"/>
            <a:chOff x="4933" y="1722"/>
            <a:chExt cx="853" cy="151"/>
          </a:xfrm>
        </p:grpSpPr>
        <p:grpSp>
          <p:nvGrpSpPr>
            <p:cNvPr id="61" name="Group 188"/>
            <p:cNvGrpSpPr>
              <a:grpSpLocks/>
            </p:cNvGrpSpPr>
            <p:nvPr/>
          </p:nvGrpSpPr>
          <p:grpSpPr bwMode="auto">
            <a:xfrm>
              <a:off x="4933" y="1722"/>
              <a:ext cx="853" cy="151"/>
              <a:chOff x="709" y="1444"/>
              <a:chExt cx="1235" cy="160"/>
            </a:xfrm>
          </p:grpSpPr>
          <p:sp>
            <p:nvSpPr>
              <p:cNvPr id="63" name="AutoShape 148"/>
              <p:cNvSpPr>
                <a:spLocks noChangeArrowheads="1"/>
              </p:cNvSpPr>
              <p:nvPr/>
            </p:nvSpPr>
            <p:spPr bwMode="auto">
              <a:xfrm>
                <a:off x="709" y="1493"/>
                <a:ext cx="1235" cy="111"/>
              </a:xfrm>
              <a:prstGeom prst="roundRect">
                <a:avLst>
                  <a:gd name="adj" fmla="val 25611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dist="12700" dir="5400000" algn="ctr" rotWithShape="0">
                  <a:srgbClr val="4BBAFF"/>
                </a:outerShdw>
              </a:effectLst>
              <a:extLst/>
            </p:spPr>
            <p:txBody>
              <a:bodyPr wrap="none" anchor="ctr"/>
              <a:lstStyle/>
              <a:p>
                <a:pPr algn="ctr">
                  <a:defRPr/>
                </a:pPr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64" name="AutoShape 136"/>
              <p:cNvSpPr>
                <a:spLocks noChangeArrowheads="1"/>
              </p:cNvSpPr>
              <p:nvPr/>
            </p:nvSpPr>
            <p:spPr bwMode="auto">
              <a:xfrm>
                <a:off x="709" y="1444"/>
                <a:ext cx="1235" cy="118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sz="19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</p:grpSp>
        <p:sp>
          <p:nvSpPr>
            <p:cNvPr id="62" name="Rectangle 150"/>
            <p:cNvSpPr>
              <a:spLocks noChangeArrowheads="1"/>
            </p:cNvSpPr>
            <p:nvPr/>
          </p:nvSpPr>
          <p:spPr bwMode="auto">
            <a:xfrm>
              <a:off x="5106" y="1735"/>
              <a:ext cx="509" cy="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94247"/>
              <a:r>
                <a:rPr lang="ko-KR" altLang="en-US" sz="12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주요작업내용</a:t>
              </a:r>
              <a:endParaRPr lang="ko-KR" altLang="ko-KR" sz="12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aphicFrame>
        <p:nvGraphicFramePr>
          <p:cNvPr id="66" name="Group 570"/>
          <p:cNvGraphicFramePr>
            <a:graphicFrameLocks noGrp="1"/>
          </p:cNvGraphicFramePr>
          <p:nvPr>
            <p:extLst/>
          </p:nvPr>
        </p:nvGraphicFramePr>
        <p:xfrm>
          <a:off x="7266179" y="2531652"/>
          <a:ext cx="2266950" cy="2573339"/>
        </p:xfrm>
        <a:graphic>
          <a:graphicData uri="http://schemas.openxmlformats.org/drawingml/2006/table">
            <a:tbl>
              <a:tblPr/>
              <a:tblGrid>
                <a:gridCol w="798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84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작업</a:t>
                      </a:r>
                      <a:endParaRPr kumimoji="1" lang="ko-KR" altLang="ko-KR" sz="1000" b="0" kern="1200" spc="0" baseline="0" dirty="0" smtClean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72001" marR="72001" marT="36011" marB="36011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세부 내용</a:t>
                      </a:r>
                      <a:endParaRPr kumimoji="1" lang="ko-KR" altLang="ko-KR" sz="1000" b="0" kern="1200" spc="0" baseline="0" dirty="0" smtClean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72001" marR="72001" marT="36011" marB="36011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결함등록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결함등록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4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에러조치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관리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에러조치 예정등록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4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에러조치 완료등록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48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테스트 검증 등록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재 테스트 대상 조회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94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검증대상 거래 제한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448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재 테스트 결과 등록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35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결함현황</a:t>
                      </a:r>
                      <a:r>
                        <a:rPr kumimoji="1" lang="en-US" altLang="ko-KR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</a:br>
                      <a:r>
                        <a:rPr kumimoji="1" lang="ko-KR" altLang="en-US" sz="100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회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0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결함현황조회</a:t>
                      </a:r>
                    </a:p>
                  </a:txBody>
                  <a:tcPr marL="91434" marR="91434" marT="38118" marB="3811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67" name="Group 257"/>
          <p:cNvGrpSpPr>
            <a:grpSpLocks/>
          </p:cNvGrpSpPr>
          <p:nvPr/>
        </p:nvGrpSpPr>
        <p:grpSpPr bwMode="auto">
          <a:xfrm>
            <a:off x="7250304" y="5514978"/>
            <a:ext cx="2297112" cy="754063"/>
            <a:chOff x="4627" y="3612"/>
            <a:chExt cx="1447" cy="475"/>
          </a:xfrm>
        </p:grpSpPr>
        <p:grpSp>
          <p:nvGrpSpPr>
            <p:cNvPr id="68" name="Group 256"/>
            <p:cNvGrpSpPr>
              <a:grpSpLocks/>
            </p:cNvGrpSpPr>
            <p:nvPr/>
          </p:nvGrpSpPr>
          <p:grpSpPr bwMode="auto">
            <a:xfrm>
              <a:off x="4627" y="3612"/>
              <a:ext cx="1447" cy="475"/>
              <a:chOff x="4627" y="3612"/>
              <a:chExt cx="1447" cy="475"/>
            </a:xfrm>
          </p:grpSpPr>
          <p:grpSp>
            <p:nvGrpSpPr>
              <p:cNvPr id="80" name="Group 254"/>
              <p:cNvGrpSpPr>
                <a:grpSpLocks/>
              </p:cNvGrpSpPr>
              <p:nvPr/>
            </p:nvGrpSpPr>
            <p:grpSpPr bwMode="auto">
              <a:xfrm>
                <a:off x="4627" y="3632"/>
                <a:ext cx="1305" cy="455"/>
                <a:chOff x="4627" y="3632"/>
                <a:chExt cx="1305" cy="455"/>
              </a:xfrm>
            </p:grpSpPr>
            <p:pic>
              <p:nvPicPr>
                <p:cNvPr id="100" name="Picture 226" descr="도형1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-6000"/>
                </a:blip>
                <a:srcRect r="54829"/>
                <a:stretch>
                  <a:fillRect/>
                </a:stretch>
              </p:blipFill>
              <p:spPr bwMode="auto">
                <a:xfrm>
                  <a:off x="4627" y="3632"/>
                  <a:ext cx="1305" cy="22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01" name="Picture 227" descr="도형1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-6000"/>
                </a:blip>
                <a:srcRect t="57018" r="54828"/>
                <a:stretch>
                  <a:fillRect/>
                </a:stretch>
              </p:blipFill>
              <p:spPr bwMode="auto">
                <a:xfrm>
                  <a:off x="4627" y="3989"/>
                  <a:ext cx="1305" cy="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02" name="Picture 228" descr="도형1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-6000"/>
                </a:blip>
                <a:srcRect t="47510" r="54829" b="28070"/>
                <a:stretch>
                  <a:fillRect/>
                </a:stretch>
              </p:blipFill>
              <p:spPr bwMode="auto">
                <a:xfrm>
                  <a:off x="4627" y="3756"/>
                  <a:ext cx="1305" cy="2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96" name="Group 253"/>
              <p:cNvGrpSpPr>
                <a:grpSpLocks/>
              </p:cNvGrpSpPr>
              <p:nvPr/>
            </p:nvGrpSpPr>
            <p:grpSpPr bwMode="auto">
              <a:xfrm>
                <a:off x="5524" y="3612"/>
                <a:ext cx="550" cy="475"/>
                <a:chOff x="5524" y="3612"/>
                <a:chExt cx="550" cy="475"/>
              </a:xfrm>
            </p:grpSpPr>
            <p:pic>
              <p:nvPicPr>
                <p:cNvPr id="97" name="Picture 250" descr="도형1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-6000"/>
                </a:blip>
                <a:srcRect l="80962" t="-8772"/>
                <a:stretch>
                  <a:fillRect/>
                </a:stretch>
              </p:blipFill>
              <p:spPr bwMode="auto">
                <a:xfrm>
                  <a:off x="5524" y="3612"/>
                  <a:ext cx="550" cy="2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98" name="Picture 251" descr="도형1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-6000"/>
                </a:blip>
                <a:srcRect l="80962" t="70615"/>
                <a:stretch>
                  <a:fillRect/>
                </a:stretch>
              </p:blipFill>
              <p:spPr bwMode="auto">
                <a:xfrm>
                  <a:off x="5524" y="4020"/>
                  <a:ext cx="550" cy="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99" name="Picture 252" descr="도형1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-6000"/>
                </a:blip>
                <a:srcRect l="80962" t="46776" b="28070"/>
                <a:stretch>
                  <a:fillRect/>
                </a:stretch>
              </p:blipFill>
              <p:spPr bwMode="auto">
                <a:xfrm>
                  <a:off x="5524" y="3748"/>
                  <a:ext cx="550" cy="2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sp>
          <p:nvSpPr>
            <p:cNvPr id="69" name="Rectangle 233" descr="넓은 상향 대각선"/>
            <p:cNvSpPr>
              <a:spLocks noChangeArrowheads="1"/>
            </p:cNvSpPr>
            <p:nvPr/>
          </p:nvSpPr>
          <p:spPr bwMode="auto">
            <a:xfrm>
              <a:off x="4674" y="3680"/>
              <a:ext cx="354" cy="341"/>
            </a:xfrm>
            <a:prstGeom prst="rect">
              <a:avLst/>
            </a:prstGeom>
            <a:pattFill prst="wdUpDiag">
              <a:fgClr>
                <a:srgbClr val="BEE9FE"/>
              </a:fgClr>
              <a:bgClr>
                <a:srgbClr val="FFFFFF"/>
              </a:bgClr>
            </a:pattFill>
            <a:ln w="9525">
              <a:noFill/>
              <a:miter lim="800000"/>
              <a:headEnd/>
              <a:tailEnd/>
            </a:ln>
          </p:spPr>
          <p:txBody>
            <a:bodyPr lIns="54000" tIns="25200" rIns="54000" bIns="25200" anchor="ctr"/>
            <a:lstStyle/>
            <a:p>
              <a:pPr algn="ctr"/>
              <a:endPara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grpSp>
          <p:nvGrpSpPr>
            <p:cNvPr id="70" name="Group 234"/>
            <p:cNvGrpSpPr>
              <a:grpSpLocks/>
            </p:cNvGrpSpPr>
            <p:nvPr/>
          </p:nvGrpSpPr>
          <p:grpSpPr bwMode="auto">
            <a:xfrm>
              <a:off x="4688" y="3832"/>
              <a:ext cx="145" cy="212"/>
              <a:chOff x="6645" y="1147"/>
              <a:chExt cx="284" cy="414"/>
            </a:xfrm>
          </p:grpSpPr>
          <p:sp>
            <p:nvSpPr>
              <p:cNvPr id="75" name="Freeform 235"/>
              <p:cNvSpPr>
                <a:spLocks/>
              </p:cNvSpPr>
              <p:nvPr/>
            </p:nvSpPr>
            <p:spPr bwMode="auto">
              <a:xfrm>
                <a:off x="6741" y="1476"/>
                <a:ext cx="92" cy="21"/>
              </a:xfrm>
              <a:custGeom>
                <a:avLst/>
                <a:gdLst>
                  <a:gd name="T0" fmla="*/ 0 w 732"/>
                  <a:gd name="T1" fmla="*/ 0 h 168"/>
                  <a:gd name="T2" fmla="*/ 0 w 732"/>
                  <a:gd name="T3" fmla="*/ 0 h 168"/>
                  <a:gd name="T4" fmla="*/ 0 w 732"/>
                  <a:gd name="T5" fmla="*/ 0 h 168"/>
                  <a:gd name="T6" fmla="*/ 0 w 732"/>
                  <a:gd name="T7" fmla="*/ 0 h 168"/>
                  <a:gd name="T8" fmla="*/ 0 w 732"/>
                  <a:gd name="T9" fmla="*/ 0 h 168"/>
                  <a:gd name="T10" fmla="*/ 0 w 732"/>
                  <a:gd name="T11" fmla="*/ 0 h 168"/>
                  <a:gd name="T12" fmla="*/ 0 w 732"/>
                  <a:gd name="T13" fmla="*/ 0 h 168"/>
                  <a:gd name="T14" fmla="*/ 0 w 732"/>
                  <a:gd name="T15" fmla="*/ 0 h 168"/>
                  <a:gd name="T16" fmla="*/ 0 w 732"/>
                  <a:gd name="T17" fmla="*/ 0 h 168"/>
                  <a:gd name="T18" fmla="*/ 0 w 732"/>
                  <a:gd name="T19" fmla="*/ 0 h 168"/>
                  <a:gd name="T20" fmla="*/ 0 w 732"/>
                  <a:gd name="T21" fmla="*/ 0 h 168"/>
                  <a:gd name="T22" fmla="*/ 0 w 732"/>
                  <a:gd name="T23" fmla="*/ 0 h 168"/>
                  <a:gd name="T24" fmla="*/ 0 w 732"/>
                  <a:gd name="T25" fmla="*/ 0 h 168"/>
                  <a:gd name="T26" fmla="*/ 0 w 732"/>
                  <a:gd name="T27" fmla="*/ 0 h 168"/>
                  <a:gd name="T28" fmla="*/ 0 w 732"/>
                  <a:gd name="T29" fmla="*/ 0 h 168"/>
                  <a:gd name="T30" fmla="*/ 0 w 732"/>
                  <a:gd name="T31" fmla="*/ 0 h 168"/>
                  <a:gd name="T32" fmla="*/ 0 w 732"/>
                  <a:gd name="T33" fmla="*/ 0 h 168"/>
                  <a:gd name="T34" fmla="*/ 0 w 732"/>
                  <a:gd name="T35" fmla="*/ 0 h 168"/>
                  <a:gd name="T36" fmla="*/ 0 w 732"/>
                  <a:gd name="T37" fmla="*/ 0 h 168"/>
                  <a:gd name="T38" fmla="*/ 0 w 732"/>
                  <a:gd name="T39" fmla="*/ 0 h 168"/>
                  <a:gd name="T40" fmla="*/ 0 w 732"/>
                  <a:gd name="T41" fmla="*/ 0 h 168"/>
                  <a:gd name="T42" fmla="*/ 0 w 732"/>
                  <a:gd name="T43" fmla="*/ 0 h 168"/>
                  <a:gd name="T44" fmla="*/ 0 w 732"/>
                  <a:gd name="T45" fmla="*/ 0 h 168"/>
                  <a:gd name="T46" fmla="*/ 0 w 732"/>
                  <a:gd name="T47" fmla="*/ 0 h 168"/>
                  <a:gd name="T48" fmla="*/ 0 w 732"/>
                  <a:gd name="T49" fmla="*/ 0 h 168"/>
                  <a:gd name="T50" fmla="*/ 0 w 732"/>
                  <a:gd name="T51" fmla="*/ 0 h 168"/>
                  <a:gd name="T52" fmla="*/ 0 w 732"/>
                  <a:gd name="T53" fmla="*/ 0 h 16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732"/>
                  <a:gd name="T82" fmla="*/ 0 h 168"/>
                  <a:gd name="T83" fmla="*/ 732 w 732"/>
                  <a:gd name="T84" fmla="*/ 168 h 168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732" h="168">
                    <a:moveTo>
                      <a:pt x="83" y="0"/>
                    </a:moveTo>
                    <a:lnTo>
                      <a:pt x="648" y="0"/>
                    </a:lnTo>
                    <a:lnTo>
                      <a:pt x="671" y="3"/>
                    </a:lnTo>
                    <a:lnTo>
                      <a:pt x="691" y="11"/>
                    </a:lnTo>
                    <a:lnTo>
                      <a:pt x="708" y="24"/>
                    </a:lnTo>
                    <a:lnTo>
                      <a:pt x="721" y="42"/>
                    </a:lnTo>
                    <a:lnTo>
                      <a:pt x="729" y="62"/>
                    </a:lnTo>
                    <a:lnTo>
                      <a:pt x="732" y="84"/>
                    </a:lnTo>
                    <a:lnTo>
                      <a:pt x="729" y="106"/>
                    </a:lnTo>
                    <a:lnTo>
                      <a:pt x="721" y="126"/>
                    </a:lnTo>
                    <a:lnTo>
                      <a:pt x="708" y="143"/>
                    </a:lnTo>
                    <a:lnTo>
                      <a:pt x="691" y="157"/>
                    </a:lnTo>
                    <a:lnTo>
                      <a:pt x="671" y="165"/>
                    </a:lnTo>
                    <a:lnTo>
                      <a:pt x="648" y="168"/>
                    </a:lnTo>
                    <a:lnTo>
                      <a:pt x="83" y="168"/>
                    </a:lnTo>
                    <a:lnTo>
                      <a:pt x="60" y="165"/>
                    </a:lnTo>
                    <a:lnTo>
                      <a:pt x="41" y="157"/>
                    </a:lnTo>
                    <a:lnTo>
                      <a:pt x="24" y="143"/>
                    </a:lnTo>
                    <a:lnTo>
                      <a:pt x="11" y="126"/>
                    </a:lnTo>
                    <a:lnTo>
                      <a:pt x="2" y="106"/>
                    </a:lnTo>
                    <a:lnTo>
                      <a:pt x="0" y="84"/>
                    </a:lnTo>
                    <a:lnTo>
                      <a:pt x="2" y="62"/>
                    </a:lnTo>
                    <a:lnTo>
                      <a:pt x="11" y="42"/>
                    </a:lnTo>
                    <a:lnTo>
                      <a:pt x="24" y="24"/>
                    </a:lnTo>
                    <a:lnTo>
                      <a:pt x="41" y="11"/>
                    </a:lnTo>
                    <a:lnTo>
                      <a:pt x="60" y="3"/>
                    </a:lnTo>
                    <a:lnTo>
                      <a:pt x="8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76" name="Freeform 236"/>
              <p:cNvSpPr>
                <a:spLocks/>
              </p:cNvSpPr>
              <p:nvPr/>
            </p:nvSpPr>
            <p:spPr bwMode="auto">
              <a:xfrm>
                <a:off x="6741" y="1508"/>
                <a:ext cx="92" cy="21"/>
              </a:xfrm>
              <a:custGeom>
                <a:avLst/>
                <a:gdLst>
                  <a:gd name="T0" fmla="*/ 0 w 732"/>
                  <a:gd name="T1" fmla="*/ 0 h 168"/>
                  <a:gd name="T2" fmla="*/ 0 w 732"/>
                  <a:gd name="T3" fmla="*/ 0 h 168"/>
                  <a:gd name="T4" fmla="*/ 0 w 732"/>
                  <a:gd name="T5" fmla="*/ 0 h 168"/>
                  <a:gd name="T6" fmla="*/ 0 w 732"/>
                  <a:gd name="T7" fmla="*/ 0 h 168"/>
                  <a:gd name="T8" fmla="*/ 0 w 732"/>
                  <a:gd name="T9" fmla="*/ 0 h 168"/>
                  <a:gd name="T10" fmla="*/ 0 w 732"/>
                  <a:gd name="T11" fmla="*/ 0 h 168"/>
                  <a:gd name="T12" fmla="*/ 0 w 732"/>
                  <a:gd name="T13" fmla="*/ 0 h 168"/>
                  <a:gd name="T14" fmla="*/ 0 w 732"/>
                  <a:gd name="T15" fmla="*/ 0 h 168"/>
                  <a:gd name="T16" fmla="*/ 0 w 732"/>
                  <a:gd name="T17" fmla="*/ 0 h 168"/>
                  <a:gd name="T18" fmla="*/ 0 w 732"/>
                  <a:gd name="T19" fmla="*/ 0 h 168"/>
                  <a:gd name="T20" fmla="*/ 0 w 732"/>
                  <a:gd name="T21" fmla="*/ 0 h 168"/>
                  <a:gd name="T22" fmla="*/ 0 w 732"/>
                  <a:gd name="T23" fmla="*/ 0 h 168"/>
                  <a:gd name="T24" fmla="*/ 0 w 732"/>
                  <a:gd name="T25" fmla="*/ 0 h 168"/>
                  <a:gd name="T26" fmla="*/ 0 w 732"/>
                  <a:gd name="T27" fmla="*/ 0 h 168"/>
                  <a:gd name="T28" fmla="*/ 0 w 732"/>
                  <a:gd name="T29" fmla="*/ 0 h 168"/>
                  <a:gd name="T30" fmla="*/ 0 w 732"/>
                  <a:gd name="T31" fmla="*/ 0 h 168"/>
                  <a:gd name="T32" fmla="*/ 0 w 732"/>
                  <a:gd name="T33" fmla="*/ 0 h 168"/>
                  <a:gd name="T34" fmla="*/ 0 w 732"/>
                  <a:gd name="T35" fmla="*/ 0 h 168"/>
                  <a:gd name="T36" fmla="*/ 0 w 732"/>
                  <a:gd name="T37" fmla="*/ 0 h 168"/>
                  <a:gd name="T38" fmla="*/ 0 w 732"/>
                  <a:gd name="T39" fmla="*/ 0 h 168"/>
                  <a:gd name="T40" fmla="*/ 0 w 732"/>
                  <a:gd name="T41" fmla="*/ 0 h 168"/>
                  <a:gd name="T42" fmla="*/ 0 w 732"/>
                  <a:gd name="T43" fmla="*/ 0 h 168"/>
                  <a:gd name="T44" fmla="*/ 0 w 732"/>
                  <a:gd name="T45" fmla="*/ 0 h 168"/>
                  <a:gd name="T46" fmla="*/ 0 w 732"/>
                  <a:gd name="T47" fmla="*/ 0 h 168"/>
                  <a:gd name="T48" fmla="*/ 0 w 732"/>
                  <a:gd name="T49" fmla="*/ 0 h 168"/>
                  <a:gd name="T50" fmla="*/ 0 w 732"/>
                  <a:gd name="T51" fmla="*/ 0 h 168"/>
                  <a:gd name="T52" fmla="*/ 0 w 732"/>
                  <a:gd name="T53" fmla="*/ 0 h 16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732"/>
                  <a:gd name="T82" fmla="*/ 0 h 168"/>
                  <a:gd name="T83" fmla="*/ 732 w 732"/>
                  <a:gd name="T84" fmla="*/ 168 h 168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732" h="168">
                    <a:moveTo>
                      <a:pt x="83" y="0"/>
                    </a:moveTo>
                    <a:lnTo>
                      <a:pt x="648" y="0"/>
                    </a:lnTo>
                    <a:lnTo>
                      <a:pt x="671" y="3"/>
                    </a:lnTo>
                    <a:lnTo>
                      <a:pt x="691" y="12"/>
                    </a:lnTo>
                    <a:lnTo>
                      <a:pt x="708" y="25"/>
                    </a:lnTo>
                    <a:lnTo>
                      <a:pt x="721" y="42"/>
                    </a:lnTo>
                    <a:lnTo>
                      <a:pt x="729" y="62"/>
                    </a:lnTo>
                    <a:lnTo>
                      <a:pt x="732" y="84"/>
                    </a:lnTo>
                    <a:lnTo>
                      <a:pt x="729" y="106"/>
                    </a:lnTo>
                    <a:lnTo>
                      <a:pt x="721" y="125"/>
                    </a:lnTo>
                    <a:lnTo>
                      <a:pt x="708" y="143"/>
                    </a:lnTo>
                    <a:lnTo>
                      <a:pt x="691" y="156"/>
                    </a:lnTo>
                    <a:lnTo>
                      <a:pt x="671" y="165"/>
                    </a:lnTo>
                    <a:lnTo>
                      <a:pt x="648" y="168"/>
                    </a:lnTo>
                    <a:lnTo>
                      <a:pt x="83" y="168"/>
                    </a:lnTo>
                    <a:lnTo>
                      <a:pt x="60" y="165"/>
                    </a:lnTo>
                    <a:lnTo>
                      <a:pt x="41" y="156"/>
                    </a:lnTo>
                    <a:lnTo>
                      <a:pt x="24" y="143"/>
                    </a:lnTo>
                    <a:lnTo>
                      <a:pt x="11" y="125"/>
                    </a:lnTo>
                    <a:lnTo>
                      <a:pt x="2" y="106"/>
                    </a:lnTo>
                    <a:lnTo>
                      <a:pt x="0" y="84"/>
                    </a:lnTo>
                    <a:lnTo>
                      <a:pt x="2" y="62"/>
                    </a:lnTo>
                    <a:lnTo>
                      <a:pt x="11" y="42"/>
                    </a:lnTo>
                    <a:lnTo>
                      <a:pt x="24" y="25"/>
                    </a:lnTo>
                    <a:lnTo>
                      <a:pt x="41" y="12"/>
                    </a:lnTo>
                    <a:lnTo>
                      <a:pt x="60" y="3"/>
                    </a:lnTo>
                    <a:lnTo>
                      <a:pt x="8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77" name="Freeform 237"/>
              <p:cNvSpPr>
                <a:spLocks/>
              </p:cNvSpPr>
              <p:nvPr/>
            </p:nvSpPr>
            <p:spPr bwMode="auto">
              <a:xfrm>
                <a:off x="6741" y="1540"/>
                <a:ext cx="92" cy="21"/>
              </a:xfrm>
              <a:custGeom>
                <a:avLst/>
                <a:gdLst>
                  <a:gd name="T0" fmla="*/ 0 w 732"/>
                  <a:gd name="T1" fmla="*/ 0 h 167"/>
                  <a:gd name="T2" fmla="*/ 0 w 732"/>
                  <a:gd name="T3" fmla="*/ 0 h 167"/>
                  <a:gd name="T4" fmla="*/ 0 w 732"/>
                  <a:gd name="T5" fmla="*/ 0 h 167"/>
                  <a:gd name="T6" fmla="*/ 0 w 732"/>
                  <a:gd name="T7" fmla="*/ 0 h 167"/>
                  <a:gd name="T8" fmla="*/ 0 w 732"/>
                  <a:gd name="T9" fmla="*/ 0 h 167"/>
                  <a:gd name="T10" fmla="*/ 0 w 732"/>
                  <a:gd name="T11" fmla="*/ 0 h 167"/>
                  <a:gd name="T12" fmla="*/ 0 w 732"/>
                  <a:gd name="T13" fmla="*/ 0 h 167"/>
                  <a:gd name="T14" fmla="*/ 0 w 732"/>
                  <a:gd name="T15" fmla="*/ 0 h 167"/>
                  <a:gd name="T16" fmla="*/ 0 w 732"/>
                  <a:gd name="T17" fmla="*/ 0 h 167"/>
                  <a:gd name="T18" fmla="*/ 0 w 732"/>
                  <a:gd name="T19" fmla="*/ 0 h 167"/>
                  <a:gd name="T20" fmla="*/ 0 w 732"/>
                  <a:gd name="T21" fmla="*/ 0 h 167"/>
                  <a:gd name="T22" fmla="*/ 0 w 732"/>
                  <a:gd name="T23" fmla="*/ 0 h 167"/>
                  <a:gd name="T24" fmla="*/ 0 w 732"/>
                  <a:gd name="T25" fmla="*/ 0 h 167"/>
                  <a:gd name="T26" fmla="*/ 0 w 732"/>
                  <a:gd name="T27" fmla="*/ 0 h 167"/>
                  <a:gd name="T28" fmla="*/ 0 w 732"/>
                  <a:gd name="T29" fmla="*/ 0 h 167"/>
                  <a:gd name="T30" fmla="*/ 0 w 732"/>
                  <a:gd name="T31" fmla="*/ 0 h 167"/>
                  <a:gd name="T32" fmla="*/ 0 w 732"/>
                  <a:gd name="T33" fmla="*/ 0 h 167"/>
                  <a:gd name="T34" fmla="*/ 0 w 732"/>
                  <a:gd name="T35" fmla="*/ 0 h 167"/>
                  <a:gd name="T36" fmla="*/ 0 w 732"/>
                  <a:gd name="T37" fmla="*/ 0 h 167"/>
                  <a:gd name="T38" fmla="*/ 0 w 732"/>
                  <a:gd name="T39" fmla="*/ 0 h 167"/>
                  <a:gd name="T40" fmla="*/ 0 w 732"/>
                  <a:gd name="T41" fmla="*/ 0 h 167"/>
                  <a:gd name="T42" fmla="*/ 0 w 732"/>
                  <a:gd name="T43" fmla="*/ 0 h 167"/>
                  <a:gd name="T44" fmla="*/ 0 w 732"/>
                  <a:gd name="T45" fmla="*/ 0 h 167"/>
                  <a:gd name="T46" fmla="*/ 0 w 732"/>
                  <a:gd name="T47" fmla="*/ 0 h 167"/>
                  <a:gd name="T48" fmla="*/ 0 w 732"/>
                  <a:gd name="T49" fmla="*/ 0 h 167"/>
                  <a:gd name="T50" fmla="*/ 0 w 732"/>
                  <a:gd name="T51" fmla="*/ 0 h 167"/>
                  <a:gd name="T52" fmla="*/ 0 w 732"/>
                  <a:gd name="T53" fmla="*/ 0 h 16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732"/>
                  <a:gd name="T82" fmla="*/ 0 h 167"/>
                  <a:gd name="T83" fmla="*/ 732 w 732"/>
                  <a:gd name="T84" fmla="*/ 167 h 16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732" h="167">
                    <a:moveTo>
                      <a:pt x="83" y="0"/>
                    </a:moveTo>
                    <a:lnTo>
                      <a:pt x="648" y="0"/>
                    </a:lnTo>
                    <a:lnTo>
                      <a:pt x="671" y="3"/>
                    </a:lnTo>
                    <a:lnTo>
                      <a:pt x="691" y="11"/>
                    </a:lnTo>
                    <a:lnTo>
                      <a:pt x="708" y="24"/>
                    </a:lnTo>
                    <a:lnTo>
                      <a:pt x="721" y="41"/>
                    </a:lnTo>
                    <a:lnTo>
                      <a:pt x="729" y="61"/>
                    </a:lnTo>
                    <a:lnTo>
                      <a:pt x="732" y="83"/>
                    </a:lnTo>
                    <a:lnTo>
                      <a:pt x="729" y="105"/>
                    </a:lnTo>
                    <a:lnTo>
                      <a:pt x="721" y="126"/>
                    </a:lnTo>
                    <a:lnTo>
                      <a:pt x="708" y="143"/>
                    </a:lnTo>
                    <a:lnTo>
                      <a:pt x="691" y="156"/>
                    </a:lnTo>
                    <a:lnTo>
                      <a:pt x="671" y="164"/>
                    </a:lnTo>
                    <a:lnTo>
                      <a:pt x="648" y="167"/>
                    </a:lnTo>
                    <a:lnTo>
                      <a:pt x="83" y="167"/>
                    </a:lnTo>
                    <a:lnTo>
                      <a:pt x="60" y="164"/>
                    </a:lnTo>
                    <a:lnTo>
                      <a:pt x="41" y="156"/>
                    </a:lnTo>
                    <a:lnTo>
                      <a:pt x="24" y="143"/>
                    </a:lnTo>
                    <a:lnTo>
                      <a:pt x="11" y="126"/>
                    </a:lnTo>
                    <a:lnTo>
                      <a:pt x="2" y="105"/>
                    </a:lnTo>
                    <a:lnTo>
                      <a:pt x="0" y="83"/>
                    </a:lnTo>
                    <a:lnTo>
                      <a:pt x="2" y="61"/>
                    </a:lnTo>
                    <a:lnTo>
                      <a:pt x="11" y="41"/>
                    </a:lnTo>
                    <a:lnTo>
                      <a:pt x="24" y="24"/>
                    </a:lnTo>
                    <a:lnTo>
                      <a:pt x="41" y="11"/>
                    </a:lnTo>
                    <a:lnTo>
                      <a:pt x="60" y="3"/>
                    </a:lnTo>
                    <a:lnTo>
                      <a:pt x="8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78" name="Freeform 238"/>
              <p:cNvSpPr>
                <a:spLocks/>
              </p:cNvSpPr>
              <p:nvPr/>
            </p:nvSpPr>
            <p:spPr bwMode="auto">
              <a:xfrm>
                <a:off x="6761" y="1295"/>
                <a:ext cx="52" cy="118"/>
              </a:xfrm>
              <a:custGeom>
                <a:avLst/>
                <a:gdLst>
                  <a:gd name="T0" fmla="*/ 0 w 420"/>
                  <a:gd name="T1" fmla="*/ 0 h 940"/>
                  <a:gd name="T2" fmla="*/ 0 w 420"/>
                  <a:gd name="T3" fmla="*/ 0 h 940"/>
                  <a:gd name="T4" fmla="*/ 0 w 420"/>
                  <a:gd name="T5" fmla="*/ 0 h 940"/>
                  <a:gd name="T6" fmla="*/ 0 w 420"/>
                  <a:gd name="T7" fmla="*/ 0 h 940"/>
                  <a:gd name="T8" fmla="*/ 0 w 420"/>
                  <a:gd name="T9" fmla="*/ 0 h 940"/>
                  <a:gd name="T10" fmla="*/ 0 w 420"/>
                  <a:gd name="T11" fmla="*/ 0 h 940"/>
                  <a:gd name="T12" fmla="*/ 0 w 420"/>
                  <a:gd name="T13" fmla="*/ 0 h 940"/>
                  <a:gd name="T14" fmla="*/ 0 w 420"/>
                  <a:gd name="T15" fmla="*/ 0 h 940"/>
                  <a:gd name="T16" fmla="*/ 0 w 420"/>
                  <a:gd name="T17" fmla="*/ 0 h 940"/>
                  <a:gd name="T18" fmla="*/ 0 w 420"/>
                  <a:gd name="T19" fmla="*/ 0 h 940"/>
                  <a:gd name="T20" fmla="*/ 0 w 420"/>
                  <a:gd name="T21" fmla="*/ 0 h 940"/>
                  <a:gd name="T22" fmla="*/ 0 w 420"/>
                  <a:gd name="T23" fmla="*/ 0 h 940"/>
                  <a:gd name="T24" fmla="*/ 0 w 420"/>
                  <a:gd name="T25" fmla="*/ 0 h 940"/>
                  <a:gd name="T26" fmla="*/ 0 w 420"/>
                  <a:gd name="T27" fmla="*/ 0 h 940"/>
                  <a:gd name="T28" fmla="*/ 0 w 420"/>
                  <a:gd name="T29" fmla="*/ 0 h 940"/>
                  <a:gd name="T30" fmla="*/ 0 w 420"/>
                  <a:gd name="T31" fmla="*/ 0 h 940"/>
                  <a:gd name="T32" fmla="*/ 0 w 420"/>
                  <a:gd name="T33" fmla="*/ 0 h 940"/>
                  <a:gd name="T34" fmla="*/ 0 w 420"/>
                  <a:gd name="T35" fmla="*/ 0 h 940"/>
                  <a:gd name="T36" fmla="*/ 0 w 420"/>
                  <a:gd name="T37" fmla="*/ 0 h 940"/>
                  <a:gd name="T38" fmla="*/ 0 w 420"/>
                  <a:gd name="T39" fmla="*/ 0 h 940"/>
                  <a:gd name="T40" fmla="*/ 0 w 420"/>
                  <a:gd name="T41" fmla="*/ 0 h 940"/>
                  <a:gd name="T42" fmla="*/ 0 w 420"/>
                  <a:gd name="T43" fmla="*/ 0 h 940"/>
                  <a:gd name="T44" fmla="*/ 0 w 420"/>
                  <a:gd name="T45" fmla="*/ 0 h 940"/>
                  <a:gd name="T46" fmla="*/ 0 w 420"/>
                  <a:gd name="T47" fmla="*/ 0 h 940"/>
                  <a:gd name="T48" fmla="*/ 0 w 420"/>
                  <a:gd name="T49" fmla="*/ 0 h 940"/>
                  <a:gd name="T50" fmla="*/ 0 w 420"/>
                  <a:gd name="T51" fmla="*/ 0 h 940"/>
                  <a:gd name="T52" fmla="*/ 0 w 420"/>
                  <a:gd name="T53" fmla="*/ 0 h 940"/>
                  <a:gd name="T54" fmla="*/ 0 w 420"/>
                  <a:gd name="T55" fmla="*/ 0 h 940"/>
                  <a:gd name="T56" fmla="*/ 0 w 420"/>
                  <a:gd name="T57" fmla="*/ 0 h 940"/>
                  <a:gd name="T58" fmla="*/ 0 w 420"/>
                  <a:gd name="T59" fmla="*/ 0 h 940"/>
                  <a:gd name="T60" fmla="*/ 0 w 420"/>
                  <a:gd name="T61" fmla="*/ 0 h 940"/>
                  <a:gd name="T62" fmla="*/ 0 w 420"/>
                  <a:gd name="T63" fmla="*/ 0 h 940"/>
                  <a:gd name="T64" fmla="*/ 0 w 420"/>
                  <a:gd name="T65" fmla="*/ 0 h 940"/>
                  <a:gd name="T66" fmla="*/ 0 w 420"/>
                  <a:gd name="T67" fmla="*/ 0 h 940"/>
                  <a:gd name="T68" fmla="*/ 0 w 420"/>
                  <a:gd name="T69" fmla="*/ 0 h 940"/>
                  <a:gd name="T70" fmla="*/ 0 w 420"/>
                  <a:gd name="T71" fmla="*/ 0 h 940"/>
                  <a:gd name="T72" fmla="*/ 0 w 420"/>
                  <a:gd name="T73" fmla="*/ 0 h 940"/>
                  <a:gd name="T74" fmla="*/ 0 w 420"/>
                  <a:gd name="T75" fmla="*/ 0 h 94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20"/>
                  <a:gd name="T115" fmla="*/ 0 h 940"/>
                  <a:gd name="T116" fmla="*/ 420 w 420"/>
                  <a:gd name="T117" fmla="*/ 940 h 94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20" h="940">
                    <a:moveTo>
                      <a:pt x="0" y="0"/>
                    </a:moveTo>
                    <a:lnTo>
                      <a:pt x="420" y="0"/>
                    </a:lnTo>
                    <a:lnTo>
                      <a:pt x="415" y="24"/>
                    </a:lnTo>
                    <a:lnTo>
                      <a:pt x="409" y="54"/>
                    </a:lnTo>
                    <a:lnTo>
                      <a:pt x="400" y="89"/>
                    </a:lnTo>
                    <a:lnTo>
                      <a:pt x="391" y="128"/>
                    </a:lnTo>
                    <a:lnTo>
                      <a:pt x="381" y="172"/>
                    </a:lnTo>
                    <a:lnTo>
                      <a:pt x="371" y="220"/>
                    </a:lnTo>
                    <a:lnTo>
                      <a:pt x="359" y="270"/>
                    </a:lnTo>
                    <a:lnTo>
                      <a:pt x="347" y="325"/>
                    </a:lnTo>
                    <a:lnTo>
                      <a:pt x="335" y="382"/>
                    </a:lnTo>
                    <a:lnTo>
                      <a:pt x="322" y="441"/>
                    </a:lnTo>
                    <a:lnTo>
                      <a:pt x="308" y="501"/>
                    </a:lnTo>
                    <a:lnTo>
                      <a:pt x="295" y="564"/>
                    </a:lnTo>
                    <a:lnTo>
                      <a:pt x="280" y="626"/>
                    </a:lnTo>
                    <a:lnTo>
                      <a:pt x="265" y="690"/>
                    </a:lnTo>
                    <a:lnTo>
                      <a:pt x="251" y="753"/>
                    </a:lnTo>
                    <a:lnTo>
                      <a:pt x="237" y="817"/>
                    </a:lnTo>
                    <a:lnTo>
                      <a:pt x="224" y="878"/>
                    </a:lnTo>
                    <a:lnTo>
                      <a:pt x="210" y="940"/>
                    </a:lnTo>
                    <a:lnTo>
                      <a:pt x="197" y="878"/>
                    </a:lnTo>
                    <a:lnTo>
                      <a:pt x="183" y="817"/>
                    </a:lnTo>
                    <a:lnTo>
                      <a:pt x="168" y="753"/>
                    </a:lnTo>
                    <a:lnTo>
                      <a:pt x="154" y="690"/>
                    </a:lnTo>
                    <a:lnTo>
                      <a:pt x="140" y="626"/>
                    </a:lnTo>
                    <a:lnTo>
                      <a:pt x="126" y="564"/>
                    </a:lnTo>
                    <a:lnTo>
                      <a:pt x="112" y="501"/>
                    </a:lnTo>
                    <a:lnTo>
                      <a:pt x="99" y="441"/>
                    </a:lnTo>
                    <a:lnTo>
                      <a:pt x="85" y="382"/>
                    </a:lnTo>
                    <a:lnTo>
                      <a:pt x="73" y="325"/>
                    </a:lnTo>
                    <a:lnTo>
                      <a:pt x="61" y="270"/>
                    </a:lnTo>
                    <a:lnTo>
                      <a:pt x="49" y="220"/>
                    </a:lnTo>
                    <a:lnTo>
                      <a:pt x="38" y="172"/>
                    </a:lnTo>
                    <a:lnTo>
                      <a:pt x="28" y="128"/>
                    </a:lnTo>
                    <a:lnTo>
                      <a:pt x="19" y="89"/>
                    </a:lnTo>
                    <a:lnTo>
                      <a:pt x="12" y="54"/>
                    </a:lnTo>
                    <a:lnTo>
                      <a:pt x="5" y="24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79" name="Freeform 239"/>
              <p:cNvSpPr>
                <a:spLocks/>
              </p:cNvSpPr>
              <p:nvPr/>
            </p:nvSpPr>
            <p:spPr bwMode="auto">
              <a:xfrm>
                <a:off x="6645" y="1147"/>
                <a:ext cx="284" cy="313"/>
              </a:xfrm>
              <a:custGeom>
                <a:avLst/>
                <a:gdLst>
                  <a:gd name="T0" fmla="*/ 0 w 2275"/>
                  <a:gd name="T1" fmla="*/ 0 h 2508"/>
                  <a:gd name="T2" fmla="*/ 0 w 2275"/>
                  <a:gd name="T3" fmla="*/ 0 h 2508"/>
                  <a:gd name="T4" fmla="*/ 0 w 2275"/>
                  <a:gd name="T5" fmla="*/ 0 h 2508"/>
                  <a:gd name="T6" fmla="*/ 0 w 2275"/>
                  <a:gd name="T7" fmla="*/ 0 h 2508"/>
                  <a:gd name="T8" fmla="*/ 0 w 2275"/>
                  <a:gd name="T9" fmla="*/ 0 h 2508"/>
                  <a:gd name="T10" fmla="*/ 0 w 2275"/>
                  <a:gd name="T11" fmla="*/ 0 h 2508"/>
                  <a:gd name="T12" fmla="*/ 0 w 2275"/>
                  <a:gd name="T13" fmla="*/ 0 h 2508"/>
                  <a:gd name="T14" fmla="*/ 0 w 2275"/>
                  <a:gd name="T15" fmla="*/ 0 h 2508"/>
                  <a:gd name="T16" fmla="*/ 0 w 2275"/>
                  <a:gd name="T17" fmla="*/ 0 h 2508"/>
                  <a:gd name="T18" fmla="*/ 0 w 2275"/>
                  <a:gd name="T19" fmla="*/ 0 h 2508"/>
                  <a:gd name="T20" fmla="*/ 0 w 2275"/>
                  <a:gd name="T21" fmla="*/ 0 h 2508"/>
                  <a:gd name="T22" fmla="*/ 0 w 2275"/>
                  <a:gd name="T23" fmla="*/ 0 h 2508"/>
                  <a:gd name="T24" fmla="*/ 0 w 2275"/>
                  <a:gd name="T25" fmla="*/ 0 h 2508"/>
                  <a:gd name="T26" fmla="*/ 0 w 2275"/>
                  <a:gd name="T27" fmla="*/ 0 h 2508"/>
                  <a:gd name="T28" fmla="*/ 0 w 2275"/>
                  <a:gd name="T29" fmla="*/ 0 h 2508"/>
                  <a:gd name="T30" fmla="*/ 0 w 2275"/>
                  <a:gd name="T31" fmla="*/ 0 h 2508"/>
                  <a:gd name="T32" fmla="*/ 0 w 2275"/>
                  <a:gd name="T33" fmla="*/ 0 h 2508"/>
                  <a:gd name="T34" fmla="*/ 0 w 2275"/>
                  <a:gd name="T35" fmla="*/ 0 h 2508"/>
                  <a:gd name="T36" fmla="*/ 0 w 2275"/>
                  <a:gd name="T37" fmla="*/ 0 h 2508"/>
                  <a:gd name="T38" fmla="*/ 0 w 2275"/>
                  <a:gd name="T39" fmla="*/ 0 h 2508"/>
                  <a:gd name="T40" fmla="*/ 0 w 2275"/>
                  <a:gd name="T41" fmla="*/ 0 h 2508"/>
                  <a:gd name="T42" fmla="*/ 0 w 2275"/>
                  <a:gd name="T43" fmla="*/ 0 h 2508"/>
                  <a:gd name="T44" fmla="*/ 0 w 2275"/>
                  <a:gd name="T45" fmla="*/ 0 h 2508"/>
                  <a:gd name="T46" fmla="*/ 0 w 2275"/>
                  <a:gd name="T47" fmla="*/ 0 h 2508"/>
                  <a:gd name="T48" fmla="*/ 0 w 2275"/>
                  <a:gd name="T49" fmla="*/ 0 h 2508"/>
                  <a:gd name="T50" fmla="*/ 0 w 2275"/>
                  <a:gd name="T51" fmla="*/ 0 h 2508"/>
                  <a:gd name="T52" fmla="*/ 0 w 2275"/>
                  <a:gd name="T53" fmla="*/ 0 h 2508"/>
                  <a:gd name="T54" fmla="*/ 0 w 2275"/>
                  <a:gd name="T55" fmla="*/ 0 h 2508"/>
                  <a:gd name="T56" fmla="*/ 0 w 2275"/>
                  <a:gd name="T57" fmla="*/ 0 h 2508"/>
                  <a:gd name="T58" fmla="*/ 0 w 2275"/>
                  <a:gd name="T59" fmla="*/ 0 h 2508"/>
                  <a:gd name="T60" fmla="*/ 0 w 2275"/>
                  <a:gd name="T61" fmla="*/ 0 h 2508"/>
                  <a:gd name="T62" fmla="*/ 0 w 2275"/>
                  <a:gd name="T63" fmla="*/ 0 h 2508"/>
                  <a:gd name="T64" fmla="*/ 0 w 2275"/>
                  <a:gd name="T65" fmla="*/ 0 h 2508"/>
                  <a:gd name="T66" fmla="*/ 0 w 2275"/>
                  <a:gd name="T67" fmla="*/ 0 h 2508"/>
                  <a:gd name="T68" fmla="*/ 0 w 2275"/>
                  <a:gd name="T69" fmla="*/ 0 h 2508"/>
                  <a:gd name="T70" fmla="*/ 0 w 2275"/>
                  <a:gd name="T71" fmla="*/ 0 h 2508"/>
                  <a:gd name="T72" fmla="*/ 0 w 2275"/>
                  <a:gd name="T73" fmla="*/ 0 h 2508"/>
                  <a:gd name="T74" fmla="*/ 0 w 2275"/>
                  <a:gd name="T75" fmla="*/ 0 h 2508"/>
                  <a:gd name="T76" fmla="*/ 0 w 2275"/>
                  <a:gd name="T77" fmla="*/ 0 h 2508"/>
                  <a:gd name="T78" fmla="*/ 0 w 2275"/>
                  <a:gd name="T79" fmla="*/ 0 h 2508"/>
                  <a:gd name="T80" fmla="*/ 0 w 2275"/>
                  <a:gd name="T81" fmla="*/ 0 h 2508"/>
                  <a:gd name="T82" fmla="*/ 0 w 2275"/>
                  <a:gd name="T83" fmla="*/ 0 h 250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275"/>
                  <a:gd name="T127" fmla="*/ 0 h 2508"/>
                  <a:gd name="T128" fmla="*/ 2275 w 2275"/>
                  <a:gd name="T129" fmla="*/ 2508 h 250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275" h="2508">
                    <a:moveTo>
                      <a:pt x="1137" y="0"/>
                    </a:moveTo>
                    <a:lnTo>
                      <a:pt x="1222" y="3"/>
                    </a:lnTo>
                    <a:lnTo>
                      <a:pt x="1305" y="12"/>
                    </a:lnTo>
                    <a:lnTo>
                      <a:pt x="1386" y="27"/>
                    </a:lnTo>
                    <a:lnTo>
                      <a:pt x="1466" y="48"/>
                    </a:lnTo>
                    <a:lnTo>
                      <a:pt x="1542" y="74"/>
                    </a:lnTo>
                    <a:lnTo>
                      <a:pt x="1617" y="105"/>
                    </a:lnTo>
                    <a:lnTo>
                      <a:pt x="1688" y="141"/>
                    </a:lnTo>
                    <a:lnTo>
                      <a:pt x="1756" y="183"/>
                    </a:lnTo>
                    <a:lnTo>
                      <a:pt x="1822" y="229"/>
                    </a:lnTo>
                    <a:lnTo>
                      <a:pt x="1883" y="278"/>
                    </a:lnTo>
                    <a:lnTo>
                      <a:pt x="1942" y="333"/>
                    </a:lnTo>
                    <a:lnTo>
                      <a:pt x="1995" y="390"/>
                    </a:lnTo>
                    <a:lnTo>
                      <a:pt x="2046" y="453"/>
                    </a:lnTo>
                    <a:lnTo>
                      <a:pt x="2091" y="517"/>
                    </a:lnTo>
                    <a:lnTo>
                      <a:pt x="2133" y="586"/>
                    </a:lnTo>
                    <a:lnTo>
                      <a:pt x="2169" y="658"/>
                    </a:lnTo>
                    <a:lnTo>
                      <a:pt x="2200" y="731"/>
                    </a:lnTo>
                    <a:lnTo>
                      <a:pt x="2226" y="808"/>
                    </a:lnTo>
                    <a:lnTo>
                      <a:pt x="2248" y="888"/>
                    </a:lnTo>
                    <a:lnTo>
                      <a:pt x="2263" y="968"/>
                    </a:lnTo>
                    <a:lnTo>
                      <a:pt x="2272" y="1052"/>
                    </a:lnTo>
                    <a:lnTo>
                      <a:pt x="2275" y="1137"/>
                    </a:lnTo>
                    <a:lnTo>
                      <a:pt x="2272" y="1221"/>
                    </a:lnTo>
                    <a:lnTo>
                      <a:pt x="2263" y="1305"/>
                    </a:lnTo>
                    <a:lnTo>
                      <a:pt x="2248" y="1387"/>
                    </a:lnTo>
                    <a:lnTo>
                      <a:pt x="2226" y="1466"/>
                    </a:lnTo>
                    <a:lnTo>
                      <a:pt x="2200" y="1543"/>
                    </a:lnTo>
                    <a:lnTo>
                      <a:pt x="2168" y="1618"/>
                    </a:lnTo>
                    <a:lnTo>
                      <a:pt x="2132" y="1689"/>
                    </a:lnTo>
                    <a:lnTo>
                      <a:pt x="2090" y="1758"/>
                    </a:lnTo>
                    <a:lnTo>
                      <a:pt x="2044" y="1822"/>
                    </a:lnTo>
                    <a:lnTo>
                      <a:pt x="1993" y="1885"/>
                    </a:lnTo>
                    <a:lnTo>
                      <a:pt x="1939" y="1942"/>
                    </a:lnTo>
                    <a:lnTo>
                      <a:pt x="1880" y="1997"/>
                    </a:lnTo>
                    <a:lnTo>
                      <a:pt x="1818" y="2046"/>
                    </a:lnTo>
                    <a:lnTo>
                      <a:pt x="1752" y="2092"/>
                    </a:lnTo>
                    <a:lnTo>
                      <a:pt x="1684" y="2133"/>
                    </a:lnTo>
                    <a:lnTo>
                      <a:pt x="1612" y="2169"/>
                    </a:lnTo>
                    <a:lnTo>
                      <a:pt x="1466" y="2508"/>
                    </a:lnTo>
                    <a:lnTo>
                      <a:pt x="1221" y="2508"/>
                    </a:lnTo>
                    <a:lnTo>
                      <a:pt x="1552" y="1021"/>
                    </a:lnTo>
                    <a:lnTo>
                      <a:pt x="715" y="1021"/>
                    </a:lnTo>
                    <a:lnTo>
                      <a:pt x="1047" y="2508"/>
                    </a:lnTo>
                    <a:lnTo>
                      <a:pt x="808" y="2508"/>
                    </a:lnTo>
                    <a:lnTo>
                      <a:pt x="663" y="2169"/>
                    </a:lnTo>
                    <a:lnTo>
                      <a:pt x="591" y="2133"/>
                    </a:lnTo>
                    <a:lnTo>
                      <a:pt x="522" y="2092"/>
                    </a:lnTo>
                    <a:lnTo>
                      <a:pt x="456" y="2046"/>
                    </a:lnTo>
                    <a:lnTo>
                      <a:pt x="394" y="1997"/>
                    </a:lnTo>
                    <a:lnTo>
                      <a:pt x="336" y="1942"/>
                    </a:lnTo>
                    <a:lnTo>
                      <a:pt x="281" y="1884"/>
                    </a:lnTo>
                    <a:lnTo>
                      <a:pt x="231" y="1822"/>
                    </a:lnTo>
                    <a:lnTo>
                      <a:pt x="185" y="1758"/>
                    </a:lnTo>
                    <a:lnTo>
                      <a:pt x="143" y="1689"/>
                    </a:lnTo>
                    <a:lnTo>
                      <a:pt x="106" y="1618"/>
                    </a:lnTo>
                    <a:lnTo>
                      <a:pt x="75" y="1543"/>
                    </a:lnTo>
                    <a:lnTo>
                      <a:pt x="48" y="1466"/>
                    </a:lnTo>
                    <a:lnTo>
                      <a:pt x="27" y="1387"/>
                    </a:lnTo>
                    <a:lnTo>
                      <a:pt x="12" y="1305"/>
                    </a:lnTo>
                    <a:lnTo>
                      <a:pt x="3" y="1221"/>
                    </a:lnTo>
                    <a:lnTo>
                      <a:pt x="0" y="1137"/>
                    </a:lnTo>
                    <a:lnTo>
                      <a:pt x="3" y="1052"/>
                    </a:lnTo>
                    <a:lnTo>
                      <a:pt x="12" y="968"/>
                    </a:lnTo>
                    <a:lnTo>
                      <a:pt x="27" y="888"/>
                    </a:lnTo>
                    <a:lnTo>
                      <a:pt x="47" y="808"/>
                    </a:lnTo>
                    <a:lnTo>
                      <a:pt x="74" y="731"/>
                    </a:lnTo>
                    <a:lnTo>
                      <a:pt x="106" y="658"/>
                    </a:lnTo>
                    <a:lnTo>
                      <a:pt x="142" y="586"/>
                    </a:lnTo>
                    <a:lnTo>
                      <a:pt x="183" y="517"/>
                    </a:lnTo>
                    <a:lnTo>
                      <a:pt x="229" y="453"/>
                    </a:lnTo>
                    <a:lnTo>
                      <a:pt x="278" y="390"/>
                    </a:lnTo>
                    <a:lnTo>
                      <a:pt x="333" y="333"/>
                    </a:lnTo>
                    <a:lnTo>
                      <a:pt x="391" y="278"/>
                    </a:lnTo>
                    <a:lnTo>
                      <a:pt x="453" y="229"/>
                    </a:lnTo>
                    <a:lnTo>
                      <a:pt x="517" y="183"/>
                    </a:lnTo>
                    <a:lnTo>
                      <a:pt x="586" y="141"/>
                    </a:lnTo>
                    <a:lnTo>
                      <a:pt x="658" y="105"/>
                    </a:lnTo>
                    <a:lnTo>
                      <a:pt x="731" y="74"/>
                    </a:lnTo>
                    <a:lnTo>
                      <a:pt x="809" y="48"/>
                    </a:lnTo>
                    <a:lnTo>
                      <a:pt x="888" y="27"/>
                    </a:lnTo>
                    <a:lnTo>
                      <a:pt x="969" y="12"/>
                    </a:lnTo>
                    <a:lnTo>
                      <a:pt x="1052" y="3"/>
                    </a:lnTo>
                    <a:lnTo>
                      <a:pt x="1137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</p:grpSp>
        <p:grpSp>
          <p:nvGrpSpPr>
            <p:cNvPr id="71" name="Group 240"/>
            <p:cNvGrpSpPr>
              <a:grpSpLocks/>
            </p:cNvGrpSpPr>
            <p:nvPr/>
          </p:nvGrpSpPr>
          <p:grpSpPr bwMode="auto">
            <a:xfrm>
              <a:off x="4719" y="3712"/>
              <a:ext cx="282" cy="198"/>
              <a:chOff x="336" y="5581"/>
              <a:chExt cx="282" cy="198"/>
            </a:xfrm>
          </p:grpSpPr>
          <p:sp>
            <p:nvSpPr>
              <p:cNvPr id="73" name="Rectangle 241"/>
              <p:cNvSpPr>
                <a:spLocks noChangeArrowheads="1"/>
              </p:cNvSpPr>
              <p:nvPr/>
            </p:nvSpPr>
            <p:spPr bwMode="auto">
              <a:xfrm>
                <a:off x="336" y="5581"/>
                <a:ext cx="14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397018">
                  <a:buClr>
                    <a:srgbClr val="000000"/>
                  </a:buClr>
                  <a:buSzPct val="80000"/>
                </a:pPr>
                <a:r>
                  <a:rPr lang="ko-KR" altLang="en-US" sz="1000" dirty="0">
                    <a:solidFill>
                      <a:srgbClr val="000000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기대</a:t>
                </a:r>
              </a:p>
            </p:txBody>
          </p:sp>
          <p:sp>
            <p:nvSpPr>
              <p:cNvPr id="74" name="Rectangle 242"/>
              <p:cNvSpPr>
                <a:spLocks noChangeArrowheads="1"/>
              </p:cNvSpPr>
              <p:nvPr/>
            </p:nvSpPr>
            <p:spPr bwMode="auto">
              <a:xfrm>
                <a:off x="477" y="5682"/>
                <a:ext cx="14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1397018">
                  <a:buClr>
                    <a:srgbClr val="000000"/>
                  </a:buClr>
                  <a:buSzPct val="80000"/>
                </a:pPr>
                <a:r>
                  <a:rPr lang="ko-KR" altLang="en-US" sz="1000" dirty="0">
                    <a:solidFill>
                      <a:srgbClr val="000000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rPr>
                  <a:t>효과</a:t>
                </a:r>
              </a:p>
            </p:txBody>
          </p:sp>
        </p:grpSp>
        <p:sp>
          <p:nvSpPr>
            <p:cNvPr id="72" name="Rectangle 8"/>
            <p:cNvSpPr>
              <a:spLocks noChangeArrowheads="1"/>
            </p:cNvSpPr>
            <p:nvPr/>
          </p:nvSpPr>
          <p:spPr bwMode="auto">
            <a:xfrm>
              <a:off x="5081" y="3704"/>
              <a:ext cx="735" cy="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88800" indent="-88800" defTabSz="848360">
                <a:spcBef>
                  <a:spcPct val="20000"/>
                </a:spcBef>
                <a:buClr>
                  <a:srgbClr val="969696"/>
                </a:buClr>
                <a:buSzPct val="80000"/>
                <a:buFont typeface="Wingdings" pitchFamily="2" charset="2"/>
                <a:buChar char="§"/>
                <a:tabLst>
                  <a:tab pos="715162" algn="l"/>
                </a:tabLst>
              </a:pPr>
              <a:r>
                <a:rPr lang="ko-KR" altLang="en-US" sz="9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결함 추적 및 일정관리</a:t>
              </a:r>
            </a:p>
            <a:p>
              <a:pPr marL="88800" indent="-88800" defTabSz="848360">
                <a:spcBef>
                  <a:spcPct val="20000"/>
                </a:spcBef>
                <a:buClr>
                  <a:srgbClr val="969696"/>
                </a:buClr>
                <a:buSzPct val="80000"/>
                <a:buFont typeface="Wingdings" pitchFamily="2" charset="2"/>
                <a:buChar char="§"/>
                <a:tabLst>
                  <a:tab pos="715162" algn="l"/>
                </a:tabLst>
              </a:pPr>
              <a:r>
                <a:rPr lang="ko-KR" altLang="en-US" sz="9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원활한 의사 소통 관리</a:t>
              </a:r>
            </a:p>
            <a:p>
              <a:pPr marL="88800" indent="-88800" defTabSz="848360">
                <a:spcBef>
                  <a:spcPct val="20000"/>
                </a:spcBef>
                <a:buClr>
                  <a:srgbClr val="969696"/>
                </a:buClr>
                <a:buSzPct val="80000"/>
                <a:buFont typeface="Wingdings" pitchFamily="2" charset="2"/>
                <a:buChar char="§"/>
                <a:tabLst>
                  <a:tab pos="715162" algn="l"/>
                </a:tabLst>
              </a:pPr>
              <a:r>
                <a:rPr lang="ko-KR" altLang="en-US" sz="9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결함 관련 품질지표관리</a:t>
              </a:r>
            </a:p>
          </p:txBody>
        </p:sp>
      </p:grpSp>
      <p:sp>
        <p:nvSpPr>
          <p:cNvPr id="103" name="AutoShape 268"/>
          <p:cNvSpPr>
            <a:spLocks noChangeArrowheads="1"/>
          </p:cNvSpPr>
          <p:nvPr/>
        </p:nvSpPr>
        <p:spPr bwMode="gray">
          <a:xfrm rot="5400000">
            <a:off x="8247253" y="4874802"/>
            <a:ext cx="303213" cy="909638"/>
          </a:xfrm>
          <a:prstGeom prst="rightArrow">
            <a:avLst>
              <a:gd name="adj1" fmla="val 76972"/>
              <a:gd name="adj2" fmla="val 51769"/>
            </a:avLst>
          </a:prstGeom>
          <a:gradFill rotWithShape="1">
            <a:gsLst>
              <a:gs pos="0">
                <a:srgbClr val="EAEAEA"/>
              </a:gs>
              <a:gs pos="100000">
                <a:srgbClr val="9B9B9B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aphicFrame>
        <p:nvGraphicFramePr>
          <p:cNvPr id="104" name="Group 62"/>
          <p:cNvGraphicFramePr>
            <a:graphicFrameLocks noGrp="1"/>
          </p:cNvGraphicFramePr>
          <p:nvPr>
            <p:extLst/>
          </p:nvPr>
        </p:nvGraphicFramePr>
        <p:xfrm>
          <a:off x="340740" y="2214474"/>
          <a:ext cx="6667500" cy="4140201"/>
        </p:xfrm>
        <a:graphic>
          <a:graphicData uri="http://schemas.openxmlformats.org/drawingml/2006/table">
            <a:tbl>
              <a:tblPr/>
              <a:tblGrid>
                <a:gridCol w="476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66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5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98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62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구분</a:t>
                      </a:r>
                      <a:endParaRPr kumimoji="1" lang="en-US" altLang="ko-KR" sz="1000" b="0" kern="1200" spc="0" baseline="0" dirty="0" smtClean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ko-KR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테스트수행자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ko-KR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 개발자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ko-KR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 통합</a:t>
                      </a:r>
                      <a:r>
                        <a:rPr kumimoji="1" lang="en-US" altLang="ko-KR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 </a:t>
                      </a:r>
                      <a:r>
                        <a:rPr kumimoji="1" lang="ko-KR" altLang="ko-KR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이행</a:t>
                      </a:r>
                      <a:r>
                        <a:rPr kumimoji="1" lang="ko-KR" altLang="en-US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팀</a:t>
                      </a:r>
                      <a:endParaRPr kumimoji="1" lang="ko-KR" altLang="ko-KR" sz="1000" b="0" kern="1200" spc="0" baseline="0" dirty="0" smtClean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ko-KR" sz="1000" b="0" kern="1200" spc="0" baseline="0" dirty="0" smtClean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 PM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3963"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6" name="AutoShape 113"/>
          <p:cNvSpPr>
            <a:spLocks noChangeArrowheads="1"/>
          </p:cNvSpPr>
          <p:nvPr/>
        </p:nvSpPr>
        <p:spPr bwMode="auto">
          <a:xfrm>
            <a:off x="3145329" y="4087719"/>
            <a:ext cx="1231607" cy="811213"/>
          </a:xfrm>
          <a:prstGeom prst="roundRect">
            <a:avLst>
              <a:gd name="adj" fmla="val 5926"/>
            </a:avLst>
          </a:prstGeom>
          <a:pattFill prst="wdUpDiag">
            <a:fgClr>
              <a:srgbClr val="EAEAEA"/>
            </a:fgClr>
            <a:bgClr>
              <a:srgbClr val="FFFFFF"/>
            </a:bgClr>
          </a:pattFill>
          <a:ln w="9525">
            <a:noFill/>
            <a:round/>
            <a:headEnd/>
            <a:tailEnd/>
          </a:ln>
        </p:spPr>
        <p:txBody>
          <a:bodyPr lIns="54000" tIns="25200" rIns="54000" bIns="2520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7" name="Line 82"/>
          <p:cNvSpPr>
            <a:spLocks noChangeShapeType="1"/>
          </p:cNvSpPr>
          <p:nvPr/>
        </p:nvSpPr>
        <p:spPr bwMode="auto">
          <a:xfrm>
            <a:off x="337568" y="2779619"/>
            <a:ext cx="0" cy="3254375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8" name="Line 83"/>
          <p:cNvSpPr>
            <a:spLocks noChangeShapeType="1"/>
          </p:cNvSpPr>
          <p:nvPr/>
        </p:nvSpPr>
        <p:spPr bwMode="auto">
          <a:xfrm>
            <a:off x="7008243" y="2779619"/>
            <a:ext cx="0" cy="73660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9" name="Line 85"/>
          <p:cNvSpPr>
            <a:spLocks noChangeShapeType="1"/>
          </p:cNvSpPr>
          <p:nvPr/>
        </p:nvSpPr>
        <p:spPr bwMode="auto">
          <a:xfrm>
            <a:off x="7008243" y="3224119"/>
            <a:ext cx="0" cy="118903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0" name="Rectangle 88"/>
          <p:cNvSpPr>
            <a:spLocks noChangeArrowheads="1"/>
          </p:cNvSpPr>
          <p:nvPr/>
        </p:nvSpPr>
        <p:spPr bwMode="gray">
          <a:xfrm>
            <a:off x="3192943" y="4560794"/>
            <a:ext cx="1134792" cy="236538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치예정등록</a:t>
            </a:r>
          </a:p>
        </p:txBody>
      </p:sp>
      <p:sp>
        <p:nvSpPr>
          <p:cNvPr id="111" name="Rectangle 89"/>
          <p:cNvSpPr>
            <a:spLocks noChangeArrowheads="1"/>
          </p:cNvSpPr>
          <p:nvPr/>
        </p:nvSpPr>
        <p:spPr bwMode="gray">
          <a:xfrm>
            <a:off x="3205640" y="5425982"/>
            <a:ext cx="1110986" cy="287338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치완료등록</a:t>
            </a:r>
          </a:p>
        </p:txBody>
      </p:sp>
      <p:sp>
        <p:nvSpPr>
          <p:cNvPr id="112" name="Rectangle 90"/>
          <p:cNvSpPr>
            <a:spLocks noChangeArrowheads="1"/>
          </p:cNvSpPr>
          <p:nvPr/>
        </p:nvSpPr>
        <p:spPr bwMode="gray">
          <a:xfrm>
            <a:off x="1239053" y="5425982"/>
            <a:ext cx="818955" cy="287338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치 </a:t>
            </a:r>
            <a:b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조회</a:t>
            </a:r>
          </a:p>
        </p:txBody>
      </p:sp>
      <p:cxnSp>
        <p:nvCxnSpPr>
          <p:cNvPr id="113" name="AutoShape 91"/>
          <p:cNvCxnSpPr>
            <a:cxnSpLocks noChangeShapeType="1"/>
          </p:cNvCxnSpPr>
          <p:nvPr/>
        </p:nvCxnSpPr>
        <p:spPr bwMode="auto">
          <a:xfrm flipH="1" flipV="1">
            <a:off x="2848142" y="5568857"/>
            <a:ext cx="387258" cy="1588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14" name="AutoShape 92"/>
          <p:cNvCxnSpPr>
            <a:cxnSpLocks noChangeShapeType="1"/>
            <a:stCxn id="110" idx="2"/>
            <a:endCxn id="132" idx="0"/>
          </p:cNvCxnSpPr>
          <p:nvPr/>
        </p:nvCxnSpPr>
        <p:spPr bwMode="auto">
          <a:xfrm>
            <a:off x="3761133" y="4797332"/>
            <a:ext cx="0" cy="239713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15" name="AutoShape 93"/>
          <p:cNvCxnSpPr>
            <a:cxnSpLocks noChangeShapeType="1"/>
            <a:endCxn id="112" idx="3"/>
          </p:cNvCxnSpPr>
          <p:nvPr/>
        </p:nvCxnSpPr>
        <p:spPr bwMode="auto">
          <a:xfrm rot="10800000">
            <a:off x="2058009" y="5570444"/>
            <a:ext cx="217436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sp>
        <p:nvSpPr>
          <p:cNvPr id="116" name="AutoShape 94"/>
          <p:cNvSpPr>
            <a:spLocks noChangeArrowheads="1"/>
          </p:cNvSpPr>
          <p:nvPr/>
        </p:nvSpPr>
        <p:spPr bwMode="gray">
          <a:xfrm>
            <a:off x="3288170" y="3467007"/>
            <a:ext cx="947512" cy="387350"/>
          </a:xfrm>
          <a:prstGeom prst="flowChartDecision">
            <a:avLst/>
          </a:prstGeom>
          <a:solidFill>
            <a:srgbClr val="0077C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81660"/>
            <a: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함구분</a:t>
            </a:r>
            <a:b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판단</a:t>
            </a:r>
          </a:p>
        </p:txBody>
      </p:sp>
      <p:sp>
        <p:nvSpPr>
          <p:cNvPr id="117" name="Rectangle 95"/>
          <p:cNvSpPr>
            <a:spLocks noChangeArrowheads="1"/>
          </p:cNvSpPr>
          <p:nvPr/>
        </p:nvSpPr>
        <p:spPr bwMode="auto">
          <a:xfrm>
            <a:off x="1188951" y="2803432"/>
            <a:ext cx="911008" cy="287338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 tIns="46800" anchor="ctr"/>
          <a:lstStyle/>
          <a:p>
            <a:pPr algn="ctr"/>
            <a:r>
              <a:rPr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</a:t>
            </a:r>
            <a:r>
              <a:rPr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재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</a:t>
            </a:r>
          </a:p>
        </p:txBody>
      </p:sp>
      <p:sp>
        <p:nvSpPr>
          <p:cNvPr id="118" name="Rectangle 97"/>
          <p:cNvSpPr>
            <a:spLocks noChangeArrowheads="1"/>
          </p:cNvSpPr>
          <p:nvPr/>
        </p:nvSpPr>
        <p:spPr bwMode="gray">
          <a:xfrm>
            <a:off x="1190539" y="4456019"/>
            <a:ext cx="907834" cy="450850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재 </a:t>
            </a:r>
            <a:r>
              <a:rPr lang="ko-KR" altLang="en-US" sz="800" spc="-50" dirty="0" smtClean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등록</a:t>
            </a:r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상</a:t>
            </a:r>
            <a:r>
              <a:rPr lang="en-US" altLang="ko-KR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</a:p>
        </p:txBody>
      </p:sp>
      <p:cxnSp>
        <p:nvCxnSpPr>
          <p:cNvPr id="119" name="AutoShape 98"/>
          <p:cNvCxnSpPr>
            <a:cxnSpLocks noChangeShapeType="1"/>
            <a:stCxn id="117" idx="2"/>
            <a:endCxn id="164" idx="0"/>
          </p:cNvCxnSpPr>
          <p:nvPr/>
        </p:nvCxnSpPr>
        <p:spPr bwMode="auto">
          <a:xfrm>
            <a:off x="1644456" y="3090769"/>
            <a:ext cx="0" cy="12382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sp>
        <p:nvSpPr>
          <p:cNvPr id="120" name="Text Box 99"/>
          <p:cNvSpPr txBox="1">
            <a:spLocks noChangeArrowheads="1"/>
          </p:cNvSpPr>
          <p:nvPr/>
        </p:nvSpPr>
        <p:spPr bwMode="auto">
          <a:xfrm>
            <a:off x="2077740" y="3203482"/>
            <a:ext cx="6189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Y</a:t>
            </a:r>
          </a:p>
        </p:txBody>
      </p:sp>
      <p:cxnSp>
        <p:nvCxnSpPr>
          <p:cNvPr id="121" name="AutoShape 101"/>
          <p:cNvCxnSpPr>
            <a:cxnSpLocks noChangeShapeType="1"/>
            <a:stCxn id="112" idx="1"/>
            <a:endCxn id="117" idx="1"/>
          </p:cNvCxnSpPr>
          <p:nvPr/>
        </p:nvCxnSpPr>
        <p:spPr bwMode="auto">
          <a:xfrm rot="10800000">
            <a:off x="1188951" y="2947101"/>
            <a:ext cx="50102" cy="2622550"/>
          </a:xfrm>
          <a:prstGeom prst="bentConnector3">
            <a:avLst>
              <a:gd name="adj1" fmla="val 556269"/>
            </a:avLst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22" name="Rectangle 102"/>
          <p:cNvSpPr>
            <a:spLocks noChangeArrowheads="1"/>
          </p:cNvSpPr>
          <p:nvPr/>
        </p:nvSpPr>
        <p:spPr bwMode="gray">
          <a:xfrm>
            <a:off x="2199948" y="3235232"/>
            <a:ext cx="609455" cy="287338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함등록</a:t>
            </a:r>
          </a:p>
        </p:txBody>
      </p:sp>
      <p:cxnSp>
        <p:nvCxnSpPr>
          <p:cNvPr id="123" name="AutoShape 103"/>
          <p:cNvCxnSpPr>
            <a:cxnSpLocks noChangeShapeType="1"/>
            <a:stCxn id="132" idx="2"/>
            <a:endCxn id="111" idx="0"/>
          </p:cNvCxnSpPr>
          <p:nvPr/>
        </p:nvCxnSpPr>
        <p:spPr bwMode="auto">
          <a:xfrm rot="5400000">
            <a:off x="3710333" y="5375182"/>
            <a:ext cx="101600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24" name="AutoShape 104"/>
          <p:cNvCxnSpPr>
            <a:cxnSpLocks noChangeShapeType="1"/>
            <a:endCxn id="116" idx="0"/>
          </p:cNvCxnSpPr>
          <p:nvPr/>
        </p:nvCxnSpPr>
        <p:spPr bwMode="auto">
          <a:xfrm flipH="1">
            <a:off x="3762720" y="3000282"/>
            <a:ext cx="134905" cy="466725"/>
          </a:xfrm>
          <a:prstGeom prst="bentConnector4">
            <a:avLst>
              <a:gd name="adj1" fmla="val -162898"/>
              <a:gd name="adj2" fmla="val 74537"/>
            </a:avLst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cxnSp>
        <p:nvCxnSpPr>
          <p:cNvPr id="125" name="AutoShape 105"/>
          <p:cNvCxnSpPr>
            <a:cxnSpLocks noChangeShapeType="1"/>
            <a:stCxn id="164" idx="2"/>
            <a:endCxn id="118" idx="0"/>
          </p:cNvCxnSpPr>
          <p:nvPr/>
        </p:nvCxnSpPr>
        <p:spPr bwMode="auto">
          <a:xfrm rot="5400000">
            <a:off x="1157093" y="3968657"/>
            <a:ext cx="974725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sp>
        <p:nvSpPr>
          <p:cNvPr id="126" name="Text Box 106"/>
          <p:cNvSpPr txBox="1">
            <a:spLocks noChangeArrowheads="1"/>
          </p:cNvSpPr>
          <p:nvPr/>
        </p:nvSpPr>
        <p:spPr bwMode="auto">
          <a:xfrm>
            <a:off x="1466698" y="3490819"/>
            <a:ext cx="7300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N</a:t>
            </a:r>
          </a:p>
        </p:txBody>
      </p:sp>
      <p:sp>
        <p:nvSpPr>
          <p:cNvPr id="127" name="AutoShape 107" descr="5차전산센터ob-10"/>
          <p:cNvSpPr>
            <a:spLocks noChangeArrowheads="1"/>
          </p:cNvSpPr>
          <p:nvPr/>
        </p:nvSpPr>
        <p:spPr bwMode="auto">
          <a:xfrm>
            <a:off x="1136576" y="5057682"/>
            <a:ext cx="1009410" cy="287338"/>
          </a:xfrm>
          <a:prstGeom prst="roundRect">
            <a:avLst>
              <a:gd name="adj" fmla="val 50000"/>
            </a:avLst>
          </a:prstGeom>
          <a:blipFill dpi="0" rotWithShape="1">
            <a:blip r:embed="rId3" cstate="print"/>
            <a:srcRect/>
            <a:stretch>
              <a:fillRect/>
            </a:stretch>
          </a:blipFill>
          <a:ln w="6350" algn="ctr">
            <a:solidFill>
              <a:srgbClr val="CDD1CF"/>
            </a:solidFill>
            <a:round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결함사이클</a:t>
            </a:r>
          </a:p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종료</a:t>
            </a:r>
          </a:p>
        </p:txBody>
      </p:sp>
      <p:cxnSp>
        <p:nvCxnSpPr>
          <p:cNvPr id="128" name="AutoShape 108"/>
          <p:cNvCxnSpPr>
            <a:cxnSpLocks noChangeShapeType="1"/>
            <a:stCxn id="118" idx="2"/>
            <a:endCxn id="127" idx="0"/>
          </p:cNvCxnSpPr>
          <p:nvPr/>
        </p:nvCxnSpPr>
        <p:spPr bwMode="auto">
          <a:xfrm flipH="1">
            <a:off x="1641281" y="4906869"/>
            <a:ext cx="3174" cy="150813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29" name="AutoShape 109"/>
          <p:cNvCxnSpPr>
            <a:cxnSpLocks noChangeShapeType="1"/>
            <a:stCxn id="116" idx="3"/>
            <a:endCxn id="131" idx="1"/>
          </p:cNvCxnSpPr>
          <p:nvPr/>
        </p:nvCxnSpPr>
        <p:spPr bwMode="auto">
          <a:xfrm flipV="1">
            <a:off x="4235682" y="3659094"/>
            <a:ext cx="273976" cy="1588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30" name="AutoShape 110" descr="5차전산센터ob-10"/>
          <p:cNvSpPr>
            <a:spLocks noChangeArrowheads="1"/>
          </p:cNvSpPr>
          <p:nvPr/>
        </p:nvSpPr>
        <p:spPr bwMode="auto">
          <a:xfrm>
            <a:off x="6116280" y="3721007"/>
            <a:ext cx="807845" cy="287338"/>
          </a:xfrm>
          <a:prstGeom prst="roundRect">
            <a:avLst>
              <a:gd name="adj" fmla="val 50000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6350" algn="ctr">
            <a:solidFill>
              <a:srgbClr val="CDD1CF"/>
            </a:solidFill>
            <a:round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요건변경</a:t>
            </a:r>
          </a:p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관리 </a:t>
            </a:r>
            <a:r>
              <a:rPr lang="en-US" altLang="ko-KR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F/U</a:t>
            </a:r>
          </a:p>
        </p:txBody>
      </p:sp>
      <p:sp>
        <p:nvSpPr>
          <p:cNvPr id="131" name="AutoShape 112"/>
          <p:cNvSpPr>
            <a:spLocks noChangeArrowheads="1"/>
          </p:cNvSpPr>
          <p:nvPr/>
        </p:nvSpPr>
        <p:spPr bwMode="gray">
          <a:xfrm>
            <a:off x="4509658" y="3433669"/>
            <a:ext cx="909421" cy="450850"/>
          </a:xfrm>
          <a:prstGeom prst="flowChartDecision">
            <a:avLst/>
          </a:prstGeom>
          <a:solidFill>
            <a:srgbClr val="0077C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81660"/>
            <a: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환경개선</a:t>
            </a:r>
          </a:p>
          <a:p>
            <a:pPr algn="ctr" defTabSz="881660"/>
            <a: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항</a:t>
            </a:r>
          </a:p>
        </p:txBody>
      </p:sp>
      <p:sp>
        <p:nvSpPr>
          <p:cNvPr id="132" name="Rectangle 114" descr="5차전산센터ob-10"/>
          <p:cNvSpPr>
            <a:spLocks noChangeArrowheads="1"/>
          </p:cNvSpPr>
          <p:nvPr/>
        </p:nvSpPr>
        <p:spPr bwMode="auto">
          <a:xfrm>
            <a:off x="3192943" y="5037044"/>
            <a:ext cx="1133205" cy="287338"/>
          </a:xfrm>
          <a:prstGeom prst="rect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6350" algn="ctr">
            <a:solidFill>
              <a:srgbClr val="CDD1CF"/>
            </a:solidFill>
            <a:miter lim="800000"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조치 활동</a:t>
            </a:r>
          </a:p>
        </p:txBody>
      </p:sp>
      <p:cxnSp>
        <p:nvCxnSpPr>
          <p:cNvPr id="133" name="AutoShape 115"/>
          <p:cNvCxnSpPr>
            <a:cxnSpLocks noChangeShapeType="1"/>
            <a:stCxn id="142" idx="3"/>
            <a:endCxn id="135" idx="1"/>
          </p:cNvCxnSpPr>
          <p:nvPr/>
        </p:nvCxnSpPr>
        <p:spPr bwMode="auto">
          <a:xfrm>
            <a:off x="5820981" y="5131501"/>
            <a:ext cx="295299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34" name="AutoShape 116"/>
          <p:cNvCxnSpPr>
            <a:cxnSpLocks noChangeShapeType="1"/>
            <a:stCxn id="136" idx="1"/>
          </p:cNvCxnSpPr>
          <p:nvPr/>
        </p:nvCxnSpPr>
        <p:spPr bwMode="auto">
          <a:xfrm rot="10800000">
            <a:off x="2545255" y="5778407"/>
            <a:ext cx="3580548" cy="146050"/>
          </a:xfrm>
          <a:prstGeom prst="bentConnector2">
            <a:avLst/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35" name="Rectangle 117"/>
          <p:cNvSpPr>
            <a:spLocks noChangeArrowheads="1"/>
          </p:cNvSpPr>
          <p:nvPr/>
        </p:nvSpPr>
        <p:spPr bwMode="gray">
          <a:xfrm>
            <a:off x="6116280" y="4987832"/>
            <a:ext cx="807845" cy="287338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치예정 등록</a:t>
            </a:r>
          </a:p>
        </p:txBody>
      </p:sp>
      <p:sp>
        <p:nvSpPr>
          <p:cNvPr id="136" name="Rectangle 118"/>
          <p:cNvSpPr>
            <a:spLocks noChangeArrowheads="1"/>
          </p:cNvSpPr>
          <p:nvPr/>
        </p:nvSpPr>
        <p:spPr bwMode="gray">
          <a:xfrm>
            <a:off x="6125803" y="5779994"/>
            <a:ext cx="788800" cy="287338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치완료등록</a:t>
            </a:r>
          </a:p>
        </p:txBody>
      </p:sp>
      <p:sp>
        <p:nvSpPr>
          <p:cNvPr id="137" name="Rectangle 119" descr="5차전산센터ob-10"/>
          <p:cNvSpPr>
            <a:spLocks noChangeArrowheads="1"/>
          </p:cNvSpPr>
          <p:nvPr/>
        </p:nvSpPr>
        <p:spPr bwMode="auto">
          <a:xfrm>
            <a:off x="6116280" y="5398994"/>
            <a:ext cx="807845" cy="287338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 w="6350" algn="ctr">
            <a:solidFill>
              <a:srgbClr val="CDD1CF"/>
            </a:solidFill>
            <a:miter lim="800000"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조치 활동</a:t>
            </a:r>
          </a:p>
        </p:txBody>
      </p:sp>
      <p:cxnSp>
        <p:nvCxnSpPr>
          <p:cNvPr id="138" name="AutoShape 120"/>
          <p:cNvCxnSpPr>
            <a:cxnSpLocks noChangeShapeType="1"/>
            <a:stCxn id="135" idx="2"/>
            <a:endCxn id="137" idx="0"/>
          </p:cNvCxnSpPr>
          <p:nvPr/>
        </p:nvCxnSpPr>
        <p:spPr bwMode="auto">
          <a:xfrm>
            <a:off x="6520996" y="5275169"/>
            <a:ext cx="0" cy="12382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39" name="AutoShape 121"/>
          <p:cNvCxnSpPr>
            <a:cxnSpLocks noChangeShapeType="1"/>
            <a:stCxn id="137" idx="2"/>
            <a:endCxn id="136" idx="0"/>
          </p:cNvCxnSpPr>
          <p:nvPr/>
        </p:nvCxnSpPr>
        <p:spPr bwMode="auto">
          <a:xfrm rot="5400000">
            <a:off x="6473372" y="5733957"/>
            <a:ext cx="93663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sp>
        <p:nvSpPr>
          <p:cNvPr id="140" name="Rectangle 122"/>
          <p:cNvSpPr>
            <a:spLocks noChangeArrowheads="1"/>
          </p:cNvSpPr>
          <p:nvPr/>
        </p:nvSpPr>
        <p:spPr bwMode="auto">
          <a:xfrm>
            <a:off x="5183052" y="4005169"/>
            <a:ext cx="703095" cy="287338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 wrap="none" tIns="46800" anchor="ctr"/>
          <a:lstStyle/>
          <a:p>
            <a:pPr algn="ctr"/>
            <a:r>
              <a:rPr lang="ko-KR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건변경</a:t>
            </a:r>
            <a:endParaRPr lang="ko-KR" altLang="en-US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/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항</a:t>
            </a:r>
            <a:r>
              <a:rPr lang="ko-KR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관</a:t>
            </a:r>
            <a:endParaRPr lang="ko-KR" altLang="en-US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41" name="AutoShape 123"/>
          <p:cNvCxnSpPr>
            <a:cxnSpLocks noChangeShapeType="1"/>
            <a:stCxn id="140" idx="3"/>
            <a:endCxn id="130" idx="1"/>
          </p:cNvCxnSpPr>
          <p:nvPr/>
        </p:nvCxnSpPr>
        <p:spPr bwMode="auto">
          <a:xfrm flipV="1">
            <a:off x="5886148" y="3865469"/>
            <a:ext cx="230133" cy="284163"/>
          </a:xfrm>
          <a:prstGeom prst="bentConnector3">
            <a:avLst>
              <a:gd name="adj1" fmla="val 49657"/>
            </a:avLst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42" name="Rectangle 124" descr="5차전산센터ob-10"/>
          <p:cNvSpPr>
            <a:spLocks noChangeArrowheads="1"/>
          </p:cNvSpPr>
          <p:nvPr/>
        </p:nvSpPr>
        <p:spPr bwMode="auto">
          <a:xfrm>
            <a:off x="4736976" y="4830669"/>
            <a:ext cx="1084005" cy="601663"/>
          </a:xfrm>
          <a:prstGeom prst="rect">
            <a:avLst/>
          </a:prstGeom>
          <a:blipFill dpi="0" rotWithShape="1">
            <a:blip r:embed="rId6" cstate="print"/>
            <a:srcRect/>
            <a:stretch>
              <a:fillRect/>
            </a:stretch>
          </a:blipFill>
          <a:ln w="6350" algn="ctr">
            <a:solidFill>
              <a:srgbClr val="CDD1CF"/>
            </a:solidFill>
            <a:miter lim="800000"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/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환경개선사항 </a:t>
            </a:r>
            <a:r>
              <a:rPr lang="ko-KR" altLang="ko-KR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이관</a:t>
            </a:r>
            <a:endParaRPr lang="ko-KR" altLang="en-US" sz="800" dirty="0"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 및</a:t>
            </a:r>
          </a:p>
          <a:p>
            <a:pPr algn="ctr" defTabSz="773831">
              <a:defRPr/>
            </a:pPr>
            <a:r>
              <a:rPr lang="ko-KR" altLang="en-US" sz="800" dirty="0"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진척사항 모니터링</a:t>
            </a:r>
          </a:p>
        </p:txBody>
      </p:sp>
      <p:cxnSp>
        <p:nvCxnSpPr>
          <p:cNvPr id="143" name="AutoShape 125"/>
          <p:cNvCxnSpPr>
            <a:cxnSpLocks noChangeShapeType="1"/>
            <a:stCxn id="131" idx="2"/>
            <a:endCxn id="142" idx="1"/>
          </p:cNvCxnSpPr>
          <p:nvPr/>
        </p:nvCxnSpPr>
        <p:spPr bwMode="auto">
          <a:xfrm rot="5400000">
            <a:off x="4227182" y="4394314"/>
            <a:ext cx="1246982" cy="227393"/>
          </a:xfrm>
          <a:prstGeom prst="bentConnector4">
            <a:avLst>
              <a:gd name="adj1" fmla="val 37938"/>
              <a:gd name="adj2" fmla="val 156662"/>
            </a:avLst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44" name="Text Box 126"/>
          <p:cNvSpPr txBox="1">
            <a:spLocks noChangeArrowheads="1"/>
          </p:cNvSpPr>
          <p:nvPr/>
        </p:nvSpPr>
        <p:spPr bwMode="auto">
          <a:xfrm>
            <a:off x="5030689" y="3227294"/>
            <a:ext cx="7300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N</a:t>
            </a:r>
          </a:p>
        </p:txBody>
      </p:sp>
      <p:sp>
        <p:nvSpPr>
          <p:cNvPr id="145" name="Text Box 127"/>
          <p:cNvSpPr txBox="1">
            <a:spLocks noChangeArrowheads="1"/>
          </p:cNvSpPr>
          <p:nvPr/>
        </p:nvSpPr>
        <p:spPr bwMode="auto">
          <a:xfrm>
            <a:off x="4792620" y="3903569"/>
            <a:ext cx="6189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Y</a:t>
            </a:r>
          </a:p>
        </p:txBody>
      </p:sp>
      <p:sp>
        <p:nvSpPr>
          <p:cNvPr id="146" name="Rectangle 128"/>
          <p:cNvSpPr>
            <a:spLocks noChangeArrowheads="1"/>
          </p:cNvSpPr>
          <p:nvPr/>
        </p:nvSpPr>
        <p:spPr bwMode="auto">
          <a:xfrm>
            <a:off x="2198361" y="3630519"/>
            <a:ext cx="611042" cy="287338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 lIns="36000" tIns="46800" rIns="36000" anchor="ctr"/>
          <a:lstStyle/>
          <a:p>
            <a:pPr algn="ctr"/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함분석</a:t>
            </a:r>
          </a:p>
        </p:txBody>
      </p:sp>
      <p:sp>
        <p:nvSpPr>
          <p:cNvPr id="147" name="AutoShape 129"/>
          <p:cNvSpPr>
            <a:spLocks noChangeArrowheads="1"/>
          </p:cNvSpPr>
          <p:nvPr/>
        </p:nvSpPr>
        <p:spPr bwMode="gray">
          <a:xfrm>
            <a:off x="2198361" y="4081369"/>
            <a:ext cx="607868" cy="452438"/>
          </a:xfrm>
          <a:prstGeom prst="flowChartDecision">
            <a:avLst/>
          </a:prstGeom>
          <a:solidFill>
            <a:srgbClr val="0077C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81660"/>
            <a: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치</a:t>
            </a:r>
          </a:p>
          <a:p>
            <a:pPr algn="ctr" defTabSz="881660"/>
            <a: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상</a:t>
            </a:r>
          </a:p>
        </p:txBody>
      </p:sp>
      <p:cxnSp>
        <p:nvCxnSpPr>
          <p:cNvPr id="148" name="AutoShape 130"/>
          <p:cNvCxnSpPr>
            <a:cxnSpLocks noChangeShapeType="1"/>
            <a:stCxn id="122" idx="2"/>
            <a:endCxn id="146" idx="0"/>
          </p:cNvCxnSpPr>
          <p:nvPr/>
        </p:nvCxnSpPr>
        <p:spPr bwMode="auto">
          <a:xfrm>
            <a:off x="2504676" y="3522569"/>
            <a:ext cx="0" cy="10795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49" name="AutoShape 131"/>
          <p:cNvCxnSpPr>
            <a:cxnSpLocks noChangeShapeType="1"/>
            <a:stCxn id="146" idx="2"/>
            <a:endCxn id="147" idx="0"/>
          </p:cNvCxnSpPr>
          <p:nvPr/>
        </p:nvCxnSpPr>
        <p:spPr bwMode="auto">
          <a:xfrm flipH="1">
            <a:off x="2503089" y="3917857"/>
            <a:ext cx="1587" cy="163513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</p:cxnSp>
      <p:cxnSp>
        <p:nvCxnSpPr>
          <p:cNvPr id="150" name="AutoShape 132"/>
          <p:cNvCxnSpPr>
            <a:cxnSpLocks noChangeShapeType="1"/>
            <a:stCxn id="147" idx="2"/>
            <a:endCxn id="118" idx="3"/>
          </p:cNvCxnSpPr>
          <p:nvPr/>
        </p:nvCxnSpPr>
        <p:spPr bwMode="auto">
          <a:xfrm rot="5400000">
            <a:off x="2226912" y="4405267"/>
            <a:ext cx="147638" cy="404716"/>
          </a:xfrm>
          <a:prstGeom prst="bentConnector2">
            <a:avLst/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51" name="Text Box 133"/>
          <p:cNvSpPr txBox="1">
            <a:spLocks noChangeArrowheads="1"/>
          </p:cNvSpPr>
          <p:nvPr/>
        </p:nvSpPr>
        <p:spPr bwMode="auto">
          <a:xfrm>
            <a:off x="2244388" y="4730657"/>
            <a:ext cx="7300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N</a:t>
            </a:r>
          </a:p>
        </p:txBody>
      </p:sp>
      <p:cxnSp>
        <p:nvCxnSpPr>
          <p:cNvPr id="152" name="AutoShape 134"/>
          <p:cNvCxnSpPr>
            <a:cxnSpLocks noChangeShapeType="1"/>
            <a:stCxn id="147" idx="3"/>
            <a:endCxn id="170" idx="1"/>
          </p:cNvCxnSpPr>
          <p:nvPr/>
        </p:nvCxnSpPr>
        <p:spPr bwMode="auto">
          <a:xfrm flipV="1">
            <a:off x="2806229" y="3010601"/>
            <a:ext cx="643565" cy="1296987"/>
          </a:xfrm>
          <a:prstGeom prst="bentConnector3">
            <a:avLst>
              <a:gd name="adj1" fmla="val 39667"/>
            </a:avLst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53" name="Text Box 135"/>
          <p:cNvSpPr txBox="1">
            <a:spLocks noChangeArrowheads="1"/>
          </p:cNvSpPr>
          <p:nvPr/>
        </p:nvSpPr>
        <p:spPr bwMode="auto">
          <a:xfrm>
            <a:off x="2936776" y="4148044"/>
            <a:ext cx="6189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Y</a:t>
            </a:r>
          </a:p>
        </p:txBody>
      </p:sp>
      <p:sp>
        <p:nvSpPr>
          <p:cNvPr id="154" name="Line 136"/>
          <p:cNvSpPr>
            <a:spLocks noChangeShapeType="1"/>
          </p:cNvSpPr>
          <p:nvPr/>
        </p:nvSpPr>
        <p:spPr bwMode="auto">
          <a:xfrm>
            <a:off x="3762720" y="3855944"/>
            <a:ext cx="0" cy="319088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55" name="Line 137"/>
          <p:cNvSpPr>
            <a:spLocks noChangeShapeType="1"/>
          </p:cNvSpPr>
          <p:nvPr/>
        </p:nvSpPr>
        <p:spPr bwMode="auto">
          <a:xfrm>
            <a:off x="3762720" y="4411569"/>
            <a:ext cx="0" cy="149225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56" name="Text Box 138"/>
          <p:cNvSpPr txBox="1">
            <a:spLocks noChangeArrowheads="1"/>
          </p:cNvSpPr>
          <p:nvPr/>
        </p:nvSpPr>
        <p:spPr bwMode="auto">
          <a:xfrm>
            <a:off x="3286583" y="3824194"/>
            <a:ext cx="3666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치필요</a:t>
            </a:r>
          </a:p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항</a:t>
            </a:r>
          </a:p>
        </p:txBody>
      </p:sp>
      <p:sp>
        <p:nvSpPr>
          <p:cNvPr id="157" name="Text Box 139"/>
          <p:cNvSpPr txBox="1">
            <a:spLocks noChangeArrowheads="1"/>
          </p:cNvSpPr>
          <p:nvPr/>
        </p:nvSpPr>
        <p:spPr bwMode="auto">
          <a:xfrm>
            <a:off x="4132377" y="3370169"/>
            <a:ext cx="3666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치필요</a:t>
            </a:r>
            <a:endParaRPr lang="en-US" altLang="ko-KR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항 외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58" name="AutoShape 140"/>
          <p:cNvCxnSpPr>
            <a:cxnSpLocks noChangeShapeType="1"/>
            <a:stCxn id="131" idx="3"/>
            <a:endCxn id="140" idx="0"/>
          </p:cNvCxnSpPr>
          <p:nvPr/>
        </p:nvCxnSpPr>
        <p:spPr bwMode="auto">
          <a:xfrm>
            <a:off x="5419079" y="3659094"/>
            <a:ext cx="115521" cy="346075"/>
          </a:xfrm>
          <a:prstGeom prst="bentConnector2">
            <a:avLst/>
          </a:prstGeom>
          <a:noFill/>
          <a:ln w="6350">
            <a:solidFill>
              <a:srgbClr val="969696"/>
            </a:solidFill>
            <a:miter lim="800000"/>
            <a:headEnd/>
            <a:tailEnd type="triangle" w="sm" len="sm"/>
          </a:ln>
        </p:spPr>
      </p:cxnSp>
      <p:sp>
        <p:nvSpPr>
          <p:cNvPr id="159" name="Line 141"/>
          <p:cNvSpPr>
            <a:spLocks noChangeShapeType="1"/>
          </p:cNvSpPr>
          <p:nvPr/>
        </p:nvSpPr>
        <p:spPr bwMode="auto">
          <a:xfrm flipH="1">
            <a:off x="4124908" y="3103469"/>
            <a:ext cx="844984" cy="0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0" name="Line 142"/>
          <p:cNvSpPr>
            <a:spLocks noChangeShapeType="1"/>
          </p:cNvSpPr>
          <p:nvPr/>
        </p:nvSpPr>
        <p:spPr bwMode="auto">
          <a:xfrm flipV="1">
            <a:off x="4967204" y="3103469"/>
            <a:ext cx="0" cy="338138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/>
            <a:tailEnd type="none" w="sm" len="sm"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1" name="Text Box 143"/>
          <p:cNvSpPr txBox="1">
            <a:spLocks noChangeArrowheads="1"/>
          </p:cNvSpPr>
          <p:nvPr/>
        </p:nvSpPr>
        <p:spPr bwMode="auto">
          <a:xfrm>
            <a:off x="5451276" y="3536857"/>
            <a:ext cx="6189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11002" indent="-111002" algn="ctr" defTabSz="1508019">
              <a:buClr>
                <a:srgbClr val="969696"/>
              </a:buClr>
              <a:buSzPct val="80000"/>
            </a:pP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Y</a:t>
            </a:r>
          </a:p>
        </p:txBody>
      </p:sp>
      <p:sp>
        <p:nvSpPr>
          <p:cNvPr id="162" name="Rectangle 156"/>
          <p:cNvSpPr>
            <a:spLocks noChangeArrowheads="1"/>
          </p:cNvSpPr>
          <p:nvPr/>
        </p:nvSpPr>
        <p:spPr bwMode="auto">
          <a:xfrm>
            <a:off x="416924" y="4252819"/>
            <a:ext cx="2618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ko-KR" altLang="en-US" sz="1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처리</a:t>
            </a:r>
          </a:p>
          <a:p>
            <a:pPr algn="ctr"/>
            <a:r>
              <a:rPr lang="ko-KR" altLang="en-US" sz="1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흐름</a:t>
            </a:r>
          </a:p>
        </p:txBody>
      </p:sp>
      <p:sp>
        <p:nvSpPr>
          <p:cNvPr id="163" name="Line 449"/>
          <p:cNvSpPr>
            <a:spLocks noChangeShapeType="1"/>
          </p:cNvSpPr>
          <p:nvPr/>
        </p:nvSpPr>
        <p:spPr bwMode="auto">
          <a:xfrm>
            <a:off x="1899982" y="3355882"/>
            <a:ext cx="287269" cy="0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sm" len="sm"/>
          </a:ln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4" name="AutoShape 96"/>
          <p:cNvSpPr>
            <a:spLocks noChangeArrowheads="1"/>
          </p:cNvSpPr>
          <p:nvPr/>
        </p:nvSpPr>
        <p:spPr bwMode="gray">
          <a:xfrm>
            <a:off x="1239739" y="3214594"/>
            <a:ext cx="809432" cy="266700"/>
          </a:xfrm>
          <a:prstGeom prst="flowChartDecision">
            <a:avLst/>
          </a:prstGeom>
          <a:solidFill>
            <a:srgbClr val="0077C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81660"/>
            <a:r>
              <a:rPr lang="ko-KR" altLang="en-US" sz="70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함</a:t>
            </a:r>
          </a:p>
        </p:txBody>
      </p:sp>
      <p:sp>
        <p:nvSpPr>
          <p:cNvPr id="165" name="Rectangle 111"/>
          <p:cNvSpPr>
            <a:spLocks noChangeArrowheads="1"/>
          </p:cNvSpPr>
          <p:nvPr/>
        </p:nvSpPr>
        <p:spPr bwMode="gray">
          <a:xfrm>
            <a:off x="3194530" y="4182969"/>
            <a:ext cx="1134792" cy="238125"/>
          </a:xfrm>
          <a:prstGeom prst="rect">
            <a:avLst/>
          </a:prstGeom>
          <a:solidFill>
            <a:srgbClr val="1A729E"/>
          </a:solidFill>
          <a:ln w="9525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/>
            <a:r>
              <a:rPr lang="ko-KR" altLang="en-US" sz="8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치자 지정</a:t>
            </a:r>
          </a:p>
        </p:txBody>
      </p:sp>
      <p:grpSp>
        <p:nvGrpSpPr>
          <p:cNvPr id="166" name="Group 455"/>
          <p:cNvGrpSpPr>
            <a:grpSpLocks/>
          </p:cNvGrpSpPr>
          <p:nvPr/>
        </p:nvGrpSpPr>
        <p:grpSpPr bwMode="auto">
          <a:xfrm>
            <a:off x="3449794" y="2766919"/>
            <a:ext cx="603106" cy="487363"/>
            <a:chOff x="4107" y="2595"/>
            <a:chExt cx="380" cy="307"/>
          </a:xfrm>
        </p:grpSpPr>
        <p:pic>
          <p:nvPicPr>
            <p:cNvPr id="170" name="Picture 456" descr="디비박스-진파랑"/>
            <p:cNvPicPr>
              <a:picLocks noChangeAspect="1" noChangeArrowheads="1"/>
            </p:cNvPicPr>
            <p:nvPr/>
          </p:nvPicPr>
          <p:blipFill>
            <a:blip r:embed="rId7" cstate="print">
              <a:lum bright="-6000" contrast="12000"/>
            </a:blip>
            <a:srcRect/>
            <a:stretch>
              <a:fillRect/>
            </a:stretch>
          </p:blipFill>
          <p:spPr bwMode="auto">
            <a:xfrm>
              <a:off x="4107" y="2595"/>
              <a:ext cx="380" cy="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1" name="Text Box 457"/>
            <p:cNvSpPr txBox="1">
              <a:spLocks noChangeArrowheads="1"/>
            </p:cNvSpPr>
            <p:nvPr/>
          </p:nvSpPr>
          <p:spPr bwMode="gray">
            <a:xfrm>
              <a:off x="4181" y="2727"/>
              <a:ext cx="230" cy="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62432"/>
              <a:r>
                <a:rPr lang="ko-KR" altLang="en-US" sz="8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결함내용</a:t>
              </a:r>
            </a:p>
          </p:txBody>
        </p:sp>
      </p:grpSp>
      <p:grpSp>
        <p:nvGrpSpPr>
          <p:cNvPr id="167" name="Group 461"/>
          <p:cNvGrpSpPr>
            <a:grpSpLocks/>
          </p:cNvGrpSpPr>
          <p:nvPr/>
        </p:nvGrpSpPr>
        <p:grpSpPr bwMode="auto">
          <a:xfrm>
            <a:off x="2257986" y="5303744"/>
            <a:ext cx="603106" cy="487363"/>
            <a:chOff x="4107" y="2595"/>
            <a:chExt cx="380" cy="307"/>
          </a:xfrm>
        </p:grpSpPr>
        <p:pic>
          <p:nvPicPr>
            <p:cNvPr id="168" name="Picture 462" descr="디비박스-진파랑"/>
            <p:cNvPicPr>
              <a:picLocks noChangeAspect="1" noChangeArrowheads="1"/>
            </p:cNvPicPr>
            <p:nvPr/>
          </p:nvPicPr>
          <p:blipFill>
            <a:blip r:embed="rId7" cstate="print">
              <a:lum bright="-6000" contrast="12000"/>
            </a:blip>
            <a:srcRect/>
            <a:stretch>
              <a:fillRect/>
            </a:stretch>
          </p:blipFill>
          <p:spPr bwMode="auto">
            <a:xfrm>
              <a:off x="4107" y="2595"/>
              <a:ext cx="380" cy="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9" name="Text Box 463"/>
            <p:cNvSpPr txBox="1">
              <a:spLocks noChangeArrowheads="1"/>
            </p:cNvSpPr>
            <p:nvPr/>
          </p:nvSpPr>
          <p:spPr bwMode="gray">
            <a:xfrm>
              <a:off x="4181" y="2727"/>
              <a:ext cx="230" cy="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62432"/>
              <a:r>
                <a:rPr lang="ko-KR" altLang="en-US" sz="8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조치결과</a:t>
              </a:r>
            </a:p>
          </p:txBody>
        </p:sp>
      </p:grpSp>
      <p:sp>
        <p:nvSpPr>
          <p:cNvPr id="17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7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7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377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요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172" name="Picture 192" descr="헤드(밑줄,별x)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0624" t="26370" r="6438" b="66487"/>
          <a:stretch>
            <a:fillRect/>
          </a:stretch>
        </p:blipFill>
        <p:spPr bwMode="auto">
          <a:xfrm>
            <a:off x="8841432" y="2060848"/>
            <a:ext cx="474662" cy="219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608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2.1 </a:t>
            </a:r>
            <a:r>
              <a:rPr lang="ko-KR" altLang="en-US" dirty="0"/>
              <a:t>테스트 단계 구성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다양한 프로젝트 수행 경험을 바탕으로 개발된 실무 중심의 테스트 방법을 적용하여 개발 단계별로 체계적인 테스트 프로세스를 수립하여 효율적인 테스트를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테스트 단계 구성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8843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테스트 방안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92" name="AutoShape 110"/>
          <p:cNvSpPr>
            <a:spLocks noChangeArrowheads="1"/>
          </p:cNvSpPr>
          <p:nvPr/>
        </p:nvSpPr>
        <p:spPr bwMode="auto">
          <a:xfrm>
            <a:off x="4722820" y="2196215"/>
            <a:ext cx="4694237" cy="926479"/>
          </a:xfrm>
          <a:prstGeom prst="roundRect">
            <a:avLst>
              <a:gd name="adj" fmla="val 2880"/>
            </a:avLst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04086" tIns="52043" rIns="104086" bIns="52043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93" name="Group 115"/>
          <p:cNvGrpSpPr>
            <a:grpSpLocks/>
          </p:cNvGrpSpPr>
          <p:nvPr/>
        </p:nvGrpSpPr>
        <p:grpSpPr bwMode="auto">
          <a:xfrm>
            <a:off x="4811720" y="2304383"/>
            <a:ext cx="1146175" cy="712495"/>
            <a:chOff x="3232" y="1104"/>
            <a:chExt cx="722" cy="303"/>
          </a:xfrm>
        </p:grpSpPr>
        <p:sp>
          <p:nvSpPr>
            <p:cNvPr id="195" name="AutoShape 112"/>
            <p:cNvSpPr>
              <a:spLocks noChangeArrowheads="1"/>
            </p:cNvSpPr>
            <p:nvPr/>
          </p:nvSpPr>
          <p:spPr bwMode="auto">
            <a:xfrm>
              <a:off x="3232" y="1104"/>
              <a:ext cx="692" cy="303"/>
            </a:xfrm>
            <a:prstGeom prst="roundRect">
              <a:avLst>
                <a:gd name="adj" fmla="val 9690"/>
              </a:avLst>
            </a:prstGeom>
            <a:solidFill>
              <a:srgbClr val="FFFFFF"/>
            </a:solidFill>
            <a:ln w="1270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54000" tIns="10800" rIns="54000" bIns="1080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ko-KR" altLang="en-US" sz="1200" spc="-70" dirty="0" smtClean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사용자 인수</a:t>
              </a:r>
              <a:r>
                <a:rPr lang="en-US" altLang="ko-KR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/>
              </a:r>
              <a:br>
                <a:rPr lang="en-US" altLang="ko-KR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</a:t>
              </a:r>
            </a:p>
          </p:txBody>
        </p:sp>
        <p:sp>
          <p:nvSpPr>
            <p:cNvPr id="196" name="Freeform 113"/>
            <p:cNvSpPr>
              <a:spLocks/>
            </p:cNvSpPr>
            <p:nvPr/>
          </p:nvSpPr>
          <p:spPr bwMode="auto">
            <a:xfrm>
              <a:off x="3918" y="1215"/>
              <a:ext cx="36" cy="81"/>
            </a:xfrm>
            <a:custGeom>
              <a:avLst/>
              <a:gdLst>
                <a:gd name="T0" fmla="*/ 0 w 99"/>
                <a:gd name="T1" fmla="*/ 0 h 144"/>
                <a:gd name="T2" fmla="*/ 0 w 99"/>
                <a:gd name="T3" fmla="*/ 1 h 144"/>
                <a:gd name="T4" fmla="*/ 0 w 99"/>
                <a:gd name="T5" fmla="*/ 1 h 144"/>
                <a:gd name="T6" fmla="*/ 0 60000 65536"/>
                <a:gd name="T7" fmla="*/ 0 60000 65536"/>
                <a:gd name="T8" fmla="*/ 0 60000 65536"/>
                <a:gd name="T9" fmla="*/ 0 w 99"/>
                <a:gd name="T10" fmla="*/ 0 h 144"/>
                <a:gd name="T11" fmla="*/ 99 w 99"/>
                <a:gd name="T12" fmla="*/ 144 h 1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" h="144">
                  <a:moveTo>
                    <a:pt x="0" y="0"/>
                  </a:moveTo>
                  <a:lnTo>
                    <a:pt x="99" y="73"/>
                  </a:lnTo>
                  <a:lnTo>
                    <a:pt x="0" y="144"/>
                  </a:lnTo>
                </a:path>
              </a:pathLst>
            </a:custGeom>
            <a:solidFill>
              <a:srgbClr val="FFFFFF"/>
            </a:solidFill>
            <a:ln w="12700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8000" tIns="10800" rIns="18000" bIns="1080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194" name="직사각형 94"/>
          <p:cNvSpPr>
            <a:spLocks noChangeArrowheads="1"/>
          </p:cNvSpPr>
          <p:nvPr/>
        </p:nvSpPr>
        <p:spPr bwMode="auto">
          <a:xfrm>
            <a:off x="6113470" y="2458328"/>
            <a:ext cx="31797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2550" indent="-825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구사항에 부합하는지 사용자가 실시하는 테스트</a:t>
            </a:r>
            <a:endParaRPr lang="ko-KR" altLang="en-US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요건에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한 업무수행 기능의 완전성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확성 테스트</a:t>
            </a:r>
          </a:p>
        </p:txBody>
      </p:sp>
      <p:sp>
        <p:nvSpPr>
          <p:cNvPr id="187" name="AutoShape 118"/>
          <p:cNvSpPr>
            <a:spLocks noChangeArrowheads="1"/>
          </p:cNvSpPr>
          <p:nvPr/>
        </p:nvSpPr>
        <p:spPr bwMode="auto">
          <a:xfrm>
            <a:off x="4722820" y="3214522"/>
            <a:ext cx="4694237" cy="926479"/>
          </a:xfrm>
          <a:prstGeom prst="roundRect">
            <a:avLst>
              <a:gd name="adj" fmla="val 2880"/>
            </a:avLst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04086" tIns="52043" rIns="104086" bIns="52043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88" name="Group 119"/>
          <p:cNvGrpSpPr>
            <a:grpSpLocks/>
          </p:cNvGrpSpPr>
          <p:nvPr/>
        </p:nvGrpSpPr>
        <p:grpSpPr bwMode="auto">
          <a:xfrm>
            <a:off x="4811720" y="3322690"/>
            <a:ext cx="1146175" cy="712495"/>
            <a:chOff x="3232" y="1104"/>
            <a:chExt cx="722" cy="303"/>
          </a:xfrm>
        </p:grpSpPr>
        <p:sp>
          <p:nvSpPr>
            <p:cNvPr id="190" name="AutoShape 120"/>
            <p:cNvSpPr>
              <a:spLocks noChangeArrowheads="1"/>
            </p:cNvSpPr>
            <p:nvPr/>
          </p:nvSpPr>
          <p:spPr bwMode="auto">
            <a:xfrm>
              <a:off x="3232" y="1104"/>
              <a:ext cx="692" cy="303"/>
            </a:xfrm>
            <a:prstGeom prst="roundRect">
              <a:avLst>
                <a:gd name="adj" fmla="val 9690"/>
              </a:avLst>
            </a:prstGeom>
            <a:solidFill>
              <a:srgbClr val="FFFFFF"/>
            </a:solidFill>
            <a:ln w="1270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54000" tIns="10800" rIns="54000" bIns="1080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ko-KR" altLang="en-US" sz="1200" spc="-70" dirty="0" smtClean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성능</a:t>
              </a:r>
              <a:r>
                <a:rPr lang="en-US" altLang="ko-KR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/>
              </a:r>
              <a:br>
                <a:rPr lang="en-US" altLang="ko-KR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</a:t>
              </a:r>
            </a:p>
          </p:txBody>
        </p:sp>
        <p:sp>
          <p:nvSpPr>
            <p:cNvPr id="191" name="Freeform 121"/>
            <p:cNvSpPr>
              <a:spLocks/>
            </p:cNvSpPr>
            <p:nvPr/>
          </p:nvSpPr>
          <p:spPr bwMode="auto">
            <a:xfrm>
              <a:off x="3918" y="1215"/>
              <a:ext cx="36" cy="81"/>
            </a:xfrm>
            <a:custGeom>
              <a:avLst/>
              <a:gdLst>
                <a:gd name="T0" fmla="*/ 0 w 99"/>
                <a:gd name="T1" fmla="*/ 0 h 144"/>
                <a:gd name="T2" fmla="*/ 0 w 99"/>
                <a:gd name="T3" fmla="*/ 1 h 144"/>
                <a:gd name="T4" fmla="*/ 0 w 99"/>
                <a:gd name="T5" fmla="*/ 1 h 144"/>
                <a:gd name="T6" fmla="*/ 0 60000 65536"/>
                <a:gd name="T7" fmla="*/ 0 60000 65536"/>
                <a:gd name="T8" fmla="*/ 0 60000 65536"/>
                <a:gd name="T9" fmla="*/ 0 w 99"/>
                <a:gd name="T10" fmla="*/ 0 h 144"/>
                <a:gd name="T11" fmla="*/ 99 w 99"/>
                <a:gd name="T12" fmla="*/ 144 h 1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" h="144">
                  <a:moveTo>
                    <a:pt x="0" y="0"/>
                  </a:moveTo>
                  <a:lnTo>
                    <a:pt x="99" y="73"/>
                  </a:lnTo>
                  <a:lnTo>
                    <a:pt x="0" y="144"/>
                  </a:lnTo>
                </a:path>
              </a:pathLst>
            </a:custGeom>
            <a:solidFill>
              <a:srgbClr val="FFFFFF"/>
            </a:solidFill>
            <a:ln w="12700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8000" tIns="10800" rIns="18000" bIns="1080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189" name="직사각형 94"/>
          <p:cNvSpPr>
            <a:spLocks noChangeArrowheads="1"/>
          </p:cNvSpPr>
          <p:nvPr/>
        </p:nvSpPr>
        <p:spPr bwMode="auto">
          <a:xfrm>
            <a:off x="6113470" y="3478987"/>
            <a:ext cx="31797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2550" indent="-825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동화 도구를 활용하여 시스템 부하 측정 테스트</a:t>
            </a:r>
            <a:endParaRPr lang="en-US" altLang="ko-KR" sz="100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능 튜닝 방안을 도출하기 위한 테스트</a:t>
            </a:r>
            <a:endParaRPr lang="ko-KR" altLang="en-US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82" name="AutoShape 124"/>
          <p:cNvSpPr>
            <a:spLocks noChangeArrowheads="1"/>
          </p:cNvSpPr>
          <p:nvPr/>
        </p:nvSpPr>
        <p:spPr bwMode="auto">
          <a:xfrm>
            <a:off x="4722820" y="4232828"/>
            <a:ext cx="4694237" cy="926479"/>
          </a:xfrm>
          <a:prstGeom prst="roundRect">
            <a:avLst>
              <a:gd name="adj" fmla="val 2880"/>
            </a:avLst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04086" tIns="52043" rIns="104086" bIns="52043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83" name="Group 125"/>
          <p:cNvGrpSpPr>
            <a:grpSpLocks/>
          </p:cNvGrpSpPr>
          <p:nvPr/>
        </p:nvGrpSpPr>
        <p:grpSpPr bwMode="auto">
          <a:xfrm>
            <a:off x="4811720" y="4340996"/>
            <a:ext cx="1146175" cy="712495"/>
            <a:chOff x="3232" y="1104"/>
            <a:chExt cx="722" cy="303"/>
          </a:xfrm>
        </p:grpSpPr>
        <p:sp>
          <p:nvSpPr>
            <p:cNvPr id="185" name="AutoShape 126"/>
            <p:cNvSpPr>
              <a:spLocks noChangeArrowheads="1"/>
            </p:cNvSpPr>
            <p:nvPr/>
          </p:nvSpPr>
          <p:spPr bwMode="auto">
            <a:xfrm>
              <a:off x="3232" y="1104"/>
              <a:ext cx="692" cy="303"/>
            </a:xfrm>
            <a:prstGeom prst="roundRect">
              <a:avLst>
                <a:gd name="adj" fmla="val 9690"/>
              </a:avLst>
            </a:prstGeom>
            <a:solidFill>
              <a:srgbClr val="FFFFFF"/>
            </a:solidFill>
            <a:ln w="1270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54000" tIns="10800" rIns="54000" bIns="1080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통합</a:t>
              </a:r>
              <a:b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</a:t>
              </a:r>
            </a:p>
          </p:txBody>
        </p:sp>
        <p:sp>
          <p:nvSpPr>
            <p:cNvPr id="186" name="Freeform 127"/>
            <p:cNvSpPr>
              <a:spLocks/>
            </p:cNvSpPr>
            <p:nvPr/>
          </p:nvSpPr>
          <p:spPr bwMode="auto">
            <a:xfrm>
              <a:off x="3918" y="1215"/>
              <a:ext cx="36" cy="81"/>
            </a:xfrm>
            <a:custGeom>
              <a:avLst/>
              <a:gdLst>
                <a:gd name="T0" fmla="*/ 0 w 99"/>
                <a:gd name="T1" fmla="*/ 0 h 144"/>
                <a:gd name="T2" fmla="*/ 0 w 99"/>
                <a:gd name="T3" fmla="*/ 1 h 144"/>
                <a:gd name="T4" fmla="*/ 0 w 99"/>
                <a:gd name="T5" fmla="*/ 1 h 144"/>
                <a:gd name="T6" fmla="*/ 0 60000 65536"/>
                <a:gd name="T7" fmla="*/ 0 60000 65536"/>
                <a:gd name="T8" fmla="*/ 0 60000 65536"/>
                <a:gd name="T9" fmla="*/ 0 w 99"/>
                <a:gd name="T10" fmla="*/ 0 h 144"/>
                <a:gd name="T11" fmla="*/ 99 w 99"/>
                <a:gd name="T12" fmla="*/ 144 h 1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" h="144">
                  <a:moveTo>
                    <a:pt x="0" y="0"/>
                  </a:moveTo>
                  <a:lnTo>
                    <a:pt x="99" y="73"/>
                  </a:lnTo>
                  <a:lnTo>
                    <a:pt x="0" y="144"/>
                  </a:lnTo>
                </a:path>
              </a:pathLst>
            </a:custGeom>
            <a:solidFill>
              <a:srgbClr val="FFFFFF"/>
            </a:solidFill>
            <a:ln w="12700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8000" tIns="10800" rIns="18000" bIns="1080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184" name="직사각형 94"/>
          <p:cNvSpPr>
            <a:spLocks noChangeArrowheads="1"/>
          </p:cNvSpPr>
          <p:nvPr/>
        </p:nvSpPr>
        <p:spPr bwMode="auto">
          <a:xfrm>
            <a:off x="6113470" y="4494941"/>
            <a:ext cx="31797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2550" indent="-825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타 프로그램과의 인터페이스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능 테스트</a:t>
            </a:r>
          </a:p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련 업무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시스템 간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연계 기능 테스트</a:t>
            </a:r>
          </a:p>
        </p:txBody>
      </p:sp>
      <p:sp>
        <p:nvSpPr>
          <p:cNvPr id="177" name="AutoShape 130"/>
          <p:cNvSpPr>
            <a:spLocks noChangeArrowheads="1"/>
          </p:cNvSpPr>
          <p:nvPr/>
        </p:nvSpPr>
        <p:spPr bwMode="auto">
          <a:xfrm>
            <a:off x="4722820" y="5252774"/>
            <a:ext cx="4694237" cy="926479"/>
          </a:xfrm>
          <a:prstGeom prst="roundRect">
            <a:avLst>
              <a:gd name="adj" fmla="val 2880"/>
            </a:avLst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04086" tIns="52043" rIns="104086" bIns="52043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78" name="Group 131"/>
          <p:cNvGrpSpPr>
            <a:grpSpLocks/>
          </p:cNvGrpSpPr>
          <p:nvPr/>
        </p:nvGrpSpPr>
        <p:grpSpPr bwMode="auto">
          <a:xfrm>
            <a:off x="4811720" y="5360942"/>
            <a:ext cx="1146175" cy="712495"/>
            <a:chOff x="3232" y="1104"/>
            <a:chExt cx="722" cy="303"/>
          </a:xfrm>
        </p:grpSpPr>
        <p:sp>
          <p:nvSpPr>
            <p:cNvPr id="180" name="AutoShape 132"/>
            <p:cNvSpPr>
              <a:spLocks noChangeArrowheads="1"/>
            </p:cNvSpPr>
            <p:nvPr/>
          </p:nvSpPr>
          <p:spPr bwMode="auto">
            <a:xfrm>
              <a:off x="3232" y="1104"/>
              <a:ext cx="692" cy="303"/>
            </a:xfrm>
            <a:prstGeom prst="roundRect">
              <a:avLst>
                <a:gd name="adj" fmla="val 9690"/>
              </a:avLst>
            </a:prstGeom>
            <a:solidFill>
              <a:srgbClr val="FFFFFF"/>
            </a:solidFill>
            <a:ln w="12700" algn="ctr">
              <a:solidFill>
                <a:srgbClr val="C0C0C0"/>
              </a:solidFill>
              <a:round/>
              <a:headEnd/>
              <a:tailEnd/>
            </a:ln>
          </p:spPr>
          <p:txBody>
            <a:bodyPr lIns="54000" tIns="10800" rIns="54000" bIns="10800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단위</a:t>
              </a:r>
              <a:b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en-US" sz="12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 </a:t>
              </a:r>
            </a:p>
          </p:txBody>
        </p:sp>
        <p:sp>
          <p:nvSpPr>
            <p:cNvPr id="181" name="Freeform 133"/>
            <p:cNvSpPr>
              <a:spLocks/>
            </p:cNvSpPr>
            <p:nvPr/>
          </p:nvSpPr>
          <p:spPr bwMode="auto">
            <a:xfrm>
              <a:off x="3918" y="1215"/>
              <a:ext cx="36" cy="81"/>
            </a:xfrm>
            <a:custGeom>
              <a:avLst/>
              <a:gdLst>
                <a:gd name="T0" fmla="*/ 0 w 99"/>
                <a:gd name="T1" fmla="*/ 0 h 144"/>
                <a:gd name="T2" fmla="*/ 0 w 99"/>
                <a:gd name="T3" fmla="*/ 1 h 144"/>
                <a:gd name="T4" fmla="*/ 0 w 99"/>
                <a:gd name="T5" fmla="*/ 1 h 144"/>
                <a:gd name="T6" fmla="*/ 0 60000 65536"/>
                <a:gd name="T7" fmla="*/ 0 60000 65536"/>
                <a:gd name="T8" fmla="*/ 0 60000 65536"/>
                <a:gd name="T9" fmla="*/ 0 w 99"/>
                <a:gd name="T10" fmla="*/ 0 h 144"/>
                <a:gd name="T11" fmla="*/ 99 w 99"/>
                <a:gd name="T12" fmla="*/ 144 h 1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" h="144">
                  <a:moveTo>
                    <a:pt x="0" y="0"/>
                  </a:moveTo>
                  <a:lnTo>
                    <a:pt x="99" y="73"/>
                  </a:lnTo>
                  <a:lnTo>
                    <a:pt x="0" y="144"/>
                  </a:lnTo>
                </a:path>
              </a:pathLst>
            </a:custGeom>
            <a:solidFill>
              <a:srgbClr val="FFFFFF"/>
            </a:solidFill>
            <a:ln w="12700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18000" tIns="10800" rIns="18000" bIns="1080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179" name="직사각형 94"/>
          <p:cNvSpPr>
            <a:spLocks noChangeArrowheads="1"/>
          </p:cNvSpPr>
          <p:nvPr/>
        </p:nvSpPr>
        <p:spPr bwMode="auto">
          <a:xfrm>
            <a:off x="6113470" y="5514888"/>
            <a:ext cx="31797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82550" indent="-825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tabLst>
                <a:tab pos="682625" algn="l"/>
              </a:tabLs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위 프로그램 내의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능 테스트</a:t>
            </a:r>
            <a:endParaRPr lang="en-US" altLang="ko-KR" sz="100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95250" indent="-95250" algn="l" defTabSz="957263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경계 테스트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실행경로 및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류처리 테스트</a:t>
            </a:r>
            <a:endParaRPr lang="en-US" altLang="ko-KR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98" name="Group 90"/>
          <p:cNvGrpSpPr>
            <a:grpSpLocks/>
          </p:cNvGrpSpPr>
          <p:nvPr/>
        </p:nvGrpSpPr>
        <p:grpSpPr bwMode="auto">
          <a:xfrm>
            <a:off x="622307" y="2891540"/>
            <a:ext cx="557212" cy="571500"/>
            <a:chOff x="586" y="2639"/>
            <a:chExt cx="239" cy="243"/>
          </a:xfrm>
        </p:grpSpPr>
        <p:pic>
          <p:nvPicPr>
            <p:cNvPr id="234" name="Picture 91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" y="2639"/>
              <a:ext cx="239" cy="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5" name="Text Box 92"/>
            <p:cNvSpPr txBox="1">
              <a:spLocks noChangeArrowheads="1"/>
            </p:cNvSpPr>
            <p:nvPr/>
          </p:nvSpPr>
          <p:spPr bwMode="auto">
            <a:xfrm>
              <a:off x="620" y="2680"/>
              <a:ext cx="179" cy="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ko-KR" altLang="en-US" sz="11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요구</a:t>
              </a:r>
              <a:endParaRPr lang="en-US" altLang="ko-KR" sz="1100" spc="-7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>
                <a:lnSpc>
                  <a:spcPct val="90000"/>
                </a:lnSpc>
              </a:pPr>
              <a:r>
                <a:rPr lang="ko-KR" altLang="en-US" sz="1100" spc="-7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정의</a:t>
              </a:r>
            </a:p>
          </p:txBody>
        </p:sp>
      </p:grpSp>
      <p:grpSp>
        <p:nvGrpSpPr>
          <p:cNvPr id="199" name="Group 156"/>
          <p:cNvGrpSpPr>
            <a:grpSpLocks/>
          </p:cNvGrpSpPr>
          <p:nvPr/>
        </p:nvGrpSpPr>
        <p:grpSpPr bwMode="auto">
          <a:xfrm>
            <a:off x="1036645" y="3483678"/>
            <a:ext cx="555625" cy="569913"/>
            <a:chOff x="653" y="2279"/>
            <a:chExt cx="350" cy="359"/>
          </a:xfrm>
        </p:grpSpPr>
        <p:pic>
          <p:nvPicPr>
            <p:cNvPr id="232" name="Picture 94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" y="2279"/>
              <a:ext cx="350" cy="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3" name="Text Box 95"/>
            <p:cNvSpPr txBox="1">
              <a:spLocks noChangeArrowheads="1"/>
            </p:cNvSpPr>
            <p:nvPr/>
          </p:nvSpPr>
          <p:spPr bwMode="auto">
            <a:xfrm>
              <a:off x="707" y="2391"/>
              <a:ext cx="256" cy="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ko-KR"/>
              </a:defPPr>
              <a:lvl1pPr algn="ctr">
                <a:lnSpc>
                  <a:spcPct val="90000"/>
                </a:lnSpc>
                <a:defRPr kumimoji="1" sz="1050" b="1" spc="-7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분석</a:t>
              </a:r>
            </a:p>
          </p:txBody>
        </p:sp>
      </p:grpSp>
      <p:grpSp>
        <p:nvGrpSpPr>
          <p:cNvPr id="200" name="Group 96"/>
          <p:cNvGrpSpPr>
            <a:grpSpLocks/>
          </p:cNvGrpSpPr>
          <p:nvPr/>
        </p:nvGrpSpPr>
        <p:grpSpPr bwMode="auto">
          <a:xfrm>
            <a:off x="1436695" y="4052003"/>
            <a:ext cx="555625" cy="569913"/>
            <a:chOff x="1033" y="3133"/>
            <a:chExt cx="238" cy="243"/>
          </a:xfrm>
        </p:grpSpPr>
        <p:pic>
          <p:nvPicPr>
            <p:cNvPr id="230" name="Picture 97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3" y="3133"/>
              <a:ext cx="238" cy="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1" name="Text Box 98"/>
            <p:cNvSpPr txBox="1">
              <a:spLocks noChangeArrowheads="1"/>
            </p:cNvSpPr>
            <p:nvPr/>
          </p:nvSpPr>
          <p:spPr bwMode="auto">
            <a:xfrm>
              <a:off x="1069" y="3198"/>
              <a:ext cx="174" cy="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ko-KR"/>
              </a:defPPr>
              <a:lvl1pPr algn="ctr">
                <a:lnSpc>
                  <a:spcPct val="90000"/>
                </a:lnSpc>
                <a:defRPr kumimoji="1" sz="1050" b="1" spc="-7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설계</a:t>
              </a:r>
            </a:p>
          </p:txBody>
        </p:sp>
      </p:grpSp>
      <p:grpSp>
        <p:nvGrpSpPr>
          <p:cNvPr id="201" name="Group 99"/>
          <p:cNvGrpSpPr>
            <a:grpSpLocks/>
          </p:cNvGrpSpPr>
          <p:nvPr/>
        </p:nvGrpSpPr>
        <p:grpSpPr bwMode="auto">
          <a:xfrm>
            <a:off x="3511557" y="3483678"/>
            <a:ext cx="557212" cy="569913"/>
            <a:chOff x="2100" y="2891"/>
            <a:chExt cx="238" cy="243"/>
          </a:xfrm>
        </p:grpSpPr>
        <p:pic>
          <p:nvPicPr>
            <p:cNvPr id="228" name="Picture 100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0" y="2891"/>
              <a:ext cx="238" cy="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9" name="Text Box 101"/>
            <p:cNvSpPr txBox="1">
              <a:spLocks noChangeArrowheads="1"/>
            </p:cNvSpPr>
            <p:nvPr/>
          </p:nvSpPr>
          <p:spPr bwMode="auto">
            <a:xfrm>
              <a:off x="2107" y="2928"/>
              <a:ext cx="221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ko-KR"/>
              </a:defPPr>
              <a:lvl1pPr algn="ctr">
                <a:lnSpc>
                  <a:spcPct val="90000"/>
                </a:lnSpc>
                <a:defRPr kumimoji="1" sz="1050" b="1" spc="-7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b="0" dirty="0" smtClean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성능</a:t>
              </a:r>
              <a:endParaRPr lang="ko-KR" altLang="en-US" b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</a:t>
              </a:r>
            </a:p>
          </p:txBody>
        </p:sp>
      </p:grpSp>
      <p:grpSp>
        <p:nvGrpSpPr>
          <p:cNvPr id="202" name="Group 102"/>
          <p:cNvGrpSpPr>
            <a:grpSpLocks/>
          </p:cNvGrpSpPr>
          <p:nvPr/>
        </p:nvGrpSpPr>
        <p:grpSpPr bwMode="auto">
          <a:xfrm>
            <a:off x="3106745" y="4052003"/>
            <a:ext cx="557212" cy="569913"/>
            <a:chOff x="1877" y="3133"/>
            <a:chExt cx="238" cy="243"/>
          </a:xfrm>
        </p:grpSpPr>
        <p:pic>
          <p:nvPicPr>
            <p:cNvPr id="226" name="Picture 103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7" y="3133"/>
              <a:ext cx="238" cy="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7" name="Text Box 104"/>
            <p:cNvSpPr txBox="1">
              <a:spLocks noChangeArrowheads="1"/>
            </p:cNvSpPr>
            <p:nvPr/>
          </p:nvSpPr>
          <p:spPr bwMode="auto">
            <a:xfrm>
              <a:off x="1879" y="3178"/>
              <a:ext cx="221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ko-KR"/>
              </a:defPPr>
              <a:lvl1pPr algn="ctr">
                <a:lnSpc>
                  <a:spcPct val="90000"/>
                </a:lnSpc>
                <a:defRPr kumimoji="1" sz="1050" b="1" spc="-7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통합</a:t>
              </a:r>
            </a:p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</a:t>
              </a:r>
            </a:p>
          </p:txBody>
        </p:sp>
      </p:grpSp>
      <p:grpSp>
        <p:nvGrpSpPr>
          <p:cNvPr id="203" name="Group 105"/>
          <p:cNvGrpSpPr>
            <a:grpSpLocks/>
          </p:cNvGrpSpPr>
          <p:nvPr/>
        </p:nvGrpSpPr>
        <p:grpSpPr bwMode="auto">
          <a:xfrm>
            <a:off x="2708282" y="4604453"/>
            <a:ext cx="558800" cy="569913"/>
            <a:chOff x="1654" y="3356"/>
            <a:chExt cx="239" cy="243"/>
          </a:xfrm>
        </p:grpSpPr>
        <p:pic>
          <p:nvPicPr>
            <p:cNvPr id="224" name="Picture 106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4" y="3356"/>
              <a:ext cx="239" cy="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5" name="Text Box 107"/>
            <p:cNvSpPr txBox="1">
              <a:spLocks noChangeArrowheads="1"/>
            </p:cNvSpPr>
            <p:nvPr/>
          </p:nvSpPr>
          <p:spPr bwMode="auto">
            <a:xfrm>
              <a:off x="1661" y="3398"/>
              <a:ext cx="222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ko-KR"/>
              </a:defPPr>
              <a:lvl1pPr algn="ctr">
                <a:lnSpc>
                  <a:spcPct val="90000"/>
                </a:lnSpc>
                <a:defRPr kumimoji="1" sz="1050" b="1" spc="-7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단위</a:t>
              </a:r>
            </a:p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</a:t>
              </a:r>
            </a:p>
          </p:txBody>
        </p:sp>
      </p:grpSp>
      <p:grpSp>
        <p:nvGrpSpPr>
          <p:cNvPr id="204" name="Group 108"/>
          <p:cNvGrpSpPr>
            <a:grpSpLocks/>
          </p:cNvGrpSpPr>
          <p:nvPr/>
        </p:nvGrpSpPr>
        <p:grpSpPr bwMode="auto">
          <a:xfrm>
            <a:off x="3919546" y="2891540"/>
            <a:ext cx="560387" cy="571500"/>
            <a:chOff x="2323" y="2639"/>
            <a:chExt cx="239" cy="243"/>
          </a:xfrm>
        </p:grpSpPr>
        <p:pic>
          <p:nvPicPr>
            <p:cNvPr id="222" name="Picture 109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3" y="2639"/>
              <a:ext cx="239" cy="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3" name="Text Box 110"/>
            <p:cNvSpPr txBox="1">
              <a:spLocks noChangeArrowheads="1"/>
            </p:cNvSpPr>
            <p:nvPr/>
          </p:nvSpPr>
          <p:spPr bwMode="auto">
            <a:xfrm>
              <a:off x="2328" y="2648"/>
              <a:ext cx="230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ko-KR"/>
              </a:defPPr>
              <a:lvl1pPr algn="ctr">
                <a:lnSpc>
                  <a:spcPct val="90000"/>
                </a:lnSpc>
                <a:defRPr kumimoji="1" sz="1050" b="1" spc="-7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b="0" dirty="0" smtClean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사용자 </a:t>
              </a:r>
              <a:endParaRPr lang="en-US" altLang="ko-KR" b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r>
                <a:rPr lang="ko-KR" altLang="en-US" b="0" dirty="0" smtClean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인수</a:t>
              </a:r>
              <a:endParaRPr lang="en-US" altLang="ko-KR" b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r>
                <a:rPr lang="ko-KR" altLang="en-US" b="0" dirty="0" smtClean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</a:t>
              </a:r>
              <a:endParaRPr lang="en-US" altLang="ko-KR" b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205" name="Group 111"/>
          <p:cNvGrpSpPr>
            <a:grpSpLocks/>
          </p:cNvGrpSpPr>
          <p:nvPr/>
        </p:nvGrpSpPr>
        <p:grpSpPr bwMode="auto">
          <a:xfrm>
            <a:off x="1166820" y="2729615"/>
            <a:ext cx="2693987" cy="2171700"/>
            <a:chOff x="765" y="2570"/>
            <a:chExt cx="1629" cy="821"/>
          </a:xfrm>
        </p:grpSpPr>
        <p:sp>
          <p:nvSpPr>
            <p:cNvPr id="220" name="Line 112"/>
            <p:cNvSpPr>
              <a:spLocks noChangeShapeType="1"/>
            </p:cNvSpPr>
            <p:nvPr/>
          </p:nvSpPr>
          <p:spPr bwMode="auto">
            <a:xfrm>
              <a:off x="765" y="2570"/>
              <a:ext cx="817" cy="817"/>
            </a:xfrm>
            <a:prstGeom prst="line">
              <a:avLst/>
            </a:prstGeom>
            <a:noFill/>
            <a:ln w="57150">
              <a:solidFill>
                <a:srgbClr val="DCDCDC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21" name="Line 113"/>
            <p:cNvSpPr>
              <a:spLocks noChangeShapeType="1"/>
            </p:cNvSpPr>
            <p:nvPr/>
          </p:nvSpPr>
          <p:spPr bwMode="auto">
            <a:xfrm flipH="1">
              <a:off x="1577" y="2574"/>
              <a:ext cx="817" cy="817"/>
            </a:xfrm>
            <a:prstGeom prst="line">
              <a:avLst/>
            </a:prstGeom>
            <a:noFill/>
            <a:ln w="57150">
              <a:solidFill>
                <a:srgbClr val="DCDCDC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206" name="Line 114"/>
          <p:cNvSpPr>
            <a:spLocks noChangeShapeType="1"/>
          </p:cNvSpPr>
          <p:nvPr/>
        </p:nvSpPr>
        <p:spPr bwMode="auto">
          <a:xfrm>
            <a:off x="1354145" y="2974090"/>
            <a:ext cx="2333625" cy="0"/>
          </a:xfrm>
          <a:prstGeom prst="line">
            <a:avLst/>
          </a:prstGeom>
          <a:noFill/>
          <a:ln w="12700">
            <a:solidFill>
              <a:srgbClr val="003366"/>
            </a:solidFill>
            <a:prstDash val="sysDot"/>
            <a:round/>
            <a:headEnd type="triangl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7" name="Line 115"/>
          <p:cNvSpPr>
            <a:spLocks noChangeShapeType="1"/>
          </p:cNvSpPr>
          <p:nvPr/>
        </p:nvSpPr>
        <p:spPr bwMode="auto">
          <a:xfrm>
            <a:off x="1749432" y="3593215"/>
            <a:ext cx="1544637" cy="0"/>
          </a:xfrm>
          <a:prstGeom prst="line">
            <a:avLst/>
          </a:prstGeom>
          <a:noFill/>
          <a:ln w="12700">
            <a:solidFill>
              <a:srgbClr val="003366"/>
            </a:solidFill>
            <a:prstDash val="sysDot"/>
            <a:round/>
            <a:headEnd type="triangl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8" name="Line 116"/>
          <p:cNvSpPr>
            <a:spLocks noChangeShapeType="1"/>
          </p:cNvSpPr>
          <p:nvPr/>
        </p:nvSpPr>
        <p:spPr bwMode="auto">
          <a:xfrm>
            <a:off x="2138370" y="4242503"/>
            <a:ext cx="766762" cy="0"/>
          </a:xfrm>
          <a:prstGeom prst="line">
            <a:avLst/>
          </a:prstGeom>
          <a:noFill/>
          <a:ln w="12700">
            <a:solidFill>
              <a:srgbClr val="003366"/>
            </a:solidFill>
            <a:prstDash val="sysDot"/>
            <a:round/>
            <a:headEnd type="triangl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209" name="Group 155"/>
          <p:cNvGrpSpPr>
            <a:grpSpLocks/>
          </p:cNvGrpSpPr>
          <p:nvPr/>
        </p:nvGrpSpPr>
        <p:grpSpPr bwMode="auto">
          <a:xfrm>
            <a:off x="1833570" y="4604453"/>
            <a:ext cx="558800" cy="569913"/>
            <a:chOff x="1155" y="2985"/>
            <a:chExt cx="352" cy="359"/>
          </a:xfrm>
        </p:grpSpPr>
        <p:pic>
          <p:nvPicPr>
            <p:cNvPr id="218" name="Picture 118" descr="버튼회색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5" y="2985"/>
              <a:ext cx="352" cy="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9" name="Text Box 119"/>
            <p:cNvSpPr txBox="1">
              <a:spLocks noChangeArrowheads="1"/>
            </p:cNvSpPr>
            <p:nvPr/>
          </p:nvSpPr>
          <p:spPr bwMode="auto">
            <a:xfrm>
              <a:off x="1192" y="3084"/>
              <a:ext cx="256" cy="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ko-KR"/>
              </a:defPPr>
              <a:lvl1pPr algn="ctr">
                <a:lnSpc>
                  <a:spcPct val="90000"/>
                </a:lnSpc>
                <a:defRPr kumimoji="1" sz="1050" b="1" spc="-7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b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개발</a:t>
              </a:r>
            </a:p>
          </p:txBody>
        </p:sp>
      </p:grpSp>
      <p:sp>
        <p:nvSpPr>
          <p:cNvPr id="210" name="Line 120"/>
          <p:cNvSpPr>
            <a:spLocks noChangeShapeType="1"/>
          </p:cNvSpPr>
          <p:nvPr/>
        </p:nvSpPr>
        <p:spPr bwMode="auto">
          <a:xfrm>
            <a:off x="2403482" y="4683828"/>
            <a:ext cx="234950" cy="0"/>
          </a:xfrm>
          <a:prstGeom prst="line">
            <a:avLst/>
          </a:prstGeom>
          <a:noFill/>
          <a:ln w="12700">
            <a:solidFill>
              <a:srgbClr val="003366"/>
            </a:solidFill>
            <a:prstDash val="sysDot"/>
            <a:round/>
            <a:headEnd type="triangle" w="med" len="sm"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1" name="Text Box 121"/>
          <p:cNvSpPr txBox="1">
            <a:spLocks noChangeArrowheads="1"/>
          </p:cNvSpPr>
          <p:nvPr/>
        </p:nvSpPr>
        <p:spPr bwMode="auto">
          <a:xfrm rot="3414931">
            <a:off x="725495" y="4201228"/>
            <a:ext cx="455613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/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단계</a:t>
            </a:r>
          </a:p>
        </p:txBody>
      </p:sp>
      <p:sp>
        <p:nvSpPr>
          <p:cNvPr id="212" name="Text Box 122"/>
          <p:cNvSpPr txBox="1">
            <a:spLocks noChangeArrowheads="1"/>
          </p:cNvSpPr>
          <p:nvPr/>
        </p:nvSpPr>
        <p:spPr bwMode="auto">
          <a:xfrm rot="18065793">
            <a:off x="3805245" y="4369503"/>
            <a:ext cx="56832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/>
            <a:r>
              <a:rPr lang="ko-KR" altLang="en-US" sz="1000" dirty="0">
                <a:solidFill>
                  <a:srgbClr val="5F5F5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단계</a:t>
            </a:r>
          </a:p>
        </p:txBody>
      </p:sp>
      <p:sp>
        <p:nvSpPr>
          <p:cNvPr id="213" name="Line 123"/>
          <p:cNvSpPr>
            <a:spLocks noChangeShapeType="1"/>
          </p:cNvSpPr>
          <p:nvPr/>
        </p:nvSpPr>
        <p:spPr bwMode="auto">
          <a:xfrm>
            <a:off x="611195" y="3409065"/>
            <a:ext cx="976312" cy="1565275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4" name="Line 124"/>
          <p:cNvSpPr>
            <a:spLocks noChangeShapeType="1"/>
          </p:cNvSpPr>
          <p:nvPr/>
        </p:nvSpPr>
        <p:spPr bwMode="auto">
          <a:xfrm flipH="1">
            <a:off x="3454407" y="3509078"/>
            <a:ext cx="993775" cy="1516063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215" name="Group 154"/>
          <p:cNvGrpSpPr>
            <a:grpSpLocks/>
          </p:cNvGrpSpPr>
          <p:nvPr/>
        </p:nvGrpSpPr>
        <p:grpSpPr bwMode="auto">
          <a:xfrm>
            <a:off x="1560520" y="5263265"/>
            <a:ext cx="1958975" cy="623888"/>
            <a:chOff x="1001" y="3503"/>
            <a:chExt cx="1062" cy="393"/>
          </a:xfrm>
        </p:grpSpPr>
        <p:sp>
          <p:nvSpPr>
            <p:cNvPr id="216" name="AutoShape 126"/>
            <p:cNvSpPr>
              <a:spLocks noChangeArrowheads="1"/>
            </p:cNvSpPr>
            <p:nvPr/>
          </p:nvSpPr>
          <p:spPr bwMode="auto">
            <a:xfrm flipV="1">
              <a:off x="1065" y="3796"/>
              <a:ext cx="934" cy="100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FFFF">
                    <a:alpha val="0"/>
                  </a:srgbClr>
                </a:gs>
                <a:gs pos="100000">
                  <a:srgbClr val="EAEAEA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wrap="none" anchor="ctr"/>
            <a:lstStyle>
              <a:lvl1pPr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 algn="ctr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17" name="AutoShape 173"/>
            <p:cNvSpPr>
              <a:spLocks noChangeArrowheads="1"/>
            </p:cNvSpPr>
            <p:nvPr/>
          </p:nvSpPr>
          <p:spPr bwMode="auto">
            <a:xfrm>
              <a:off x="1001" y="3503"/>
              <a:ext cx="1062" cy="277"/>
            </a:xfrm>
            <a:prstGeom prst="roundRect">
              <a:avLst>
                <a:gd name="adj" fmla="val 50000"/>
              </a:avLst>
            </a:prstGeom>
            <a:solidFill>
              <a:srgbClr val="1A729E"/>
            </a:solidFill>
            <a:ln w="9525" algn="ctr">
              <a:noFill/>
              <a:miter lim="800000"/>
              <a:headEnd/>
              <a:tailEnd/>
            </a:ln>
            <a:extLst/>
          </p:spPr>
          <p:txBody>
            <a:bodyPr lIns="0" rIns="0" anchor="ctr"/>
            <a:lstStyle/>
            <a:p>
              <a:pPr algn="ctr"/>
              <a:r>
                <a:rPr lang="ko-KR" altLang="en-US" sz="1200" spc="-50" dirty="0">
                  <a:ln>
                    <a:solidFill>
                      <a:srgbClr val="D64E75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단계별 검증 및 확인활동</a:t>
              </a:r>
            </a:p>
          </p:txBody>
        </p:sp>
      </p:grpSp>
      <p:sp>
        <p:nvSpPr>
          <p:cNvPr id="7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7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2.2 </a:t>
            </a:r>
            <a:r>
              <a:rPr lang="ko-KR" altLang="en-US" dirty="0"/>
              <a:t>단위 테스트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작성 완료된 프로그램 단위로 단위 테스트 시나리오에 의하여 개발자 본인이 단위 테스트를 실시하고 적절한 시정조치 활동을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단위 테스트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9" name="AutoShape 38"/>
          <p:cNvSpPr>
            <a:spLocks noChangeArrowheads="1"/>
          </p:cNvSpPr>
          <p:nvPr/>
        </p:nvSpPr>
        <p:spPr bwMode="auto">
          <a:xfrm>
            <a:off x="3124514" y="2086713"/>
            <a:ext cx="511271" cy="4283075"/>
          </a:xfrm>
          <a:custGeom>
            <a:avLst/>
            <a:gdLst>
              <a:gd name="T0" fmla="*/ 2147483646 w 374"/>
              <a:gd name="T1" fmla="*/ 2147483646 h 2566"/>
              <a:gd name="T2" fmla="*/ 2147483646 w 374"/>
              <a:gd name="T3" fmla="*/ 2147483646 h 2566"/>
              <a:gd name="T4" fmla="*/ 2147483646 w 374"/>
              <a:gd name="T5" fmla="*/ 2147483646 h 2566"/>
              <a:gd name="T6" fmla="*/ 2147483646 w 374"/>
              <a:gd name="T7" fmla="*/ 0 h 2566"/>
              <a:gd name="T8" fmla="*/ 0 60000 65536"/>
              <a:gd name="T9" fmla="*/ 0 60000 65536"/>
              <a:gd name="T10" fmla="*/ 0 60000 65536"/>
              <a:gd name="T11" fmla="*/ 0 60000 65536"/>
              <a:gd name="T12" fmla="*/ 2664 w 374"/>
              <a:gd name="T13" fmla="*/ 2664 h 2566"/>
              <a:gd name="T14" fmla="*/ 18936 w 374"/>
              <a:gd name="T15" fmla="*/ 18936 h 256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4" h="2566">
                <a:moveTo>
                  <a:pt x="374" y="0"/>
                </a:moveTo>
                <a:lnTo>
                  <a:pt x="16" y="398"/>
                </a:lnTo>
                <a:lnTo>
                  <a:pt x="0" y="2110"/>
                </a:lnTo>
                <a:lnTo>
                  <a:pt x="368" y="2566"/>
                </a:lnTo>
                <a:lnTo>
                  <a:pt x="374" y="0"/>
                </a:lnTo>
                <a:close/>
              </a:path>
            </a:pathLst>
          </a:custGeom>
          <a:gradFill rotWithShape="0">
            <a:gsLst>
              <a:gs pos="0">
                <a:srgbClr val="EAEAEA"/>
              </a:gs>
              <a:gs pos="100000">
                <a:srgbClr val="F6F6F6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8" tIns="45668" rIns="91338" bIns="45668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80" name="Group 68"/>
          <p:cNvGrpSpPr>
            <a:grpSpLocks/>
          </p:cNvGrpSpPr>
          <p:nvPr/>
        </p:nvGrpSpPr>
        <p:grpSpPr bwMode="auto">
          <a:xfrm>
            <a:off x="420688" y="2408662"/>
            <a:ext cx="2863850" cy="3637277"/>
            <a:chOff x="308" y="1651"/>
            <a:chExt cx="1644" cy="2179"/>
          </a:xfrm>
        </p:grpSpPr>
        <p:sp>
          <p:nvSpPr>
            <p:cNvPr id="81" name="AutoShape 69"/>
            <p:cNvSpPr>
              <a:spLocks noChangeArrowheads="1"/>
            </p:cNvSpPr>
            <p:nvPr/>
          </p:nvSpPr>
          <p:spPr bwMode="auto">
            <a:xfrm>
              <a:off x="308" y="1763"/>
              <a:ext cx="1644" cy="206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algn="ctr">
              <a:solidFill>
                <a:srgbClr val="7AAFD0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>
                <a:lnSpc>
                  <a:spcPct val="98000"/>
                </a:lnSpc>
              </a:pPr>
              <a:endParaRPr lang="ko-KR" altLang="en-US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2" name="Text Box 73"/>
            <p:cNvSpPr txBox="1">
              <a:spLocks noChangeArrowheads="1"/>
            </p:cNvSpPr>
            <p:nvPr/>
          </p:nvSpPr>
          <p:spPr bwMode="auto">
            <a:xfrm>
              <a:off x="1000" y="1651"/>
              <a:ext cx="343" cy="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sz="1000" b="1" dirty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 방법</a:t>
              </a:r>
            </a:p>
          </p:txBody>
        </p:sp>
      </p:grpSp>
      <p:grpSp>
        <p:nvGrpSpPr>
          <p:cNvPr id="83" name="Group 50"/>
          <p:cNvGrpSpPr>
            <a:grpSpLocks/>
          </p:cNvGrpSpPr>
          <p:nvPr/>
        </p:nvGrpSpPr>
        <p:grpSpPr bwMode="auto">
          <a:xfrm>
            <a:off x="1160463" y="3909157"/>
            <a:ext cx="1384300" cy="234950"/>
            <a:chOff x="858" y="4755"/>
            <a:chExt cx="2646" cy="232"/>
          </a:xfrm>
        </p:grpSpPr>
        <p:sp>
          <p:nvSpPr>
            <p:cNvPr id="84" name="AutoShape 51"/>
            <p:cNvSpPr>
              <a:spLocks noChangeArrowheads="1"/>
            </p:cNvSpPr>
            <p:nvPr/>
          </p:nvSpPr>
          <p:spPr bwMode="auto">
            <a:xfrm rot="10800000">
              <a:off x="858" y="4771"/>
              <a:ext cx="2646" cy="216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5" name="AutoShape 52"/>
            <p:cNvSpPr>
              <a:spLocks noChangeArrowheads="1"/>
            </p:cNvSpPr>
            <p:nvPr/>
          </p:nvSpPr>
          <p:spPr bwMode="auto">
            <a:xfrm rot="10800000">
              <a:off x="1146" y="4761"/>
              <a:ext cx="2069" cy="216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6" name="AutoShape 53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9" cy="216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87" name="Group 65"/>
          <p:cNvGrpSpPr>
            <a:grpSpLocks/>
          </p:cNvGrpSpPr>
          <p:nvPr/>
        </p:nvGrpSpPr>
        <p:grpSpPr bwMode="auto">
          <a:xfrm>
            <a:off x="1160463" y="4942621"/>
            <a:ext cx="1384300" cy="233363"/>
            <a:chOff x="858" y="4755"/>
            <a:chExt cx="2646" cy="232"/>
          </a:xfrm>
        </p:grpSpPr>
        <p:sp>
          <p:nvSpPr>
            <p:cNvPr id="88" name="AutoShape 66"/>
            <p:cNvSpPr>
              <a:spLocks noChangeArrowheads="1"/>
            </p:cNvSpPr>
            <p:nvPr/>
          </p:nvSpPr>
          <p:spPr bwMode="auto">
            <a:xfrm rot="10800000">
              <a:off x="858" y="4771"/>
              <a:ext cx="2646" cy="216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9" name="AutoShape 67"/>
            <p:cNvSpPr>
              <a:spLocks noChangeArrowheads="1"/>
            </p:cNvSpPr>
            <p:nvPr/>
          </p:nvSpPr>
          <p:spPr bwMode="auto">
            <a:xfrm rot="10800000">
              <a:off x="1146" y="4761"/>
              <a:ext cx="2069" cy="216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0" name="AutoShape 68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9" cy="216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91" name="AutoShape 49"/>
          <p:cNvSpPr>
            <a:spLocks noChangeArrowheads="1"/>
          </p:cNvSpPr>
          <p:nvPr/>
        </p:nvSpPr>
        <p:spPr bwMode="auto">
          <a:xfrm>
            <a:off x="552457" y="2834418"/>
            <a:ext cx="2600325" cy="996950"/>
          </a:xfrm>
          <a:prstGeom prst="roundRect">
            <a:avLst>
              <a:gd name="adj" fmla="val 5694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3941" tIns="45668" rIns="53941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자가 스스로 작성한 프로그램에 대하여 테스트용 데이터를 입력하여 프로그램 </a:t>
            </a:r>
            <a:r>
              <a:rPr lang="ko-KR" altLang="en-US" sz="110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위로 실행테스트</a:t>
            </a:r>
            <a:endParaRPr lang="ko-KR" altLang="en-US" sz="11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2" name="AutoShape 49"/>
          <p:cNvSpPr>
            <a:spLocks noChangeArrowheads="1"/>
          </p:cNvSpPr>
          <p:nvPr/>
        </p:nvSpPr>
        <p:spPr bwMode="auto">
          <a:xfrm>
            <a:off x="552457" y="4225075"/>
            <a:ext cx="2600325" cy="639763"/>
          </a:xfrm>
          <a:prstGeom prst="roundRect">
            <a:avLst>
              <a:gd name="adj" fmla="val 6102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3941" tIns="45668" rIns="53941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프로그램 내의 기능테스트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실행경로 및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류처리 테스트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경계테스트</a:t>
            </a:r>
          </a:p>
        </p:txBody>
      </p:sp>
      <p:sp>
        <p:nvSpPr>
          <p:cNvPr id="93" name="AutoShape 49"/>
          <p:cNvSpPr>
            <a:spLocks noChangeArrowheads="1"/>
          </p:cNvSpPr>
          <p:nvPr/>
        </p:nvSpPr>
        <p:spPr bwMode="auto">
          <a:xfrm>
            <a:off x="552457" y="5256950"/>
            <a:ext cx="2600325" cy="576263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3941" tIns="45668" rIns="53941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자는 단위 프로그램별 기능을 검증하고</a:t>
            </a:r>
            <a:endParaRPr lang="en-US" altLang="ko-KR" sz="11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류 정정 수행</a:t>
            </a:r>
          </a:p>
        </p:txBody>
      </p:sp>
      <p:graphicFrame>
        <p:nvGraphicFramePr>
          <p:cNvPr id="94" name="Group 94"/>
          <p:cNvGraphicFramePr>
            <a:graphicFrameLocks noGrp="1"/>
          </p:cNvGraphicFramePr>
          <p:nvPr>
            <p:extLst/>
          </p:nvPr>
        </p:nvGraphicFramePr>
        <p:xfrm>
          <a:off x="3639565" y="2086706"/>
          <a:ext cx="5970588" cy="4245731"/>
        </p:xfrm>
        <a:graphic>
          <a:graphicData uri="http://schemas.openxmlformats.org/drawingml/2006/table">
            <a:tbl>
              <a:tblPr/>
              <a:tblGrid>
                <a:gridCol w="17160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5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09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절차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내역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553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0160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단위 테스트 계획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일정 계획 수립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순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일정표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 작성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화면설계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프로그램설계서 등 참조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032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0160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테스트 데이터 준비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사전 준비 사항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환경구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데이터 준비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온라인 화면에서 입력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21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0160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단위 테스트 실시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위 테스트 시나리오에 의거 실시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설계서 변경 시에는 단위 테스트 시나리오 수정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반복적으로 발견되거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치명적인 사례에 대하여는 오류 목록에 기록하고 팀원들에게 공유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672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10160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단위 테스트 완료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위 테스트 시나리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결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성</a:t>
                      </a:r>
                    </a:p>
                  </a:txBody>
                  <a:tcPr marL="90000" marR="90000" marT="46800" marB="468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5" name="Rectangle 7"/>
          <p:cNvSpPr>
            <a:spLocks noChangeArrowheads="1"/>
          </p:cNvSpPr>
          <p:nvPr/>
        </p:nvSpPr>
        <p:spPr bwMode="gray">
          <a:xfrm>
            <a:off x="420688" y="2326170"/>
            <a:ext cx="2863850" cy="273050"/>
          </a:xfrm>
          <a:prstGeom prst="rect">
            <a:avLst/>
          </a:prstGeom>
          <a:solidFill>
            <a:srgbClr val="1A729E"/>
          </a:solidFill>
          <a:ln w="9525" algn="ctr">
            <a:solidFill>
              <a:srgbClr val="3A90B7"/>
            </a:solidFill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방법</a:t>
            </a:r>
          </a:p>
        </p:txBody>
      </p:sp>
      <p:sp>
        <p:nvSpPr>
          <p:cNvPr id="3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8843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테스트 방안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16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2.3 </a:t>
            </a:r>
            <a:r>
              <a:rPr lang="ko-KR" altLang="en-US" dirty="0"/>
              <a:t>통합 테스트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단위테스트가 완료된 상태에서 시스템의 업무적인 기능 통합 및 데이터 연계를 확인하여 통합된 시스템이 업무처리에 적합한지 확인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통합 테스트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7" name="AutoShape 38"/>
          <p:cNvSpPr>
            <a:spLocks noChangeArrowheads="1"/>
          </p:cNvSpPr>
          <p:nvPr/>
        </p:nvSpPr>
        <p:spPr bwMode="auto">
          <a:xfrm>
            <a:off x="3124512" y="2086713"/>
            <a:ext cx="491815" cy="4283075"/>
          </a:xfrm>
          <a:custGeom>
            <a:avLst/>
            <a:gdLst>
              <a:gd name="T0" fmla="*/ 2147483646 w 374"/>
              <a:gd name="T1" fmla="*/ 2147483646 h 2566"/>
              <a:gd name="T2" fmla="*/ 2147483646 w 374"/>
              <a:gd name="T3" fmla="*/ 2147483646 h 2566"/>
              <a:gd name="T4" fmla="*/ 2147483646 w 374"/>
              <a:gd name="T5" fmla="*/ 2147483646 h 2566"/>
              <a:gd name="T6" fmla="*/ 2147483646 w 374"/>
              <a:gd name="T7" fmla="*/ 0 h 2566"/>
              <a:gd name="T8" fmla="*/ 0 60000 65536"/>
              <a:gd name="T9" fmla="*/ 0 60000 65536"/>
              <a:gd name="T10" fmla="*/ 0 60000 65536"/>
              <a:gd name="T11" fmla="*/ 0 60000 65536"/>
              <a:gd name="T12" fmla="*/ 2664 w 374"/>
              <a:gd name="T13" fmla="*/ 2664 h 2566"/>
              <a:gd name="T14" fmla="*/ 18936 w 374"/>
              <a:gd name="T15" fmla="*/ 18936 h 256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4" h="2566">
                <a:moveTo>
                  <a:pt x="374" y="0"/>
                </a:moveTo>
                <a:lnTo>
                  <a:pt x="16" y="398"/>
                </a:lnTo>
                <a:lnTo>
                  <a:pt x="0" y="2110"/>
                </a:lnTo>
                <a:lnTo>
                  <a:pt x="368" y="2566"/>
                </a:lnTo>
                <a:lnTo>
                  <a:pt x="374" y="0"/>
                </a:lnTo>
                <a:close/>
              </a:path>
            </a:pathLst>
          </a:custGeom>
          <a:gradFill rotWithShape="0">
            <a:gsLst>
              <a:gs pos="0">
                <a:srgbClr val="EAEAEA"/>
              </a:gs>
              <a:gs pos="100000">
                <a:srgbClr val="F6F6F6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8" tIns="45668" rIns="91338" bIns="45668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0" name="AutoShape 69"/>
          <p:cNvSpPr>
            <a:spLocks noChangeArrowheads="1"/>
          </p:cNvSpPr>
          <p:nvPr/>
        </p:nvSpPr>
        <p:spPr bwMode="auto">
          <a:xfrm>
            <a:off x="420688" y="2595617"/>
            <a:ext cx="2863850" cy="3450322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algn="ctr">
            <a:solidFill>
              <a:srgbClr val="7AAFD0"/>
            </a:solidFill>
            <a:round/>
            <a:headEnd/>
            <a:tailEnd/>
          </a:ln>
        </p:spPr>
        <p:txBody>
          <a:bodyPr lIns="0" tIns="0" rIns="0" bIns="0" anchor="ctr"/>
          <a:lstStyle>
            <a:lvl1pPr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>
              <a:lnSpc>
                <a:spcPct val="98000"/>
              </a:lnSpc>
            </a:pPr>
            <a:endParaRPr lang="ko-KR" altLang="en-US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1" name="Text Box 73"/>
          <p:cNvSpPr txBox="1">
            <a:spLocks noChangeArrowheads="1"/>
          </p:cNvSpPr>
          <p:nvPr/>
        </p:nvSpPr>
        <p:spPr bwMode="auto">
          <a:xfrm>
            <a:off x="1626153" y="2408662"/>
            <a:ext cx="597506" cy="153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r>
              <a:rPr lang="ko-KR" altLang="en-US" sz="1000" b="1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방법</a:t>
            </a:r>
          </a:p>
        </p:txBody>
      </p:sp>
      <p:grpSp>
        <p:nvGrpSpPr>
          <p:cNvPr id="83" name="Group 50"/>
          <p:cNvGrpSpPr>
            <a:grpSpLocks/>
          </p:cNvGrpSpPr>
          <p:nvPr/>
        </p:nvGrpSpPr>
        <p:grpSpPr bwMode="auto">
          <a:xfrm>
            <a:off x="1160196" y="3352125"/>
            <a:ext cx="1384847" cy="234433"/>
            <a:chOff x="858" y="4755"/>
            <a:chExt cx="2646" cy="232"/>
          </a:xfrm>
        </p:grpSpPr>
        <p:sp>
          <p:nvSpPr>
            <p:cNvPr id="96" name="AutoShape 51"/>
            <p:cNvSpPr>
              <a:spLocks noChangeArrowheads="1"/>
            </p:cNvSpPr>
            <p:nvPr/>
          </p:nvSpPr>
          <p:spPr bwMode="auto">
            <a:xfrm rot="10800000">
              <a:off x="859" y="4771"/>
              <a:ext cx="2645" cy="218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7" name="AutoShape 52"/>
            <p:cNvSpPr>
              <a:spLocks noChangeArrowheads="1"/>
            </p:cNvSpPr>
            <p:nvPr/>
          </p:nvSpPr>
          <p:spPr bwMode="auto">
            <a:xfrm rot="10800000">
              <a:off x="1147" y="4761"/>
              <a:ext cx="2069" cy="217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8" name="AutoShape 53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8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84" name="Group 65"/>
          <p:cNvGrpSpPr>
            <a:grpSpLocks/>
          </p:cNvGrpSpPr>
          <p:nvPr/>
        </p:nvGrpSpPr>
        <p:grpSpPr bwMode="auto">
          <a:xfrm>
            <a:off x="1160196" y="4179152"/>
            <a:ext cx="1384847" cy="234433"/>
            <a:chOff x="858" y="4755"/>
            <a:chExt cx="2646" cy="232"/>
          </a:xfrm>
        </p:grpSpPr>
        <p:sp>
          <p:nvSpPr>
            <p:cNvPr id="93" name="AutoShape 66"/>
            <p:cNvSpPr>
              <a:spLocks noChangeArrowheads="1"/>
            </p:cNvSpPr>
            <p:nvPr/>
          </p:nvSpPr>
          <p:spPr bwMode="auto">
            <a:xfrm rot="10800000">
              <a:off x="859" y="4771"/>
              <a:ext cx="2645" cy="218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4" name="AutoShape 67"/>
            <p:cNvSpPr>
              <a:spLocks noChangeArrowheads="1"/>
            </p:cNvSpPr>
            <p:nvPr/>
          </p:nvSpPr>
          <p:spPr bwMode="auto">
            <a:xfrm rot="10800000">
              <a:off x="1147" y="4761"/>
              <a:ext cx="2069" cy="217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5" name="AutoShape 68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8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85" name="Group 65"/>
          <p:cNvGrpSpPr>
            <a:grpSpLocks/>
          </p:cNvGrpSpPr>
          <p:nvPr/>
        </p:nvGrpSpPr>
        <p:grpSpPr bwMode="auto">
          <a:xfrm>
            <a:off x="1160196" y="5006179"/>
            <a:ext cx="1384847" cy="234433"/>
            <a:chOff x="858" y="4755"/>
            <a:chExt cx="2646" cy="232"/>
          </a:xfrm>
        </p:grpSpPr>
        <p:sp>
          <p:nvSpPr>
            <p:cNvPr id="90" name="AutoShape 66"/>
            <p:cNvSpPr>
              <a:spLocks noChangeArrowheads="1"/>
            </p:cNvSpPr>
            <p:nvPr/>
          </p:nvSpPr>
          <p:spPr bwMode="auto">
            <a:xfrm rot="10800000">
              <a:off x="859" y="4771"/>
              <a:ext cx="2645" cy="218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1" name="AutoShape 67"/>
            <p:cNvSpPr>
              <a:spLocks noChangeArrowheads="1"/>
            </p:cNvSpPr>
            <p:nvPr/>
          </p:nvSpPr>
          <p:spPr bwMode="auto">
            <a:xfrm rot="10800000">
              <a:off x="1147" y="4761"/>
              <a:ext cx="2069" cy="217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92" name="AutoShape 68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8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86" name="AutoShape 49"/>
          <p:cNvSpPr>
            <a:spLocks noChangeArrowheads="1"/>
          </p:cNvSpPr>
          <p:nvPr/>
        </p:nvSpPr>
        <p:spPr bwMode="auto">
          <a:xfrm>
            <a:off x="552457" y="2834419"/>
            <a:ext cx="2600325" cy="517706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 w="9525" algn="ctr">
            <a:noFill/>
            <a:round/>
            <a:headEnd/>
            <a:tailEnd/>
          </a:ln>
        </p:spPr>
        <p:txBody>
          <a:bodyPr lIns="54000" rIns="54000" anchor="ctr"/>
          <a:lstStyle/>
          <a:p>
            <a:pPr algn="ctr" defTabSz="95619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련 업무별로 통합하여 실시</a:t>
            </a:r>
          </a:p>
        </p:txBody>
      </p:sp>
      <p:sp>
        <p:nvSpPr>
          <p:cNvPr id="87" name="AutoShape 49"/>
          <p:cNvSpPr>
            <a:spLocks noChangeArrowheads="1"/>
          </p:cNvSpPr>
          <p:nvPr/>
        </p:nvSpPr>
        <p:spPr bwMode="auto">
          <a:xfrm>
            <a:off x="552457" y="3661446"/>
            <a:ext cx="2600325" cy="517706"/>
          </a:xfrm>
          <a:prstGeom prst="roundRect">
            <a:avLst>
              <a:gd name="adj" fmla="val 6102"/>
            </a:avLst>
          </a:prstGeom>
          <a:solidFill>
            <a:srgbClr val="B8DFF2"/>
          </a:solidFill>
          <a:ln w="9525" algn="ctr">
            <a:noFill/>
            <a:round/>
            <a:headEnd/>
            <a:tailEnd/>
          </a:ln>
        </p:spPr>
        <p:txBody>
          <a:bodyPr lIns="54000" rIns="54000" anchor="ctr"/>
          <a:lstStyle/>
          <a:p>
            <a:pPr algn="ctr" defTabSz="95619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련 어플리케이션 연계 테스트</a:t>
            </a:r>
          </a:p>
          <a:p>
            <a:pPr algn="ctr" defTabSz="95619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 정합성 검증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</a:p>
        </p:txBody>
      </p:sp>
      <p:sp>
        <p:nvSpPr>
          <p:cNvPr id="88" name="AutoShape 49"/>
          <p:cNvSpPr>
            <a:spLocks noChangeArrowheads="1"/>
          </p:cNvSpPr>
          <p:nvPr/>
        </p:nvSpPr>
        <p:spPr bwMode="auto">
          <a:xfrm>
            <a:off x="552457" y="4488473"/>
            <a:ext cx="2600325" cy="517706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 w="9525" algn="ctr">
            <a:noFill/>
            <a:round/>
            <a:headEnd/>
            <a:tailEnd/>
          </a:ln>
        </p:spPr>
        <p:txBody>
          <a:bodyPr lIns="54000" rIns="54000" anchor="ctr"/>
          <a:lstStyle/>
          <a:p>
            <a:pPr algn="ctr" defTabSz="95619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터페이스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능개선 중심 </a:t>
            </a:r>
            <a:b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연계 테스트 실시 </a:t>
            </a:r>
          </a:p>
        </p:txBody>
      </p:sp>
      <p:sp>
        <p:nvSpPr>
          <p:cNvPr id="89" name="AutoShape 49"/>
          <p:cNvSpPr>
            <a:spLocks noChangeArrowheads="1"/>
          </p:cNvSpPr>
          <p:nvPr/>
        </p:nvSpPr>
        <p:spPr bwMode="auto">
          <a:xfrm>
            <a:off x="552457" y="5315500"/>
            <a:ext cx="2600325" cy="517706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 w="9525" algn="ctr">
            <a:noFill/>
            <a:round/>
            <a:headEnd/>
            <a:tailEnd/>
          </a:ln>
        </p:spPr>
        <p:txBody>
          <a:bodyPr lIns="54000" rIns="54000" anchor="ctr"/>
          <a:lstStyle/>
          <a:p>
            <a:pPr algn="ctr" defTabSz="95619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요 이슈 점검 및 개선 사항 파악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</a:p>
          <a:p>
            <a:pPr algn="ctr" defTabSz="95619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선여부 확인 및 기록 유지</a:t>
            </a:r>
          </a:p>
        </p:txBody>
      </p:sp>
      <p:graphicFrame>
        <p:nvGraphicFramePr>
          <p:cNvPr id="99" name="Group 102"/>
          <p:cNvGraphicFramePr>
            <a:graphicFrameLocks noGrp="1"/>
          </p:cNvGraphicFramePr>
          <p:nvPr>
            <p:extLst/>
          </p:nvPr>
        </p:nvGraphicFramePr>
        <p:xfrm>
          <a:off x="3617917" y="2086706"/>
          <a:ext cx="5989637" cy="4283076"/>
        </p:xfrm>
        <a:graphic>
          <a:graphicData uri="http://schemas.openxmlformats.org/drawingml/2006/table">
            <a:tbl>
              <a:tblPr/>
              <a:tblGrid>
                <a:gridCol w="16717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17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416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절차</a:t>
                      </a: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내역</a:t>
                      </a: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87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통합 테스트 계획</a:t>
                      </a:r>
                      <a:endParaRPr kumimoji="1" lang="ko-KR" altLang="en-US" sz="1100" b="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000000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그룹의 분류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매트릭스를 작성하여 상호 연관성을 가진 업무 시스템 별로 그룹 구성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케이스 도출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그룹 내 프로시저 간의 의존도 작성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의존도의 테스트 경로에서 테스트 케이스 분할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 작성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데이터 확보</a:t>
                      </a:r>
                    </a:p>
                  </a:txBody>
                  <a:tcPr marL="90000" marR="90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667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통합 테스트 실시</a:t>
                      </a:r>
                      <a:endParaRPr kumimoji="1" lang="ko-KR" altLang="en-US" sz="1100" b="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000000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사전 준비 사항</a:t>
                      </a:r>
                    </a:p>
                    <a:p>
                      <a:pPr marL="0" marR="0" lvl="0" indent="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데이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화면설계서 등  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실시</a:t>
                      </a:r>
                    </a:p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 별로 테스트 데이터를 작성하여 통합 테스트 실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에 결과 기록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90000" marR="90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345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통합 테스트 완료</a:t>
                      </a:r>
                      <a:endParaRPr kumimoji="1" lang="ko-KR" altLang="en-US" sz="1100" b="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000000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95250" marR="0" lvl="0" indent="-95250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결과 보고서 작성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점검 결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오류 목록</a:t>
                      </a:r>
                    </a:p>
                  </a:txBody>
                  <a:tcPr marL="90000" marR="90000" marT="18000" marB="180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0" name="Rectangle 7"/>
          <p:cNvSpPr>
            <a:spLocks noChangeArrowheads="1"/>
          </p:cNvSpPr>
          <p:nvPr/>
        </p:nvSpPr>
        <p:spPr bwMode="gray">
          <a:xfrm>
            <a:off x="417513" y="2326170"/>
            <a:ext cx="2867025" cy="273050"/>
          </a:xfrm>
          <a:prstGeom prst="rect">
            <a:avLst/>
          </a:prstGeom>
          <a:solidFill>
            <a:srgbClr val="1A729E"/>
          </a:solidFill>
          <a:ln w="9525" algn="ctr">
            <a:solidFill>
              <a:srgbClr val="3A90B7"/>
            </a:solidFill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방법</a:t>
            </a:r>
          </a:p>
        </p:txBody>
      </p:sp>
      <p:sp>
        <p:nvSpPr>
          <p:cNvPr id="3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8843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테스트 방안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10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2.4 </a:t>
            </a:r>
            <a:r>
              <a:rPr lang="ko-KR" altLang="en-US" dirty="0" smtClean="0"/>
              <a:t>사용자 인수 </a:t>
            </a:r>
            <a:r>
              <a:rPr lang="ko-KR" altLang="en-US" dirty="0"/>
              <a:t>테스트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사용자의 요구사항이 시스템에 적합하게 반영되었는지 확인하기 위해 사용자가 직접 준비한 테스트 시나리오에 의하여 테스트를 실시하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이를 지원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사용자 인수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테스트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7" name="AutoShape 38"/>
          <p:cNvSpPr>
            <a:spLocks noChangeArrowheads="1"/>
          </p:cNvSpPr>
          <p:nvPr/>
        </p:nvSpPr>
        <p:spPr bwMode="auto">
          <a:xfrm>
            <a:off x="3124510" y="2071274"/>
            <a:ext cx="501544" cy="4283075"/>
          </a:xfrm>
          <a:custGeom>
            <a:avLst/>
            <a:gdLst>
              <a:gd name="T0" fmla="*/ 2147483646 w 374"/>
              <a:gd name="T1" fmla="*/ 2147483646 h 2566"/>
              <a:gd name="T2" fmla="*/ 2147483646 w 374"/>
              <a:gd name="T3" fmla="*/ 2147483646 h 2566"/>
              <a:gd name="T4" fmla="*/ 2147483646 w 374"/>
              <a:gd name="T5" fmla="*/ 2147483646 h 2566"/>
              <a:gd name="T6" fmla="*/ 2147483646 w 374"/>
              <a:gd name="T7" fmla="*/ 0 h 2566"/>
              <a:gd name="T8" fmla="*/ 0 60000 65536"/>
              <a:gd name="T9" fmla="*/ 0 60000 65536"/>
              <a:gd name="T10" fmla="*/ 0 60000 65536"/>
              <a:gd name="T11" fmla="*/ 0 60000 65536"/>
              <a:gd name="T12" fmla="*/ 2664 w 374"/>
              <a:gd name="T13" fmla="*/ 2664 h 2566"/>
              <a:gd name="T14" fmla="*/ 18936 w 374"/>
              <a:gd name="T15" fmla="*/ 18936 h 256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4" h="2566">
                <a:moveTo>
                  <a:pt x="374" y="0"/>
                </a:moveTo>
                <a:lnTo>
                  <a:pt x="16" y="398"/>
                </a:lnTo>
                <a:lnTo>
                  <a:pt x="0" y="2110"/>
                </a:lnTo>
                <a:lnTo>
                  <a:pt x="368" y="2566"/>
                </a:lnTo>
                <a:lnTo>
                  <a:pt x="374" y="0"/>
                </a:lnTo>
                <a:close/>
              </a:path>
            </a:pathLst>
          </a:custGeom>
          <a:gradFill rotWithShape="0">
            <a:gsLst>
              <a:gs pos="0">
                <a:srgbClr val="EAEAEA"/>
              </a:gs>
              <a:gs pos="100000">
                <a:srgbClr val="F6F6F6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8" tIns="45668" rIns="91338" bIns="45668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9" name="AutoShape 70"/>
          <p:cNvSpPr>
            <a:spLocks noChangeArrowheads="1"/>
          </p:cNvSpPr>
          <p:nvPr/>
        </p:nvSpPr>
        <p:spPr bwMode="auto">
          <a:xfrm>
            <a:off x="430213" y="2580177"/>
            <a:ext cx="2853626" cy="3450321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algn="ctr">
            <a:solidFill>
              <a:srgbClr val="7AAFD0"/>
            </a:solidFill>
            <a:round/>
            <a:headEnd/>
            <a:tailEnd/>
          </a:ln>
        </p:spPr>
        <p:txBody>
          <a:bodyPr lIns="0" tIns="0" rIns="0" bIns="0" anchor="ctr"/>
          <a:lstStyle>
            <a:lvl1pPr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 defTabSz="900113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defTabSz="900113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>
              <a:lnSpc>
                <a:spcPct val="98000"/>
              </a:lnSpc>
            </a:pPr>
            <a:endParaRPr lang="ko-KR" altLang="en-US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80" name="Group 50"/>
          <p:cNvGrpSpPr>
            <a:grpSpLocks/>
          </p:cNvGrpSpPr>
          <p:nvPr/>
        </p:nvGrpSpPr>
        <p:grpSpPr bwMode="auto">
          <a:xfrm>
            <a:off x="1159764" y="3585742"/>
            <a:ext cx="1384300" cy="239713"/>
            <a:chOff x="858" y="4755"/>
            <a:chExt cx="2646" cy="232"/>
          </a:xfrm>
        </p:grpSpPr>
        <p:sp>
          <p:nvSpPr>
            <p:cNvPr id="81" name="AutoShape 51"/>
            <p:cNvSpPr>
              <a:spLocks noChangeArrowheads="1"/>
            </p:cNvSpPr>
            <p:nvPr/>
          </p:nvSpPr>
          <p:spPr bwMode="auto">
            <a:xfrm rot="10800000">
              <a:off x="858" y="4770"/>
              <a:ext cx="2646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2" name="AutoShape 52"/>
            <p:cNvSpPr>
              <a:spLocks noChangeArrowheads="1"/>
            </p:cNvSpPr>
            <p:nvPr/>
          </p:nvSpPr>
          <p:spPr bwMode="auto">
            <a:xfrm rot="10800000">
              <a:off x="1146" y="4763"/>
              <a:ext cx="2069" cy="215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3" name="AutoShape 53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9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84" name="Group 65"/>
          <p:cNvGrpSpPr>
            <a:grpSpLocks/>
          </p:cNvGrpSpPr>
          <p:nvPr/>
        </p:nvGrpSpPr>
        <p:grpSpPr bwMode="auto">
          <a:xfrm>
            <a:off x="1159764" y="4687467"/>
            <a:ext cx="1384300" cy="239713"/>
            <a:chOff x="858" y="4755"/>
            <a:chExt cx="2646" cy="232"/>
          </a:xfrm>
        </p:grpSpPr>
        <p:sp>
          <p:nvSpPr>
            <p:cNvPr id="85" name="AutoShape 66"/>
            <p:cNvSpPr>
              <a:spLocks noChangeArrowheads="1"/>
            </p:cNvSpPr>
            <p:nvPr/>
          </p:nvSpPr>
          <p:spPr bwMode="auto">
            <a:xfrm rot="10800000">
              <a:off x="858" y="4770"/>
              <a:ext cx="2646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6" name="AutoShape 67"/>
            <p:cNvSpPr>
              <a:spLocks noChangeArrowheads="1"/>
            </p:cNvSpPr>
            <p:nvPr/>
          </p:nvSpPr>
          <p:spPr bwMode="auto">
            <a:xfrm rot="10800000">
              <a:off x="1146" y="4763"/>
              <a:ext cx="2069" cy="215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7" name="AutoShape 68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9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88" name="AutoShape 49"/>
          <p:cNvSpPr>
            <a:spLocks noChangeArrowheads="1"/>
          </p:cNvSpPr>
          <p:nvPr/>
        </p:nvSpPr>
        <p:spPr bwMode="auto">
          <a:xfrm>
            <a:off x="551758" y="2818987"/>
            <a:ext cx="2600325" cy="765175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38" tIns="45668" rIns="91338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실 운용환경과 동등한 테스트 환경에서 신규 시스템의 업무 적용성을 검증</a:t>
            </a:r>
          </a:p>
        </p:txBody>
      </p:sp>
      <p:sp>
        <p:nvSpPr>
          <p:cNvPr id="89" name="AutoShape 49"/>
          <p:cNvSpPr>
            <a:spLocks noChangeArrowheads="1"/>
          </p:cNvSpPr>
          <p:nvPr/>
        </p:nvSpPr>
        <p:spPr bwMode="auto">
          <a:xfrm>
            <a:off x="551758" y="3920712"/>
            <a:ext cx="2600325" cy="765175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38" tIns="45668" rIns="91338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구사항 구현 완전성 확인</a:t>
            </a:r>
          </a:p>
          <a:p>
            <a:pPr algn="ctr" defTabSz="956190" latinLnBrk="0"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구사항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능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능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구현 적정성 확인 </a:t>
            </a:r>
          </a:p>
          <a:p>
            <a:pPr algn="ctr" defTabSz="956190" latinLnBrk="0"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응용 소프트웨어 효율성 검증</a:t>
            </a:r>
          </a:p>
        </p:txBody>
      </p:sp>
      <p:sp>
        <p:nvSpPr>
          <p:cNvPr id="90" name="AutoShape 49"/>
          <p:cNvSpPr>
            <a:spLocks noChangeArrowheads="1"/>
          </p:cNvSpPr>
          <p:nvPr/>
        </p:nvSpPr>
        <p:spPr bwMode="auto">
          <a:xfrm>
            <a:off x="551758" y="5022430"/>
            <a:ext cx="2600325" cy="763587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38" tIns="45668" rIns="91338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정된 사용자 참여하에 테스트 환경에서</a:t>
            </a:r>
            <a:endParaRPr lang="en-US" altLang="ko-KR" sz="110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defTabSz="956190" latinLnBrk="0"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팀의 주도로 테스트 실시</a:t>
            </a:r>
          </a:p>
        </p:txBody>
      </p:sp>
      <p:graphicFrame>
        <p:nvGraphicFramePr>
          <p:cNvPr id="91" name="Group 67"/>
          <p:cNvGraphicFramePr>
            <a:graphicFrameLocks noGrp="1"/>
          </p:cNvGraphicFramePr>
          <p:nvPr>
            <p:extLst/>
          </p:nvPr>
        </p:nvGraphicFramePr>
        <p:xfrm>
          <a:off x="3621089" y="2071267"/>
          <a:ext cx="5910262" cy="4283076"/>
        </p:xfrm>
        <a:graphic>
          <a:graphicData uri="http://schemas.openxmlformats.org/drawingml/2006/table">
            <a:tbl>
              <a:tblPr/>
              <a:tblGrid>
                <a:gridCol w="15510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92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36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절차</a:t>
                      </a:r>
                    </a:p>
                  </a:txBody>
                  <a:tcPr marL="108000" marR="108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FFFFF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내역</a:t>
                      </a:r>
                    </a:p>
                  </a:txBody>
                  <a:tcPr marL="108000" marR="108000" marT="46800" marB="4680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545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사용자</a:t>
                      </a:r>
                      <a:r>
                        <a:rPr kumimoji="1" lang="en-US" altLang="ko-KR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</a:b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테스트 계획</a:t>
                      </a:r>
                    </a:p>
                  </a:txBody>
                  <a:tcPr marL="108000" marR="108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케이스 분류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그룹은 업무영역 단위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케이스는 단위처리 기능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스템간 인터페이스 테스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성능평가로 분류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계획서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목적 및 범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방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케이스 분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</a:t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일정계획</a:t>
                      </a:r>
                    </a:p>
                  </a:txBody>
                  <a:tcPr marL="108000" marR="108000" marT="46800" marB="468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463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사용자</a:t>
                      </a:r>
                      <a:r>
                        <a:rPr kumimoji="1" lang="en-US" altLang="ko-KR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</a:b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테스트 실시</a:t>
                      </a:r>
                    </a:p>
                  </a:txBody>
                  <a:tcPr marL="108000" marR="108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사전 준비사항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요구사항정의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데이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화면설계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사용자 테스트 계획서 확인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실시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 별로 테스트 데이터를 작성하여 테스트 실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</a:t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에 결과 기록</a:t>
                      </a:r>
                    </a:p>
                  </a:txBody>
                  <a:tcPr marL="108000" marR="108000" marT="46800" marB="468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93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사용자</a:t>
                      </a:r>
                      <a:r>
                        <a:rPr kumimoji="1" lang="en-US" altLang="ko-KR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</a:b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테스트 완료</a:t>
                      </a:r>
                    </a:p>
                  </a:txBody>
                  <a:tcPr marL="108000" marR="108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완료 보고서 작성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점검 결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오류 목록</a:t>
                      </a:r>
                    </a:p>
                  </a:txBody>
                  <a:tcPr marL="108000" marR="108000" marT="46800" marB="46800" anchor="ctr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2" name="Rectangle 7"/>
          <p:cNvSpPr>
            <a:spLocks noChangeArrowheads="1"/>
          </p:cNvSpPr>
          <p:nvPr/>
        </p:nvSpPr>
        <p:spPr bwMode="gray">
          <a:xfrm>
            <a:off x="430220" y="2307120"/>
            <a:ext cx="2853625" cy="273050"/>
          </a:xfrm>
          <a:prstGeom prst="rect">
            <a:avLst/>
          </a:prstGeom>
          <a:solidFill>
            <a:srgbClr val="1A729E"/>
          </a:solidFill>
          <a:ln w="9525" algn="ctr">
            <a:solidFill>
              <a:srgbClr val="3A90B7"/>
            </a:solidFill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방법</a:t>
            </a:r>
          </a:p>
        </p:txBody>
      </p:sp>
      <p:sp>
        <p:nvSpPr>
          <p:cNvPr id="2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2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8843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테스트 방안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454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3.1 </a:t>
            </a:r>
            <a:r>
              <a:rPr lang="ko-KR" altLang="en-US" dirty="0"/>
              <a:t>성능 </a:t>
            </a:r>
            <a:r>
              <a:rPr lang="ko-KR" altLang="en-US" dirty="0" smtClean="0"/>
              <a:t>테스트 개요 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신규 구축되는 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정성 및 신뢰성을 확보하기 위하여 시스템에 대한 객관적인 검증이 반드시 필요하기에 시스템의 기능 및 성능을 검증할 수 있도록 성능 테스트를 통해 시스템의 성능을 분석 및 평가하여 안정적인 시스템을 구현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테스트 개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성능 테스트 방안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0" name="AutoShape 38"/>
          <p:cNvSpPr>
            <a:spLocks noChangeArrowheads="1"/>
          </p:cNvSpPr>
          <p:nvPr/>
        </p:nvSpPr>
        <p:spPr bwMode="auto">
          <a:xfrm>
            <a:off x="3134242" y="2084886"/>
            <a:ext cx="491815" cy="4368534"/>
          </a:xfrm>
          <a:custGeom>
            <a:avLst/>
            <a:gdLst>
              <a:gd name="T0" fmla="*/ 2147483646 w 374"/>
              <a:gd name="T1" fmla="*/ 2147483646 h 2566"/>
              <a:gd name="T2" fmla="*/ 2147483646 w 374"/>
              <a:gd name="T3" fmla="*/ 2147483646 h 2566"/>
              <a:gd name="T4" fmla="*/ 2147483646 w 374"/>
              <a:gd name="T5" fmla="*/ 2147483646 h 2566"/>
              <a:gd name="T6" fmla="*/ 2147483646 w 374"/>
              <a:gd name="T7" fmla="*/ 0 h 2566"/>
              <a:gd name="T8" fmla="*/ 0 60000 65536"/>
              <a:gd name="T9" fmla="*/ 0 60000 65536"/>
              <a:gd name="T10" fmla="*/ 0 60000 65536"/>
              <a:gd name="T11" fmla="*/ 0 60000 65536"/>
              <a:gd name="T12" fmla="*/ 2664 w 374"/>
              <a:gd name="T13" fmla="*/ 2664 h 2566"/>
              <a:gd name="T14" fmla="*/ 18936 w 374"/>
              <a:gd name="T15" fmla="*/ 18936 h 256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4" h="2566">
                <a:moveTo>
                  <a:pt x="374" y="0"/>
                </a:moveTo>
                <a:lnTo>
                  <a:pt x="16" y="398"/>
                </a:lnTo>
                <a:lnTo>
                  <a:pt x="0" y="2110"/>
                </a:lnTo>
                <a:lnTo>
                  <a:pt x="368" y="2566"/>
                </a:lnTo>
                <a:lnTo>
                  <a:pt x="374" y="0"/>
                </a:lnTo>
                <a:close/>
              </a:path>
            </a:pathLst>
          </a:custGeom>
          <a:gradFill rotWithShape="0">
            <a:gsLst>
              <a:gs pos="0">
                <a:srgbClr val="EAEAEA"/>
              </a:gs>
              <a:gs pos="100000">
                <a:srgbClr val="F6F6F6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38" tIns="45668" rIns="91338" bIns="45668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31" name="Group 68"/>
          <p:cNvGrpSpPr>
            <a:grpSpLocks/>
          </p:cNvGrpSpPr>
          <p:nvPr/>
        </p:nvGrpSpPr>
        <p:grpSpPr bwMode="auto">
          <a:xfrm>
            <a:off x="430213" y="2406835"/>
            <a:ext cx="2863850" cy="3637277"/>
            <a:chOff x="308" y="1651"/>
            <a:chExt cx="1644" cy="2179"/>
          </a:xfrm>
        </p:grpSpPr>
        <p:sp>
          <p:nvSpPr>
            <p:cNvPr id="32" name="AutoShape 69"/>
            <p:cNvSpPr>
              <a:spLocks noChangeArrowheads="1"/>
            </p:cNvSpPr>
            <p:nvPr/>
          </p:nvSpPr>
          <p:spPr bwMode="auto">
            <a:xfrm>
              <a:off x="308" y="1763"/>
              <a:ext cx="1644" cy="206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algn="ctr">
              <a:solidFill>
                <a:srgbClr val="7AAFD0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pPr>
                <a:lnSpc>
                  <a:spcPct val="98000"/>
                </a:lnSpc>
              </a:pPr>
              <a:endParaRPr lang="ko-KR" altLang="en-US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3" name="Text Box 73"/>
            <p:cNvSpPr txBox="1">
              <a:spLocks noChangeArrowheads="1"/>
            </p:cNvSpPr>
            <p:nvPr/>
          </p:nvSpPr>
          <p:spPr bwMode="auto">
            <a:xfrm>
              <a:off x="1000" y="1651"/>
              <a:ext cx="343" cy="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1pPr>
              <a:lvl2pPr marL="742950" indent="-28575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2pPr>
              <a:lvl3pPr marL="11430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3pPr>
              <a:lvl4pPr marL="16002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4pPr>
              <a:lvl5pPr marL="2057400" indent="-228600" algn="r" defTabSz="900113"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5pPr>
              <a:lvl6pPr marL="25146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6pPr>
              <a:lvl7pPr marL="29718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7pPr>
              <a:lvl8pPr marL="34290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8pPr>
              <a:lvl9pPr marL="3886200" indent="-228600" algn="r" defTabSz="900113" eaLnBrk="0" fontAlgn="base" hangingPunct="0">
                <a:spcBef>
                  <a:spcPct val="0"/>
                </a:spcBef>
                <a:spcAft>
                  <a:spcPct val="0"/>
                </a:spcAft>
                <a:defRPr kumimoji="1" sz="900">
                  <a:solidFill>
                    <a:srgbClr val="003300"/>
                  </a:solidFill>
                  <a:latin typeface="산돌고딕B" panose="02030504000101010101" pitchFamily="18" charset="-127"/>
                  <a:ea typeface="산돌고딕B" panose="02030504000101010101" pitchFamily="18" charset="-127"/>
                </a:defRPr>
              </a:lvl9pPr>
            </a:lstStyle>
            <a:p>
              <a:r>
                <a:rPr lang="ko-KR" altLang="en-US" sz="1000" b="1" dirty="0">
                  <a:solidFill>
                    <a:srgbClr val="FFFFFF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스트 방법</a:t>
              </a:r>
            </a:p>
          </p:txBody>
        </p:sp>
      </p:grpSp>
      <p:grpSp>
        <p:nvGrpSpPr>
          <p:cNvPr id="34" name="Group 50"/>
          <p:cNvGrpSpPr>
            <a:grpSpLocks/>
          </p:cNvGrpSpPr>
          <p:nvPr/>
        </p:nvGrpSpPr>
        <p:grpSpPr bwMode="auto">
          <a:xfrm>
            <a:off x="1169988" y="3361229"/>
            <a:ext cx="1384300" cy="241300"/>
            <a:chOff x="858" y="4755"/>
            <a:chExt cx="2646" cy="232"/>
          </a:xfrm>
        </p:grpSpPr>
        <p:sp>
          <p:nvSpPr>
            <p:cNvPr id="35" name="AutoShape 51"/>
            <p:cNvSpPr>
              <a:spLocks noChangeArrowheads="1"/>
            </p:cNvSpPr>
            <p:nvPr/>
          </p:nvSpPr>
          <p:spPr bwMode="auto">
            <a:xfrm rot="10800000">
              <a:off x="858" y="4770"/>
              <a:ext cx="2646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6" name="AutoShape 52"/>
            <p:cNvSpPr>
              <a:spLocks noChangeArrowheads="1"/>
            </p:cNvSpPr>
            <p:nvPr/>
          </p:nvSpPr>
          <p:spPr bwMode="auto">
            <a:xfrm rot="10800000">
              <a:off x="1146" y="4763"/>
              <a:ext cx="2069" cy="215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7" name="AutoShape 53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9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38" name="Group 65"/>
          <p:cNvGrpSpPr>
            <a:grpSpLocks/>
          </p:cNvGrpSpPr>
          <p:nvPr/>
        </p:nvGrpSpPr>
        <p:grpSpPr bwMode="auto">
          <a:xfrm>
            <a:off x="1169988" y="4664568"/>
            <a:ext cx="1384300" cy="241300"/>
            <a:chOff x="858" y="4755"/>
            <a:chExt cx="2646" cy="232"/>
          </a:xfrm>
        </p:grpSpPr>
        <p:sp>
          <p:nvSpPr>
            <p:cNvPr id="46" name="AutoShape 66"/>
            <p:cNvSpPr>
              <a:spLocks noChangeArrowheads="1"/>
            </p:cNvSpPr>
            <p:nvPr/>
          </p:nvSpPr>
          <p:spPr bwMode="auto">
            <a:xfrm rot="10800000">
              <a:off x="858" y="4770"/>
              <a:ext cx="2646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40A4BC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7" name="AutoShape 67"/>
            <p:cNvSpPr>
              <a:spLocks noChangeArrowheads="1"/>
            </p:cNvSpPr>
            <p:nvPr/>
          </p:nvSpPr>
          <p:spPr bwMode="auto">
            <a:xfrm rot="10800000">
              <a:off x="1146" y="4763"/>
              <a:ext cx="2069" cy="215"/>
            </a:xfrm>
            <a:prstGeom prst="triangle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8" name="AutoShape 68"/>
            <p:cNvSpPr>
              <a:spLocks noChangeArrowheads="1"/>
            </p:cNvSpPr>
            <p:nvPr/>
          </p:nvSpPr>
          <p:spPr bwMode="auto">
            <a:xfrm rot="10800000">
              <a:off x="1277" y="4755"/>
              <a:ext cx="1809" cy="217"/>
            </a:xfrm>
            <a:prstGeom prst="triangle">
              <a:avLst>
                <a:gd name="adj" fmla="val 50000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9CD1DE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anchor="ctr"/>
            <a:lstStyle/>
            <a:p>
              <a:pPr algn="ctr">
                <a:defRPr/>
              </a:pPr>
              <a:endParaRPr kumimoji="0"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49" name="AutoShape 49"/>
          <p:cNvSpPr>
            <a:spLocks noChangeArrowheads="1"/>
          </p:cNvSpPr>
          <p:nvPr/>
        </p:nvSpPr>
        <p:spPr bwMode="auto">
          <a:xfrm>
            <a:off x="561982" y="2832599"/>
            <a:ext cx="2600325" cy="490537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3941" tIns="45668" rIns="53941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련 시스템 별로 실시</a:t>
            </a:r>
          </a:p>
        </p:txBody>
      </p:sp>
      <p:sp>
        <p:nvSpPr>
          <p:cNvPr id="50" name="AutoShape 49"/>
          <p:cNvSpPr>
            <a:spLocks noChangeArrowheads="1"/>
          </p:cNvSpPr>
          <p:nvPr/>
        </p:nvSpPr>
        <p:spPr bwMode="auto">
          <a:xfrm>
            <a:off x="561982" y="3642217"/>
            <a:ext cx="2600325" cy="984250"/>
          </a:xfrm>
          <a:prstGeom prst="roundRect">
            <a:avLst>
              <a:gd name="adj" fmla="val 6102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3941" tIns="45668" rIns="53941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술설계 단계에서 정의된 성능지표를 기준으로 시스템의 부하 테스트를 실시하여 시스템의 성능을 측정하고 성능튜닝 방안 도출</a:t>
            </a:r>
          </a:p>
        </p:txBody>
      </p:sp>
      <p:sp>
        <p:nvSpPr>
          <p:cNvPr id="51" name="AutoShape 49"/>
          <p:cNvSpPr>
            <a:spLocks noChangeArrowheads="1"/>
          </p:cNvSpPr>
          <p:nvPr/>
        </p:nvSpPr>
        <p:spPr bwMode="auto">
          <a:xfrm>
            <a:off x="561982" y="4945561"/>
            <a:ext cx="2600325" cy="854075"/>
          </a:xfrm>
          <a:prstGeom prst="roundRect">
            <a:avLst>
              <a:gd name="adj" fmla="val 10713"/>
            </a:avLst>
          </a:prstGeom>
          <a:solidFill>
            <a:srgbClr val="B8D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3941" tIns="45668" rIns="53941" bIns="45668" anchor="ctr"/>
          <a:lstStyle>
            <a:lvl1pPr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1pPr>
            <a:lvl2pPr marL="742950" indent="-28575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2pPr>
            <a:lvl3pPr marL="11430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3pPr>
            <a:lvl4pPr marL="16002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4pPr>
            <a:lvl5pPr marL="2057400" indent="-228600" algn="r"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kumimoji="1" sz="900">
                <a:solidFill>
                  <a:srgbClr val="003300"/>
                </a:solidFill>
                <a:latin typeface="산돌고딕B" panose="02030504000101010101" pitchFamily="18" charset="-127"/>
                <a:ea typeface="산돌고딕B" panose="02030504000101010101" pitchFamily="18" charset="-127"/>
              </a:defRPr>
            </a:lvl9pPr>
          </a:lstStyle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스템 처리기능에 대한 최종확인 및 </a:t>
            </a:r>
          </a:p>
          <a:p>
            <a:pPr algn="ctr" defTabSz="956190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적정한 부하</a:t>
            </a:r>
            <a:r>
              <a:rPr lang="en-US" altLang="ko-KR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능 검증</a:t>
            </a:r>
          </a:p>
        </p:txBody>
      </p:sp>
      <p:graphicFrame>
        <p:nvGraphicFramePr>
          <p:cNvPr id="52" name="Group 47"/>
          <p:cNvGraphicFramePr>
            <a:graphicFrameLocks noGrp="1"/>
          </p:cNvGraphicFramePr>
          <p:nvPr>
            <p:extLst/>
          </p:nvPr>
        </p:nvGraphicFramePr>
        <p:xfrm>
          <a:off x="3614738" y="2065424"/>
          <a:ext cx="5992812" cy="4380800"/>
        </p:xfrm>
        <a:graphic>
          <a:graphicData uri="http://schemas.openxmlformats.org/drawingml/2006/table">
            <a:tbl>
              <a:tblPr/>
              <a:tblGrid>
                <a:gridCol w="15277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650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021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절차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수행 내역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9341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성능 테스트 계획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케이스 도출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업무 부하를 고려한 성능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부하 테스트 케이스 도출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 작성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데이터 확보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스템 테스트 계획서 작성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목적 및 범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방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 분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데이터 확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일정 계획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추진 조직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의 검토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21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성능 테스트 실시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사전 준비사항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성능시험을 위한 자동 테스트 시험 도구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데이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화면설계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스템 테스트 계획서 확인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실시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–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 별로 테스트 데이터를 작성하여 시스템 테스트 실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시나리오에 결과 기록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04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성능 테스트 평가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성능 측정지표 달성 테스트</a:t>
                      </a:r>
                    </a:p>
                    <a:p>
                      <a:pPr marL="296863" marR="0" lvl="1" indent="-117475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모든 인증이 사용자가 요청하는 시간으로부터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초 이내 응답 가능 여부</a:t>
                      </a:r>
                    </a:p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부하 테스트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목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PS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019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월부터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6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월까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APM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모니터링 결과를 기준으로 고객 협의를 통해 산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스템의 임계 부하 및 최대 수용 가능 유저 수 산정 및 파악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53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성능 테스트 완료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95250" marR="0" lvl="0" indent="-95250" algn="just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결과 보고서 작성</a:t>
                      </a:r>
                    </a:p>
                    <a:p>
                      <a:pPr marL="296863" marR="0" lvl="1" indent="-117475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맑은 고딕" pitchFamily="50" charset="-127"/>
                        <a:buChar char="-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점검 결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오류 목록</a:t>
                      </a:r>
                    </a:p>
                  </a:txBody>
                  <a:tcPr marL="90000" marR="90000" marT="0" marB="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3" name="Rectangle 7"/>
          <p:cNvSpPr>
            <a:spLocks noChangeArrowheads="1"/>
          </p:cNvSpPr>
          <p:nvPr/>
        </p:nvSpPr>
        <p:spPr bwMode="gray">
          <a:xfrm>
            <a:off x="427038" y="2326170"/>
            <a:ext cx="2867025" cy="273050"/>
          </a:xfrm>
          <a:prstGeom prst="rect">
            <a:avLst/>
          </a:prstGeom>
          <a:solidFill>
            <a:srgbClr val="1A729E"/>
          </a:solidFill>
          <a:ln w="9525" algn="ctr">
            <a:solidFill>
              <a:srgbClr val="3A90B7"/>
            </a:solidFill>
            <a:miter lim="800000"/>
            <a:headEnd/>
            <a:tailEnd/>
          </a:ln>
        </p:spPr>
        <p:txBody>
          <a:bodyPr lIns="0" tIns="45668" rIns="0" bIns="45668" anchor="ctr"/>
          <a:lstStyle/>
          <a:p>
            <a:pPr algn="ctr"/>
            <a:r>
              <a:rPr lang="ko-KR" altLang="en-US" sz="1200" spc="-50" dirty="0">
                <a:ln>
                  <a:solidFill>
                    <a:srgbClr val="D64E75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방법</a:t>
            </a:r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19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037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Rectangle 116"/>
          <p:cNvSpPr>
            <a:spLocks noChangeArrowheads="1"/>
          </p:cNvSpPr>
          <p:nvPr/>
        </p:nvSpPr>
        <p:spPr bwMode="auto">
          <a:xfrm>
            <a:off x="2360712" y="2020613"/>
            <a:ext cx="5577730" cy="4464000"/>
          </a:xfrm>
          <a:prstGeom prst="rect">
            <a:avLst/>
          </a:prstGeom>
          <a:noFill/>
          <a:ln w="25400" cap="flat" cmpd="sng" algn="ctr">
            <a:solidFill>
              <a:srgbClr val="CA106B"/>
            </a:solidFill>
            <a:prstDash val="solid"/>
            <a:tailEnd type="none"/>
          </a:ln>
          <a:effectLst/>
        </p:spPr>
        <p:txBody>
          <a:bodyPr lIns="91415" tIns="45708" rIns="91415" bIns="45708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1.2 </a:t>
            </a:r>
            <a:r>
              <a:rPr lang="ko-KR" altLang="en-US" dirty="0" smtClean="0"/>
              <a:t>목표 시스템 구성도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목표 시스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성도는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아래와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목표 시스템 구성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8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56514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구축전략</a:t>
            </a:r>
          </a:p>
        </p:txBody>
      </p:sp>
      <p:sp>
        <p:nvSpPr>
          <p:cNvPr id="29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1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09" name="직사각형 308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283770" y="2349417"/>
            <a:ext cx="1692000" cy="41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0" name="직사각형 309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8099068" y="4473292"/>
            <a:ext cx="1548000" cy="15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1" name="직사각형 310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8099068" y="3393068"/>
            <a:ext cx="1548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2" name="직사각형 311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8099068" y="2339865"/>
            <a:ext cx="1548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3" name="AutoShape 362" descr="TCP-52"/>
          <p:cNvSpPr>
            <a:spLocks noChangeArrowheads="1"/>
          </p:cNvSpPr>
          <p:nvPr/>
        </p:nvSpPr>
        <p:spPr bwMode="auto">
          <a:xfrm rot="5400000">
            <a:off x="99417" y="4097189"/>
            <a:ext cx="4192385" cy="216000"/>
          </a:xfrm>
          <a:prstGeom prst="roundRect">
            <a:avLst>
              <a:gd name="adj" fmla="val 50000"/>
            </a:avLst>
          </a:prstGeom>
          <a:solidFill>
            <a:srgbClr val="A1D8FF"/>
          </a:solidFill>
          <a:ln w="25400" cap="flat" cmpd="sng" algn="ctr">
            <a:noFill/>
            <a:prstDash val="solid"/>
          </a:ln>
          <a:effec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4" name="직사각형 313"/>
          <p:cNvSpPr/>
          <p:nvPr/>
        </p:nvSpPr>
        <p:spPr>
          <a:xfrm>
            <a:off x="641365" y="2136451"/>
            <a:ext cx="969955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egacy System</a:t>
            </a:r>
          </a:p>
        </p:txBody>
      </p:sp>
      <p:sp>
        <p:nvSpPr>
          <p:cNvPr id="340" name="직사각형 339"/>
          <p:cNvSpPr/>
          <p:nvPr/>
        </p:nvSpPr>
        <p:spPr>
          <a:xfrm>
            <a:off x="8534271" y="2136451"/>
            <a:ext cx="657841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본점 담당자</a:t>
            </a:r>
          </a:p>
        </p:txBody>
      </p:sp>
      <p:pic>
        <p:nvPicPr>
          <p:cNvPr id="341" name="그림 3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3829" y="2399453"/>
            <a:ext cx="424515" cy="300199"/>
          </a:xfrm>
          <a:prstGeom prst="rect">
            <a:avLst/>
          </a:prstGeom>
        </p:spPr>
      </p:pic>
      <p:pic>
        <p:nvPicPr>
          <p:cNvPr id="342" name="그림 34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0120" y="2398297"/>
            <a:ext cx="408350" cy="301354"/>
          </a:xfrm>
          <a:prstGeom prst="rect">
            <a:avLst/>
          </a:prstGeom>
        </p:spPr>
      </p:pic>
      <p:pic>
        <p:nvPicPr>
          <p:cNvPr id="343" name="그림 3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6096" y="2398297"/>
            <a:ext cx="530069" cy="301354"/>
          </a:xfrm>
          <a:prstGeom prst="rect">
            <a:avLst/>
          </a:prstGeom>
        </p:spPr>
      </p:pic>
      <p:sp>
        <p:nvSpPr>
          <p:cNvPr id="344" name="직사각형 343"/>
          <p:cNvSpPr/>
          <p:nvPr/>
        </p:nvSpPr>
        <p:spPr>
          <a:xfrm>
            <a:off x="8241433" y="2702187"/>
            <a:ext cx="269304" cy="24622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 w="0"/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본점</a:t>
            </a:r>
            <a:endParaRPr kumimoji="1" lang="en-US" altLang="ko-KR" sz="800" b="0" i="0" u="none" strike="noStrike" kern="0" cap="none" spc="0" normalizeH="0" baseline="0" noProof="0" dirty="0" smtClean="0">
              <a:ln w="0"/>
              <a:solidFill>
                <a:srgbClr val="333333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 w="0"/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책임자</a:t>
            </a:r>
          </a:p>
        </p:txBody>
      </p:sp>
      <p:sp>
        <p:nvSpPr>
          <p:cNvPr id="345" name="직사각형 344"/>
          <p:cNvSpPr/>
          <p:nvPr/>
        </p:nvSpPr>
        <p:spPr>
          <a:xfrm>
            <a:off x="8712842" y="2702187"/>
            <a:ext cx="269304" cy="24622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본점</a:t>
            </a:r>
            <a:endParaRPr kumimoji="1" lang="en-US" altLang="ko-KR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</a:t>
            </a:r>
          </a:p>
        </p:txBody>
      </p:sp>
      <p:sp>
        <p:nvSpPr>
          <p:cNvPr id="346" name="직사각형 345"/>
          <p:cNvSpPr/>
          <p:nvPr/>
        </p:nvSpPr>
        <p:spPr>
          <a:xfrm>
            <a:off x="9196478" y="2702187"/>
            <a:ext cx="269304" cy="24622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스템</a:t>
            </a:r>
            <a:endParaRPr kumimoji="1" lang="ko-KR" altLang="en-US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자</a:t>
            </a:r>
          </a:p>
        </p:txBody>
      </p:sp>
      <p:sp>
        <p:nvSpPr>
          <p:cNvPr id="347" name="직사각형 346"/>
          <p:cNvSpPr/>
          <p:nvPr/>
        </p:nvSpPr>
        <p:spPr>
          <a:xfrm>
            <a:off x="8472649" y="3188583"/>
            <a:ext cx="781084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영업점 담당자</a:t>
            </a:r>
          </a:p>
        </p:txBody>
      </p:sp>
      <p:pic>
        <p:nvPicPr>
          <p:cNvPr id="348" name="그림 34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4287" y="3451586"/>
            <a:ext cx="424515" cy="300199"/>
          </a:xfrm>
          <a:prstGeom prst="rect">
            <a:avLst/>
          </a:prstGeom>
        </p:spPr>
      </p:pic>
      <p:pic>
        <p:nvPicPr>
          <p:cNvPr id="349" name="그림 34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8425" y="3450430"/>
            <a:ext cx="408350" cy="301354"/>
          </a:xfrm>
          <a:prstGeom prst="rect">
            <a:avLst/>
          </a:prstGeom>
        </p:spPr>
      </p:pic>
      <p:sp>
        <p:nvSpPr>
          <p:cNvPr id="350" name="직사각형 349"/>
          <p:cNvSpPr/>
          <p:nvPr/>
        </p:nvSpPr>
        <p:spPr>
          <a:xfrm>
            <a:off x="8452094" y="3757151"/>
            <a:ext cx="268898" cy="24055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</a:t>
            </a:r>
            <a:endParaRPr kumimoji="1" lang="ko-KR" altLang="en-US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책임자</a:t>
            </a:r>
          </a:p>
        </p:txBody>
      </p:sp>
      <p:sp>
        <p:nvSpPr>
          <p:cNvPr id="351" name="직사각형 350"/>
          <p:cNvSpPr/>
          <p:nvPr/>
        </p:nvSpPr>
        <p:spPr>
          <a:xfrm>
            <a:off x="9001350" y="3757151"/>
            <a:ext cx="268898" cy="24055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 smtClean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</a:t>
            </a:r>
            <a:endParaRPr kumimoji="1" lang="en-US" altLang="ko-KR" sz="800" kern="0" dirty="0">
              <a:ln w="0"/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</a:t>
            </a:r>
          </a:p>
        </p:txBody>
      </p:sp>
      <p:sp>
        <p:nvSpPr>
          <p:cNvPr id="352" name="직사각형 351"/>
          <p:cNvSpPr/>
          <p:nvPr/>
        </p:nvSpPr>
        <p:spPr>
          <a:xfrm>
            <a:off x="8498394" y="4270667"/>
            <a:ext cx="739469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외부기관연계</a:t>
            </a:r>
          </a:p>
        </p:txBody>
      </p:sp>
      <p:grpSp>
        <p:nvGrpSpPr>
          <p:cNvPr id="353" name="그룹 352"/>
          <p:cNvGrpSpPr/>
          <p:nvPr/>
        </p:nvGrpSpPr>
        <p:grpSpPr>
          <a:xfrm>
            <a:off x="8082587" y="6152831"/>
            <a:ext cx="1530083" cy="269687"/>
            <a:chOff x="8681070" y="6635466"/>
            <a:chExt cx="1626059" cy="328613"/>
          </a:xfrm>
        </p:grpSpPr>
        <p:sp>
          <p:nvSpPr>
            <p:cNvPr id="380" name="LcS19"/>
            <p:cNvSpPr>
              <a:spLocks noChangeArrowheads="1"/>
            </p:cNvSpPr>
            <p:nvPr/>
          </p:nvSpPr>
          <p:spPr bwMode="auto">
            <a:xfrm>
              <a:off x="8850932" y="6660866"/>
              <a:ext cx="1456197" cy="283368"/>
            </a:xfrm>
            <a:prstGeom prst="roundRect">
              <a:avLst>
                <a:gd name="adj" fmla="val 6389"/>
              </a:avLst>
            </a:prstGeom>
            <a:solidFill>
              <a:srgbClr val="FFFFFF"/>
            </a:solidFill>
            <a:ln w="6350" algn="ctr">
              <a:solidFill>
                <a:srgbClr val="C0C0C0"/>
              </a:solidFill>
              <a:round/>
              <a:headEnd/>
              <a:tailEnd/>
            </a:ln>
            <a:effectLst>
              <a:outerShdw dist="50800" dir="10800000" algn="ctr" rotWithShape="0">
                <a:srgbClr val="CCCCCC"/>
              </a:outerShdw>
            </a:effectLst>
          </p:spPr>
          <p:txBody>
            <a:bodyPr lIns="612000" tIns="36000" rIns="0" bIns="36000" anchor="ctr"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30000"/>
                </a:spcBef>
                <a:spcAft>
                  <a:spcPct val="3000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381" name="Group 408"/>
            <p:cNvGrpSpPr>
              <a:grpSpLocks/>
            </p:cNvGrpSpPr>
            <p:nvPr/>
          </p:nvGrpSpPr>
          <p:grpSpPr bwMode="auto">
            <a:xfrm>
              <a:off x="8681070" y="6635466"/>
              <a:ext cx="296862" cy="328613"/>
              <a:chOff x="2947" y="1398"/>
              <a:chExt cx="187" cy="207"/>
            </a:xfrm>
          </p:grpSpPr>
          <p:sp>
            <p:nvSpPr>
              <p:cNvPr id="385" name="Freeform 227"/>
              <p:cNvSpPr>
                <a:spLocks/>
              </p:cNvSpPr>
              <p:nvPr/>
            </p:nvSpPr>
            <p:spPr bwMode="auto">
              <a:xfrm rot="16200000" flipH="1">
                <a:off x="2990" y="1466"/>
                <a:ext cx="165" cy="114"/>
              </a:xfrm>
              <a:custGeom>
                <a:avLst/>
                <a:gdLst>
                  <a:gd name="T0" fmla="*/ 0 w 204"/>
                  <a:gd name="T1" fmla="*/ 2147483646 h 91"/>
                  <a:gd name="T2" fmla="*/ 393332724 w 204"/>
                  <a:gd name="T3" fmla="*/ 2147483646 h 91"/>
                  <a:gd name="T4" fmla="*/ 393332724 w 204"/>
                  <a:gd name="T5" fmla="*/ 0 h 91"/>
                  <a:gd name="T6" fmla="*/ 393332724 w 204"/>
                  <a:gd name="T7" fmla="*/ 0 h 91"/>
                  <a:gd name="T8" fmla="*/ 0 w 204"/>
                  <a:gd name="T9" fmla="*/ 2147483646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4"/>
                  <a:gd name="T16" fmla="*/ 0 h 91"/>
                  <a:gd name="T17" fmla="*/ 204 w 204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4" h="91">
                    <a:moveTo>
                      <a:pt x="0" y="91"/>
                    </a:moveTo>
                    <a:lnTo>
                      <a:pt x="136" y="91"/>
                    </a:lnTo>
                    <a:lnTo>
                      <a:pt x="204" y="0"/>
                    </a:lnTo>
                    <a:lnTo>
                      <a:pt x="68" y="0"/>
                    </a:lnTo>
                    <a:lnTo>
                      <a:pt x="0" y="9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4D4D4D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86" name="LcS20" descr="ob_조직도_흐름도_구성도(2)-02"/>
              <p:cNvSpPr>
                <a:spLocks noChangeArrowheads="1"/>
              </p:cNvSpPr>
              <p:nvPr/>
            </p:nvSpPr>
            <p:spPr bwMode="auto">
              <a:xfrm>
                <a:off x="2947" y="1398"/>
                <a:ext cx="187" cy="152"/>
              </a:xfrm>
              <a:prstGeom prst="roundRect">
                <a:avLst>
                  <a:gd name="adj" fmla="val 7500"/>
                </a:avLst>
              </a:prstGeom>
              <a:gradFill flip="none" rotWithShape="1">
                <a:gsLst>
                  <a:gs pos="20000">
                    <a:srgbClr val="23A2E1"/>
                  </a:gs>
                  <a:gs pos="57000">
                    <a:srgbClr val="1672D3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25400" cap="flat" cmpd="sng" algn="ctr">
                <a:noFill/>
                <a:prstDash val="solid"/>
              </a:ln>
              <a:effectLst>
                <a:outerShdw blurRad="76200" dir="18900000" sy="23000" kx="-1200000" algn="bl" rotWithShape="0">
                  <a:prstClr val="black">
                    <a:alpha val="25000"/>
                  </a:prstClr>
                </a:outerShdw>
              </a:effectLst>
            </p:spPr>
            <p:txBody>
              <a:bodyPr lIns="0" tIns="36000" rIns="0" bIns="36000" rtlCol="0" anchor="ctr"/>
              <a:lstStyle/>
              <a:p>
                <a:pPr marL="0" marR="0" lvl="0" indent="0" algn="ctr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-10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prstClr val="white"/>
                        </a:gs>
                        <a:gs pos="100000">
                          <a:prstClr val="white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범례</a:t>
                </a:r>
                <a:endParaRPr kumimoji="1" lang="ko-KR" altLang="en-US" sz="1000" b="0" i="0" u="none" strike="noStrike" kern="0" cap="none" spc="-100" normalizeH="0" baseline="0" noProof="0" dirty="0" smtClean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382" name="그룹 381"/>
            <p:cNvGrpSpPr/>
            <p:nvPr/>
          </p:nvGrpSpPr>
          <p:grpSpPr>
            <a:xfrm>
              <a:off x="9198334" y="6722736"/>
              <a:ext cx="861578" cy="164880"/>
              <a:chOff x="9068419" y="6722736"/>
              <a:chExt cx="861578" cy="164880"/>
            </a:xfrm>
          </p:grpSpPr>
          <p:sp>
            <p:nvSpPr>
              <p:cNvPr id="383" name="LcShp 28" descr="어두운 상향 대각선"/>
              <p:cNvSpPr>
                <a:spLocks noChangeArrowheads="1"/>
              </p:cNvSpPr>
              <p:nvPr/>
            </p:nvSpPr>
            <p:spPr bwMode="auto">
              <a:xfrm>
                <a:off x="9465629" y="6722736"/>
                <a:ext cx="464368" cy="164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DB391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FDB39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5400" dir="5400000" algn="ctr" rotWithShape="0">
                        <a:srgbClr val="E4E8E6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algn="just" defTabSz="936625">
                  <a:lnSpc>
                    <a:spcPct val="110000"/>
                  </a:lnSpc>
                  <a:spcBef>
                    <a:spcPct val="25000"/>
                  </a:spcBef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1pPr>
                <a:lvl2pPr marL="742950" indent="-285750" algn="just" defTabSz="936625">
                  <a:lnSpc>
                    <a:spcPct val="110000"/>
                  </a:lnSpc>
                  <a:spcBef>
                    <a:spcPct val="25000"/>
                  </a:spcBef>
                  <a:buChar char="–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2pPr>
                <a:lvl3pPr marL="1143000" indent="-228600" algn="just" defTabSz="936625">
                  <a:lnSpc>
                    <a:spcPct val="110000"/>
                  </a:lnSpc>
                  <a:spcBef>
                    <a:spcPct val="25000"/>
                  </a:spcBef>
                  <a:buChar char="•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3pPr>
                <a:lvl4pPr marL="1600200" indent="-228600" algn="just" defTabSz="936625">
                  <a:lnSpc>
                    <a:spcPct val="110000"/>
                  </a:lnSpc>
                  <a:spcBef>
                    <a:spcPct val="25000"/>
                  </a:spcBef>
                  <a:buChar char="–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4pPr>
                <a:lvl5pPr marL="2057400" indent="-228600" algn="just" defTabSz="936625">
                  <a:lnSpc>
                    <a:spcPct val="110000"/>
                  </a:lnSpc>
                  <a:spcBef>
                    <a:spcPct val="25000"/>
                  </a:spcBef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5pPr>
                <a:lvl6pPr marL="25146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6pPr>
                <a:lvl7pPr marL="29718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7pPr>
                <a:lvl8pPr marL="34290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8pPr>
                <a:lvl9pPr marL="3886200" indent="-228600" algn="just" defTabSz="936625" eaLnBrk="0" fontAlgn="base" hangingPunct="0">
                  <a:lnSpc>
                    <a:spcPct val="110000"/>
                  </a:lnSpc>
                  <a:spcBef>
                    <a:spcPct val="25000"/>
                  </a:spcBef>
                  <a:spcAft>
                    <a:spcPct val="0"/>
                  </a:spcAft>
                  <a:buChar char="»"/>
                  <a:defRPr kumimoji="1" sz="1200">
                    <a:solidFill>
                      <a:srgbClr val="4D4D4D"/>
                    </a:solidFill>
                    <a:latin typeface="KoPub돋움체 Light" pitchFamily="18" charset="-127"/>
                    <a:ea typeface="KoPub돋움체 Light" pitchFamily="18" charset="-127"/>
                    <a:cs typeface="굴림" charset="-127"/>
                  </a:defRPr>
                </a:lvl9pPr>
              </a:lstStyle>
              <a:p>
                <a:pPr marL="0" marR="0" lvl="0" indent="0" algn="l" defTabSz="936625" eaLnBrk="1" fontAlgn="base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20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cs typeface="Arial" charset="0"/>
                  </a:rPr>
                  <a:t>구축 범위</a:t>
                </a:r>
                <a:endParaRPr kumimoji="1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84" name="직사각형 383"/>
              <p:cNvSpPr/>
              <p:nvPr/>
            </p:nvSpPr>
            <p:spPr>
              <a:xfrm>
                <a:off x="9068419" y="6733301"/>
                <a:ext cx="304181" cy="143749"/>
              </a:xfrm>
              <a:prstGeom prst="rect">
                <a:avLst/>
              </a:prstGeom>
              <a:noFill/>
              <a:ln w="19050" cap="flat" cmpd="sng" algn="ctr">
                <a:solidFill>
                  <a:srgbClr val="CA106B"/>
                </a:solidFill>
                <a:prstDash val="solid"/>
                <a:tailEnd type="none"/>
              </a:ln>
              <a:effectLst/>
            </p:spPr>
            <p:txBody>
              <a:bodyPr/>
              <a:lstStyle/>
              <a:p>
                <a:pPr marL="0" marR="0" lvl="0" indent="0" defTabSz="91440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sp>
        <p:nvSpPr>
          <p:cNvPr id="387" name="AutoShape 65"/>
          <p:cNvSpPr>
            <a:spLocks noChangeArrowheads="1"/>
          </p:cNvSpPr>
          <p:nvPr/>
        </p:nvSpPr>
        <p:spPr bwMode="auto">
          <a:xfrm>
            <a:off x="8171068" y="4770675"/>
            <a:ext cx="1404000" cy="1240871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88" name="AutoShape 137" descr="90%"/>
          <p:cNvSpPr>
            <a:spLocks noChangeArrowheads="1"/>
          </p:cNvSpPr>
          <p:nvPr/>
        </p:nvSpPr>
        <p:spPr bwMode="auto">
          <a:xfrm>
            <a:off x="8245592" y="4825293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89" name="직사각형 388"/>
          <p:cNvSpPr/>
          <p:nvPr/>
        </p:nvSpPr>
        <p:spPr>
          <a:xfrm>
            <a:off x="8544148" y="4853791"/>
            <a:ext cx="657841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평가 시스템</a:t>
            </a:r>
          </a:p>
        </p:txBody>
      </p:sp>
      <p:sp>
        <p:nvSpPr>
          <p:cNvPr id="390" name="AutoShape 137" descr="90%"/>
          <p:cNvSpPr>
            <a:spLocks noChangeArrowheads="1"/>
          </p:cNvSpPr>
          <p:nvPr/>
        </p:nvSpPr>
        <p:spPr bwMode="auto">
          <a:xfrm>
            <a:off x="8245592" y="5063711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91" name="직사각형 390"/>
          <p:cNvSpPr/>
          <p:nvPr/>
        </p:nvSpPr>
        <p:spPr>
          <a:xfrm>
            <a:off x="8454515" y="5092205"/>
            <a:ext cx="837106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정금융분석 시스템</a:t>
            </a:r>
          </a:p>
        </p:txBody>
      </p:sp>
      <p:sp>
        <p:nvSpPr>
          <p:cNvPr id="392" name="AutoShape 137" descr="90%"/>
          <p:cNvSpPr>
            <a:spLocks noChangeArrowheads="1"/>
          </p:cNvSpPr>
          <p:nvPr/>
        </p:nvSpPr>
        <p:spPr bwMode="auto">
          <a:xfrm>
            <a:off x="8245592" y="5302129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96" name="직사각형 395"/>
          <p:cNvSpPr/>
          <p:nvPr/>
        </p:nvSpPr>
        <p:spPr>
          <a:xfrm>
            <a:off x="8604170" y="5330623"/>
            <a:ext cx="537796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행지표관리</a:t>
            </a:r>
          </a:p>
        </p:txBody>
      </p:sp>
      <p:sp>
        <p:nvSpPr>
          <p:cNvPr id="401" name="AutoShape 137" descr="90%"/>
          <p:cNvSpPr>
            <a:spLocks noChangeArrowheads="1"/>
          </p:cNvSpPr>
          <p:nvPr/>
        </p:nvSpPr>
        <p:spPr bwMode="auto">
          <a:xfrm>
            <a:off x="8245592" y="5540547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02" name="직사각형 401"/>
          <p:cNvSpPr/>
          <p:nvPr/>
        </p:nvSpPr>
        <p:spPr>
          <a:xfrm>
            <a:off x="8402497" y="5569041"/>
            <a:ext cx="941143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en-US" altLang="ko-KR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/CTR </a:t>
            </a: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접수 시스템</a:t>
            </a:r>
          </a:p>
        </p:txBody>
      </p:sp>
      <p:sp>
        <p:nvSpPr>
          <p:cNvPr id="405" name="AutoShape 137" descr="90%"/>
          <p:cNvSpPr>
            <a:spLocks noChangeArrowheads="1"/>
          </p:cNvSpPr>
          <p:nvPr/>
        </p:nvSpPr>
        <p:spPr bwMode="auto">
          <a:xfrm>
            <a:off x="8245592" y="5778967"/>
            <a:ext cx="1254952" cy="177267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endParaRPr kumimoji="1" lang="ko-KR" altLang="en-US" sz="900" b="0" i="0" u="none" strike="noStrike" kern="0" cap="none" spc="-70" normalizeH="0" baseline="0" noProof="0" dirty="0" smtClean="0">
              <a:ln w="0"/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35" name="직사각형 434"/>
          <p:cNvSpPr/>
          <p:nvPr/>
        </p:nvSpPr>
        <p:spPr>
          <a:xfrm>
            <a:off x="8536146" y="5807461"/>
            <a:ext cx="673845" cy="12028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보공유</a:t>
            </a:r>
            <a:r>
              <a:rPr kumimoji="1" lang="en-US" altLang="ko-KR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kumimoji="1" lang="ko-KR" altLang="en-US" sz="800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드백</a:t>
            </a:r>
          </a:p>
        </p:txBody>
      </p:sp>
      <p:sp>
        <p:nvSpPr>
          <p:cNvPr id="436" name="F5273"/>
          <p:cNvSpPr txBox="1">
            <a:spLocks noChangeAspect="1" noChangeArrowheads="1"/>
          </p:cNvSpPr>
          <p:nvPr/>
        </p:nvSpPr>
        <p:spPr bwMode="auto">
          <a:xfrm rot="5400000">
            <a:off x="1686614" y="4120679"/>
            <a:ext cx="1017990" cy="169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harsh" dir="tl"/>
            </a:scene3d>
            <a:sp3d prstMaterial="flat">
              <a:bevelT w="0" h="0" prst="artDeco"/>
              <a:extrusionClr>
                <a:schemeClr val="bg1"/>
              </a:extrusionClr>
              <a:contourClr>
                <a:schemeClr val="bg1"/>
              </a:contourClr>
            </a:sp3d>
          </a:bodyPr>
          <a:lstStyle>
            <a:defPPr>
              <a:defRPr lang="ko-KR"/>
            </a:defPPr>
            <a:lvl1pPr algn="ctr" latinLnBrk="0"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80000"/>
              <a:tabLst>
                <a:tab pos="5648325" algn="l"/>
              </a:tabLst>
              <a:defRPr sz="1300" b="1">
                <a:solidFill>
                  <a:srgbClr val="000000"/>
                </a:solidFill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</a:lstStyle>
          <a:p>
            <a:pPr marL="0" marR="0" lvl="0" indent="0" algn="ctr" defTabSz="801337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80000"/>
              <a:buFontTx/>
              <a:buNone/>
              <a:tabLst>
                <a:tab pos="5648325" algn="l"/>
              </a:tabLst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DC / ETL </a:t>
            </a:r>
            <a:r>
              <a:rPr kumimoji="1" lang="en-US" altLang="ko-KR" sz="1100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 </a:t>
            </a: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AI</a:t>
            </a:r>
            <a:endParaRPr kumimoji="1" lang="en-US" altLang="ko-KR" sz="11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437" name="그룹 436"/>
          <p:cNvGrpSpPr/>
          <p:nvPr/>
        </p:nvGrpSpPr>
        <p:grpSpPr>
          <a:xfrm>
            <a:off x="280718" y="2063892"/>
            <a:ext cx="1692000" cy="277200"/>
            <a:chOff x="281303" y="2183586"/>
            <a:chExt cx="2160240" cy="252000"/>
          </a:xfrm>
        </p:grpSpPr>
        <p:sp>
          <p:nvSpPr>
            <p:cNvPr id="438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100" kern="0" dirty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Legacy System</a:t>
              </a:r>
            </a:p>
          </p:txBody>
        </p:sp>
        <p:sp>
          <p:nvSpPr>
            <p:cNvPr id="439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40" name="그룹 439"/>
          <p:cNvGrpSpPr/>
          <p:nvPr/>
        </p:nvGrpSpPr>
        <p:grpSpPr>
          <a:xfrm>
            <a:off x="8099068" y="2063892"/>
            <a:ext cx="1548000" cy="277200"/>
            <a:chOff x="281303" y="2183586"/>
            <a:chExt cx="2160240" cy="252000"/>
          </a:xfrm>
        </p:grpSpPr>
        <p:sp>
          <p:nvSpPr>
            <p:cNvPr id="441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본점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42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43" name="그룹 442"/>
          <p:cNvGrpSpPr/>
          <p:nvPr/>
        </p:nvGrpSpPr>
        <p:grpSpPr>
          <a:xfrm>
            <a:off x="8099068" y="3112255"/>
            <a:ext cx="1548000" cy="277200"/>
            <a:chOff x="281303" y="2183586"/>
            <a:chExt cx="2160240" cy="252000"/>
          </a:xfrm>
        </p:grpSpPr>
        <p:sp>
          <p:nvSpPr>
            <p:cNvPr id="444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영</a:t>
              </a:r>
              <a:r>
                <a:rPr kumimoji="1" lang="ko-KR" altLang="en-US" sz="1100" kern="0" dirty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업</a:t>
              </a: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점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45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46" name="그룹 445"/>
          <p:cNvGrpSpPr/>
          <p:nvPr/>
        </p:nvGrpSpPr>
        <p:grpSpPr>
          <a:xfrm>
            <a:off x="8099068" y="4189709"/>
            <a:ext cx="1548000" cy="277200"/>
            <a:chOff x="281303" y="2183586"/>
            <a:chExt cx="2160240" cy="252000"/>
          </a:xfrm>
        </p:grpSpPr>
        <p:sp>
          <p:nvSpPr>
            <p:cNvPr id="447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외부기관 연계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48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449" name="그룹 448"/>
          <p:cNvGrpSpPr/>
          <p:nvPr/>
        </p:nvGrpSpPr>
        <p:grpSpPr>
          <a:xfrm>
            <a:off x="352718" y="4313213"/>
            <a:ext cx="1548000" cy="619830"/>
            <a:chOff x="352718" y="4286240"/>
            <a:chExt cx="1548000" cy="619830"/>
          </a:xfrm>
        </p:grpSpPr>
        <p:sp>
          <p:nvSpPr>
            <p:cNvPr id="450" name="AutoShape 65"/>
            <p:cNvSpPr>
              <a:spLocks noChangeArrowheads="1"/>
            </p:cNvSpPr>
            <p:nvPr/>
          </p:nvSpPr>
          <p:spPr bwMode="auto">
            <a:xfrm>
              <a:off x="352718" y="4510070"/>
              <a:ext cx="1548000" cy="396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51" name="직사각형 450"/>
            <p:cNvSpPr/>
            <p:nvPr/>
          </p:nvSpPr>
          <p:spPr>
            <a:xfrm>
              <a:off x="876402" y="4309173"/>
              <a:ext cx="492980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종합감사</a:t>
              </a:r>
            </a:p>
          </p:txBody>
        </p:sp>
        <p:grpSp>
          <p:nvGrpSpPr>
            <p:cNvPr id="452" name="그룹 451"/>
            <p:cNvGrpSpPr/>
            <p:nvPr/>
          </p:nvGrpSpPr>
          <p:grpSpPr>
            <a:xfrm>
              <a:off x="589537" y="4555283"/>
              <a:ext cx="1062606" cy="288000"/>
              <a:chOff x="135991" y="2943278"/>
              <a:chExt cx="1187397" cy="468312"/>
            </a:xfrm>
          </p:grpSpPr>
          <p:pic>
            <p:nvPicPr>
              <p:cNvPr id="456" name="Picture 159" descr="Untitled-13-14"/>
              <p:cNvPicPr>
                <a:picLocks noChangeAspect="1" noChangeArrowheads="1"/>
              </p:cNvPicPr>
              <p:nvPr/>
            </p:nvPicPr>
            <p:blipFill>
              <a:blip r:embed="rId5" cstate="print">
                <a:lum bright="-30000" contrast="4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991" y="2943278"/>
                <a:ext cx="1187397" cy="4683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12700" dir="2700000" algn="tl" rotWithShape="0">
                  <a:srgbClr val="000000">
                    <a:alpha val="79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7" name="직사각형 456"/>
              <p:cNvSpPr/>
              <p:nvPr/>
            </p:nvSpPr>
            <p:spPr>
              <a:xfrm>
                <a:off x="370461" y="3088760"/>
                <a:ext cx="718457" cy="17735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업무로그</a:t>
                </a:r>
                <a:endParaRPr kumimoji="1" lang="en-US" altLang="ko-KR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53" name="그룹 452"/>
            <p:cNvGrpSpPr/>
            <p:nvPr/>
          </p:nvGrpSpPr>
          <p:grpSpPr>
            <a:xfrm>
              <a:off x="352718" y="4286240"/>
              <a:ext cx="1548000" cy="216000"/>
              <a:chOff x="-1799742" y="3848929"/>
              <a:chExt cx="1800200" cy="252000"/>
            </a:xfrm>
          </p:grpSpPr>
          <p:sp>
            <p:nvSpPr>
              <p:cNvPr id="454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종합감사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455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458" name="그룹 457"/>
          <p:cNvGrpSpPr/>
          <p:nvPr/>
        </p:nvGrpSpPr>
        <p:grpSpPr>
          <a:xfrm>
            <a:off x="352718" y="5060694"/>
            <a:ext cx="1548000" cy="614500"/>
            <a:chOff x="352718" y="4988780"/>
            <a:chExt cx="1548000" cy="614500"/>
          </a:xfrm>
        </p:grpSpPr>
        <p:sp>
          <p:nvSpPr>
            <p:cNvPr id="459" name="직사각형 458"/>
            <p:cNvSpPr/>
            <p:nvPr/>
          </p:nvSpPr>
          <p:spPr>
            <a:xfrm>
              <a:off x="938024" y="5006382"/>
              <a:ext cx="369734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정보계</a:t>
              </a:r>
            </a:p>
          </p:txBody>
        </p:sp>
        <p:sp>
          <p:nvSpPr>
            <p:cNvPr id="460" name="AutoShape 65"/>
            <p:cNvSpPr>
              <a:spLocks noChangeArrowheads="1"/>
            </p:cNvSpPr>
            <p:nvPr/>
          </p:nvSpPr>
          <p:spPr bwMode="auto">
            <a:xfrm>
              <a:off x="352718" y="5207280"/>
              <a:ext cx="1548000" cy="396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461" name="그룹 460"/>
            <p:cNvGrpSpPr/>
            <p:nvPr/>
          </p:nvGrpSpPr>
          <p:grpSpPr>
            <a:xfrm>
              <a:off x="390305" y="5262756"/>
              <a:ext cx="720000" cy="288000"/>
              <a:chOff x="135991" y="2943278"/>
              <a:chExt cx="1187397" cy="468312"/>
            </a:xfrm>
          </p:grpSpPr>
          <p:pic>
            <p:nvPicPr>
              <p:cNvPr id="468" name="Picture 159" descr="Untitled-13-14"/>
              <p:cNvPicPr>
                <a:picLocks noChangeAspect="1" noChangeArrowheads="1"/>
              </p:cNvPicPr>
              <p:nvPr/>
            </p:nvPicPr>
            <p:blipFill>
              <a:blip r:embed="rId5" cstate="print">
                <a:lum bright="-30000" contrast="4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991" y="2943278"/>
                <a:ext cx="1187397" cy="4683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12700" dir="2700000" algn="tl" rotWithShape="0">
                  <a:srgbClr val="000000">
                    <a:alpha val="79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69" name="직사각형 468"/>
              <p:cNvSpPr/>
              <p:nvPr/>
            </p:nvSpPr>
            <p:spPr>
              <a:xfrm>
                <a:off x="370461" y="3088760"/>
                <a:ext cx="718458" cy="17735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DW</a:t>
                </a:r>
              </a:p>
            </p:txBody>
          </p:sp>
        </p:grpSp>
        <p:grpSp>
          <p:nvGrpSpPr>
            <p:cNvPr id="462" name="그룹 461"/>
            <p:cNvGrpSpPr/>
            <p:nvPr/>
          </p:nvGrpSpPr>
          <p:grpSpPr>
            <a:xfrm>
              <a:off x="1135019" y="5271992"/>
              <a:ext cx="720000" cy="288000"/>
              <a:chOff x="135991" y="2943278"/>
              <a:chExt cx="1187397" cy="468312"/>
            </a:xfrm>
          </p:grpSpPr>
          <p:pic>
            <p:nvPicPr>
              <p:cNvPr id="466" name="Picture 159" descr="Untitled-13-14"/>
              <p:cNvPicPr>
                <a:picLocks noChangeAspect="1" noChangeArrowheads="1"/>
              </p:cNvPicPr>
              <p:nvPr/>
            </p:nvPicPr>
            <p:blipFill>
              <a:blip r:embed="rId5" cstate="print">
                <a:lum bright="-30000" contrast="48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991" y="2943278"/>
                <a:ext cx="1187397" cy="4683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12700" dir="2700000" algn="tl" rotWithShape="0">
                  <a:srgbClr val="000000">
                    <a:alpha val="79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67" name="직사각형 466"/>
              <p:cNvSpPr/>
              <p:nvPr/>
            </p:nvSpPr>
            <p:spPr>
              <a:xfrm>
                <a:off x="178129" y="3088757"/>
                <a:ext cx="1103121" cy="177355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운영</a:t>
                </a:r>
                <a:r>
                  <a:rPr kumimoji="1" lang="en-US" altLang="ko-KR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CRM</a:t>
                </a:r>
              </a:p>
            </p:txBody>
          </p:sp>
        </p:grpSp>
        <p:grpSp>
          <p:nvGrpSpPr>
            <p:cNvPr id="463" name="그룹 462"/>
            <p:cNvGrpSpPr/>
            <p:nvPr/>
          </p:nvGrpSpPr>
          <p:grpSpPr>
            <a:xfrm>
              <a:off x="352718" y="4988780"/>
              <a:ext cx="1548000" cy="216000"/>
              <a:chOff x="-1799742" y="3848929"/>
              <a:chExt cx="1800200" cy="252000"/>
            </a:xfrm>
          </p:grpSpPr>
          <p:sp>
            <p:nvSpPr>
              <p:cNvPr id="464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정보계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465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470" name="그룹 469"/>
          <p:cNvGrpSpPr/>
          <p:nvPr/>
        </p:nvGrpSpPr>
        <p:grpSpPr>
          <a:xfrm>
            <a:off x="352718" y="5802844"/>
            <a:ext cx="1548000" cy="614488"/>
            <a:chOff x="352718" y="5766840"/>
            <a:chExt cx="1548000" cy="614488"/>
          </a:xfrm>
        </p:grpSpPr>
        <p:sp>
          <p:nvSpPr>
            <p:cNvPr id="471" name="직사각형 470"/>
            <p:cNvSpPr/>
            <p:nvPr/>
          </p:nvSpPr>
          <p:spPr>
            <a:xfrm>
              <a:off x="711545" y="5787020"/>
              <a:ext cx="822700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단위 업무 영역</a:t>
              </a:r>
            </a:p>
          </p:txBody>
        </p:sp>
        <p:sp>
          <p:nvSpPr>
            <p:cNvPr id="472" name="AutoShape 65"/>
            <p:cNvSpPr>
              <a:spLocks noChangeArrowheads="1"/>
            </p:cNvSpPr>
            <p:nvPr/>
          </p:nvSpPr>
          <p:spPr bwMode="auto">
            <a:xfrm>
              <a:off x="352718" y="5987917"/>
              <a:ext cx="1548000" cy="39341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473" name="그룹 472"/>
            <p:cNvGrpSpPr/>
            <p:nvPr/>
          </p:nvGrpSpPr>
          <p:grpSpPr>
            <a:xfrm>
              <a:off x="414705" y="6059214"/>
              <a:ext cx="1414763" cy="236356"/>
              <a:chOff x="-201287" y="5328577"/>
              <a:chExt cx="1503506" cy="288000"/>
            </a:xfrm>
          </p:grpSpPr>
          <p:sp>
            <p:nvSpPr>
              <p:cNvPr id="477" name="AutoShape 137" descr="90%"/>
              <p:cNvSpPr>
                <a:spLocks noChangeArrowheads="1"/>
              </p:cNvSpPr>
              <p:nvPr/>
            </p:nvSpPr>
            <p:spPr bwMode="auto">
              <a:xfrm>
                <a:off x="-201287" y="5328577"/>
                <a:ext cx="1503506" cy="288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0" i="0" u="none" strike="noStrike" kern="0" cap="none" spc="-7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  <p:sp>
            <p:nvSpPr>
              <p:cNvPr id="478" name="직사각형 477"/>
              <p:cNvSpPr/>
              <p:nvPr/>
            </p:nvSpPr>
            <p:spPr>
              <a:xfrm>
                <a:off x="270232" y="5388199"/>
                <a:ext cx="560468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BPR</a:t>
                </a:r>
                <a:r>
                  <a:rPr kumimoji="1" lang="ko-KR" altLang="en-US" sz="900" b="1" i="0" u="none" strike="noStrike" kern="0" cap="none" spc="0" normalizeH="0" baseline="0" noProof="0" dirty="0" smtClean="0">
                    <a:ln w="0"/>
                    <a:solidFill>
                      <a:srgbClr val="000000"/>
                    </a:solidFill>
                    <a:effectLst/>
                    <a:uLnTx/>
                    <a:uFillTx/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시스</a:t>
                </a:r>
                <a:r>
                  <a:rPr kumimoji="1" lang="ko-KR" altLang="en-US" sz="900" b="1" kern="0" dirty="0">
                    <a:ln w="0"/>
                    <a:solidFill>
                      <a:srgbClr val="000000"/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</a:rPr>
                  <a:t>템</a:t>
                </a:r>
                <a:endParaRPr kumimoji="1" lang="ko-KR" altLang="en-US" sz="1000" b="1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endParaRPr>
              </a:p>
            </p:txBody>
          </p:sp>
        </p:grpSp>
        <p:grpSp>
          <p:nvGrpSpPr>
            <p:cNvPr id="474" name="그룹 473"/>
            <p:cNvGrpSpPr/>
            <p:nvPr/>
          </p:nvGrpSpPr>
          <p:grpSpPr>
            <a:xfrm>
              <a:off x="352718" y="5766840"/>
              <a:ext cx="1548000" cy="216000"/>
              <a:chOff x="-1799742" y="3848929"/>
              <a:chExt cx="1800200" cy="252000"/>
            </a:xfrm>
          </p:grpSpPr>
          <p:sp>
            <p:nvSpPr>
              <p:cNvPr id="475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단위 업무 영업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476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479" name="그룹 478"/>
          <p:cNvGrpSpPr/>
          <p:nvPr/>
        </p:nvGrpSpPr>
        <p:grpSpPr>
          <a:xfrm>
            <a:off x="352718" y="3386417"/>
            <a:ext cx="1548000" cy="799145"/>
            <a:chOff x="352718" y="3396819"/>
            <a:chExt cx="1548000" cy="799145"/>
          </a:xfrm>
        </p:grpSpPr>
        <p:sp>
          <p:nvSpPr>
            <p:cNvPr id="480" name="AutoShape 65"/>
            <p:cNvSpPr>
              <a:spLocks noChangeArrowheads="1"/>
            </p:cNvSpPr>
            <p:nvPr/>
          </p:nvSpPr>
          <p:spPr bwMode="auto">
            <a:xfrm>
              <a:off x="352718" y="3619964"/>
              <a:ext cx="1548000" cy="576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481" name="직사각형 480"/>
            <p:cNvSpPr/>
            <p:nvPr/>
          </p:nvSpPr>
          <p:spPr>
            <a:xfrm>
              <a:off x="938025" y="3410677"/>
              <a:ext cx="369734" cy="16538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계정계</a:t>
              </a:r>
            </a:p>
          </p:txBody>
        </p:sp>
        <p:grpSp>
          <p:nvGrpSpPr>
            <p:cNvPr id="482" name="그룹 481"/>
            <p:cNvGrpSpPr/>
            <p:nvPr/>
          </p:nvGrpSpPr>
          <p:grpSpPr>
            <a:xfrm>
              <a:off x="381748" y="3664940"/>
              <a:ext cx="474252" cy="206812"/>
              <a:chOff x="-201293" y="1734580"/>
              <a:chExt cx="568391" cy="252000"/>
            </a:xfrm>
          </p:grpSpPr>
          <p:sp>
            <p:nvSpPr>
              <p:cNvPr id="501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02" name="직사각형 501"/>
              <p:cNvSpPr/>
              <p:nvPr/>
            </p:nvSpPr>
            <p:spPr>
              <a:xfrm>
                <a:off x="-38133" y="1776200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i="0" u="none" strike="noStrike" kern="0" cap="none" spc="0" normalizeH="0" baseline="0" noProof="0" dirty="0" smtClean="0">
                    <a:ln w="0"/>
                    <a:solidFill>
                      <a:srgbClr val="333333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수신</a:t>
                </a:r>
                <a:endParaRPr kumimoji="1" lang="en-US" altLang="ko-KR" sz="9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83" name="그룹 482"/>
            <p:cNvGrpSpPr/>
            <p:nvPr/>
          </p:nvGrpSpPr>
          <p:grpSpPr>
            <a:xfrm>
              <a:off x="381748" y="3925814"/>
              <a:ext cx="474252" cy="206812"/>
              <a:chOff x="-201293" y="2052455"/>
              <a:chExt cx="568391" cy="252000"/>
            </a:xfrm>
          </p:grpSpPr>
          <p:sp>
            <p:nvSpPr>
              <p:cNvPr id="499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2052455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00" name="직사각형 499"/>
              <p:cNvSpPr/>
              <p:nvPr/>
            </p:nvSpPr>
            <p:spPr>
              <a:xfrm>
                <a:off x="-38132" y="2094075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외환</a:t>
                </a:r>
              </a:p>
            </p:txBody>
          </p:sp>
        </p:grpSp>
        <p:grpSp>
          <p:nvGrpSpPr>
            <p:cNvPr id="484" name="그룹 483"/>
            <p:cNvGrpSpPr/>
            <p:nvPr/>
          </p:nvGrpSpPr>
          <p:grpSpPr>
            <a:xfrm>
              <a:off x="892786" y="3664940"/>
              <a:ext cx="474252" cy="206812"/>
              <a:chOff x="-201293" y="1734580"/>
              <a:chExt cx="568391" cy="252000"/>
            </a:xfrm>
          </p:grpSpPr>
          <p:sp>
            <p:nvSpPr>
              <p:cNvPr id="497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498" name="직사각형 497"/>
              <p:cNvSpPr/>
              <p:nvPr/>
            </p:nvSpPr>
            <p:spPr>
              <a:xfrm>
                <a:off x="-38133" y="1776200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여신</a:t>
                </a:r>
                <a:endParaRPr kumimoji="1" lang="en-US" altLang="ko-KR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85" name="그룹 484"/>
            <p:cNvGrpSpPr/>
            <p:nvPr/>
          </p:nvGrpSpPr>
          <p:grpSpPr>
            <a:xfrm>
              <a:off x="892786" y="3925814"/>
              <a:ext cx="474252" cy="206812"/>
              <a:chOff x="-201293" y="2052455"/>
              <a:chExt cx="568391" cy="252000"/>
            </a:xfrm>
          </p:grpSpPr>
          <p:sp>
            <p:nvSpPr>
              <p:cNvPr id="495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2052455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496" name="직사각형 495"/>
              <p:cNvSpPr/>
              <p:nvPr/>
            </p:nvSpPr>
            <p:spPr>
              <a:xfrm>
                <a:off x="-38132" y="2094075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방카</a:t>
                </a:r>
              </a:p>
            </p:txBody>
          </p:sp>
        </p:grpSp>
        <p:grpSp>
          <p:nvGrpSpPr>
            <p:cNvPr id="486" name="그룹 485"/>
            <p:cNvGrpSpPr/>
            <p:nvPr/>
          </p:nvGrpSpPr>
          <p:grpSpPr>
            <a:xfrm>
              <a:off x="352718" y="3396819"/>
              <a:ext cx="1548000" cy="216000"/>
              <a:chOff x="-1799742" y="3848929"/>
              <a:chExt cx="1800200" cy="252000"/>
            </a:xfrm>
          </p:grpSpPr>
          <p:sp>
            <p:nvSpPr>
              <p:cNvPr id="493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계정계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494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487" name="그룹 486"/>
            <p:cNvGrpSpPr/>
            <p:nvPr/>
          </p:nvGrpSpPr>
          <p:grpSpPr>
            <a:xfrm>
              <a:off x="1396842" y="3662406"/>
              <a:ext cx="474252" cy="206812"/>
              <a:chOff x="-201293" y="1734580"/>
              <a:chExt cx="568391" cy="252000"/>
            </a:xfrm>
          </p:grpSpPr>
          <p:sp>
            <p:nvSpPr>
              <p:cNvPr id="491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492" name="직사각형 491"/>
              <p:cNvSpPr/>
              <p:nvPr/>
            </p:nvSpPr>
            <p:spPr>
              <a:xfrm>
                <a:off x="-38133" y="1776200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카드</a:t>
                </a:r>
                <a:endParaRPr kumimoji="1" lang="en-US" altLang="ko-KR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488" name="그룹 487"/>
            <p:cNvGrpSpPr/>
            <p:nvPr/>
          </p:nvGrpSpPr>
          <p:grpSpPr>
            <a:xfrm>
              <a:off x="1396842" y="3923280"/>
              <a:ext cx="474252" cy="206812"/>
              <a:chOff x="-201293" y="2052455"/>
              <a:chExt cx="568391" cy="252000"/>
            </a:xfrm>
          </p:grpSpPr>
          <p:sp>
            <p:nvSpPr>
              <p:cNvPr id="489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2052455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9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490" name="직사각형 489"/>
              <p:cNvSpPr/>
              <p:nvPr/>
            </p:nvSpPr>
            <p:spPr>
              <a:xfrm>
                <a:off x="-38132" y="2094075"/>
                <a:ext cx="242071" cy="16876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9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객</a:t>
                </a:r>
                <a:endParaRPr kumimoji="1" lang="ko-KR" altLang="en-US" sz="9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grpSp>
        <p:nvGrpSpPr>
          <p:cNvPr id="503" name="그룹 502"/>
          <p:cNvGrpSpPr/>
          <p:nvPr/>
        </p:nvGrpSpPr>
        <p:grpSpPr>
          <a:xfrm>
            <a:off x="352718" y="2387622"/>
            <a:ext cx="1548000" cy="871144"/>
            <a:chOff x="352718" y="2453526"/>
            <a:chExt cx="1548000" cy="871144"/>
          </a:xfrm>
        </p:grpSpPr>
        <p:sp>
          <p:nvSpPr>
            <p:cNvPr id="504" name="AutoShape 65"/>
            <p:cNvSpPr>
              <a:spLocks noChangeArrowheads="1"/>
            </p:cNvSpPr>
            <p:nvPr/>
          </p:nvSpPr>
          <p:spPr bwMode="auto">
            <a:xfrm>
              <a:off x="352718" y="2676670"/>
              <a:ext cx="1548000" cy="648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>
              <a:solidFill>
                <a:srgbClr val="80808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ko-KR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505" name="그룹 504"/>
            <p:cNvGrpSpPr/>
            <p:nvPr/>
          </p:nvGrpSpPr>
          <p:grpSpPr>
            <a:xfrm>
              <a:off x="352718" y="2453526"/>
              <a:ext cx="1548000" cy="216000"/>
              <a:chOff x="-1799742" y="3848929"/>
              <a:chExt cx="1800200" cy="252000"/>
            </a:xfrm>
          </p:grpSpPr>
          <p:sp>
            <p:nvSpPr>
              <p:cNvPr id="518" name="양쪽 모서리가 둥근 사각형 519">
                <a:extLst>
                  <a:ext uri="{FF2B5EF4-FFF2-40B4-BE49-F238E27FC236}">
                    <a16:creationId xmlns:a16="http://schemas.microsoft.com/office/drawing/2014/main" id="{105AECF3-9469-4C04-A2E1-7BA0AF1FB826}"/>
                  </a:ext>
                </a:extLst>
              </p:cNvPr>
              <p:cNvSpPr/>
              <p:nvPr/>
            </p:nvSpPr>
            <p:spPr>
              <a:xfrm>
                <a:off x="-1799642" y="3848929"/>
                <a:ext cx="1800000" cy="252000"/>
              </a:xfrm>
              <a:prstGeom prst="round2SameRect">
                <a:avLst>
                  <a:gd name="adj1" fmla="val 28006"/>
                  <a:gd name="adj2" fmla="val 0"/>
                </a:avLst>
              </a:prstGeom>
              <a:solidFill>
                <a:srgbClr val="0072C0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>
                  <a:defRPr/>
                </a:pPr>
                <a:r>
                  <a:rPr lang="ko-KR" altLang="en-US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계정계</a:t>
                </a:r>
                <a:r>
                  <a:rPr lang="en-US" altLang="ko-KR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ExtraBold" panose="020B0600000101010101" pitchFamily="50" charset="-127"/>
                    <a:ea typeface="나눔스퀘어 ExtraBold" panose="020B0600000101010101" pitchFamily="50" charset="-127"/>
                  </a:rPr>
                  <a:t>(KYC)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endParaRPr>
              </a:p>
            </p:txBody>
          </p:sp>
          <p:sp>
            <p:nvSpPr>
              <p:cNvPr id="519" name="양쪽 모서리가 둥근 사각형 517">
                <a:extLst>
                  <a:ext uri="{FF2B5EF4-FFF2-40B4-BE49-F238E27FC236}">
                    <a16:creationId xmlns:a16="http://schemas.microsoft.com/office/drawing/2014/main" id="{34ECCD0A-EE78-4C68-A8E9-F0E2626D259F}"/>
                  </a:ext>
                </a:extLst>
              </p:cNvPr>
              <p:cNvSpPr/>
              <p:nvPr/>
            </p:nvSpPr>
            <p:spPr>
              <a:xfrm>
                <a:off x="-1799742" y="3848929"/>
                <a:ext cx="180020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506" name="그룹 505"/>
            <p:cNvGrpSpPr/>
            <p:nvPr/>
          </p:nvGrpSpPr>
          <p:grpSpPr>
            <a:xfrm>
              <a:off x="388730" y="2728938"/>
              <a:ext cx="720000" cy="252001"/>
              <a:chOff x="-201293" y="1734580"/>
              <a:chExt cx="568391" cy="252000"/>
            </a:xfrm>
          </p:grpSpPr>
          <p:sp>
            <p:nvSpPr>
              <p:cNvPr id="516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17" name="직사각형 516"/>
              <p:cNvSpPr/>
              <p:nvPr/>
            </p:nvSpPr>
            <p:spPr>
              <a:xfrm>
                <a:off x="-125901" y="1742172"/>
                <a:ext cx="417602" cy="236816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800" b="1" i="0" u="none" strike="noStrike" kern="0" cap="none" spc="0" normalizeH="0" baseline="0" noProof="0" dirty="0" smtClean="0">
                    <a:ln w="0"/>
                    <a:solidFill>
                      <a:srgbClr val="333333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객확인의무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(CDD/EDD)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07" name="그룹 506"/>
            <p:cNvGrpSpPr/>
            <p:nvPr/>
          </p:nvGrpSpPr>
          <p:grpSpPr>
            <a:xfrm>
              <a:off x="388730" y="3010431"/>
              <a:ext cx="720000" cy="252001"/>
              <a:chOff x="-201293" y="1734580"/>
              <a:chExt cx="568391" cy="252000"/>
            </a:xfrm>
          </p:grpSpPr>
          <p:sp>
            <p:nvSpPr>
              <p:cNvPr id="514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15" name="직사각형 514"/>
              <p:cNvSpPr/>
              <p:nvPr/>
            </p:nvSpPr>
            <p:spPr>
              <a:xfrm>
                <a:off x="-56301" y="1737470"/>
                <a:ext cx="278402" cy="24622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위험평가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(RA)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08" name="그룹 507"/>
            <p:cNvGrpSpPr/>
            <p:nvPr/>
          </p:nvGrpSpPr>
          <p:grpSpPr>
            <a:xfrm>
              <a:off x="1144894" y="2728901"/>
              <a:ext cx="720000" cy="252001"/>
              <a:chOff x="-201293" y="1734580"/>
              <a:chExt cx="568391" cy="252000"/>
            </a:xfrm>
          </p:grpSpPr>
          <p:sp>
            <p:nvSpPr>
              <p:cNvPr id="512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13" name="직사각형 512"/>
              <p:cNvSpPr/>
              <p:nvPr/>
            </p:nvSpPr>
            <p:spPr>
              <a:xfrm>
                <a:off x="-61365" y="1737469"/>
                <a:ext cx="288526" cy="24622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KYC</a:t>
                </a: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수행</a:t>
                </a:r>
                <a:endParaRPr kumimoji="1" lang="en-US" altLang="ko-KR" sz="800" b="1" kern="0" dirty="0" smtClean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공통모듈</a:t>
                </a:r>
                <a:endParaRPr kumimoji="1" lang="ko-KR" altLang="en-US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509" name="그룹 508"/>
            <p:cNvGrpSpPr/>
            <p:nvPr/>
          </p:nvGrpSpPr>
          <p:grpSpPr>
            <a:xfrm>
              <a:off x="1144894" y="3010394"/>
              <a:ext cx="720000" cy="252001"/>
              <a:chOff x="-201293" y="1734580"/>
              <a:chExt cx="568391" cy="252000"/>
            </a:xfrm>
          </p:grpSpPr>
          <p:sp>
            <p:nvSpPr>
              <p:cNvPr id="510" name="AutoShape 137" descr="90%"/>
              <p:cNvSpPr>
                <a:spLocks noChangeArrowheads="1"/>
              </p:cNvSpPr>
              <p:nvPr/>
            </p:nvSpPr>
            <p:spPr bwMode="auto">
              <a:xfrm>
                <a:off x="-201293" y="1734580"/>
                <a:ext cx="568391" cy="252000"/>
              </a:xfrm>
              <a:prstGeom prst="roundRect">
                <a:avLst>
                  <a:gd name="adj" fmla="val 9926"/>
                </a:avLst>
              </a:prstGeom>
              <a:solidFill>
                <a:srgbClr val="FFFFFF"/>
              </a:solidFill>
              <a:ln w="6350" cap="flat" cmpd="sng" algn="ctr">
                <a:gradFill>
                  <a:gsLst>
                    <a:gs pos="1000">
                      <a:srgbClr val="FFFFFF">
                        <a:lumMod val="75000"/>
                      </a:srgbClr>
                    </a:gs>
                    <a:gs pos="50000">
                      <a:srgbClr val="FFFFFF">
                        <a:lumMod val="50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3600000" scaled="0"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1889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7698" algn="l"/>
                  </a:tabLst>
                  <a:defRPr/>
                </a:pPr>
                <a:endParaRPr kumimoji="1" lang="ko-KR" altLang="en-US" sz="800" b="1" i="0" u="none" strike="noStrike" kern="0" cap="none" spc="-70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511" name="직사각형 510"/>
              <p:cNvSpPr/>
              <p:nvPr/>
            </p:nvSpPr>
            <p:spPr>
              <a:xfrm>
                <a:off x="-151210" y="1737470"/>
                <a:ext cx="468221" cy="246221"/>
              </a:xfrm>
              <a:prstGeom prst="rect">
                <a:avLst/>
              </a:prstGeom>
            </p:spPr>
            <p:txBody>
              <a:bodyPr wrap="none" lIns="0" tIns="0" rIns="0" bIns="0" anchor="ctr" anchorCtr="0">
                <a:spAutoFit/>
              </a:bodyPr>
              <a:lstStyle/>
              <a:p>
                <a:pPr lvl="0" algn="ctr" defTabSz="101889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요주의리스트</a:t>
                </a:r>
                <a:endParaRPr kumimoji="1" lang="en-US" altLang="ko-KR" sz="800" b="1" kern="0" dirty="0">
                  <a:ln w="0"/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lvl="0" algn="ctr" defTabSz="101889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tabLst>
                    <a:tab pos="3767698" algn="l"/>
                  </a:tabLst>
                  <a:defRPr/>
                </a:pPr>
                <a:r>
                  <a:rPr kumimoji="1" lang="ko-KR" altLang="en-US" sz="8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필터링</a:t>
                </a:r>
                <a:r>
                  <a:rPr kumimoji="1" lang="en-US" altLang="ko-KR" sz="800" b="1" kern="0" dirty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(</a:t>
                </a:r>
                <a:r>
                  <a:rPr kumimoji="1" lang="ko-KR" altLang="en-US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실시간</a:t>
                </a:r>
                <a:r>
                  <a:rPr kumimoji="1" lang="en-US" altLang="ko-KR" sz="800" b="1" kern="0" dirty="0" smtClean="0">
                    <a:ln w="0"/>
                    <a:solidFill>
                      <a:srgbClr val="333333"/>
                    </a:solidFill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)</a:t>
                </a:r>
                <a:endParaRPr kumimoji="1" lang="en-US" altLang="ko-KR" sz="800" b="1" i="0" u="none" strike="noStrike" kern="0" cap="none" spc="0" normalizeH="0" baseline="0" noProof="0" dirty="0" smtClean="0">
                  <a:ln w="0"/>
                  <a:solidFill>
                    <a:srgbClr val="333333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grpSp>
        <p:nvGrpSpPr>
          <p:cNvPr id="520" name="그룹 519"/>
          <p:cNvGrpSpPr/>
          <p:nvPr/>
        </p:nvGrpSpPr>
        <p:grpSpPr>
          <a:xfrm>
            <a:off x="8171068" y="4562512"/>
            <a:ext cx="1404000" cy="216000"/>
            <a:chOff x="-1799742" y="3848929"/>
            <a:chExt cx="1800200" cy="252000"/>
          </a:xfrm>
        </p:grpSpPr>
        <p:sp>
          <p:nvSpPr>
            <p:cNvPr id="521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금융정보분석원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22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523" name="직사각형 522">
            <a:extLst>
              <a:ext uri="{FF2B5EF4-FFF2-40B4-BE49-F238E27FC236}">
                <a16:creationId xmlns:a16="http://schemas.microsoft.com/office/drawing/2014/main" id="{BE6172BE-44A9-4305-B71D-C0D0AFC11484}"/>
              </a:ext>
            </a:extLst>
          </p:cNvPr>
          <p:cNvSpPr/>
          <p:nvPr/>
        </p:nvSpPr>
        <p:spPr>
          <a:xfrm>
            <a:off x="2424654" y="2349417"/>
            <a:ext cx="5458792" cy="41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24" name="직사각형 523"/>
          <p:cNvSpPr/>
          <p:nvPr/>
        </p:nvSpPr>
        <p:spPr>
          <a:xfrm>
            <a:off x="4820810" y="5764910"/>
            <a:ext cx="665003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데이터 마트</a:t>
            </a:r>
          </a:p>
        </p:txBody>
      </p:sp>
      <p:sp>
        <p:nvSpPr>
          <p:cNvPr id="525" name="AutoShape 65"/>
          <p:cNvSpPr>
            <a:spLocks noChangeArrowheads="1"/>
          </p:cNvSpPr>
          <p:nvPr/>
        </p:nvSpPr>
        <p:spPr bwMode="auto">
          <a:xfrm>
            <a:off x="2495179" y="5965808"/>
            <a:ext cx="5313224" cy="468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26" name="AutoShape 65"/>
          <p:cNvSpPr>
            <a:spLocks noChangeArrowheads="1"/>
          </p:cNvSpPr>
          <p:nvPr/>
        </p:nvSpPr>
        <p:spPr bwMode="auto">
          <a:xfrm>
            <a:off x="5585123" y="4603650"/>
            <a:ext cx="2183517" cy="1080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27" name="AutoShape 65"/>
          <p:cNvSpPr>
            <a:spLocks noChangeArrowheads="1"/>
          </p:cNvSpPr>
          <p:nvPr/>
        </p:nvSpPr>
        <p:spPr bwMode="auto">
          <a:xfrm>
            <a:off x="5183913" y="2600908"/>
            <a:ext cx="2620220" cy="1440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28" name="직사각형 527"/>
          <p:cNvSpPr/>
          <p:nvPr/>
        </p:nvSpPr>
        <p:spPr>
          <a:xfrm>
            <a:off x="3674133" y="2440887"/>
            <a:ext cx="297714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ML</a:t>
            </a:r>
          </a:p>
        </p:txBody>
      </p:sp>
      <p:sp>
        <p:nvSpPr>
          <p:cNvPr id="529" name="AutoShape 65"/>
          <p:cNvSpPr>
            <a:spLocks noChangeArrowheads="1"/>
          </p:cNvSpPr>
          <p:nvPr/>
        </p:nvSpPr>
        <p:spPr bwMode="auto">
          <a:xfrm>
            <a:off x="2512880" y="2600593"/>
            <a:ext cx="2620220" cy="313151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>
            <a:solidFill>
              <a:srgbClr val="80808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30" name="직사각형 529"/>
          <p:cNvSpPr/>
          <p:nvPr/>
        </p:nvSpPr>
        <p:spPr>
          <a:xfrm>
            <a:off x="4044153" y="2128934"/>
            <a:ext cx="2219909" cy="18041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기반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RBA)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방지시스템</a:t>
            </a:r>
          </a:p>
        </p:txBody>
      </p:sp>
      <p:sp>
        <p:nvSpPr>
          <p:cNvPr id="531" name="직사각형 530"/>
          <p:cNvSpPr/>
          <p:nvPr/>
        </p:nvSpPr>
        <p:spPr>
          <a:xfrm>
            <a:off x="6344420" y="2440887"/>
            <a:ext cx="281534" cy="16538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BA</a:t>
            </a:r>
          </a:p>
        </p:txBody>
      </p:sp>
      <p:grpSp>
        <p:nvGrpSpPr>
          <p:cNvPr id="532" name="그룹 531"/>
          <p:cNvGrpSpPr/>
          <p:nvPr/>
        </p:nvGrpSpPr>
        <p:grpSpPr>
          <a:xfrm>
            <a:off x="2522066" y="6019808"/>
            <a:ext cx="545879" cy="360000"/>
            <a:chOff x="2834585" y="6362879"/>
            <a:chExt cx="534131" cy="468312"/>
          </a:xfrm>
        </p:grpSpPr>
        <p:pic>
          <p:nvPicPr>
            <p:cNvPr id="533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4585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4" name="직사각형 533"/>
            <p:cNvSpPr/>
            <p:nvPr/>
          </p:nvSpPr>
          <p:spPr>
            <a:xfrm>
              <a:off x="2927237" y="6535438"/>
              <a:ext cx="348828" cy="12319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원시마트</a:t>
              </a:r>
              <a:endParaRPr kumimoji="1" lang="en-US" altLang="ko-KR" sz="800" b="1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35" name="그룹 534"/>
          <p:cNvGrpSpPr/>
          <p:nvPr/>
        </p:nvGrpSpPr>
        <p:grpSpPr>
          <a:xfrm>
            <a:off x="3082459" y="6019808"/>
            <a:ext cx="545879" cy="360000"/>
            <a:chOff x="3421575" y="6362879"/>
            <a:chExt cx="534131" cy="468312"/>
          </a:xfrm>
        </p:grpSpPr>
        <p:pic>
          <p:nvPicPr>
            <p:cNvPr id="536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1575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7" name="직사각형 536"/>
            <p:cNvSpPr/>
            <p:nvPr/>
          </p:nvSpPr>
          <p:spPr>
            <a:xfrm>
              <a:off x="3446047" y="6463577"/>
              <a:ext cx="485188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YC/WLF/</a:t>
              </a: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RA</a:t>
              </a:r>
              <a:endParaRPr kumimoji="1" lang="en-US" altLang="ko-KR" sz="800" b="1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38" name="그룹 537"/>
          <p:cNvGrpSpPr/>
          <p:nvPr/>
        </p:nvGrpSpPr>
        <p:grpSpPr>
          <a:xfrm>
            <a:off x="3642851" y="6019808"/>
            <a:ext cx="545879" cy="360000"/>
            <a:chOff x="4001493" y="6362879"/>
            <a:chExt cx="534131" cy="468312"/>
          </a:xfrm>
        </p:grpSpPr>
        <p:pic>
          <p:nvPicPr>
            <p:cNvPr id="539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1493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0" name="직사각형 539"/>
            <p:cNvSpPr/>
            <p:nvPr/>
          </p:nvSpPr>
          <p:spPr>
            <a:xfrm>
              <a:off x="4060850" y="6463576"/>
              <a:ext cx="415422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lert</a:t>
              </a:r>
              <a:endParaRPr kumimoji="1" lang="ko-KR" altLang="en-US" sz="800" b="1" kern="0" dirty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41" name="그룹 540"/>
          <p:cNvGrpSpPr/>
          <p:nvPr/>
        </p:nvGrpSpPr>
        <p:grpSpPr>
          <a:xfrm>
            <a:off x="4203244" y="6019808"/>
            <a:ext cx="545879" cy="360000"/>
            <a:chOff x="4581411" y="6362879"/>
            <a:chExt cx="534131" cy="468312"/>
          </a:xfrm>
        </p:grpSpPr>
        <p:pic>
          <p:nvPicPr>
            <p:cNvPr id="542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1411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3" name="직사각형 542"/>
            <p:cNvSpPr/>
            <p:nvPr/>
          </p:nvSpPr>
          <p:spPr>
            <a:xfrm>
              <a:off x="4640766" y="6463576"/>
              <a:ext cx="415422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/CTR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관련정</a:t>
              </a: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</a:t>
              </a:r>
              <a:endParaRPr kumimoji="1" lang="en-US" altLang="ko-KR" sz="800" b="1" kern="0" dirty="0" smtClean="0">
                <a:ln w="0"/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544" name="그룹 543"/>
          <p:cNvGrpSpPr/>
          <p:nvPr/>
        </p:nvGrpSpPr>
        <p:grpSpPr>
          <a:xfrm>
            <a:off x="4763636" y="6019808"/>
            <a:ext cx="545879" cy="360000"/>
            <a:chOff x="5175473" y="6362879"/>
            <a:chExt cx="534131" cy="468312"/>
          </a:xfrm>
        </p:grpSpPr>
        <p:pic>
          <p:nvPicPr>
            <p:cNvPr id="545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5473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6" name="직사각형 545"/>
            <p:cNvSpPr/>
            <p:nvPr/>
          </p:nvSpPr>
          <p:spPr>
            <a:xfrm>
              <a:off x="5270002" y="6436885"/>
              <a:ext cx="345071" cy="32030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oFIU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고정</a:t>
              </a: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보</a:t>
              </a:r>
            </a:p>
          </p:txBody>
        </p:sp>
      </p:grpSp>
      <p:grpSp>
        <p:nvGrpSpPr>
          <p:cNvPr id="547" name="그룹 546"/>
          <p:cNvGrpSpPr/>
          <p:nvPr/>
        </p:nvGrpSpPr>
        <p:grpSpPr>
          <a:xfrm>
            <a:off x="5324029" y="6019808"/>
            <a:ext cx="545879" cy="360000"/>
            <a:chOff x="5762463" y="6362879"/>
            <a:chExt cx="534131" cy="468312"/>
          </a:xfrm>
        </p:grpSpPr>
        <p:pic>
          <p:nvPicPr>
            <p:cNvPr id="548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2463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9" name="직사각형 548"/>
            <p:cNvSpPr/>
            <p:nvPr/>
          </p:nvSpPr>
          <p:spPr>
            <a:xfrm>
              <a:off x="5855115" y="6463576"/>
              <a:ext cx="348828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L/TF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노출위험</a:t>
              </a:r>
            </a:p>
          </p:txBody>
        </p:sp>
      </p:grpSp>
      <p:grpSp>
        <p:nvGrpSpPr>
          <p:cNvPr id="550" name="그룹 549"/>
          <p:cNvGrpSpPr/>
          <p:nvPr/>
        </p:nvGrpSpPr>
        <p:grpSpPr>
          <a:xfrm>
            <a:off x="5884421" y="6019808"/>
            <a:ext cx="545879" cy="360000"/>
            <a:chOff x="6342381" y="6362879"/>
            <a:chExt cx="534131" cy="468312"/>
          </a:xfrm>
        </p:grpSpPr>
        <p:pic>
          <p:nvPicPr>
            <p:cNvPr id="551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2381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2" name="직사각형 551"/>
            <p:cNvSpPr/>
            <p:nvPr/>
          </p:nvSpPr>
          <p:spPr>
            <a:xfrm>
              <a:off x="6430277" y="6463576"/>
              <a:ext cx="358342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L/TF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RI </a:t>
              </a: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관리</a:t>
              </a:r>
            </a:p>
          </p:txBody>
        </p:sp>
      </p:grpSp>
      <p:grpSp>
        <p:nvGrpSpPr>
          <p:cNvPr id="553" name="그룹 552"/>
          <p:cNvGrpSpPr/>
          <p:nvPr/>
        </p:nvGrpSpPr>
        <p:grpSpPr>
          <a:xfrm>
            <a:off x="6444813" y="6019808"/>
            <a:ext cx="545879" cy="360000"/>
            <a:chOff x="6922299" y="6362879"/>
            <a:chExt cx="534131" cy="468312"/>
          </a:xfrm>
        </p:grpSpPr>
        <p:pic>
          <p:nvPicPr>
            <p:cNvPr id="554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2299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5" name="직사각형 554"/>
            <p:cNvSpPr/>
            <p:nvPr/>
          </p:nvSpPr>
          <p:spPr>
            <a:xfrm>
              <a:off x="7014952" y="6463576"/>
              <a:ext cx="348828" cy="26691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L/TF</a:t>
              </a:r>
            </a:p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제활동</a:t>
              </a:r>
            </a:p>
          </p:txBody>
        </p:sp>
      </p:grpSp>
      <p:grpSp>
        <p:nvGrpSpPr>
          <p:cNvPr id="556" name="그룹 555"/>
          <p:cNvGrpSpPr/>
          <p:nvPr/>
        </p:nvGrpSpPr>
        <p:grpSpPr>
          <a:xfrm>
            <a:off x="7005203" y="6019808"/>
            <a:ext cx="545879" cy="360000"/>
            <a:chOff x="7509039" y="6362879"/>
            <a:chExt cx="534131" cy="468312"/>
          </a:xfrm>
        </p:grpSpPr>
        <p:pic>
          <p:nvPicPr>
            <p:cNvPr id="557" name="Picture 159" descr="Untitled-13-14"/>
            <p:cNvPicPr>
              <a:picLocks noChangeAspect="1" noChangeArrowheads="1"/>
            </p:cNvPicPr>
            <p:nvPr/>
          </p:nvPicPr>
          <p:blipFill>
            <a:blip r:embed="rId5" cstate="print">
              <a:lum bright="-30000" contras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9039" y="6362879"/>
              <a:ext cx="534131" cy="4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2700" dir="2700000" algn="tl" rotWithShape="0">
                <a:srgbClr val="000000">
                  <a:alpha val="7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8" name="직사각형 557"/>
            <p:cNvSpPr/>
            <p:nvPr/>
          </p:nvSpPr>
          <p:spPr>
            <a:xfrm>
              <a:off x="7601691" y="6530306"/>
              <a:ext cx="348828" cy="133459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통계분석</a:t>
              </a:r>
            </a:p>
          </p:txBody>
        </p:sp>
      </p:grpSp>
      <p:cxnSp>
        <p:nvCxnSpPr>
          <p:cNvPr id="559" name="직선 연결선 558"/>
          <p:cNvCxnSpPr/>
          <p:nvPr/>
        </p:nvCxnSpPr>
        <p:spPr>
          <a:xfrm>
            <a:off x="7588229" y="6199808"/>
            <a:ext cx="182529" cy="0"/>
          </a:xfrm>
          <a:prstGeom prst="line">
            <a:avLst/>
          </a:prstGeom>
          <a:noFill/>
          <a:ln w="38100" cap="rnd" cmpd="sng" algn="ctr">
            <a:solidFill>
              <a:srgbClr val="FFFFFF">
                <a:lumMod val="50000"/>
              </a:srgbClr>
            </a:solidFill>
            <a:prstDash val="sysDot"/>
            <a:miter lim="800000"/>
          </a:ln>
          <a:effectLst/>
        </p:spPr>
      </p:cxnSp>
      <p:grpSp>
        <p:nvGrpSpPr>
          <p:cNvPr id="560" name="그룹 559"/>
          <p:cNvGrpSpPr/>
          <p:nvPr/>
        </p:nvGrpSpPr>
        <p:grpSpPr>
          <a:xfrm>
            <a:off x="2427565" y="2063892"/>
            <a:ext cx="5458792" cy="277200"/>
            <a:chOff x="281303" y="2183586"/>
            <a:chExt cx="2160240" cy="252000"/>
          </a:xfrm>
        </p:grpSpPr>
        <p:sp>
          <p:nvSpPr>
            <p:cNvPr id="561" name="양쪽 모서리가 둥근 사각형 517">
              <a:extLst>
                <a:ext uri="{FF2B5EF4-FFF2-40B4-BE49-F238E27FC236}">
                  <a16:creationId xmlns:a16="http://schemas.microsoft.com/office/drawing/2014/main" id="{A5AA2F96-F258-4BB4-AB08-C02365CBE82E}"/>
                </a:ext>
              </a:extLst>
            </p:cNvPr>
            <p:cNvSpPr/>
            <p:nvPr/>
          </p:nvSpPr>
          <p:spPr>
            <a:xfrm>
              <a:off x="281423" y="2183586"/>
              <a:ext cx="2160000" cy="252000"/>
            </a:xfrm>
            <a:prstGeom prst="round2SameRect">
              <a:avLst>
                <a:gd name="adj1" fmla="val 24227"/>
                <a:gd name="adj2" fmla="val 0"/>
              </a:avLst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lvl="0"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ko-KR" altLang="en-US" sz="1100" kern="0" dirty="0" smtClean="0">
                  <a:solidFill>
                    <a:srgbClr val="FFFFFF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자금세탁방지시스템</a:t>
              </a:r>
              <a:endParaRPr kumimoji="1" lang="en-US" altLang="ko-KR" sz="11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562" name="양쪽 모서리가 둥근 사각형 517">
              <a:extLst>
                <a:ext uri="{FF2B5EF4-FFF2-40B4-BE49-F238E27FC236}">
                  <a16:creationId xmlns:a16="http://schemas.microsoft.com/office/drawing/2014/main" id="{EB11C441-1AB3-49D3-B8C3-164D2E573C7A}"/>
                </a:ext>
              </a:extLst>
            </p:cNvPr>
            <p:cNvSpPr/>
            <p:nvPr/>
          </p:nvSpPr>
          <p:spPr>
            <a:xfrm>
              <a:off x="281303" y="2183586"/>
              <a:ext cx="216024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63" name="그룹 562"/>
          <p:cNvGrpSpPr/>
          <p:nvPr/>
        </p:nvGrpSpPr>
        <p:grpSpPr>
          <a:xfrm>
            <a:off x="2512880" y="2379384"/>
            <a:ext cx="2620220" cy="216000"/>
            <a:chOff x="-1799742" y="3848929"/>
            <a:chExt cx="1800200" cy="252000"/>
          </a:xfrm>
        </p:grpSpPr>
        <p:sp>
          <p:nvSpPr>
            <p:cNvPr id="564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AML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65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66" name="그룹 565"/>
          <p:cNvGrpSpPr/>
          <p:nvPr/>
        </p:nvGrpSpPr>
        <p:grpSpPr>
          <a:xfrm>
            <a:off x="5179453" y="2379384"/>
            <a:ext cx="2620220" cy="216000"/>
            <a:chOff x="-1799742" y="3848929"/>
            <a:chExt cx="1800200" cy="252000"/>
          </a:xfrm>
        </p:grpSpPr>
        <p:sp>
          <p:nvSpPr>
            <p:cNvPr id="567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68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69" name="그룹 568"/>
          <p:cNvGrpSpPr/>
          <p:nvPr/>
        </p:nvGrpSpPr>
        <p:grpSpPr>
          <a:xfrm>
            <a:off x="2496613" y="5742998"/>
            <a:ext cx="5313224" cy="216000"/>
            <a:chOff x="-1799742" y="3848929"/>
            <a:chExt cx="1800200" cy="252000"/>
          </a:xfrm>
        </p:grpSpPr>
        <p:sp>
          <p:nvSpPr>
            <p:cNvPr id="570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마트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71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cxnSp>
        <p:nvCxnSpPr>
          <p:cNvPr id="572" name="직선 연결선 571"/>
          <p:cNvCxnSpPr/>
          <p:nvPr/>
        </p:nvCxnSpPr>
        <p:spPr>
          <a:xfrm>
            <a:off x="5137505" y="4515061"/>
            <a:ext cx="436703" cy="0"/>
          </a:xfrm>
          <a:prstGeom prst="line">
            <a:avLst/>
          </a:pr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</p:cxnSp>
      <p:sp>
        <p:nvSpPr>
          <p:cNvPr id="573" name="자유형 572"/>
          <p:cNvSpPr/>
          <p:nvPr/>
        </p:nvSpPr>
        <p:spPr>
          <a:xfrm>
            <a:off x="5137507" y="4661494"/>
            <a:ext cx="175499" cy="1080000"/>
          </a:xfrm>
          <a:custGeom>
            <a:avLst/>
            <a:gdLst>
              <a:gd name="connsiteX0" fmla="*/ 0 w 325677"/>
              <a:gd name="connsiteY0" fmla="*/ 0 h 1089764"/>
              <a:gd name="connsiteX1" fmla="*/ 325677 w 325677"/>
              <a:gd name="connsiteY1" fmla="*/ 0 h 1089764"/>
              <a:gd name="connsiteX2" fmla="*/ 325677 w 325677"/>
              <a:gd name="connsiteY2" fmla="*/ 1089764 h 1089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5677" h="1089764">
                <a:moveTo>
                  <a:pt x="0" y="0"/>
                </a:moveTo>
                <a:lnTo>
                  <a:pt x="325677" y="0"/>
                </a:lnTo>
                <a:lnTo>
                  <a:pt x="325677" y="1089764"/>
                </a:lnTo>
              </a:path>
            </a:pathLst>
          </a:cu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574" name="직선 연결선 573"/>
          <p:cNvCxnSpPr/>
          <p:nvPr/>
        </p:nvCxnSpPr>
        <p:spPr>
          <a:xfrm>
            <a:off x="5423924" y="4043516"/>
            <a:ext cx="0" cy="1692000"/>
          </a:xfrm>
          <a:prstGeom prst="line">
            <a:avLst/>
          </a:pr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</p:cxnSp>
      <p:grpSp>
        <p:nvGrpSpPr>
          <p:cNvPr id="575" name="그룹 574"/>
          <p:cNvGrpSpPr/>
          <p:nvPr/>
        </p:nvGrpSpPr>
        <p:grpSpPr>
          <a:xfrm>
            <a:off x="5579823" y="4384330"/>
            <a:ext cx="2183517" cy="216000"/>
            <a:chOff x="-1799742" y="3848929"/>
            <a:chExt cx="1800200" cy="252000"/>
          </a:xfrm>
        </p:grpSpPr>
        <p:sp>
          <p:nvSpPr>
            <p:cNvPr id="576" name="양쪽 모서리가 둥근 사각형 519">
              <a:extLst>
                <a:ext uri="{FF2B5EF4-FFF2-40B4-BE49-F238E27FC236}">
                  <a16:creationId xmlns:a16="http://schemas.microsoft.com/office/drawing/2014/main" id="{105AECF3-9469-4C04-A2E1-7BA0AF1FB826}"/>
                </a:ext>
              </a:extLst>
            </p:cNvPr>
            <p:cNvSpPr/>
            <p:nvPr/>
          </p:nvSpPr>
          <p:spPr>
            <a:xfrm>
              <a:off x="-1799642" y="3848929"/>
              <a:ext cx="1800000" cy="252000"/>
            </a:xfrm>
            <a:prstGeom prst="round2SameRect">
              <a:avLst>
                <a:gd name="adj1" fmla="val 28006"/>
                <a:gd name="adj2" fmla="val 0"/>
              </a:avLst>
            </a:prstGeom>
            <a:solidFill>
              <a:srgbClr val="0072C0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>
                <a:defRPr/>
              </a:pPr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oFIU </a:t>
              </a:r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보고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577" name="양쪽 모서리가 둥근 사각형 517">
              <a:extLst>
                <a:ext uri="{FF2B5EF4-FFF2-40B4-BE49-F238E27FC236}">
                  <a16:creationId xmlns:a16="http://schemas.microsoft.com/office/drawing/2014/main" id="{34ECCD0A-EE78-4C68-A8E9-F0E2626D259F}"/>
                </a:ext>
              </a:extLst>
            </p:cNvPr>
            <p:cNvSpPr/>
            <p:nvPr/>
          </p:nvSpPr>
          <p:spPr>
            <a:xfrm>
              <a:off x="-1799742" y="3848929"/>
              <a:ext cx="180020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578" name="그룹 577"/>
          <p:cNvGrpSpPr/>
          <p:nvPr/>
        </p:nvGrpSpPr>
        <p:grpSpPr>
          <a:xfrm>
            <a:off x="2562178" y="2640984"/>
            <a:ext cx="2521624" cy="690094"/>
            <a:chOff x="2558308" y="2748078"/>
            <a:chExt cx="2494466" cy="690094"/>
          </a:xfrm>
        </p:grpSpPr>
        <p:sp>
          <p:nvSpPr>
            <p:cNvPr id="579" name="직사각형 578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2558308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580" name="그룹 579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2558308" y="2748078"/>
              <a:ext cx="1224000" cy="180000"/>
              <a:chOff x="1079497" y="6523914"/>
              <a:chExt cx="1440200" cy="252000"/>
            </a:xfrm>
          </p:grpSpPr>
          <p:sp>
            <p:nvSpPr>
              <p:cNvPr id="589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latinLnBrk="0"/>
                <a:r>
                  <a:rPr lang="en-US" altLang="ko-KR" sz="10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KYC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  <p:sp>
            <p:nvSpPr>
              <p:cNvPr id="590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581" name="AutoShape 137" descr="90%"/>
            <p:cNvSpPr>
              <a:spLocks noChangeArrowheads="1"/>
            </p:cNvSpPr>
            <p:nvPr/>
          </p:nvSpPr>
          <p:spPr bwMode="auto">
            <a:xfrm>
              <a:off x="2594308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DD/EDD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보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82" name="AutoShape 137" descr="90%"/>
            <p:cNvSpPr>
              <a:spLocks noChangeArrowheads="1"/>
            </p:cNvSpPr>
            <p:nvPr/>
          </p:nvSpPr>
          <p:spPr bwMode="auto">
            <a:xfrm>
              <a:off x="2594308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 프로파일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83" name="직사각형 582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3828774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584" name="그룹 583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3828774" y="2748078"/>
              <a:ext cx="1224000" cy="180000"/>
              <a:chOff x="1079497" y="6523914"/>
              <a:chExt cx="1440200" cy="252000"/>
            </a:xfrm>
          </p:grpSpPr>
          <p:sp>
            <p:nvSpPr>
              <p:cNvPr id="587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latinLnBrk="0"/>
                <a:r>
                  <a:rPr lang="en-US" altLang="ko-KR" sz="10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WLF</a:t>
                </a:r>
                <a:endParaRPr lang="ko-KR" altLang="en-US" sz="10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  <p:sp>
            <p:nvSpPr>
              <p:cNvPr id="588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585" name="AutoShape 137" descr="90%"/>
            <p:cNvSpPr>
              <a:spLocks noChangeArrowheads="1"/>
            </p:cNvSpPr>
            <p:nvPr/>
          </p:nvSpPr>
          <p:spPr bwMode="auto">
            <a:xfrm>
              <a:off x="3864774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Watch List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86" name="AutoShape 137" descr="90%"/>
            <p:cNvSpPr>
              <a:spLocks noChangeArrowheads="1"/>
            </p:cNvSpPr>
            <p:nvPr/>
          </p:nvSpPr>
          <p:spPr bwMode="auto">
            <a:xfrm>
              <a:off x="3864774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요주의리스트 필터링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배치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591" name="그룹 590"/>
          <p:cNvGrpSpPr/>
          <p:nvPr/>
        </p:nvGrpSpPr>
        <p:grpSpPr>
          <a:xfrm>
            <a:off x="2562178" y="3369702"/>
            <a:ext cx="2521624" cy="690094"/>
            <a:chOff x="2558308" y="2748078"/>
            <a:chExt cx="2494466" cy="690094"/>
          </a:xfrm>
        </p:grpSpPr>
        <p:sp>
          <p:nvSpPr>
            <p:cNvPr id="592" name="직사각형 591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2558308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593" name="그룹 592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2558308" y="2748078"/>
              <a:ext cx="1224000" cy="180000"/>
              <a:chOff x="1079497" y="6523914"/>
              <a:chExt cx="1440200" cy="252000"/>
            </a:xfrm>
          </p:grpSpPr>
          <p:sp>
            <p:nvSpPr>
              <p:cNvPr id="602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 latinLnBrk="0"/>
                <a:r>
                  <a:rPr lang="en-US" altLang="ko-KR" sz="11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RA</a:t>
                </a:r>
                <a:endParaRPr lang="ko-KR" altLang="en-US" sz="11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  <p:sp>
            <p:nvSpPr>
              <p:cNvPr id="603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594" name="AutoShape 137" descr="90%"/>
            <p:cNvSpPr>
              <a:spLocks noChangeArrowheads="1"/>
            </p:cNvSpPr>
            <p:nvPr/>
          </p:nvSpPr>
          <p:spPr bwMode="auto">
            <a:xfrm>
              <a:off x="2594308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95" name="AutoShape 137" descr="90%"/>
            <p:cNvSpPr>
              <a:spLocks noChangeArrowheads="1"/>
            </p:cNvSpPr>
            <p:nvPr/>
          </p:nvSpPr>
          <p:spPr bwMode="auto">
            <a:xfrm>
              <a:off x="2594308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수행 결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96" name="직사각형 595">
              <a:extLst>
                <a:ext uri="{FF2B5EF4-FFF2-40B4-BE49-F238E27FC236}">
                  <a16:creationId xmlns:a16="http://schemas.microsoft.com/office/drawing/2014/main" id="{32910830-D387-4F2C-BC7E-B5E747AD4B03}"/>
                </a:ext>
              </a:extLst>
            </p:cNvPr>
            <p:cNvSpPr/>
            <p:nvPr/>
          </p:nvSpPr>
          <p:spPr>
            <a:xfrm>
              <a:off x="3828774" y="2934172"/>
              <a:ext cx="1224000" cy="504000"/>
            </a:xfrm>
            <a:prstGeom prst="rect">
              <a:avLst/>
            </a:prstGeom>
            <a:pattFill prst="dkUpDiag">
              <a:fgClr>
                <a:srgbClr val="FFFFFF"/>
              </a:fgClr>
              <a:bgClr>
                <a:srgbClr val="E6E6E6"/>
              </a:bgClr>
            </a:pattFill>
            <a:ln w="6350" algn="ctr">
              <a:solidFill>
                <a:srgbClr val="CDCDC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C4C4C4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endParaRPr lang="ko-KR" altLang="en-US" dirty="0"/>
            </a:p>
          </p:txBody>
        </p:sp>
        <p:grpSp>
          <p:nvGrpSpPr>
            <p:cNvPr id="597" name="그룹 596">
              <a:extLst>
                <a:ext uri="{FF2B5EF4-FFF2-40B4-BE49-F238E27FC236}">
                  <a16:creationId xmlns:a16="http://schemas.microsoft.com/office/drawing/2014/main" id="{E27A6194-6E3C-46AF-AAFF-6CBC13029DD6}"/>
                </a:ext>
              </a:extLst>
            </p:cNvPr>
            <p:cNvGrpSpPr/>
            <p:nvPr/>
          </p:nvGrpSpPr>
          <p:grpSpPr>
            <a:xfrm>
              <a:off x="3828774" y="2748078"/>
              <a:ext cx="1224000" cy="180000"/>
              <a:chOff x="1079497" y="6523914"/>
              <a:chExt cx="1440200" cy="252000"/>
            </a:xfrm>
          </p:grpSpPr>
          <p:sp>
            <p:nvSpPr>
              <p:cNvPr id="600" name="양쪽 모서리가 둥근 사각형 521">
                <a:extLst>
                  <a:ext uri="{FF2B5EF4-FFF2-40B4-BE49-F238E27FC236}">
                    <a16:creationId xmlns:a16="http://schemas.microsoft.com/office/drawing/2014/main" id="{CA2B5521-4849-4CE0-AB2D-6F84764744BF}"/>
                  </a:ext>
                </a:extLst>
              </p:cNvPr>
              <p:cNvSpPr/>
              <p:nvPr/>
            </p:nvSpPr>
            <p:spPr>
              <a:xfrm>
                <a:off x="1079497" y="6523914"/>
                <a:ext cx="1440000" cy="252000"/>
              </a:xfrm>
              <a:prstGeom prst="round2SameRect">
                <a:avLst>
                  <a:gd name="adj1" fmla="val 26746"/>
                  <a:gd name="adj2" fmla="val 0"/>
                </a:avLst>
              </a:prstGeom>
              <a:solidFill>
                <a:srgbClr val="22A8F0"/>
              </a:solidFill>
              <a:ln w="6350" algn="ctr">
                <a:solidFill>
                  <a:srgbClr val="22A8F0"/>
                </a:solidFill>
                <a:miter lim="800000"/>
                <a:headEnd/>
                <a:tailEnd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ko-KR" altLang="en-US" sz="10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스퀘어 Bold" panose="020B0600000101010101" pitchFamily="50" charset="-127"/>
                    <a:ea typeface="나눔스퀘어 Bold" panose="020B0600000101010101" pitchFamily="50" charset="-127"/>
                  </a:rPr>
                  <a:t>환거래 은행 관리</a:t>
                </a:r>
              </a:p>
            </p:txBody>
          </p:sp>
          <p:sp>
            <p:nvSpPr>
              <p:cNvPr id="601" name="양쪽 모서리가 둥근 사각형 517">
                <a:extLst>
                  <a:ext uri="{FF2B5EF4-FFF2-40B4-BE49-F238E27FC236}">
                    <a16:creationId xmlns:a16="http://schemas.microsoft.com/office/drawing/2014/main" id="{E24B0519-96E8-4BD3-B8B3-65BB82E4A02F}"/>
                  </a:ext>
                </a:extLst>
              </p:cNvPr>
              <p:cNvSpPr/>
              <p:nvPr/>
            </p:nvSpPr>
            <p:spPr>
              <a:xfrm>
                <a:off x="1079537" y="6523914"/>
                <a:ext cx="1440160" cy="14401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bg1">
                      <a:alpha val="80000"/>
                    </a:schemeClr>
                  </a:gs>
                  <a:gs pos="45000">
                    <a:schemeClr val="bg1">
                      <a:alpha val="35000"/>
                    </a:schemeClr>
                  </a:gs>
                  <a:gs pos="83000">
                    <a:schemeClr val="bg1">
                      <a:alpha val="1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  <p:sp>
          <p:nvSpPr>
            <p:cNvPr id="598" name="AutoShape 137" descr="90%"/>
            <p:cNvSpPr>
              <a:spLocks noChangeArrowheads="1"/>
            </p:cNvSpPr>
            <p:nvPr/>
          </p:nvSpPr>
          <p:spPr bwMode="auto">
            <a:xfrm>
              <a:off x="3864774" y="2974873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 방안 마련</a:t>
              </a:r>
            </a:p>
          </p:txBody>
        </p:sp>
        <p:sp>
          <p:nvSpPr>
            <p:cNvPr id="599" name="AutoShape 137" descr="90%"/>
            <p:cNvSpPr>
              <a:spLocks noChangeArrowheads="1"/>
            </p:cNvSpPr>
            <p:nvPr/>
          </p:nvSpPr>
          <p:spPr bwMode="auto">
            <a:xfrm>
              <a:off x="3864774" y="3202856"/>
              <a:ext cx="1152000" cy="180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ko-KR" altLang="en-US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외부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데이터 </a:t>
              </a:r>
              <a:r>
                <a:rPr kumimoji="1" lang="ko-KR" altLang="en-US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등록 처리</a:t>
              </a:r>
            </a:p>
          </p:txBody>
        </p:sp>
      </p:grpSp>
      <p:sp>
        <p:nvSpPr>
          <p:cNvPr id="604" name="직사각형 603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2562178" y="4284514"/>
            <a:ext cx="1237326" cy="504000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grpSp>
        <p:nvGrpSpPr>
          <p:cNvPr id="605" name="그룹 604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2562178" y="4098420"/>
            <a:ext cx="1237326" cy="180000"/>
            <a:chOff x="1079497" y="6523914"/>
            <a:chExt cx="1440200" cy="252000"/>
          </a:xfrm>
        </p:grpSpPr>
        <p:sp>
          <p:nvSpPr>
            <p:cNvPr id="606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en-US" altLang="ko-KR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STR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07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08" name="AutoShape 137" descr="90%"/>
          <p:cNvSpPr>
            <a:spLocks noChangeArrowheads="1"/>
          </p:cNvSpPr>
          <p:nvPr/>
        </p:nvSpPr>
        <p:spPr bwMode="auto">
          <a:xfrm>
            <a:off x="2598570" y="4325215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 추출</a:t>
            </a:r>
            <a:r>
              <a: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kumimoji="1" lang="ko-KR" altLang="en-US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니터링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09" name="AutoShape 137" descr="90%"/>
          <p:cNvSpPr>
            <a:spLocks noChangeArrowheads="1"/>
          </p:cNvSpPr>
          <p:nvPr/>
        </p:nvSpPr>
        <p:spPr bwMode="auto">
          <a:xfrm>
            <a:off x="2598570" y="455319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en-US" altLang="ko-KR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ule </a:t>
            </a: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뮬레이션 관리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0" name="직사각형 609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3846476" y="4284514"/>
            <a:ext cx="1237326" cy="504000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grpSp>
        <p:nvGrpSpPr>
          <p:cNvPr id="611" name="그룹 610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3846476" y="4098420"/>
            <a:ext cx="1237326" cy="180000"/>
            <a:chOff x="1079497" y="6523914"/>
            <a:chExt cx="1440200" cy="252000"/>
          </a:xfrm>
        </p:grpSpPr>
        <p:sp>
          <p:nvSpPr>
            <p:cNvPr id="612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en-US" altLang="ko-KR" sz="10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CTR</a:t>
              </a:r>
              <a:endParaRPr lang="ko-KR" altLang="en-US" sz="10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13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14" name="AutoShape 137" descr="90%"/>
          <p:cNvSpPr>
            <a:spLocks noChangeArrowheads="1"/>
          </p:cNvSpPr>
          <p:nvPr/>
        </p:nvSpPr>
        <p:spPr bwMode="auto">
          <a:xfrm>
            <a:off x="3882868" y="4325215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액현금거래 추출</a:t>
            </a:r>
            <a:r>
              <a:rPr kumimoji="1" lang="en-US" altLang="ko-KR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니터</a:t>
            </a:r>
            <a:r>
              <a:rPr kumimoji="1" lang="ko-KR" altLang="en-US" sz="800" b="1" kern="0" dirty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링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5" name="AutoShape 137" descr="90%"/>
          <p:cNvSpPr>
            <a:spLocks noChangeArrowheads="1"/>
          </p:cNvSpPr>
          <p:nvPr/>
        </p:nvSpPr>
        <p:spPr bwMode="auto">
          <a:xfrm>
            <a:off x="3882868" y="455319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누락 및 에러 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6" name="AutoShape 137" descr="90%"/>
          <p:cNvSpPr>
            <a:spLocks noChangeArrowheads="1"/>
          </p:cNvSpPr>
          <p:nvPr/>
        </p:nvSpPr>
        <p:spPr bwMode="auto">
          <a:xfrm>
            <a:off x="2598570" y="549691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kern="0" noProof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외지점 관리</a:t>
            </a:r>
            <a:endParaRPr kumimoji="1" lang="en-US" altLang="ko-KR" sz="800" b="1" i="0" u="none" strike="noStrike" kern="0" cap="none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17" name="양쪽 모서리가 둥근 사각형 517">
            <a:extLst>
              <a:ext uri="{FF2B5EF4-FFF2-40B4-BE49-F238E27FC236}">
                <a16:creationId xmlns:a16="http://schemas.microsoft.com/office/drawing/2014/main" id="{E24B0519-96E8-4BD3-B8B3-65BB82E4A02F}"/>
              </a:ext>
            </a:extLst>
          </p:cNvPr>
          <p:cNvSpPr/>
          <p:nvPr/>
        </p:nvSpPr>
        <p:spPr>
          <a:xfrm>
            <a:off x="3846511" y="4827157"/>
            <a:ext cx="1237292" cy="10286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bg1">
                  <a:alpha val="80000"/>
                </a:schemeClr>
              </a:gs>
              <a:gs pos="45000">
                <a:schemeClr val="bg1">
                  <a:alpha val="35000"/>
                </a:schemeClr>
              </a:gs>
              <a:gs pos="83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18" name="AutoShape 137" descr="90%"/>
          <p:cNvSpPr>
            <a:spLocks noChangeArrowheads="1"/>
          </p:cNvSpPr>
          <p:nvPr/>
        </p:nvSpPr>
        <p:spPr bwMode="auto">
          <a:xfrm>
            <a:off x="3882868" y="5445244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 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619" name="그룹 618"/>
          <p:cNvGrpSpPr/>
          <p:nvPr/>
        </p:nvGrpSpPr>
        <p:grpSpPr>
          <a:xfrm>
            <a:off x="5253490" y="2661190"/>
            <a:ext cx="2466183" cy="252000"/>
            <a:chOff x="5223023" y="2661190"/>
            <a:chExt cx="2439622" cy="252000"/>
          </a:xfrm>
        </p:grpSpPr>
        <p:sp>
          <p:nvSpPr>
            <p:cNvPr id="620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준정보 및 계획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21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노출위험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22" name="그룹 621"/>
          <p:cNvGrpSpPr/>
          <p:nvPr/>
        </p:nvGrpSpPr>
        <p:grpSpPr>
          <a:xfrm>
            <a:off x="5253490" y="3015934"/>
            <a:ext cx="2466183" cy="252000"/>
            <a:chOff x="5223023" y="2661190"/>
            <a:chExt cx="2439622" cy="252000"/>
          </a:xfrm>
        </p:grpSpPr>
        <p:sp>
          <p:nvSpPr>
            <p:cNvPr id="623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활동 관리</a:t>
              </a:r>
              <a:endParaRPr kumimoji="1" lang="en-US" altLang="ko-KR" sz="800" b="1" kern="0" dirty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24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RI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25" name="그룹 624"/>
          <p:cNvGrpSpPr/>
          <p:nvPr/>
        </p:nvGrpSpPr>
        <p:grpSpPr>
          <a:xfrm>
            <a:off x="5253490" y="3370678"/>
            <a:ext cx="2466183" cy="252000"/>
            <a:chOff x="5223023" y="2661190"/>
            <a:chExt cx="2439622" cy="252000"/>
          </a:xfrm>
        </p:grpSpPr>
        <p:sp>
          <p:nvSpPr>
            <p:cNvPr id="626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101889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tabLst>
                  <a:tab pos="3767698" algn="l"/>
                </a:tabLst>
                <a:defRPr/>
              </a:pPr>
              <a:r>
                <a:rPr kumimoji="1" lang="en-US" altLang="ko-KR" sz="800" b="1" kern="0" dirty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제 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AS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리</a:t>
              </a:r>
              <a:endParaRPr kumimoji="1" lang="en-US" altLang="ko-KR" sz="800" b="1" kern="0" dirty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27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28" name="그룹 627"/>
          <p:cNvGrpSpPr/>
          <p:nvPr/>
        </p:nvGrpSpPr>
        <p:grpSpPr>
          <a:xfrm>
            <a:off x="5253490" y="3725421"/>
            <a:ext cx="2466183" cy="252000"/>
            <a:chOff x="5223023" y="2661190"/>
            <a:chExt cx="2439622" cy="252000"/>
          </a:xfrm>
        </p:grpSpPr>
        <p:sp>
          <p:nvSpPr>
            <p:cNvPr id="629" name="AutoShape 137" descr="90%"/>
            <p:cNvSpPr>
              <a:spLocks noChangeArrowheads="1"/>
            </p:cNvSpPr>
            <p:nvPr/>
          </p:nvSpPr>
          <p:spPr bwMode="auto">
            <a:xfrm>
              <a:off x="5223023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관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30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152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통계분석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cxnSp>
        <p:nvCxnSpPr>
          <p:cNvPr id="631" name="직선 연결선 630"/>
          <p:cNvCxnSpPr/>
          <p:nvPr/>
        </p:nvCxnSpPr>
        <p:spPr>
          <a:xfrm rot="5400000">
            <a:off x="6309723" y="4227049"/>
            <a:ext cx="360000" cy="0"/>
          </a:xfrm>
          <a:prstGeom prst="line">
            <a:avLst/>
          </a:prstGeom>
          <a:noFill/>
          <a:ln w="28575" cap="flat" cmpd="sng" algn="ctr">
            <a:gradFill flip="none" rotWithShape="1">
              <a:gsLst>
                <a:gs pos="100000">
                  <a:srgbClr val="000000">
                    <a:lumMod val="95000"/>
                    <a:lumOff val="5000"/>
                  </a:srgbClr>
                </a:gs>
                <a:gs pos="0">
                  <a:srgbClr val="000000">
                    <a:lumMod val="95000"/>
                    <a:lumOff val="5000"/>
                  </a:srgbClr>
                </a:gs>
              </a:gsLst>
              <a:lin ang="0" scaled="1"/>
              <a:tileRect/>
            </a:gradFill>
            <a:prstDash val="solid"/>
            <a:headEnd type="triangle"/>
            <a:tailEnd type="triangle"/>
          </a:ln>
          <a:effectLst/>
        </p:spPr>
      </p:cxnSp>
      <p:grpSp>
        <p:nvGrpSpPr>
          <p:cNvPr id="632" name="그룹 631"/>
          <p:cNvGrpSpPr/>
          <p:nvPr/>
        </p:nvGrpSpPr>
        <p:grpSpPr>
          <a:xfrm>
            <a:off x="5635768" y="4691616"/>
            <a:ext cx="2092396" cy="252000"/>
            <a:chOff x="5448784" y="2661190"/>
            <a:chExt cx="2069861" cy="252000"/>
          </a:xfrm>
        </p:grpSpPr>
        <p:sp>
          <p:nvSpPr>
            <p:cNvPr id="633" name="AutoShape 137" descr="90%"/>
            <p:cNvSpPr>
              <a:spLocks noChangeArrowheads="1"/>
            </p:cNvSpPr>
            <p:nvPr/>
          </p:nvSpPr>
          <p:spPr bwMode="auto">
            <a:xfrm>
              <a:off x="5448784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CTR 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endParaRPr kumimoji="1" lang="en-US" altLang="ko-KR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SND)</a:t>
              </a:r>
            </a:p>
          </p:txBody>
        </p:sp>
        <p:sp>
          <p:nvSpPr>
            <p:cNvPr id="634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STR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XML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35" name="그룹 634"/>
          <p:cNvGrpSpPr/>
          <p:nvPr/>
        </p:nvGrpSpPr>
        <p:grpSpPr>
          <a:xfrm>
            <a:off x="5627277" y="5019927"/>
            <a:ext cx="2092396" cy="252000"/>
            <a:chOff x="5448784" y="2661190"/>
            <a:chExt cx="2069861" cy="252000"/>
          </a:xfrm>
        </p:grpSpPr>
        <p:sp>
          <p:nvSpPr>
            <p:cNvPr id="636" name="AutoShape 137" descr="90%"/>
            <p:cNvSpPr>
              <a:spLocks noChangeArrowheads="1"/>
            </p:cNvSpPr>
            <p:nvPr/>
          </p:nvSpPr>
          <p:spPr bwMode="auto">
            <a:xfrm>
              <a:off x="5448784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</a:t>
              </a:r>
              <a:endParaRPr kumimoji="1" lang="en-US" altLang="ko-KR" sz="800" b="1" kern="0" noProof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r>
                <a:rPr kumimoji="1" lang="en-US" altLang="ko-KR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kumimoji="1" lang="ko-KR" altLang="en-US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성적</a:t>
              </a:r>
              <a:r>
                <a:rPr kumimoji="1" lang="en-US" altLang="ko-KR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37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이행 지표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kumimoji="1" lang="ko-KR" altLang="en-US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량적</a:t>
              </a:r>
              <a:r>
                <a:rPr kumimoji="1" lang="en-US" altLang="ko-KR" sz="800" b="1" kern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38" name="그룹 637"/>
          <p:cNvGrpSpPr/>
          <p:nvPr/>
        </p:nvGrpSpPr>
        <p:grpSpPr>
          <a:xfrm>
            <a:off x="5627277" y="5352672"/>
            <a:ext cx="2092396" cy="252000"/>
            <a:chOff x="5448784" y="2661190"/>
            <a:chExt cx="2069861" cy="252000"/>
          </a:xfrm>
        </p:grpSpPr>
        <p:sp>
          <p:nvSpPr>
            <p:cNvPr id="639" name="AutoShape 137" descr="90%"/>
            <p:cNvSpPr>
              <a:spLocks noChangeArrowheads="1"/>
            </p:cNvSpPr>
            <p:nvPr/>
          </p:nvSpPr>
          <p:spPr bwMode="auto">
            <a:xfrm>
              <a:off x="5448784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결과</a:t>
              </a:r>
              <a:endParaRPr kumimoji="1" lang="en-US" altLang="ko-KR" sz="800" b="1" kern="0" noProof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i="0" u="none" strike="noStrike" kern="0" cap="none" normalizeH="0" baseline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</a:t>
              </a:r>
              <a:r>
                <a:rPr kumimoji="1" lang="ko-KR" altLang="en-US" sz="800" b="1" i="0" u="none" strike="noStrike" kern="0" cap="none" normalizeH="0" baseline="0" dirty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리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40" name="AutoShape 137" descr="90%"/>
            <p:cNvSpPr>
              <a:spLocks noChangeArrowheads="1"/>
            </p:cNvSpPr>
            <p:nvPr/>
          </p:nvSpPr>
          <p:spPr bwMode="auto">
            <a:xfrm>
              <a:off x="6510645" y="2661190"/>
              <a:ext cx="1008000" cy="252000"/>
            </a:xfrm>
            <a:prstGeom prst="roundRect">
              <a:avLst>
                <a:gd name="adj" fmla="val 9926"/>
              </a:avLst>
            </a:prstGeom>
            <a:solidFill>
              <a:srgbClr val="FFFFFF"/>
            </a:solidFill>
            <a:ln w="6350" cap="flat" cmpd="sng" algn="ctr">
              <a:gradFill>
                <a:gsLst>
                  <a:gs pos="1000">
                    <a:srgbClr val="FFFFFF">
                      <a:lumMod val="75000"/>
                    </a:srgbClr>
                  </a:gs>
                  <a:gs pos="50000">
                    <a:srgbClr val="FFFFFF">
                      <a:lumMod val="50000"/>
                    </a:srgbClr>
                  </a:gs>
                  <a:gs pos="100000">
                    <a:srgbClr val="000000">
                      <a:lumMod val="75000"/>
                      <a:lumOff val="25000"/>
                    </a:srgbClr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en-US" altLang="ko-KR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kumimoji="1" lang="ko-KR" altLang="en-US" sz="800" b="1" i="0" u="none" strike="noStrike" kern="0" cap="none" normalizeH="0" baseline="0" noProof="0" dirty="0" smtClean="0">
                  <a:ln w="0"/>
                  <a:solidFill>
                    <a:prstClr val="black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파일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0" marR="0" lvl="0" indent="0" algn="ctr" defTabSz="10188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7698" algn="l"/>
                </a:tabLst>
                <a:defRPr/>
              </a:pP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백업</a:t>
              </a:r>
              <a:r>
                <a:rPr kumimoji="1" lang="en-US" altLang="ko-KR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kumimoji="1" lang="ko-KR" altLang="en-US" sz="800" b="1" kern="0" noProof="0" dirty="0" smtClean="0">
                  <a:ln w="0"/>
                  <a:solidFill>
                    <a:prstClr val="black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삭제</a:t>
              </a:r>
              <a:endPara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642" name="Rectangle 116"/>
          <p:cNvSpPr>
            <a:spLocks noChangeArrowheads="1"/>
          </p:cNvSpPr>
          <p:nvPr/>
        </p:nvSpPr>
        <p:spPr bwMode="auto">
          <a:xfrm>
            <a:off x="315165" y="2338990"/>
            <a:ext cx="1620000" cy="972000"/>
          </a:xfrm>
          <a:prstGeom prst="rect">
            <a:avLst/>
          </a:prstGeom>
          <a:noFill/>
          <a:ln w="25400" cap="flat" cmpd="sng" algn="ctr">
            <a:solidFill>
              <a:srgbClr val="CA106B"/>
            </a:solidFill>
            <a:prstDash val="solid"/>
            <a:tailEnd type="none"/>
          </a:ln>
          <a:effectLst/>
        </p:spPr>
        <p:txBody>
          <a:bodyPr lIns="91415" tIns="45708" rIns="91415" bIns="45708"/>
          <a:lstStyle/>
          <a:p>
            <a:pPr marL="0" marR="0" lvl="0" indent="0" defTabSz="91440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43" name="오른쪽 화살표 642"/>
          <p:cNvSpPr/>
          <p:nvPr/>
        </p:nvSpPr>
        <p:spPr bwMode="auto">
          <a:xfrm>
            <a:off x="7751355" y="4729700"/>
            <a:ext cx="396000" cy="360000"/>
          </a:xfrm>
          <a:prstGeom prst="rightArrow">
            <a:avLst>
              <a:gd name="adj1" fmla="val 65452"/>
              <a:gd name="adj2" fmla="val 40986"/>
            </a:avLst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  <a:ex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44" name="오른쪽 화살표 643"/>
          <p:cNvSpPr/>
          <p:nvPr/>
        </p:nvSpPr>
        <p:spPr bwMode="auto">
          <a:xfrm flipH="1">
            <a:off x="7751355" y="5086205"/>
            <a:ext cx="396000" cy="360000"/>
          </a:xfrm>
          <a:prstGeom prst="rightArrow">
            <a:avLst>
              <a:gd name="adj1" fmla="val 65452"/>
              <a:gd name="adj2" fmla="val 40986"/>
            </a:avLst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  <a:extLst/>
        </p:spPr>
        <p:txBody>
          <a:bodyPr lIns="91415" tIns="45708" rIns="91415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45" name="직사각형 644"/>
          <p:cNvSpPr/>
          <p:nvPr/>
        </p:nvSpPr>
        <p:spPr>
          <a:xfrm>
            <a:off x="7763407" y="4802718"/>
            <a:ext cx="371897" cy="21544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70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행지표</a:t>
            </a:r>
          </a:p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en-US" altLang="ko-KR" sz="70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/STR</a:t>
            </a:r>
          </a:p>
        </p:txBody>
      </p:sp>
      <p:sp>
        <p:nvSpPr>
          <p:cNvPr id="646" name="직사각형 645"/>
          <p:cNvSpPr/>
          <p:nvPr/>
        </p:nvSpPr>
        <p:spPr>
          <a:xfrm>
            <a:off x="7782735" y="5212344"/>
            <a:ext cx="402026" cy="10772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700" i="0" u="none" strike="noStrike" kern="0" cap="none" spc="0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결과</a:t>
            </a:r>
            <a:endParaRPr kumimoji="1" lang="en-US" altLang="ko-KR" sz="700" i="0" u="none" strike="noStrike" kern="0" cap="none" spc="0" normalizeH="0" baseline="0" noProof="0" dirty="0" smtClean="0">
              <a:ln w="0"/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647" name="그룹 646"/>
          <p:cNvGrpSpPr/>
          <p:nvPr/>
        </p:nvGrpSpPr>
        <p:grpSpPr>
          <a:xfrm>
            <a:off x="7733355" y="3521518"/>
            <a:ext cx="432000" cy="303526"/>
            <a:chOff x="8382501" y="3670318"/>
            <a:chExt cx="391903" cy="369846"/>
          </a:xfrm>
        </p:grpSpPr>
        <p:sp>
          <p:nvSpPr>
            <p:cNvPr id="648" name="오른쪽 화살표 647"/>
            <p:cNvSpPr/>
            <p:nvPr/>
          </p:nvSpPr>
          <p:spPr bwMode="auto">
            <a:xfrm rot="10800000" flipH="1" flipV="1">
              <a:off x="8547598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49" name="오른쪽 화살표 648"/>
            <p:cNvSpPr/>
            <p:nvPr/>
          </p:nvSpPr>
          <p:spPr bwMode="auto">
            <a:xfrm rot="10800000" flipV="1">
              <a:off x="8382501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50" name="그룹 649"/>
          <p:cNvGrpSpPr/>
          <p:nvPr/>
        </p:nvGrpSpPr>
        <p:grpSpPr>
          <a:xfrm>
            <a:off x="7733355" y="2597645"/>
            <a:ext cx="432000" cy="303526"/>
            <a:chOff x="8382501" y="3670318"/>
            <a:chExt cx="391903" cy="369846"/>
          </a:xfrm>
        </p:grpSpPr>
        <p:sp>
          <p:nvSpPr>
            <p:cNvPr id="651" name="오른쪽 화살표 650"/>
            <p:cNvSpPr/>
            <p:nvPr/>
          </p:nvSpPr>
          <p:spPr bwMode="auto">
            <a:xfrm rot="10800000" flipH="1" flipV="1">
              <a:off x="8547598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52" name="오른쪽 화살표 651"/>
            <p:cNvSpPr/>
            <p:nvPr/>
          </p:nvSpPr>
          <p:spPr bwMode="auto">
            <a:xfrm rot="10800000" flipV="1">
              <a:off x="8382501" y="3670318"/>
              <a:ext cx="226806" cy="369846"/>
            </a:xfrm>
            <a:prstGeom prst="rightArrow">
              <a:avLst>
                <a:gd name="adj1" fmla="val 65452"/>
                <a:gd name="adj2" fmla="val 67234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53" name="그룹 652"/>
          <p:cNvGrpSpPr/>
          <p:nvPr/>
        </p:nvGrpSpPr>
        <p:grpSpPr>
          <a:xfrm>
            <a:off x="1926433" y="2829290"/>
            <a:ext cx="540000" cy="288000"/>
            <a:chOff x="8385363" y="3689236"/>
            <a:chExt cx="389041" cy="350928"/>
          </a:xfrm>
        </p:grpSpPr>
        <p:sp>
          <p:nvSpPr>
            <p:cNvPr id="654" name="오른쪽 화살표 653"/>
            <p:cNvSpPr/>
            <p:nvPr/>
          </p:nvSpPr>
          <p:spPr bwMode="auto">
            <a:xfrm rot="10800000" flipH="1" flipV="1">
              <a:off x="8550459" y="3689236"/>
              <a:ext cx="223945" cy="350928"/>
            </a:xfrm>
            <a:prstGeom prst="rightArrow">
              <a:avLst>
                <a:gd name="adj1" fmla="val 65452"/>
                <a:gd name="adj2" fmla="val 41815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55" name="오른쪽 화살표 654"/>
            <p:cNvSpPr/>
            <p:nvPr/>
          </p:nvSpPr>
          <p:spPr bwMode="auto">
            <a:xfrm rot="10800000" flipV="1">
              <a:off x="8385363" y="3689236"/>
              <a:ext cx="223945" cy="350928"/>
            </a:xfrm>
            <a:prstGeom prst="rightArrow">
              <a:avLst>
                <a:gd name="adj1" fmla="val 65452"/>
                <a:gd name="adj2" fmla="val 38991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656" name="그룹 655"/>
          <p:cNvGrpSpPr/>
          <p:nvPr/>
        </p:nvGrpSpPr>
        <p:grpSpPr>
          <a:xfrm>
            <a:off x="1926433" y="5090353"/>
            <a:ext cx="540000" cy="288000"/>
            <a:chOff x="8385363" y="3689236"/>
            <a:chExt cx="389041" cy="350928"/>
          </a:xfrm>
        </p:grpSpPr>
        <p:sp>
          <p:nvSpPr>
            <p:cNvPr id="657" name="오른쪽 화살표 656"/>
            <p:cNvSpPr/>
            <p:nvPr/>
          </p:nvSpPr>
          <p:spPr bwMode="auto">
            <a:xfrm rot="10800000" flipH="1" flipV="1">
              <a:off x="8550459" y="3689236"/>
              <a:ext cx="223945" cy="350928"/>
            </a:xfrm>
            <a:prstGeom prst="rightArrow">
              <a:avLst>
                <a:gd name="adj1" fmla="val 65452"/>
                <a:gd name="adj2" fmla="val 41815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658" name="오른쪽 화살표 657"/>
            <p:cNvSpPr/>
            <p:nvPr/>
          </p:nvSpPr>
          <p:spPr bwMode="auto">
            <a:xfrm rot="10800000" flipV="1">
              <a:off x="8385363" y="3689236"/>
              <a:ext cx="223945" cy="350928"/>
            </a:xfrm>
            <a:prstGeom prst="rightArrow">
              <a:avLst>
                <a:gd name="adj1" fmla="val 65452"/>
                <a:gd name="adj2" fmla="val 38991"/>
              </a:avLst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659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660" name="직사각형 659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2570197" y="4840119"/>
            <a:ext cx="1237326" cy="420595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grpSp>
        <p:nvGrpSpPr>
          <p:cNvPr id="661" name="그룹 660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2570335" y="5271601"/>
            <a:ext cx="1237326" cy="180000"/>
            <a:chOff x="1079497" y="6523914"/>
            <a:chExt cx="1440200" cy="252000"/>
          </a:xfrm>
        </p:grpSpPr>
        <p:sp>
          <p:nvSpPr>
            <p:cNvPr id="662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해외지점 관리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63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64" name="AutoShape 137" descr="90%"/>
          <p:cNvSpPr>
            <a:spLocks noChangeArrowheads="1"/>
          </p:cNvSpPr>
          <p:nvPr/>
        </p:nvSpPr>
        <p:spPr bwMode="auto">
          <a:xfrm>
            <a:off x="2598570" y="5038075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직원알기제도</a:t>
            </a:r>
            <a:r>
              <a:rPr kumimoji="1" lang="en-US" altLang="ko-KR" sz="800" b="1" i="0" u="none" strike="noStrike" kern="0" cap="none" normalizeH="0" baseline="0" noProof="0" dirty="0" smtClean="0">
                <a:ln w="0"/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KYE)</a:t>
            </a:r>
          </a:p>
        </p:txBody>
      </p:sp>
      <p:grpSp>
        <p:nvGrpSpPr>
          <p:cNvPr id="665" name="그룹 664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2562092" y="4822072"/>
            <a:ext cx="1237326" cy="180000"/>
            <a:chOff x="1079497" y="6523914"/>
            <a:chExt cx="1440200" cy="252000"/>
          </a:xfrm>
        </p:grpSpPr>
        <p:sp>
          <p:nvSpPr>
            <p:cNvPr id="666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직원알기제도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67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68" name="직사각형 667">
            <a:extLst>
              <a:ext uri="{FF2B5EF4-FFF2-40B4-BE49-F238E27FC236}">
                <a16:creationId xmlns:a16="http://schemas.microsoft.com/office/drawing/2014/main" id="{32910830-D387-4F2C-BC7E-B5E747AD4B03}"/>
              </a:ext>
            </a:extLst>
          </p:cNvPr>
          <p:cNvSpPr/>
          <p:nvPr/>
        </p:nvSpPr>
        <p:spPr>
          <a:xfrm>
            <a:off x="3845279" y="4832566"/>
            <a:ext cx="1237326" cy="864802"/>
          </a:xfrm>
          <a:prstGeom prst="rect">
            <a:avLst/>
          </a:prstGeom>
          <a:pattFill prst="dkUpDiag">
            <a:fgClr>
              <a:srgbClr val="FFFFFF"/>
            </a:fgClr>
            <a:bgClr>
              <a:srgbClr val="E6E6E6"/>
            </a:bgClr>
          </a:pattFill>
          <a:ln w="6350" algn="ctr">
            <a:solidFill>
              <a:srgbClr val="CDCDC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C4C4C4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sp>
        <p:nvSpPr>
          <p:cNvPr id="669" name="AutoShape 137" descr="90%"/>
          <p:cNvSpPr>
            <a:spLocks noChangeArrowheads="1"/>
          </p:cNvSpPr>
          <p:nvPr/>
        </p:nvSpPr>
        <p:spPr bwMode="auto">
          <a:xfrm>
            <a:off x="3882868" y="5040196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내부통제 이행점검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670" name="그룹 669">
            <a:extLst>
              <a:ext uri="{FF2B5EF4-FFF2-40B4-BE49-F238E27FC236}">
                <a16:creationId xmlns:a16="http://schemas.microsoft.com/office/drawing/2014/main" id="{E27A6194-6E3C-46AF-AAFF-6CBC13029DD6}"/>
              </a:ext>
            </a:extLst>
          </p:cNvPr>
          <p:cNvGrpSpPr/>
          <p:nvPr/>
        </p:nvGrpSpPr>
        <p:grpSpPr>
          <a:xfrm>
            <a:off x="3842104" y="4817673"/>
            <a:ext cx="1237326" cy="180000"/>
            <a:chOff x="1079497" y="6523914"/>
            <a:chExt cx="1440200" cy="252000"/>
          </a:xfrm>
        </p:grpSpPr>
        <p:sp>
          <p:nvSpPr>
            <p:cNvPr id="671" name="양쪽 모서리가 둥근 사각형 521">
              <a:extLst>
                <a:ext uri="{FF2B5EF4-FFF2-40B4-BE49-F238E27FC236}">
                  <a16:creationId xmlns:a16="http://schemas.microsoft.com/office/drawing/2014/main" id="{CA2B5521-4849-4CE0-AB2D-6F84764744BF}"/>
                </a:ext>
              </a:extLst>
            </p:cNvPr>
            <p:cNvSpPr/>
            <p:nvPr/>
          </p:nvSpPr>
          <p:spPr>
            <a:xfrm>
              <a:off x="1079497" y="6523914"/>
              <a:ext cx="1440000" cy="252000"/>
            </a:xfrm>
            <a:prstGeom prst="round2SameRect">
              <a:avLst>
                <a:gd name="adj1" fmla="val 26746"/>
                <a:gd name="adj2" fmla="val 0"/>
              </a:avLst>
            </a:prstGeom>
            <a:solidFill>
              <a:srgbClr val="22A8F0"/>
            </a:solidFill>
            <a:ln w="6350" algn="ctr">
              <a:solidFill>
                <a:srgbClr val="22A8F0"/>
              </a:solidFill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latinLnBrk="0"/>
              <a:r>
                <a:rPr lang="ko-KR" altLang="en-US" sz="110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내부통제</a:t>
              </a:r>
              <a:endPara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672" name="양쪽 모서리가 둥근 사각형 517">
              <a:extLst>
                <a:ext uri="{FF2B5EF4-FFF2-40B4-BE49-F238E27FC236}">
                  <a16:creationId xmlns:a16="http://schemas.microsoft.com/office/drawing/2014/main" id="{E24B0519-96E8-4BD3-B8B3-65BB82E4A02F}"/>
                </a:ext>
              </a:extLst>
            </p:cNvPr>
            <p:cNvSpPr/>
            <p:nvPr/>
          </p:nvSpPr>
          <p:spPr>
            <a:xfrm>
              <a:off x="1079537" y="6523914"/>
              <a:ext cx="1440160" cy="144016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bg1">
                    <a:alpha val="80000"/>
                  </a:schemeClr>
                </a:gs>
                <a:gs pos="45000">
                  <a:schemeClr val="bg1">
                    <a:alpha val="35000"/>
                  </a:schemeClr>
                </a:gs>
                <a:gs pos="83000">
                  <a:schemeClr val="bg1"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</p:grpSp>
      <p:sp>
        <p:nvSpPr>
          <p:cNvPr id="673" name="AutoShape 137" descr="90%"/>
          <p:cNvSpPr>
            <a:spLocks noChangeArrowheads="1"/>
          </p:cNvSpPr>
          <p:nvPr/>
        </p:nvSpPr>
        <p:spPr bwMode="auto">
          <a:xfrm>
            <a:off x="3882868" y="5269066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 성과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74" name="AutoShape 137" descr="90%"/>
          <p:cNvSpPr>
            <a:spLocks noChangeArrowheads="1"/>
          </p:cNvSpPr>
          <p:nvPr/>
        </p:nvSpPr>
        <p:spPr bwMode="auto">
          <a:xfrm>
            <a:off x="3882868" y="5490748"/>
            <a:ext cx="1164542" cy="180000"/>
          </a:xfrm>
          <a:prstGeom prst="roundRect">
            <a:avLst>
              <a:gd name="adj" fmla="val 9926"/>
            </a:avLst>
          </a:prstGeom>
          <a:solidFill>
            <a:srgbClr val="FFFFFF"/>
          </a:solidFill>
          <a:ln w="6350" cap="flat" cmpd="sng" algn="ctr">
            <a:gradFill>
              <a:gsLst>
                <a:gs pos="1000">
                  <a:srgbClr val="FFFFFF">
                    <a:lumMod val="75000"/>
                  </a:srgbClr>
                </a:gs>
                <a:gs pos="50000">
                  <a:srgbClr val="FFFFFF">
                    <a:lumMod val="50000"/>
                  </a:srgbClr>
                </a:gs>
                <a:gs pos="100000">
                  <a:srgbClr val="000000">
                    <a:lumMod val="75000"/>
                    <a:lumOff val="25000"/>
                  </a:srgbClr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1889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tabLst>
                <a:tab pos="3767698" algn="l"/>
              </a:tabLst>
              <a:defRPr/>
            </a:pPr>
            <a:r>
              <a:rPr kumimoji="1" lang="ko-KR" altLang="en-US" sz="800" b="1" kern="0" dirty="0" smtClean="0">
                <a:ln w="0"/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관리</a:t>
            </a:r>
            <a:endParaRPr kumimoji="1" lang="en-US" altLang="ko-KR" sz="800" b="1" kern="0" dirty="0">
              <a:ln w="0"/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98471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3 TO-BE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수립</a:t>
            </a:r>
            <a:r>
              <a:rPr lang="ko-KR" altLang="en-US" dirty="0" smtClean="0"/>
              <a:t> </a:t>
            </a:r>
            <a:r>
              <a:rPr lang="en-US" altLang="ko-KR" dirty="0" smtClean="0"/>
              <a:t>(1/3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거래 및 대상고객을 검토하여 고객 유형별 수집정보를 분류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를 개선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신규 계좌개설 및 일회성 금융거래 시 고객확인 의무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65" name="Text Box 22"/>
          <p:cNvSpPr txBox="1">
            <a:spLocks noChangeArrowheads="1"/>
          </p:cNvSpPr>
          <p:nvPr/>
        </p:nvSpPr>
        <p:spPr bwMode="auto">
          <a:xfrm>
            <a:off x="344488" y="2182332"/>
            <a:ext cx="699230" cy="4308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</a:extLst>
        </p:spPr>
        <p:txBody>
          <a:bodyPr wrap="none">
            <a:spAutoFit/>
          </a:bodyPr>
          <a:lstStyle>
            <a:lvl1pPr marL="180975" indent="-180975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가는각진제목체" panose="020B0600000101010101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Blip>
                <a:blip r:embed="rId2"/>
              </a:buBlip>
            </a:pPr>
            <a:r>
              <a:rPr lang="ko-KR" altLang="en-US" sz="1100" spc="-1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면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Blip>
                <a:blip r:embed="rId2"/>
              </a:buBlip>
            </a:pPr>
            <a:r>
              <a:rPr lang="ko-KR" altLang="en-US" sz="1100" spc="-1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대면</a:t>
            </a:r>
            <a:endParaRPr lang="en-US" altLang="ko-KR" sz="1100" spc="-1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9" name="Rectangle 21"/>
          <p:cNvSpPr>
            <a:spLocks noChangeArrowheads="1"/>
          </p:cNvSpPr>
          <p:nvPr/>
        </p:nvSpPr>
        <p:spPr bwMode="auto">
          <a:xfrm>
            <a:off x="4268924" y="2258102"/>
            <a:ext cx="1008000" cy="31264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일회성 금융 거래 요청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2" name="Rectangle 21"/>
          <p:cNvSpPr>
            <a:spLocks noChangeArrowheads="1"/>
          </p:cNvSpPr>
          <p:nvPr/>
        </p:nvSpPr>
        <p:spPr bwMode="auto">
          <a:xfrm>
            <a:off x="4268924" y="3908443"/>
            <a:ext cx="1008000" cy="31264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 완료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2" name="Rectangle 21"/>
          <p:cNvSpPr>
            <a:spLocks noChangeArrowheads="1"/>
          </p:cNvSpPr>
          <p:nvPr/>
        </p:nvSpPr>
        <p:spPr bwMode="auto">
          <a:xfrm>
            <a:off x="2360824" y="2260382"/>
            <a:ext cx="1008000" cy="31264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계좌 개설 요청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1" name="순서도: 판단 170"/>
          <p:cNvSpPr>
            <a:spLocks noChangeArrowheads="1"/>
          </p:cNvSpPr>
          <p:nvPr/>
        </p:nvSpPr>
        <p:spPr bwMode="gray">
          <a:xfrm>
            <a:off x="4268924" y="2780882"/>
            <a:ext cx="1008000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실명확인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대상 거래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3" name="Rectangle 23"/>
          <p:cNvSpPr>
            <a:spLocks noChangeArrowheads="1"/>
          </p:cNvSpPr>
          <p:nvPr/>
        </p:nvSpPr>
        <p:spPr bwMode="gray">
          <a:xfrm>
            <a:off x="2360824" y="2796514"/>
            <a:ext cx="1008000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신원 및 소유자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확인 및 검증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4" name="순서도: 판단 170"/>
          <p:cNvSpPr>
            <a:spLocks noChangeArrowheads="1"/>
          </p:cNvSpPr>
          <p:nvPr/>
        </p:nvSpPr>
        <p:spPr bwMode="gray">
          <a:xfrm>
            <a:off x="2360824" y="3332646"/>
            <a:ext cx="1008000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기존고객</a:t>
            </a:r>
            <a:r>
              <a:rPr lang="en-US" altLang="ko-KR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3" name="Rectangle 23"/>
          <p:cNvSpPr>
            <a:spLocks noChangeArrowheads="1"/>
          </p:cNvSpPr>
          <p:nvPr/>
        </p:nvSpPr>
        <p:spPr bwMode="gray">
          <a:xfrm>
            <a:off x="546813" y="3900042"/>
            <a:ext cx="1008000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객 수용 정책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4" name="순서도: 판단 170"/>
          <p:cNvSpPr>
            <a:spLocks noChangeArrowheads="1"/>
          </p:cNvSpPr>
          <p:nvPr/>
        </p:nvSpPr>
        <p:spPr bwMode="gray">
          <a:xfrm>
            <a:off x="2360824" y="3884410"/>
            <a:ext cx="1008000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W/L </a:t>
            </a: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필터링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일치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5" name="Rectangle 23"/>
          <p:cNvSpPr>
            <a:spLocks noChangeArrowheads="1"/>
          </p:cNvSpPr>
          <p:nvPr/>
        </p:nvSpPr>
        <p:spPr bwMode="gray">
          <a:xfrm>
            <a:off x="2360824" y="4436174"/>
            <a:ext cx="1008000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객위험평가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6" name="Rectangle 23"/>
          <p:cNvSpPr>
            <a:spLocks noChangeArrowheads="1"/>
          </p:cNvSpPr>
          <p:nvPr/>
        </p:nvSpPr>
        <p:spPr bwMode="gray">
          <a:xfrm>
            <a:off x="2360824" y="4956674"/>
            <a:ext cx="1008000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CDD </a:t>
            </a: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수행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8" name="Rectangle 23"/>
          <p:cNvSpPr>
            <a:spLocks noChangeArrowheads="1"/>
          </p:cNvSpPr>
          <p:nvPr/>
        </p:nvSpPr>
        <p:spPr bwMode="gray">
          <a:xfrm>
            <a:off x="2360824" y="6028935"/>
            <a:ext cx="1008000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추가 정보 수집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7" name="순서도: 판단 170"/>
          <p:cNvSpPr>
            <a:spLocks noChangeArrowheads="1"/>
          </p:cNvSpPr>
          <p:nvPr/>
        </p:nvSpPr>
        <p:spPr bwMode="gray">
          <a:xfrm>
            <a:off x="2360824" y="5477174"/>
            <a:ext cx="1008000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위험</a:t>
            </a:r>
            <a:endParaRPr lang="ko-KR" altLang="en-US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9" name="Rectangle 21"/>
          <p:cNvSpPr>
            <a:spLocks noChangeArrowheads="1"/>
          </p:cNvSpPr>
          <p:nvPr/>
        </p:nvSpPr>
        <p:spPr bwMode="auto">
          <a:xfrm>
            <a:off x="4268924" y="5492806"/>
            <a:ext cx="1008000" cy="31264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 완료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85" name="Line 189">
            <a:extLst>
              <a:ext uri="{FF2B5EF4-FFF2-40B4-BE49-F238E27FC236}">
                <a16:creationId xmlns:a16="http://schemas.microsoft.com/office/drawing/2014/main" id="{DA6E802F-A7AA-4696-8F49-8CE393B551E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763445" y="2570746"/>
            <a:ext cx="1" cy="210132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6000" rIns="72000" bIns="36000"/>
          <a:lstStyle/>
          <a:p>
            <a:endParaRPr lang="ko-KR" altLang="en-US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9" name="꺾인 연결선 8"/>
          <p:cNvCxnSpPr>
            <a:stCxn id="64" idx="1"/>
            <a:endCxn id="75" idx="1"/>
          </p:cNvCxnSpPr>
          <p:nvPr/>
        </p:nvCxnSpPr>
        <p:spPr>
          <a:xfrm rot="10800000" flipV="1">
            <a:off x="2360824" y="3504601"/>
            <a:ext cx="12700" cy="1087896"/>
          </a:xfrm>
          <a:prstGeom prst="bentConnector3">
            <a:avLst>
              <a:gd name="adj1" fmla="val 1800000"/>
            </a:avLst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꺾인 연결선 97"/>
          <p:cNvCxnSpPr>
            <a:stCxn id="78" idx="3"/>
            <a:endCxn id="79" idx="2"/>
          </p:cNvCxnSpPr>
          <p:nvPr/>
        </p:nvCxnSpPr>
        <p:spPr>
          <a:xfrm flipV="1">
            <a:off x="3368824" y="5805451"/>
            <a:ext cx="1404100" cy="379807"/>
          </a:xfrm>
          <a:prstGeom prst="bentConnector2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직선 화살표 연결선 14"/>
          <p:cNvCxnSpPr>
            <a:stCxn id="75" idx="2"/>
            <a:endCxn id="76" idx="0"/>
          </p:cNvCxnSpPr>
          <p:nvPr/>
        </p:nvCxnSpPr>
        <p:spPr>
          <a:xfrm>
            <a:off x="2864824" y="4748819"/>
            <a:ext cx="0" cy="20785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직선 화살표 연결선 102"/>
          <p:cNvCxnSpPr>
            <a:stCxn id="74" idx="2"/>
            <a:endCxn id="75" idx="0"/>
          </p:cNvCxnSpPr>
          <p:nvPr/>
        </p:nvCxnSpPr>
        <p:spPr>
          <a:xfrm>
            <a:off x="2864824" y="4228319"/>
            <a:ext cx="0" cy="20785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" name="직선 화살표 연결선 103"/>
          <p:cNvCxnSpPr>
            <a:stCxn id="63" idx="2"/>
            <a:endCxn id="64" idx="0"/>
          </p:cNvCxnSpPr>
          <p:nvPr/>
        </p:nvCxnSpPr>
        <p:spPr>
          <a:xfrm>
            <a:off x="2864824" y="3109159"/>
            <a:ext cx="0" cy="223487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" name="직선 화살표 연결선 104"/>
          <p:cNvCxnSpPr>
            <a:stCxn id="74" idx="1"/>
            <a:endCxn id="73" idx="3"/>
          </p:cNvCxnSpPr>
          <p:nvPr/>
        </p:nvCxnSpPr>
        <p:spPr>
          <a:xfrm flipH="1">
            <a:off x="1554813" y="4056365"/>
            <a:ext cx="806011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" name="직선 화살표 연결선 105"/>
          <p:cNvCxnSpPr>
            <a:stCxn id="71" idx="1"/>
            <a:endCxn id="63" idx="3"/>
          </p:cNvCxnSpPr>
          <p:nvPr/>
        </p:nvCxnSpPr>
        <p:spPr>
          <a:xfrm flipH="1">
            <a:off x="3368824" y="2952837"/>
            <a:ext cx="900100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" name="직선 화살표 연결선 106"/>
          <p:cNvCxnSpPr>
            <a:stCxn id="62" idx="2"/>
            <a:endCxn id="63" idx="0"/>
          </p:cNvCxnSpPr>
          <p:nvPr/>
        </p:nvCxnSpPr>
        <p:spPr>
          <a:xfrm>
            <a:off x="2864824" y="2573027"/>
            <a:ext cx="0" cy="223487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직선 화살표 연결선 107"/>
          <p:cNvCxnSpPr>
            <a:endCxn id="69" idx="3"/>
          </p:cNvCxnSpPr>
          <p:nvPr/>
        </p:nvCxnSpPr>
        <p:spPr>
          <a:xfrm flipH="1">
            <a:off x="5276924" y="2414424"/>
            <a:ext cx="680515" cy="1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직선 화살표 연결선 108"/>
          <p:cNvCxnSpPr>
            <a:endCxn id="62" idx="1"/>
          </p:cNvCxnSpPr>
          <p:nvPr/>
        </p:nvCxnSpPr>
        <p:spPr>
          <a:xfrm flipV="1">
            <a:off x="1369859" y="2416705"/>
            <a:ext cx="990965" cy="14224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2" name="Picture 25" descr="icon_사람과돈자루_짙은"/>
          <p:cNvPicPr>
            <a:picLocks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659" y="2175360"/>
            <a:ext cx="633650" cy="45782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25" descr="icon_사람과돈자루_짙은"/>
          <p:cNvPicPr>
            <a:picLocks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092" y="2168860"/>
            <a:ext cx="633650" cy="45782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2" name="직선 화살표 연결선 131"/>
          <p:cNvCxnSpPr>
            <a:stCxn id="71" idx="2"/>
            <a:endCxn id="72" idx="0"/>
          </p:cNvCxnSpPr>
          <p:nvPr/>
        </p:nvCxnSpPr>
        <p:spPr>
          <a:xfrm>
            <a:off x="4772924" y="3124791"/>
            <a:ext cx="0" cy="783652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3" name="직선 화살표 연결선 132"/>
          <p:cNvCxnSpPr>
            <a:stCxn id="77" idx="3"/>
            <a:endCxn id="79" idx="1"/>
          </p:cNvCxnSpPr>
          <p:nvPr/>
        </p:nvCxnSpPr>
        <p:spPr>
          <a:xfrm>
            <a:off x="3368824" y="5649129"/>
            <a:ext cx="900100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4" name="직선 화살표 연결선 133"/>
          <p:cNvCxnSpPr>
            <a:stCxn id="77" idx="2"/>
            <a:endCxn id="78" idx="0"/>
          </p:cNvCxnSpPr>
          <p:nvPr/>
        </p:nvCxnSpPr>
        <p:spPr>
          <a:xfrm>
            <a:off x="2864824" y="5821083"/>
            <a:ext cx="0" cy="207852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직선 화살표 연결선 134"/>
          <p:cNvCxnSpPr>
            <a:stCxn id="76" idx="2"/>
            <a:endCxn id="77" idx="0"/>
          </p:cNvCxnSpPr>
          <p:nvPr/>
        </p:nvCxnSpPr>
        <p:spPr>
          <a:xfrm>
            <a:off x="2864824" y="5269319"/>
            <a:ext cx="0" cy="20785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87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1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신규계좌개설 및 일회성 고객확인 고려대상</a:t>
                </a:r>
              </a:p>
            </p:txBody>
          </p:sp>
          <p:sp>
            <p:nvSpPr>
              <p:cNvPr id="88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113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14923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확인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상거래</a:t>
            </a: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상고객</a:t>
            </a:r>
          </a:p>
        </p:txBody>
      </p:sp>
      <p:sp>
        <p:nvSpPr>
          <p:cNvPr id="114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055371" cy="3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유형별 고객확인 대상거래 검토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유형별 고객확인 대상고객 검토</a:t>
            </a:r>
          </a:p>
        </p:txBody>
      </p:sp>
      <p:sp>
        <p:nvSpPr>
          <p:cNvPr id="11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672905"/>
            <a:ext cx="135710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원확인 및 검증절차 개선</a:t>
            </a:r>
          </a:p>
        </p:txBody>
      </p:sp>
      <p:sp>
        <p:nvSpPr>
          <p:cNvPr id="117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3937426"/>
            <a:ext cx="205537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채널별 신원확인 및 검증방법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토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개선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18" name="직선 연결선 117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430351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19" name="그림 118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120" name="그림 119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3487" y="3667326"/>
            <a:ext cx="318769" cy="318769"/>
          </a:xfrm>
          <a:prstGeom prst="rect">
            <a:avLst/>
          </a:prstGeom>
        </p:spPr>
      </p:pic>
      <p:sp>
        <p:nvSpPr>
          <p:cNvPr id="121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6063" y="4526086"/>
            <a:ext cx="153151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DD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집정보</a:t>
            </a: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프로세스 개선</a:t>
            </a:r>
          </a:p>
        </p:txBody>
      </p:sp>
      <p:sp>
        <p:nvSpPr>
          <p:cNvPr id="122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46063" y="4790607"/>
            <a:ext cx="2055371" cy="3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유형 구분 및 수집정보 분류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 프로세스 개선</a:t>
            </a:r>
          </a:p>
        </p:txBody>
      </p:sp>
      <p:cxnSp>
        <p:nvCxnSpPr>
          <p:cNvPr id="123" name="직선 연결선 122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41593" y="428353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26" name="그림 125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9258" y="4525315"/>
            <a:ext cx="320400" cy="320400"/>
          </a:xfrm>
          <a:prstGeom prst="rect">
            <a:avLst/>
          </a:prstGeom>
        </p:spPr>
      </p:pic>
      <p:sp>
        <p:nvSpPr>
          <p:cNvPr id="127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6063" y="5575113"/>
            <a:ext cx="102175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LF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방안 개선</a:t>
            </a:r>
          </a:p>
        </p:txBody>
      </p:sp>
      <p:sp>
        <p:nvSpPr>
          <p:cNvPr id="128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46063" y="5839634"/>
            <a:ext cx="2055371" cy="3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WL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 리스트 검토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WL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절차 검토</a:t>
            </a:r>
          </a:p>
        </p:txBody>
      </p:sp>
      <p:cxnSp>
        <p:nvCxnSpPr>
          <p:cNvPr id="129" name="직선 연결선 12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69963" y="5332559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36" name="그림 135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9258" y="5570954"/>
            <a:ext cx="320400" cy="320400"/>
          </a:xfrm>
          <a:prstGeom prst="rect">
            <a:avLst/>
          </a:prstGeom>
        </p:spPr>
      </p:pic>
      <p:sp>
        <p:nvSpPr>
          <p:cNvPr id="6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67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564053" y="206538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cxnSp>
        <p:nvCxnSpPr>
          <p:cNvPr id="68" name="직선 화살표 연결선 67"/>
          <p:cNvCxnSpPr>
            <a:stCxn id="64" idx="2"/>
            <a:endCxn id="74" idx="0"/>
          </p:cNvCxnSpPr>
          <p:nvPr/>
        </p:nvCxnSpPr>
        <p:spPr>
          <a:xfrm>
            <a:off x="2864824" y="3676555"/>
            <a:ext cx="0" cy="20785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4118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3.2 </a:t>
            </a:r>
            <a:r>
              <a:rPr lang="ko-KR" altLang="en-US" dirty="0"/>
              <a:t>성능 </a:t>
            </a:r>
            <a:r>
              <a:rPr lang="ko-KR" altLang="en-US" dirty="0" smtClean="0"/>
              <a:t>테스트 구성 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정성 및 신뢰성을 확보하기 위하여 시스템에 대한 객관적인 검증이 반드시 필요하며 이에 시스템의 기능 및 성능을 검증하기 위해 성능 테스트 도구를 통해 솔루션 성능을 평가하여 안정적인 운영을 보장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테스트 구성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성능 테스트 방안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44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310048" y="2187536"/>
            <a:ext cx="1768301" cy="169277"/>
            <a:chOff x="307914" y="1927833"/>
            <a:chExt cx="1768301" cy="169277"/>
          </a:xfrm>
        </p:grpSpPr>
        <p:sp>
          <p:nvSpPr>
            <p:cNvPr id="45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1551707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테스트 환경 구성 계획</a:t>
              </a:r>
            </a:p>
          </p:txBody>
        </p:sp>
        <p:grpSp>
          <p:nvGrpSpPr>
            <p:cNvPr id="56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57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59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  <p:sp>
              <p:nvSpPr>
                <p:cNvPr id="60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</p:grpSp>
          <p:sp>
            <p:nvSpPr>
              <p:cNvPr id="58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/>
              </a:p>
            </p:txBody>
          </p:sp>
        </p:grpSp>
      </p:grpSp>
      <p:grpSp>
        <p:nvGrpSpPr>
          <p:cNvPr id="61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4878682" y="2187536"/>
            <a:ext cx="1931807" cy="169277"/>
            <a:chOff x="307914" y="1927833"/>
            <a:chExt cx="1931807" cy="169277"/>
          </a:xfrm>
        </p:grpSpPr>
        <p:sp>
          <p:nvSpPr>
            <p:cNvPr id="62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171521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테스트 종류 및 평가 방법</a:t>
              </a:r>
            </a:p>
          </p:txBody>
        </p:sp>
        <p:grpSp>
          <p:nvGrpSpPr>
            <p:cNvPr id="63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64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66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  <p:sp>
              <p:nvSpPr>
                <p:cNvPr id="67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</p:grpSp>
          <p:sp>
            <p:nvSpPr>
              <p:cNvPr id="65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/>
              </a:p>
            </p:txBody>
          </p:sp>
        </p:grpSp>
      </p:grpSp>
      <p:sp>
        <p:nvSpPr>
          <p:cNvPr id="68" name="Freeform 284"/>
          <p:cNvSpPr>
            <a:spLocks/>
          </p:cNvSpPr>
          <p:nvPr/>
        </p:nvSpPr>
        <p:spPr bwMode="auto">
          <a:xfrm>
            <a:off x="1615472" y="4942694"/>
            <a:ext cx="549912" cy="447406"/>
          </a:xfrm>
          <a:custGeom>
            <a:avLst/>
            <a:gdLst>
              <a:gd name="T0" fmla="*/ 0 w 453"/>
              <a:gd name="T1" fmla="*/ 0 h 136"/>
              <a:gd name="T2" fmla="*/ 856852695 w 453"/>
              <a:gd name="T3" fmla="*/ 0 h 136"/>
              <a:gd name="T4" fmla="*/ 229333303 w 453"/>
              <a:gd name="T5" fmla="*/ 342741195 h 136"/>
              <a:gd name="T6" fmla="*/ 1141629283 w 453"/>
              <a:gd name="T7" fmla="*/ 342741195 h 136"/>
              <a:gd name="T8" fmla="*/ 0 60000 65536"/>
              <a:gd name="T9" fmla="*/ 0 60000 65536"/>
              <a:gd name="T10" fmla="*/ 0 60000 65536"/>
              <a:gd name="T11" fmla="*/ 0 60000 65536"/>
              <a:gd name="T12" fmla="*/ 0 w 453"/>
              <a:gd name="T13" fmla="*/ 0 h 136"/>
              <a:gd name="T14" fmla="*/ 453 w 453"/>
              <a:gd name="T15" fmla="*/ 136 h 1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53" h="136">
                <a:moveTo>
                  <a:pt x="0" y="0"/>
                </a:moveTo>
                <a:lnTo>
                  <a:pt x="340" y="0"/>
                </a:lnTo>
                <a:lnTo>
                  <a:pt x="91" y="136"/>
                </a:lnTo>
                <a:lnTo>
                  <a:pt x="453" y="136"/>
                </a:lnTo>
              </a:path>
            </a:pathLst>
          </a:custGeom>
          <a:noFill/>
          <a:ln w="6350" algn="ctr">
            <a:solidFill>
              <a:srgbClr val="B2B2B2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81618" tIns="40809" rIns="81618" bIns="40809" anchor="ctr"/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9" name="Freeform 269"/>
          <p:cNvSpPr>
            <a:spLocks/>
          </p:cNvSpPr>
          <p:nvPr/>
        </p:nvSpPr>
        <p:spPr bwMode="auto">
          <a:xfrm>
            <a:off x="1945662" y="3421966"/>
            <a:ext cx="1068989" cy="704749"/>
          </a:xfrm>
          <a:custGeom>
            <a:avLst/>
            <a:gdLst>
              <a:gd name="T0" fmla="*/ 0 w 953"/>
              <a:gd name="T1" fmla="*/ 0 h 249"/>
              <a:gd name="T2" fmla="*/ 685482296 w 953"/>
              <a:gd name="T3" fmla="*/ 0 h 249"/>
              <a:gd name="T4" fmla="*/ 325099271 w 953"/>
              <a:gd name="T5" fmla="*/ 168037755 h 249"/>
              <a:gd name="T6" fmla="*/ 2147483646 w 953"/>
              <a:gd name="T7" fmla="*/ 168037755 h 249"/>
              <a:gd name="T8" fmla="*/ 0 60000 65536"/>
              <a:gd name="T9" fmla="*/ 0 60000 65536"/>
              <a:gd name="T10" fmla="*/ 0 60000 65536"/>
              <a:gd name="T11" fmla="*/ 0 60000 65536"/>
              <a:gd name="T12" fmla="*/ 0 w 953"/>
              <a:gd name="T13" fmla="*/ 0 h 249"/>
              <a:gd name="T14" fmla="*/ 953 w 953"/>
              <a:gd name="T15" fmla="*/ 249 h 24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53" h="249">
                <a:moveTo>
                  <a:pt x="0" y="0"/>
                </a:moveTo>
                <a:lnTo>
                  <a:pt x="272" y="0"/>
                </a:lnTo>
                <a:lnTo>
                  <a:pt x="129" y="249"/>
                </a:lnTo>
                <a:lnTo>
                  <a:pt x="953" y="249"/>
                </a:lnTo>
              </a:path>
            </a:pathLst>
          </a:custGeom>
          <a:noFill/>
          <a:ln w="6350" algn="ctr">
            <a:solidFill>
              <a:srgbClr val="26679E"/>
            </a:solidFill>
            <a:prstDash val="solid"/>
            <a:miter lim="800000"/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70" name="그룹 69"/>
          <p:cNvGrpSpPr/>
          <p:nvPr/>
        </p:nvGrpSpPr>
        <p:grpSpPr>
          <a:xfrm>
            <a:off x="592751" y="3153755"/>
            <a:ext cx="1407839" cy="505509"/>
            <a:chOff x="-4788383" y="5166618"/>
            <a:chExt cx="2090155" cy="688975"/>
          </a:xfrm>
        </p:grpSpPr>
        <p:pic>
          <p:nvPicPr>
            <p:cNvPr id="71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r="87819"/>
            <a:stretch/>
          </p:blipFill>
          <p:spPr bwMode="auto">
            <a:xfrm>
              <a:off x="-4788383" y="5166618"/>
              <a:ext cx="666549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l="9972" r="8278"/>
            <a:stretch/>
          </p:blipFill>
          <p:spPr bwMode="auto">
            <a:xfrm>
              <a:off x="-4133615" y="5166618"/>
              <a:ext cx="936104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3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l="90772"/>
            <a:stretch/>
          </p:blipFill>
          <p:spPr bwMode="auto">
            <a:xfrm>
              <a:off x="-3203171" y="5166618"/>
              <a:ext cx="504943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4" name="그룹 73"/>
          <p:cNvGrpSpPr/>
          <p:nvPr/>
        </p:nvGrpSpPr>
        <p:grpSpPr>
          <a:xfrm>
            <a:off x="344360" y="4667878"/>
            <a:ext cx="1407839" cy="505509"/>
            <a:chOff x="-4788383" y="5166618"/>
            <a:chExt cx="2090155" cy="688975"/>
          </a:xfrm>
        </p:grpSpPr>
        <p:pic>
          <p:nvPicPr>
            <p:cNvPr id="75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r="87819"/>
            <a:stretch/>
          </p:blipFill>
          <p:spPr bwMode="auto">
            <a:xfrm>
              <a:off x="-4788383" y="5166618"/>
              <a:ext cx="666549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6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l="9972" r="8278"/>
            <a:stretch/>
          </p:blipFill>
          <p:spPr bwMode="auto">
            <a:xfrm>
              <a:off x="-4118375" y="5166618"/>
              <a:ext cx="936104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7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l="90772"/>
            <a:stretch/>
          </p:blipFill>
          <p:spPr bwMode="auto">
            <a:xfrm>
              <a:off x="-3203171" y="5166618"/>
              <a:ext cx="504943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9" name="그룹 78"/>
          <p:cNvGrpSpPr/>
          <p:nvPr/>
        </p:nvGrpSpPr>
        <p:grpSpPr>
          <a:xfrm>
            <a:off x="2953965" y="3939261"/>
            <a:ext cx="1794556" cy="425999"/>
            <a:chOff x="-4788383" y="5166618"/>
            <a:chExt cx="2664296" cy="688975"/>
          </a:xfrm>
        </p:grpSpPr>
        <p:pic>
          <p:nvPicPr>
            <p:cNvPr id="80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r="87819"/>
            <a:stretch/>
          </p:blipFill>
          <p:spPr bwMode="auto">
            <a:xfrm>
              <a:off x="-4788383" y="5166618"/>
              <a:ext cx="666549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1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l="9972" r="8278"/>
            <a:stretch/>
          </p:blipFill>
          <p:spPr bwMode="auto">
            <a:xfrm>
              <a:off x="-4123651" y="5166618"/>
              <a:ext cx="1495508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2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l="90772"/>
            <a:stretch/>
          </p:blipFill>
          <p:spPr bwMode="auto">
            <a:xfrm>
              <a:off x="-2629030" y="5166618"/>
              <a:ext cx="504943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3" name="LcS125"/>
          <p:cNvSpPr>
            <a:spLocks noChangeArrowheads="1"/>
          </p:cNvSpPr>
          <p:nvPr/>
        </p:nvSpPr>
        <p:spPr bwMode="auto">
          <a:xfrm>
            <a:off x="3334730" y="4149080"/>
            <a:ext cx="104676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latinLnBrk="0">
              <a:buClr>
                <a:srgbClr val="4D5F76"/>
              </a:buClr>
              <a:buSzPct val="70000"/>
              <a:buFont typeface="Yoon 윤고딕 520_TT" panose="02090603020101020101" pitchFamily="18" charset="-127"/>
              <a:buNone/>
            </a:pPr>
            <a:r>
              <a:rPr lang="ko-KR" altLang="en-US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금세탁방지시스템</a:t>
            </a:r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4" name="LcS125"/>
          <p:cNvSpPr>
            <a:spLocks noChangeArrowheads="1"/>
          </p:cNvSpPr>
          <p:nvPr/>
        </p:nvSpPr>
        <p:spPr bwMode="auto">
          <a:xfrm>
            <a:off x="1056538" y="3421966"/>
            <a:ext cx="4841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latinLnBrk="0">
              <a:buClr>
                <a:srgbClr val="4D5F76"/>
              </a:buClr>
              <a:buSzPct val="70000"/>
              <a:buFont typeface="Yoon 윤고딕 520_TT" panose="02090603020101020101" pitchFamily="18" charset="-127"/>
              <a:buNone/>
            </a:pPr>
            <a:r>
              <a:rPr lang="ko-KR" altLang="en-US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실 사용자</a:t>
            </a:r>
            <a:endParaRPr lang="en-US" altLang="ko-KR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6" name="LcShp 31"/>
          <p:cNvSpPr txBox="1">
            <a:spLocks noChangeArrowheads="1"/>
          </p:cNvSpPr>
          <p:nvPr/>
        </p:nvSpPr>
        <p:spPr bwMode="auto">
          <a:xfrm>
            <a:off x="2359613" y="3959527"/>
            <a:ext cx="522579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algn="l" fontAlgn="ctr" latinLnBrk="0">
              <a:lnSpc>
                <a:spcPct val="90000"/>
              </a:lnSpc>
              <a:buClr>
                <a:srgbClr val="666666"/>
              </a:buClr>
              <a:buFont typeface="Wingdings" panose="05000000000000000000" pitchFamily="2" charset="2"/>
              <a:buNone/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청</a:t>
            </a:r>
            <a:r>
              <a:rPr lang="en-US" altLang="ko-KR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응답</a:t>
            </a:r>
            <a:endParaRPr lang="en-US" altLang="ko-KR" sz="9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8" name="Freeform 272"/>
          <p:cNvSpPr>
            <a:spLocks/>
          </p:cNvSpPr>
          <p:nvPr/>
        </p:nvSpPr>
        <p:spPr bwMode="auto">
          <a:xfrm>
            <a:off x="651609" y="4221110"/>
            <a:ext cx="2368382" cy="352374"/>
          </a:xfrm>
          <a:custGeom>
            <a:avLst/>
            <a:gdLst>
              <a:gd name="T0" fmla="*/ 0 w 1951"/>
              <a:gd name="T1" fmla="*/ 516633663 h 205"/>
              <a:gd name="T2" fmla="*/ 375502432 w 1951"/>
              <a:gd name="T3" fmla="*/ 0 h 205"/>
              <a:gd name="T4" fmla="*/ 2147483646 w 1951"/>
              <a:gd name="T5" fmla="*/ 2520954 h 205"/>
              <a:gd name="T6" fmla="*/ 0 60000 65536"/>
              <a:gd name="T7" fmla="*/ 0 60000 65536"/>
              <a:gd name="T8" fmla="*/ 0 60000 65536"/>
              <a:gd name="T9" fmla="*/ 0 w 1951"/>
              <a:gd name="T10" fmla="*/ 0 h 205"/>
              <a:gd name="T11" fmla="*/ 1951 w 1951"/>
              <a:gd name="T12" fmla="*/ 205 h 2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51" h="205">
                <a:moveTo>
                  <a:pt x="0" y="205"/>
                </a:moveTo>
                <a:lnTo>
                  <a:pt x="149" y="0"/>
                </a:lnTo>
                <a:lnTo>
                  <a:pt x="1951" y="1"/>
                </a:lnTo>
              </a:path>
            </a:pathLst>
          </a:custGeom>
          <a:noFill/>
          <a:ln w="12700" algn="ctr">
            <a:solidFill>
              <a:srgbClr val="CC0000"/>
            </a:solidFill>
            <a:prstDash val="solid"/>
            <a:miter lim="800000"/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9" name="Line 273"/>
          <p:cNvSpPr>
            <a:spLocks noChangeShapeType="1"/>
          </p:cNvSpPr>
          <p:nvPr/>
        </p:nvSpPr>
        <p:spPr bwMode="auto">
          <a:xfrm flipV="1">
            <a:off x="877401" y="4221110"/>
            <a:ext cx="180876" cy="369564"/>
          </a:xfrm>
          <a:prstGeom prst="line">
            <a:avLst/>
          </a:prstGeom>
          <a:noFill/>
          <a:ln w="12700" algn="ctr">
            <a:solidFill>
              <a:srgbClr val="CC0000"/>
            </a:solidFill>
            <a:prstDash val="solid"/>
            <a:miter lim="800000"/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0" name="Line 274"/>
          <p:cNvSpPr>
            <a:spLocks noChangeShapeType="1"/>
          </p:cNvSpPr>
          <p:nvPr/>
        </p:nvSpPr>
        <p:spPr bwMode="auto">
          <a:xfrm flipV="1">
            <a:off x="1078914" y="4221110"/>
            <a:ext cx="180876" cy="369564"/>
          </a:xfrm>
          <a:prstGeom prst="line">
            <a:avLst/>
          </a:prstGeom>
          <a:noFill/>
          <a:ln w="12700" algn="ctr">
            <a:solidFill>
              <a:srgbClr val="CC0000"/>
            </a:solidFill>
            <a:prstDash val="solid"/>
            <a:miter lim="800000"/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1" name="Line 275"/>
          <p:cNvSpPr>
            <a:spLocks noChangeShapeType="1"/>
          </p:cNvSpPr>
          <p:nvPr/>
        </p:nvSpPr>
        <p:spPr bwMode="auto">
          <a:xfrm flipV="1">
            <a:off x="1285282" y="4221110"/>
            <a:ext cx="180876" cy="369564"/>
          </a:xfrm>
          <a:prstGeom prst="line">
            <a:avLst/>
          </a:prstGeom>
          <a:noFill/>
          <a:ln w="12700" algn="ctr">
            <a:solidFill>
              <a:srgbClr val="CC0000"/>
            </a:solidFill>
            <a:prstDash val="solid"/>
            <a:miter lim="800000"/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2" name="Line 276"/>
          <p:cNvSpPr>
            <a:spLocks noChangeShapeType="1"/>
          </p:cNvSpPr>
          <p:nvPr/>
        </p:nvSpPr>
        <p:spPr bwMode="auto">
          <a:xfrm flipV="1">
            <a:off x="1491651" y="4221110"/>
            <a:ext cx="180876" cy="369564"/>
          </a:xfrm>
          <a:prstGeom prst="line">
            <a:avLst/>
          </a:prstGeom>
          <a:noFill/>
          <a:ln w="12700" algn="ctr">
            <a:solidFill>
              <a:srgbClr val="CC0000"/>
            </a:solidFill>
            <a:prstDash val="solid"/>
            <a:miter lim="800000"/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3" name="LcS125"/>
          <p:cNvSpPr>
            <a:spLocks noChangeArrowheads="1"/>
          </p:cNvSpPr>
          <p:nvPr/>
        </p:nvSpPr>
        <p:spPr bwMode="auto">
          <a:xfrm>
            <a:off x="740532" y="4936264"/>
            <a:ext cx="48571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latinLnBrk="0">
              <a:buClr>
                <a:srgbClr val="4D5F76"/>
              </a:buClr>
              <a:buSzPct val="70000"/>
              <a:buFont typeface="Yoon 윤고딕 520_TT" panose="02090603020101020101" pitchFamily="18" charset="-127"/>
              <a:buNone/>
            </a:pPr>
            <a:r>
              <a:rPr lang="ko-KR" altLang="en-US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가상 유저</a:t>
            </a:r>
            <a:endParaRPr lang="en-US" altLang="ko-KR" b="1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C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4" name="LcS125"/>
          <p:cNvSpPr>
            <a:spLocks noChangeArrowheads="1"/>
          </p:cNvSpPr>
          <p:nvPr/>
        </p:nvSpPr>
        <p:spPr bwMode="auto">
          <a:xfrm>
            <a:off x="585322" y="5157192"/>
            <a:ext cx="59792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latinLnBrk="0">
              <a:buClr>
                <a:srgbClr val="4D5F76"/>
              </a:buClr>
              <a:buSzPct val="70000"/>
              <a:buFont typeface="Yoon 윤고딕 520_TT" panose="02090603020101020101" pitchFamily="18" charset="-127"/>
              <a:buNone/>
            </a:pPr>
            <a:r>
              <a:rPr lang="ko-KR" altLang="en-US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하 </a:t>
            </a:r>
            <a:r>
              <a:rPr lang="ko-KR" altLang="en-US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생기</a:t>
            </a:r>
            <a:endParaRPr lang="en-US" altLang="ko-KR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5" name="LcShp 31"/>
          <p:cNvSpPr txBox="1">
            <a:spLocks noChangeArrowheads="1"/>
          </p:cNvSpPr>
          <p:nvPr/>
        </p:nvSpPr>
        <p:spPr bwMode="auto">
          <a:xfrm>
            <a:off x="2227351" y="4264196"/>
            <a:ext cx="522579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algn="l" fontAlgn="ctr" latinLnBrk="0">
              <a:lnSpc>
                <a:spcPct val="90000"/>
              </a:lnSpc>
              <a:buClr>
                <a:srgbClr val="666666"/>
              </a:buClr>
              <a:buFont typeface="Wingdings" panose="05000000000000000000" pitchFamily="2" charset="2"/>
              <a:buNone/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청 </a:t>
            </a:r>
            <a:r>
              <a:rPr lang="en-US" altLang="ko-KR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응답</a:t>
            </a:r>
            <a:endParaRPr lang="en-US" altLang="ko-KR" sz="9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6" name="Freeform 278"/>
          <p:cNvSpPr>
            <a:spLocks/>
          </p:cNvSpPr>
          <p:nvPr/>
        </p:nvSpPr>
        <p:spPr bwMode="auto">
          <a:xfrm>
            <a:off x="2688588" y="4292098"/>
            <a:ext cx="1615738" cy="1035727"/>
          </a:xfrm>
          <a:custGeom>
            <a:avLst/>
            <a:gdLst>
              <a:gd name="T0" fmla="*/ 0 w 1339"/>
              <a:gd name="T1" fmla="*/ 1600300588 h 635"/>
              <a:gd name="T2" fmla="*/ 2147483646 w 1339"/>
              <a:gd name="T3" fmla="*/ 1600300588 h 635"/>
              <a:gd name="T4" fmla="*/ 2147483646 w 1339"/>
              <a:gd name="T5" fmla="*/ 0 h 635"/>
              <a:gd name="T6" fmla="*/ 0 60000 65536"/>
              <a:gd name="T7" fmla="*/ 0 60000 65536"/>
              <a:gd name="T8" fmla="*/ 0 60000 65536"/>
              <a:gd name="T9" fmla="*/ 0 w 1339"/>
              <a:gd name="T10" fmla="*/ 0 h 635"/>
              <a:gd name="T11" fmla="*/ 1339 w 1339"/>
              <a:gd name="T12" fmla="*/ 635 h 63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39" h="635">
                <a:moveTo>
                  <a:pt x="0" y="635"/>
                </a:moveTo>
                <a:lnTo>
                  <a:pt x="908" y="635"/>
                </a:lnTo>
                <a:lnTo>
                  <a:pt x="1339" y="0"/>
                </a:lnTo>
              </a:path>
            </a:pathLst>
          </a:custGeom>
          <a:noFill/>
          <a:ln w="12700" algn="ctr">
            <a:solidFill>
              <a:srgbClr val="CC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8" name="Line 281"/>
          <p:cNvSpPr>
            <a:spLocks noChangeShapeType="1"/>
          </p:cNvSpPr>
          <p:nvPr/>
        </p:nvSpPr>
        <p:spPr bwMode="auto">
          <a:xfrm flipV="1">
            <a:off x="3044788" y="4315400"/>
            <a:ext cx="547758" cy="1015889"/>
          </a:xfrm>
          <a:prstGeom prst="line">
            <a:avLst/>
          </a:prstGeom>
          <a:noFill/>
          <a:ln w="12700" algn="ctr">
            <a:solidFill>
              <a:srgbClr val="CC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tIns="0" bIns="0" anchor="ctr">
            <a:noAutofit/>
          </a:bodyPr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9" name="LcShp 31"/>
          <p:cNvSpPr txBox="1">
            <a:spLocks noChangeArrowheads="1"/>
          </p:cNvSpPr>
          <p:nvPr/>
        </p:nvSpPr>
        <p:spPr bwMode="auto">
          <a:xfrm>
            <a:off x="3019992" y="5383046"/>
            <a:ext cx="410369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algn="l" fontAlgn="ctr" latinLnBrk="0">
              <a:lnSpc>
                <a:spcPct val="90000"/>
              </a:lnSpc>
              <a:buClr>
                <a:srgbClr val="666666"/>
              </a:buClr>
              <a:buFont typeface="Wingdings" panose="05000000000000000000" pitchFamily="2" charset="2"/>
              <a:buNone/>
            </a:pP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니터링</a:t>
            </a:r>
            <a:endParaRPr lang="en-US" altLang="ko-KR" sz="9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00" name="그룹 99"/>
          <p:cNvGrpSpPr/>
          <p:nvPr/>
        </p:nvGrpSpPr>
        <p:grpSpPr>
          <a:xfrm>
            <a:off x="830404" y="3068950"/>
            <a:ext cx="948162" cy="353857"/>
            <a:chOff x="1512317" y="4482542"/>
            <a:chExt cx="1407694" cy="572298"/>
          </a:xfrm>
        </p:grpSpPr>
        <p:pic>
          <p:nvPicPr>
            <p:cNvPr id="101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1512317" y="448254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1860356" y="448254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2208395" y="448254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2556433" y="448254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5" name="그룹 104"/>
          <p:cNvGrpSpPr/>
          <p:nvPr/>
        </p:nvGrpSpPr>
        <p:grpSpPr>
          <a:xfrm>
            <a:off x="495016" y="4581160"/>
            <a:ext cx="1132186" cy="353857"/>
            <a:chOff x="14969" y="5562662"/>
            <a:chExt cx="1680906" cy="572298"/>
          </a:xfrm>
        </p:grpSpPr>
        <p:pic>
          <p:nvPicPr>
            <p:cNvPr id="106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14969" y="556266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344301" y="556266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673633" y="556266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1002965" y="556266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그림 36" descr="아이콘-캐릭터2_2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476"/>
            <a:stretch/>
          </p:blipFill>
          <p:spPr bwMode="auto">
            <a:xfrm>
              <a:off x="1332297" y="5562662"/>
              <a:ext cx="363578" cy="57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1" name="그림 1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9308" y="3939261"/>
            <a:ext cx="284073" cy="193798"/>
          </a:xfrm>
          <a:prstGeom prst="rect">
            <a:avLst/>
          </a:prstGeom>
        </p:spPr>
      </p:pic>
      <p:pic>
        <p:nvPicPr>
          <p:cNvPr id="113" name="Picture 12" descr="C:\Users\wslee\Desktop\29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113" y="3804395"/>
            <a:ext cx="242507" cy="345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5" name="LcShp 31"/>
          <p:cNvSpPr txBox="1">
            <a:spLocks noChangeArrowheads="1"/>
          </p:cNvSpPr>
          <p:nvPr/>
        </p:nvSpPr>
        <p:spPr bwMode="auto">
          <a:xfrm>
            <a:off x="3044788" y="3701840"/>
            <a:ext cx="506549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algn="l" fontAlgn="ctr" latinLnBrk="0">
              <a:lnSpc>
                <a:spcPct val="90000"/>
              </a:lnSpc>
              <a:buClr>
                <a:srgbClr val="666666"/>
              </a:buClr>
              <a:buFont typeface="Wingdings" panose="05000000000000000000" pitchFamily="2" charset="2"/>
              <a:buNone/>
            </a:pPr>
            <a:r>
              <a:rPr lang="en-US" altLang="ko-KR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WEB/WAS</a:t>
            </a:r>
            <a:endParaRPr lang="en-US" altLang="ko-KR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7" name="LcShp 31"/>
          <p:cNvSpPr txBox="1">
            <a:spLocks noChangeArrowheads="1"/>
          </p:cNvSpPr>
          <p:nvPr/>
        </p:nvSpPr>
        <p:spPr bwMode="auto">
          <a:xfrm>
            <a:off x="4124908" y="3701840"/>
            <a:ext cx="141064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4297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4297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algn="l" fontAlgn="ctr" latinLnBrk="0">
              <a:lnSpc>
                <a:spcPct val="90000"/>
              </a:lnSpc>
              <a:buClr>
                <a:srgbClr val="666666"/>
              </a:buClr>
              <a:buFont typeface="Wingdings" panose="05000000000000000000" pitchFamily="2" charset="2"/>
              <a:buNone/>
            </a:pPr>
            <a:r>
              <a:rPr lang="en-US" altLang="ko-KR" sz="8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DB</a:t>
            </a:r>
          </a:p>
        </p:txBody>
      </p:sp>
      <p:cxnSp>
        <p:nvCxnSpPr>
          <p:cNvPr id="118" name="AutoShape 51"/>
          <p:cNvCxnSpPr>
            <a:cxnSpLocks noChangeShapeType="1"/>
            <a:stCxn id="113" idx="0"/>
            <a:endCxn id="127" idx="2"/>
          </p:cNvCxnSpPr>
          <p:nvPr/>
        </p:nvCxnSpPr>
        <p:spPr bwMode="auto">
          <a:xfrm rot="5400000" flipH="1" flipV="1">
            <a:off x="3506073" y="3362223"/>
            <a:ext cx="548466" cy="335879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B2B2B2"/>
            </a:solidFill>
            <a:prstDash val="solid"/>
            <a:miter lim="800000"/>
            <a:headEnd type="oval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0" name="Freeform 53"/>
          <p:cNvSpPr>
            <a:spLocks/>
          </p:cNvSpPr>
          <p:nvPr/>
        </p:nvSpPr>
        <p:spPr bwMode="auto">
          <a:xfrm>
            <a:off x="3949567" y="3528060"/>
            <a:ext cx="388762" cy="398867"/>
          </a:xfrm>
          <a:custGeom>
            <a:avLst/>
            <a:gdLst>
              <a:gd name="T0" fmla="*/ 0 w 295"/>
              <a:gd name="T1" fmla="*/ 0 h 272"/>
              <a:gd name="T2" fmla="*/ 533 w 295"/>
              <a:gd name="T3" fmla="*/ 0 h 272"/>
              <a:gd name="T4" fmla="*/ 533 w 295"/>
              <a:gd name="T5" fmla="*/ 272 h 27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95" h="272">
                <a:moveTo>
                  <a:pt x="0" y="0"/>
                </a:moveTo>
                <a:lnTo>
                  <a:pt x="295" y="0"/>
                </a:lnTo>
                <a:lnTo>
                  <a:pt x="295" y="272"/>
                </a:lnTo>
              </a:path>
            </a:pathLst>
          </a:custGeom>
          <a:noFill/>
          <a:ln w="6350" algn="ctr">
            <a:solidFill>
              <a:srgbClr val="B2B2B2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81618" tIns="40809" rIns="81618" bIns="40809" anchor="ctr"/>
          <a:lstStyle/>
          <a:p>
            <a:pPr algn="l"/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21" name="그룹 120"/>
          <p:cNvGrpSpPr/>
          <p:nvPr/>
        </p:nvGrpSpPr>
        <p:grpSpPr>
          <a:xfrm>
            <a:off x="1997921" y="5130092"/>
            <a:ext cx="786886" cy="505510"/>
            <a:chOff x="-4803623" y="5166618"/>
            <a:chExt cx="1168255" cy="688975"/>
          </a:xfrm>
        </p:grpSpPr>
        <p:pic>
          <p:nvPicPr>
            <p:cNvPr id="122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r="87819"/>
            <a:stretch/>
          </p:blipFill>
          <p:spPr bwMode="auto">
            <a:xfrm>
              <a:off x="-4803623" y="5166618"/>
              <a:ext cx="666549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" name="Picture 101" descr="0107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6000"/>
            </a:blip>
            <a:srcRect l="90772"/>
            <a:stretch/>
          </p:blipFill>
          <p:spPr bwMode="auto">
            <a:xfrm>
              <a:off x="-4140311" y="5166618"/>
              <a:ext cx="504943" cy="688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4" name="LcS125"/>
          <p:cNvSpPr>
            <a:spLocks noChangeArrowheads="1"/>
          </p:cNvSpPr>
          <p:nvPr/>
        </p:nvSpPr>
        <p:spPr bwMode="auto">
          <a:xfrm>
            <a:off x="2006916" y="5628348"/>
            <a:ext cx="7656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algn="ctr" latinLnBrk="0">
              <a:buClr>
                <a:srgbClr val="4D5F76"/>
              </a:buClr>
              <a:buSzPct val="70000"/>
              <a:buFont typeface="Yoon 윤고딕 520_TT" panose="02090603020101020101" pitchFamily="18" charset="-127"/>
              <a:buNone/>
            </a:pPr>
            <a:r>
              <a:rPr lang="ko-KR" altLang="en-US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능 테스트</a:t>
            </a:r>
          </a:p>
          <a:p>
            <a:pPr algn="ctr" latinLnBrk="0">
              <a:buClr>
                <a:srgbClr val="4D5F76"/>
              </a:buClr>
              <a:buSzPct val="70000"/>
              <a:buFont typeface="Yoon 윤고딕 520_TT" panose="02090603020101020101" pitchFamily="18" charset="-127"/>
              <a:buNone/>
            </a:pPr>
            <a:r>
              <a:rPr lang="en-US" altLang="ko-KR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ontroller</a:t>
            </a:r>
          </a:p>
        </p:txBody>
      </p:sp>
      <p:pic>
        <p:nvPicPr>
          <p:cNvPr id="125" name="그림 36" descr="아이콘-캐릭터2_2.pn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476"/>
          <a:stretch/>
        </p:blipFill>
        <p:spPr bwMode="auto">
          <a:xfrm>
            <a:off x="2292052" y="5043062"/>
            <a:ext cx="244890" cy="419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6" name="Group 2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584220"/>
              </p:ext>
            </p:extLst>
          </p:nvPr>
        </p:nvGraphicFramePr>
        <p:xfrm>
          <a:off x="4971974" y="2564904"/>
          <a:ext cx="4589538" cy="3520379"/>
        </p:xfrm>
        <a:graphic>
          <a:graphicData uri="http://schemas.openxmlformats.org/drawingml/2006/table">
            <a:tbl>
              <a:tblPr/>
              <a:tblGrid>
                <a:gridCol w="7543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75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175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9673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테스트 종류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성능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부하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) 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테스트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7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케이스별 성능테스트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통합 성능테스트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목적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케이스</a:t>
                      </a:r>
                      <a:r>
                        <a:rPr kumimoji="1" lang="en-US" altLang="ko-KR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(</a:t>
                      </a: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업무</a:t>
                      </a:r>
                      <a:r>
                        <a:rPr kumimoji="1" lang="en-US" altLang="ko-KR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)</a:t>
                      </a: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별 성능 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통합 시나리오 성능 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기본 단위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케이스</a:t>
                      </a:r>
                      <a:endParaRPr kumimoji="1" lang="en-US" altLang="ko-KR" sz="95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통합 시나리오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758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평가 방법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다수의 가상 사용자로 주요 케이스</a:t>
                      </a:r>
                      <a:r>
                        <a:rPr kumimoji="1" lang="en-US" altLang="ko-KR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(</a:t>
                      </a: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업무</a:t>
                      </a:r>
                      <a:r>
                        <a:rPr kumimoji="1" lang="en-US" altLang="ko-KR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)</a:t>
                      </a: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별 성능 테스트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다수의 가상 사용자로 통합 시나리오 성능 테스트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7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평가 기준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동시 처리 능력</a:t>
                      </a:r>
                      <a:r>
                        <a:rPr kumimoji="1" lang="en-US" altLang="ko-KR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(</a:t>
                      </a: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응답시간</a:t>
                      </a:r>
                      <a:r>
                        <a:rPr kumimoji="1" lang="en-US" altLang="ko-KR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TPS, </a:t>
                      </a: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리소스 사용률</a:t>
                      </a:r>
                      <a:r>
                        <a:rPr kumimoji="1" lang="en-US" altLang="ko-KR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)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8443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분석 자료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동시 사용자 요청 처리 능력 분석</a:t>
                      </a: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병목 지점 분석</a:t>
                      </a: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5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개별 성능 랭킹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27" name="직사각형 126"/>
          <p:cNvSpPr/>
          <p:nvPr/>
        </p:nvSpPr>
        <p:spPr bwMode="auto">
          <a:xfrm>
            <a:off x="3223306" y="2913842"/>
            <a:ext cx="1449880" cy="342087"/>
          </a:xfrm>
          <a:prstGeom prst="rect">
            <a:avLst/>
          </a:prstGeom>
          <a:solidFill>
            <a:srgbClr val="3C99D8"/>
          </a:solidFill>
          <a:ln w="15875" cap="flat" cmpd="sng" algn="ctr">
            <a:solidFill>
              <a:srgbClr val="3C99D8"/>
            </a:solidFill>
            <a:prstDash val="solid"/>
            <a:miter lim="800000"/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0" tIns="0" rIns="0" bIns="0" rtlCol="0" anchor="ctr">
            <a:scene3d>
              <a:camera prst="orthographicFront"/>
              <a:lightRig rig="threePt" dir="t"/>
            </a:scene3d>
            <a:sp3d extrusionH="1270">
              <a:bevelT w="0"/>
            </a:sp3d>
          </a:bodyPr>
          <a:lstStyle/>
          <a:p>
            <a:pPr marL="0" marR="0" lvl="1" indent="0" algn="ctr" defTabSz="1145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buFontTx/>
              <a:buNone/>
              <a:tabLst>
                <a:tab pos="5648325" algn="l"/>
              </a:tabLst>
              <a:defRPr/>
            </a:pPr>
            <a:r>
              <a:rPr kumimoji="0" lang="ko-KR" altLang="en-US" sz="900" i="0" u="none" strike="noStrike" kern="0" cap="none" spc="0" normalizeH="0" baseline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주요 자원 항목 모니터링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0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631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3.3 </a:t>
            </a:r>
            <a:r>
              <a:rPr lang="ko-KR" altLang="en-US" dirty="0"/>
              <a:t>성능 </a:t>
            </a:r>
            <a:r>
              <a:rPr lang="ko-KR" altLang="en-US" dirty="0" smtClean="0"/>
              <a:t>테스트 수행 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완료 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구축 전과 후의 성능을 객관적으로 비교 검증하여 시스템의 성능을 확인하며 운영 시스템에 부하 발생 시에도 정상적인 업무 처리와 기술 아키텍처 적정 수준의 성능을 내는지 검증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테스트 수행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성능 테스트 방안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44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308484" y="2132856"/>
            <a:ext cx="1184808" cy="169277"/>
            <a:chOff x="307914" y="1927833"/>
            <a:chExt cx="1184808" cy="169277"/>
          </a:xfrm>
        </p:grpSpPr>
        <p:sp>
          <p:nvSpPr>
            <p:cNvPr id="45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96821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테스트 절차</a:t>
              </a:r>
            </a:p>
          </p:txBody>
        </p:sp>
        <p:grpSp>
          <p:nvGrpSpPr>
            <p:cNvPr id="56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57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59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  <p:sp>
              <p:nvSpPr>
                <p:cNvPr id="60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</p:grpSp>
          <p:sp>
            <p:nvSpPr>
              <p:cNvPr id="58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/>
              </a:p>
            </p:txBody>
          </p:sp>
        </p:grpSp>
      </p:grpSp>
      <p:sp>
        <p:nvSpPr>
          <p:cNvPr id="85" name="Rectangle 101"/>
          <p:cNvSpPr>
            <a:spLocks noChangeArrowheads="1"/>
          </p:cNvSpPr>
          <p:nvPr/>
        </p:nvSpPr>
        <p:spPr bwMode="auto">
          <a:xfrm>
            <a:off x="569413" y="2770713"/>
            <a:ext cx="8409080" cy="98220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7" name="Rectangle 101"/>
          <p:cNvSpPr>
            <a:spLocks noChangeArrowheads="1"/>
          </p:cNvSpPr>
          <p:nvPr/>
        </p:nvSpPr>
        <p:spPr bwMode="auto">
          <a:xfrm>
            <a:off x="569413" y="3800899"/>
            <a:ext cx="8409080" cy="539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7274636" y="2770713"/>
            <a:ext cx="1703857" cy="1569511"/>
          </a:xfrm>
          <a:prstGeom prst="rect">
            <a:avLst/>
          </a:prstGeom>
          <a:solidFill>
            <a:sysClr val="window" lastClr="FFFFFF">
              <a:lumMod val="50000"/>
              <a:alpha val="1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2" name="오각형 111"/>
          <p:cNvSpPr/>
          <p:nvPr/>
        </p:nvSpPr>
        <p:spPr bwMode="auto">
          <a:xfrm>
            <a:off x="7100381" y="2384884"/>
            <a:ext cx="1878112" cy="363546"/>
          </a:xfrm>
          <a:prstGeom prst="homePlate">
            <a:avLst>
              <a:gd name="adj" fmla="val 28148"/>
            </a:avLst>
          </a:prstGeom>
          <a:solidFill>
            <a:srgbClr val="5A87B1"/>
          </a:solidFill>
          <a:ln w="19050">
            <a:solidFill>
              <a:sysClr val="window" lastClr="FFFFFF"/>
            </a:solidFill>
          </a:ln>
        </p:spPr>
        <p:txBody>
          <a:bodyPr wrap="non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Monotype Sorts"/>
            </a:endParaRPr>
          </a:p>
        </p:txBody>
      </p:sp>
      <p:sp>
        <p:nvSpPr>
          <p:cNvPr id="114" name="오각형 113"/>
          <p:cNvSpPr/>
          <p:nvPr/>
        </p:nvSpPr>
        <p:spPr bwMode="auto">
          <a:xfrm>
            <a:off x="5331017" y="2384884"/>
            <a:ext cx="2021910" cy="363546"/>
          </a:xfrm>
          <a:prstGeom prst="homePlate">
            <a:avLst>
              <a:gd name="adj" fmla="val 28148"/>
            </a:avLst>
          </a:prstGeom>
          <a:solidFill>
            <a:srgbClr val="8FABC7"/>
          </a:solidFill>
          <a:ln w="19050">
            <a:solidFill>
              <a:sysClr val="window" lastClr="FFFFFF"/>
            </a:solidFill>
          </a:ln>
        </p:spPr>
        <p:txBody>
          <a:bodyPr wrap="non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sym typeface="Monotype Sorts"/>
            </a:endParaRPr>
          </a:p>
        </p:txBody>
      </p:sp>
      <p:sp>
        <p:nvSpPr>
          <p:cNvPr id="116" name="오각형 115"/>
          <p:cNvSpPr/>
          <p:nvPr/>
        </p:nvSpPr>
        <p:spPr bwMode="auto">
          <a:xfrm>
            <a:off x="3561653" y="2384884"/>
            <a:ext cx="2368589" cy="363546"/>
          </a:xfrm>
          <a:prstGeom prst="homePlate">
            <a:avLst>
              <a:gd name="adj" fmla="val 28148"/>
            </a:avLst>
          </a:prstGeom>
          <a:solidFill>
            <a:srgbClr val="BBCBDC"/>
          </a:solidFill>
          <a:ln w="19050">
            <a:solidFill>
              <a:sysClr val="window" lastClr="FFFFFF"/>
            </a:solidFill>
          </a:ln>
        </p:spPr>
        <p:txBody>
          <a:bodyPr wrap="non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sym typeface="Monotype Sorts"/>
            </a:endParaRPr>
          </a:p>
        </p:txBody>
      </p:sp>
      <p:sp>
        <p:nvSpPr>
          <p:cNvPr id="119" name="오각형 118"/>
          <p:cNvSpPr/>
          <p:nvPr/>
        </p:nvSpPr>
        <p:spPr bwMode="auto">
          <a:xfrm>
            <a:off x="1792290" y="2384884"/>
            <a:ext cx="2345896" cy="363546"/>
          </a:xfrm>
          <a:prstGeom prst="homePlate">
            <a:avLst>
              <a:gd name="adj" fmla="val 28148"/>
            </a:avLst>
          </a:prstGeom>
          <a:solidFill>
            <a:sysClr val="window" lastClr="FFFFFF">
              <a:lumMod val="85000"/>
            </a:sysClr>
          </a:solidFill>
          <a:ln w="19050">
            <a:solidFill>
              <a:sysClr val="window" lastClr="FFFF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197064" marR="0" lvl="0" indent="-197064" algn="l" defTabSz="1041392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ct val="140000"/>
              <a:buFont typeface="Wingdings" pitchFamily="2" charset="2"/>
              <a:buChar char="§"/>
              <a:tabLst/>
              <a:defRPr/>
            </a:pPr>
            <a:endParaRPr kumimoji="0" lang="ko-KR" altLang="en-US" sz="900" b="0" i="0" u="none" strike="noStrike" kern="0" cap="none" spc="0" normalizeH="0" noProof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Monotype Sorts"/>
            </a:endParaRPr>
          </a:p>
        </p:txBody>
      </p:sp>
      <p:sp>
        <p:nvSpPr>
          <p:cNvPr id="128" name="TextBox 184"/>
          <p:cNvSpPr txBox="1">
            <a:spLocks noChangeArrowheads="1"/>
          </p:cNvSpPr>
          <p:nvPr/>
        </p:nvSpPr>
        <p:spPr bwMode="auto">
          <a:xfrm>
            <a:off x="2434882" y="2489712"/>
            <a:ext cx="96821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algn="ctr" fontAlgn="ctr" latinLnBrk="0">
              <a:buClr>
                <a:srgbClr val="0066FF"/>
              </a:buClr>
              <a:buFont typeface="Wingdings 2" pitchFamily="18" charset="2"/>
              <a:buNone/>
              <a:defRPr kumimoji="1" sz="1000">
                <a:solidFill>
                  <a:srgbClr val="1C1C1C"/>
                </a:solidFill>
                <a:latin typeface="Rix모던고딕 B" pitchFamily="18" charset="-127"/>
                <a:ea typeface="Rix모던고딕 B" pitchFamily="18" charset="-127"/>
                <a:cs typeface="굴림" pitchFamily="50" charset="-127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FF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1" lang="ko-KR" altLang="en-US" sz="10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  <a:sym typeface="Monotype Sorts" pitchFamily="2" charset="2"/>
              </a:rPr>
              <a:t>테스트 시스템 분석</a:t>
            </a:r>
          </a:p>
        </p:txBody>
      </p:sp>
      <p:sp>
        <p:nvSpPr>
          <p:cNvPr id="129" name="TextBox 184"/>
          <p:cNvSpPr txBox="1">
            <a:spLocks noChangeArrowheads="1"/>
          </p:cNvSpPr>
          <p:nvPr/>
        </p:nvSpPr>
        <p:spPr bwMode="auto">
          <a:xfrm>
            <a:off x="4334326" y="2489713"/>
            <a:ext cx="12695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algn="ctr" fontAlgn="ctr" latinLnBrk="0">
              <a:buClr>
                <a:srgbClr val="0066FF"/>
              </a:buClr>
              <a:buFont typeface="Wingdings 2" pitchFamily="18" charset="2"/>
              <a:buNone/>
              <a:defRPr kumimoji="1" sz="1000">
                <a:solidFill>
                  <a:srgbClr val="1C1C1C"/>
                </a:solidFill>
                <a:latin typeface="Rix모던고딕 B" pitchFamily="18" charset="-127"/>
                <a:ea typeface="Rix모던고딕 B" pitchFamily="18" charset="-127"/>
                <a:cs typeface="굴림" pitchFamily="50" charset="-127"/>
              </a:defRPr>
            </a:lvl1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FF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1" lang="ko-KR" altLang="en-US" sz="10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  <a:sym typeface="Monotype Sorts" pitchFamily="2" charset="2"/>
              </a:rPr>
              <a:t>테스트 </a:t>
            </a:r>
            <a:r>
              <a:rPr kumimoji="1" lang="ko-KR" altLang="en-US" sz="10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  <a:sym typeface="Monotype Sorts" pitchFamily="2" charset="2"/>
              </a:rPr>
              <a:t>설계 및 </a:t>
            </a:r>
            <a:r>
              <a:rPr kumimoji="1" lang="ko-KR" altLang="en-US" sz="10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  <a:sym typeface="Monotype Sorts" pitchFamily="2" charset="2"/>
              </a:rPr>
              <a:t>환경 구성</a:t>
            </a:r>
          </a:p>
        </p:txBody>
      </p:sp>
      <p:sp>
        <p:nvSpPr>
          <p:cNvPr id="130" name="TextBox 184"/>
          <p:cNvSpPr txBox="1">
            <a:spLocks noChangeArrowheads="1"/>
          </p:cNvSpPr>
          <p:nvPr/>
        </p:nvSpPr>
        <p:spPr bwMode="auto">
          <a:xfrm>
            <a:off x="6284364" y="2489714"/>
            <a:ext cx="59792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algn="ctr" fontAlgn="ctr" latinLnBrk="0">
              <a:buClr>
                <a:srgbClr val="0066FF"/>
              </a:buClr>
              <a:buFont typeface="Wingdings 2" pitchFamily="18" charset="2"/>
              <a:buNone/>
              <a:defRPr kumimoji="1" sz="1000">
                <a:solidFill>
                  <a:srgbClr val="1C1C1C"/>
                </a:solidFill>
                <a:latin typeface="Rix모던고딕 B" pitchFamily="18" charset="-127"/>
                <a:ea typeface="Rix모던고딕 B" pitchFamily="18" charset="-127"/>
                <a:cs typeface="굴림" pitchFamily="50" charset="-127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FF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1" lang="ko-KR" altLang="en-US" sz="10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  <a:sym typeface="Monotype Sorts" pitchFamily="2" charset="2"/>
              </a:rPr>
              <a:t>테스트 수행</a:t>
            </a:r>
          </a:p>
        </p:txBody>
      </p:sp>
      <p:sp>
        <p:nvSpPr>
          <p:cNvPr id="131" name="TextBox 184"/>
          <p:cNvSpPr txBox="1">
            <a:spLocks noChangeArrowheads="1"/>
          </p:cNvSpPr>
          <p:nvPr/>
        </p:nvSpPr>
        <p:spPr bwMode="auto">
          <a:xfrm>
            <a:off x="7942816" y="2489713"/>
            <a:ext cx="45525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algn="ctr" fontAlgn="ctr" latinLnBrk="0">
              <a:buClr>
                <a:srgbClr val="0066FF"/>
              </a:buClr>
              <a:buFont typeface="Wingdings 2" pitchFamily="18" charset="2"/>
              <a:buNone/>
              <a:defRPr kumimoji="1" sz="1000">
                <a:solidFill>
                  <a:srgbClr val="1C1C1C"/>
                </a:solidFill>
                <a:latin typeface="Rix모던고딕 B" pitchFamily="18" charset="-127"/>
                <a:ea typeface="Rix모던고딕 B" pitchFamily="18" charset="-127"/>
                <a:cs typeface="굴림" pitchFamily="50" charset="-127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FF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1" lang="ko-KR" altLang="en-US" sz="10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  <a:sym typeface="Monotype Sorts" pitchFamily="2" charset="2"/>
              </a:rPr>
              <a:t>결과분석</a:t>
            </a:r>
          </a:p>
        </p:txBody>
      </p:sp>
      <p:grpSp>
        <p:nvGrpSpPr>
          <p:cNvPr id="132" name="그룹 28"/>
          <p:cNvGrpSpPr/>
          <p:nvPr/>
        </p:nvGrpSpPr>
        <p:grpSpPr>
          <a:xfrm>
            <a:off x="560512" y="2394661"/>
            <a:ext cx="1160596" cy="332694"/>
            <a:chOff x="720958" y="2737951"/>
            <a:chExt cx="828000" cy="324004"/>
          </a:xfrm>
        </p:grpSpPr>
        <p:sp>
          <p:nvSpPr>
            <p:cNvPr id="133" name="Line 9"/>
            <p:cNvSpPr>
              <a:spLocks noChangeShapeType="1"/>
            </p:cNvSpPr>
            <p:nvPr/>
          </p:nvSpPr>
          <p:spPr bwMode="auto">
            <a:xfrm>
              <a:off x="720958" y="2737955"/>
              <a:ext cx="0" cy="324000"/>
            </a:xfrm>
            <a:prstGeom prst="line">
              <a:avLst/>
            </a:prstGeom>
            <a:noFill/>
            <a:ln w="9525" cap="rnd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4" name="Rectangle 103"/>
            <p:cNvSpPr>
              <a:spLocks noChangeArrowheads="1"/>
            </p:cNvSpPr>
            <p:nvPr/>
          </p:nvSpPr>
          <p:spPr bwMode="auto">
            <a:xfrm>
              <a:off x="720958" y="2737951"/>
              <a:ext cx="828000" cy="38100"/>
            </a:xfrm>
            <a:prstGeom prst="rect">
              <a:avLst/>
            </a:prstGeom>
            <a:solidFill>
              <a:srgbClr val="8FABC7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5" name="Rectangle 324"/>
            <p:cNvSpPr>
              <a:spLocks noChangeArrowheads="1"/>
            </p:cNvSpPr>
            <p:nvPr/>
          </p:nvSpPr>
          <p:spPr bwMode="auto">
            <a:xfrm>
              <a:off x="1083632" y="2813504"/>
              <a:ext cx="162394" cy="1648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l" defTabSz="1042988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40000"/>
                <a:buFontTx/>
                <a:buNone/>
                <a:tabLst>
                  <a:tab pos="5648325" algn="l"/>
                </a:tabLst>
                <a:defRPr/>
              </a:pPr>
              <a:r>
                <a:rPr kumimoji="0" lang="ko-KR" altLang="en-US" sz="10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cs typeface="Arial" pitchFamily="34" charset="0"/>
                </a:rPr>
                <a:t>단계</a:t>
              </a:r>
            </a:p>
          </p:txBody>
        </p:sp>
      </p:grpSp>
      <p:sp>
        <p:nvSpPr>
          <p:cNvPr id="136" name="Text Box 151"/>
          <p:cNvSpPr txBox="1">
            <a:spLocks noChangeArrowheads="1"/>
          </p:cNvSpPr>
          <p:nvPr/>
        </p:nvSpPr>
        <p:spPr bwMode="auto">
          <a:xfrm>
            <a:off x="1939646" y="2877120"/>
            <a:ext cx="1751723" cy="775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시스템 아키텍처 </a:t>
            </a:r>
            <a:r>
              <a:rPr kumimoji="1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분석</a:t>
            </a:r>
            <a:endParaRPr kumimoji="1" lang="en-US" altLang="ko-KR" sz="8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  <a:p>
            <a:pPr marL="190500" marR="0" lvl="1" indent="-93663" algn="l" defTabSz="712788" eaLnBrk="0" fontAlgn="ctr" latinLnBrk="0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08080"/>
              </a:buClr>
              <a:buSzPct val="80000"/>
              <a:buFont typeface="HY헤드라인M" pitchFamily="18" charset="-127"/>
              <a:buChar char="-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  <a:t>부하테스트 사용 프로토콜</a:t>
            </a:r>
            <a: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  <a:t/>
            </a:r>
            <a:b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</a:b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  <a:t>및 기술적인 방법론 도출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비즈니스 프로세스 </a:t>
            </a:r>
            <a:r>
              <a:rPr kumimoji="1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분석</a:t>
            </a:r>
            <a:endParaRPr kumimoji="1" lang="en-US" altLang="ko-KR" sz="8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  <a:p>
            <a:pPr marL="190500" marR="0" lvl="1" indent="-93663" algn="l" defTabSz="712788" eaLnBrk="0" fontAlgn="ctr" latinLnBrk="0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08080"/>
              </a:buClr>
              <a:buSzPct val="80000"/>
              <a:buFont typeface="HY헤드라인M" pitchFamily="18" charset="-127"/>
              <a:buChar char="-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  <a:t>테스트 대상 요구사항 식별</a:t>
            </a:r>
            <a: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  <a:t>,</a:t>
            </a:r>
            <a:b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</a:b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한컴돋움" pitchFamily="18" charset="2"/>
                <a:sym typeface="Wingdings" pitchFamily="2" charset="2"/>
              </a:rPr>
              <a:t>시스템 성능 목표 설정</a:t>
            </a:r>
          </a:p>
        </p:txBody>
      </p:sp>
      <p:sp>
        <p:nvSpPr>
          <p:cNvPr id="137" name="Text Box 151"/>
          <p:cNvSpPr txBox="1">
            <a:spLocks noChangeArrowheads="1"/>
          </p:cNvSpPr>
          <p:nvPr/>
        </p:nvSpPr>
        <p:spPr bwMode="auto">
          <a:xfrm>
            <a:off x="4279259" y="2864703"/>
            <a:ext cx="142586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케이스 선정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시나리오 수립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데이터 준비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환경 구축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</a:t>
            </a:r>
            <a: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Task </a:t>
            </a: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작성</a:t>
            </a:r>
          </a:p>
        </p:txBody>
      </p:sp>
      <p:sp>
        <p:nvSpPr>
          <p:cNvPr id="138" name="Text Box 151"/>
          <p:cNvSpPr txBox="1">
            <a:spLocks noChangeArrowheads="1"/>
          </p:cNvSpPr>
          <p:nvPr/>
        </p:nvSpPr>
        <p:spPr bwMode="auto">
          <a:xfrm>
            <a:off x="6050466" y="2855151"/>
            <a:ext cx="101258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부하 테스트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주요 자원</a:t>
            </a:r>
            <a:b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</a:b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모니터링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성능 분석</a:t>
            </a:r>
          </a:p>
        </p:txBody>
      </p:sp>
      <p:sp>
        <p:nvSpPr>
          <p:cNvPr id="139" name="Text Box 151"/>
          <p:cNvSpPr txBox="1">
            <a:spLocks noChangeArrowheads="1"/>
          </p:cNvSpPr>
          <p:nvPr/>
        </p:nvSpPr>
        <p:spPr bwMode="auto">
          <a:xfrm>
            <a:off x="7493159" y="2864703"/>
            <a:ext cx="129368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결과 분석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업무 성능 분석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시스템 처리 능력 분석</a:t>
            </a:r>
          </a:p>
          <a:p>
            <a:pPr marL="92981" marR="0" lvl="0" indent="-92981" algn="l" defTabSz="7127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시스템 리소스</a:t>
            </a:r>
            <a:b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</a:b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사용률 분석</a:t>
            </a:r>
          </a:p>
        </p:txBody>
      </p:sp>
      <p:sp>
        <p:nvSpPr>
          <p:cNvPr id="140" name="Text Box 151"/>
          <p:cNvSpPr txBox="1">
            <a:spLocks noChangeArrowheads="1"/>
          </p:cNvSpPr>
          <p:nvPr/>
        </p:nvSpPr>
        <p:spPr bwMode="auto">
          <a:xfrm>
            <a:off x="1939646" y="3850477"/>
            <a:ext cx="1876018" cy="406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책임자 </a:t>
            </a:r>
            <a:r>
              <a:rPr kumimoji="1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및 운영자</a:t>
            </a:r>
            <a: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(</a:t>
            </a: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고객측</a:t>
            </a:r>
            <a: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)</a:t>
            </a:r>
          </a:p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수행자</a:t>
            </a:r>
          </a:p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시스템 관리자</a:t>
            </a:r>
          </a:p>
        </p:txBody>
      </p:sp>
      <p:sp>
        <p:nvSpPr>
          <p:cNvPr id="141" name="Text Box 151"/>
          <p:cNvSpPr txBox="1">
            <a:spLocks noChangeArrowheads="1"/>
          </p:cNvSpPr>
          <p:nvPr/>
        </p:nvSpPr>
        <p:spPr bwMode="auto">
          <a:xfrm>
            <a:off x="4279259" y="3846100"/>
            <a:ext cx="1425861" cy="270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수행자</a:t>
            </a:r>
          </a:p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시스템 관리자</a:t>
            </a:r>
          </a:p>
        </p:txBody>
      </p:sp>
      <p:sp>
        <p:nvSpPr>
          <p:cNvPr id="142" name="Text Box 151"/>
          <p:cNvSpPr txBox="1">
            <a:spLocks noChangeArrowheads="1"/>
          </p:cNvSpPr>
          <p:nvPr/>
        </p:nvSpPr>
        <p:spPr bwMode="auto">
          <a:xfrm>
            <a:off x="6050466" y="3850477"/>
            <a:ext cx="1115625" cy="406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</a:t>
            </a:r>
            <a:r>
              <a:rPr kumimoji="1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책임자</a:t>
            </a:r>
            <a:r>
              <a:rPr kumimoji="1" lang="en-US" altLang="ko-KR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(</a:t>
            </a: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고객</a:t>
            </a:r>
            <a: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)</a:t>
            </a:r>
          </a:p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수행자</a:t>
            </a:r>
          </a:p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시스템 관리자</a:t>
            </a:r>
          </a:p>
        </p:txBody>
      </p:sp>
      <p:sp>
        <p:nvSpPr>
          <p:cNvPr id="143" name="Text Box 151"/>
          <p:cNvSpPr txBox="1">
            <a:spLocks noChangeArrowheads="1"/>
          </p:cNvSpPr>
          <p:nvPr/>
        </p:nvSpPr>
        <p:spPr bwMode="auto">
          <a:xfrm>
            <a:off x="7493159" y="3835592"/>
            <a:ext cx="1115625" cy="135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85725" indent="-8572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1pPr>
            <a:lvl2pPr marL="179388" indent="-7620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2pPr>
            <a:lvl3pPr marL="1069975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3pPr>
            <a:lvl4pPr marL="1604963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4pPr>
            <a:lvl5pPr marL="2139950" algn="l" defTabSz="712788"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5pPr>
            <a:lvl6pPr marL="25971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6pPr>
            <a:lvl7pPr marL="30543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7pPr>
            <a:lvl8pPr marL="35115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8pPr>
            <a:lvl9pPr marL="3968750" defTabSz="712788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  <a:ea typeface="굴림" pitchFamily="50" charset="-127"/>
              </a:defRPr>
            </a:lvl9pPr>
          </a:lstStyle>
          <a:p>
            <a:pPr marL="92981" marR="0" lvl="0" indent="-92981" algn="l" defTabSz="712788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80000"/>
              <a:buFont typeface="Wingdings 2" pitchFamily="18" charset="2"/>
              <a:buChar char="¡"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테스트 수행자</a:t>
            </a:r>
          </a:p>
        </p:txBody>
      </p:sp>
      <p:cxnSp>
        <p:nvCxnSpPr>
          <p:cNvPr id="144" name="직선 연결선 143"/>
          <p:cNvCxnSpPr/>
          <p:nvPr/>
        </p:nvCxnSpPr>
        <p:spPr>
          <a:xfrm>
            <a:off x="4034186" y="2800054"/>
            <a:ext cx="0" cy="105351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dash"/>
          </a:ln>
          <a:effectLst/>
        </p:spPr>
      </p:cxnSp>
      <p:cxnSp>
        <p:nvCxnSpPr>
          <p:cNvPr id="145" name="직선 연결선 144"/>
          <p:cNvCxnSpPr/>
          <p:nvPr/>
        </p:nvCxnSpPr>
        <p:spPr>
          <a:xfrm>
            <a:off x="5834436" y="2800054"/>
            <a:ext cx="0" cy="105351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dash"/>
          </a:ln>
          <a:effectLst/>
        </p:spPr>
      </p:cxnSp>
      <p:cxnSp>
        <p:nvCxnSpPr>
          <p:cNvPr id="146" name="직선 연결선 145"/>
          <p:cNvCxnSpPr/>
          <p:nvPr/>
        </p:nvCxnSpPr>
        <p:spPr>
          <a:xfrm>
            <a:off x="7274636" y="2800054"/>
            <a:ext cx="0" cy="105351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dash"/>
          </a:ln>
          <a:effectLst/>
        </p:spPr>
      </p:cxnSp>
      <p:cxnSp>
        <p:nvCxnSpPr>
          <p:cNvPr id="147" name="직선 연결선 146"/>
          <p:cNvCxnSpPr/>
          <p:nvPr/>
        </p:nvCxnSpPr>
        <p:spPr>
          <a:xfrm>
            <a:off x="4034186" y="3839472"/>
            <a:ext cx="0" cy="50400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dash"/>
          </a:ln>
          <a:effectLst/>
        </p:spPr>
      </p:cxnSp>
      <p:cxnSp>
        <p:nvCxnSpPr>
          <p:cNvPr id="148" name="직선 연결선 147"/>
          <p:cNvCxnSpPr/>
          <p:nvPr/>
        </p:nvCxnSpPr>
        <p:spPr>
          <a:xfrm>
            <a:off x="5834436" y="3839472"/>
            <a:ext cx="0" cy="50400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dash"/>
          </a:ln>
          <a:effectLst/>
        </p:spPr>
      </p:cxnSp>
      <p:cxnSp>
        <p:nvCxnSpPr>
          <p:cNvPr id="149" name="직선 연결선 148"/>
          <p:cNvCxnSpPr/>
          <p:nvPr/>
        </p:nvCxnSpPr>
        <p:spPr>
          <a:xfrm>
            <a:off x="7274636" y="3839472"/>
            <a:ext cx="0" cy="50400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dash"/>
          </a:ln>
          <a:effectLst/>
        </p:spPr>
      </p:cxnSp>
      <p:sp>
        <p:nvSpPr>
          <p:cNvPr id="150" name="직사각형 149"/>
          <p:cNvSpPr/>
          <p:nvPr/>
        </p:nvSpPr>
        <p:spPr bwMode="auto">
          <a:xfrm>
            <a:off x="638960" y="2861021"/>
            <a:ext cx="1082148" cy="807796"/>
          </a:xfrm>
          <a:prstGeom prst="rect">
            <a:avLst/>
          </a:prstGeom>
          <a:solidFill>
            <a:srgbClr val="3C99D8"/>
          </a:solidFill>
          <a:ln w="15875">
            <a:solidFill>
              <a:srgbClr val="3C99D8"/>
            </a:solidFill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cene3d>
              <a:camera prst="orthographicFront"/>
              <a:lightRig rig="threePt" dir="t"/>
            </a:scene3d>
            <a:sp3d extrusionH="1270">
              <a:bevelT w="0"/>
            </a:sp3d>
          </a:bodyPr>
          <a:lstStyle/>
          <a:p>
            <a:pPr marL="0" lvl="1" algn="ctr" defTabSz="1145926" eaLnBrk="1" latin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tabLst>
                <a:tab pos="5648325" algn="l"/>
              </a:tabLst>
              <a:defRPr/>
            </a:pPr>
            <a:r>
              <a:rPr lang="ko-KR" altLang="en-US" sz="1100" spc="-15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주요 활동</a:t>
            </a:r>
            <a:endParaRPr lang="en-US" altLang="ko-KR" sz="1100" spc="-15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637226" y="3861423"/>
            <a:ext cx="1082148" cy="384597"/>
          </a:xfrm>
          <a:prstGeom prst="rect">
            <a:avLst/>
          </a:prstGeom>
          <a:solidFill>
            <a:srgbClr val="3C99D8"/>
          </a:solidFill>
          <a:ln w="15875">
            <a:solidFill>
              <a:srgbClr val="3C99D8"/>
            </a:solidFill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cene3d>
              <a:camera prst="orthographicFront"/>
              <a:lightRig rig="threePt" dir="t"/>
            </a:scene3d>
            <a:sp3d extrusionH="1270">
              <a:bevelT w="0"/>
            </a:sp3d>
          </a:bodyPr>
          <a:lstStyle/>
          <a:p>
            <a:pPr marL="0" lvl="1" algn="ctr" defTabSz="1145926" eaLnBrk="1" latin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tabLst>
                <a:tab pos="5648325" algn="l"/>
              </a:tabLst>
              <a:defRPr/>
            </a:pPr>
            <a:r>
              <a:rPr lang="ko-KR" altLang="en-US" sz="1100" spc="-15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참여 인원</a:t>
            </a:r>
            <a:endParaRPr lang="en-US" altLang="ko-KR" sz="1100" spc="-15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53" name="Group 1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05496"/>
              </p:ext>
            </p:extLst>
          </p:nvPr>
        </p:nvGraphicFramePr>
        <p:xfrm>
          <a:off x="632519" y="5085258"/>
          <a:ext cx="8058357" cy="1249920"/>
        </p:xfrm>
        <a:graphic>
          <a:graphicData uri="http://schemas.openxmlformats.org/drawingml/2006/table">
            <a:tbl>
              <a:tblPr/>
              <a:tblGrid>
                <a:gridCol w="18002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2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699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71482">
                <a:tc>
                  <a:txBody>
                    <a:bodyPr/>
                    <a:lstStyle>
                      <a:lvl1pPr marL="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구분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W</a:t>
                      </a:r>
                      <a:endParaRPr kumimoji="1" lang="ko-KR" altLang="en-US" sz="8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W+1</a:t>
                      </a:r>
                    </a:p>
                  </a:txBody>
                  <a:tcPr marL="43200" marR="43200" marT="43200" marB="43200" anchor="ctr" horzOverflow="overflow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W+2</a:t>
                      </a:r>
                    </a:p>
                  </a:txBody>
                  <a:tcPr marL="43200" marR="43200" marT="43200" marB="43200" anchor="ctr" horzOverflow="overflow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W+3</a:t>
                      </a:r>
                    </a:p>
                  </a:txBody>
                  <a:tcPr marL="43200" marR="43200" marT="43200" marB="43200" anchor="ctr" horzOverflow="overflow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7747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7747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비고</a:t>
                      </a:r>
                    </a:p>
                  </a:txBody>
                  <a:tcPr marL="43200" marR="43200" marT="43200" marB="43200" anchor="ctr" horzOverflow="overflow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826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테스트 시스템 분석 및 업무협의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시스템 구축 완료 후 성능테스트</a:t>
                      </a: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354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모니터링 설정</a:t>
                      </a:r>
                      <a:r>
                        <a:rPr kumimoji="1" lang="en-US" altLang="ko-KR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, </a:t>
                      </a: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필요 장비 준비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8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882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테스트 시나리오작성</a:t>
                      </a:r>
                      <a:r>
                        <a:rPr kumimoji="1" lang="en-US" altLang="ko-KR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, </a:t>
                      </a: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준비테스트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8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826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테스트 수행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주간 또는 야간 중 고객과 협의 후 수행</a:t>
                      </a: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7882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분석 및 보고서 작업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1" lang="ko-KR" altLang="ko-KR" sz="800" b="0" i="0" u="none" strike="noStrike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산돌고딕 M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8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 w="3175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55" name="Rectangle 118"/>
          <p:cNvSpPr>
            <a:spLocks noChangeArrowheads="1"/>
          </p:cNvSpPr>
          <p:nvPr/>
        </p:nvSpPr>
        <p:spPr bwMode="gray">
          <a:xfrm>
            <a:off x="2482475" y="5327038"/>
            <a:ext cx="432000" cy="139224"/>
          </a:xfrm>
          <a:prstGeom prst="rect">
            <a:avLst/>
          </a:prstGeom>
          <a:pattFill prst="dkHorz">
            <a:fgClr>
              <a:srgbClr val="BBCBDC"/>
            </a:fgClr>
            <a:bgClr>
              <a:srgbClr val="ABBFD5"/>
            </a:bgClr>
          </a:patt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1499799" eaLnBrk="0" latinLnBrk="0" hangingPunct="0"/>
            <a:endParaRPr lang="en-US" altLang="ko-KR" sz="900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56" name="Rectangle 118"/>
          <p:cNvSpPr>
            <a:spLocks noChangeArrowheads="1"/>
          </p:cNvSpPr>
          <p:nvPr/>
        </p:nvSpPr>
        <p:spPr bwMode="gray">
          <a:xfrm>
            <a:off x="2990639" y="5537750"/>
            <a:ext cx="972000" cy="139224"/>
          </a:xfrm>
          <a:prstGeom prst="rect">
            <a:avLst/>
          </a:prstGeom>
          <a:pattFill prst="dkHorz">
            <a:fgClr>
              <a:srgbClr val="BBCBDC"/>
            </a:fgClr>
            <a:bgClr>
              <a:srgbClr val="ABBFD5"/>
            </a:bgClr>
          </a:patt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1499799" eaLnBrk="0" latinLnBrk="0" hangingPunct="0"/>
            <a:endParaRPr lang="en-US" altLang="ko-KR" sz="900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57" name="Rectangle 118"/>
          <p:cNvSpPr>
            <a:spLocks noChangeArrowheads="1"/>
          </p:cNvSpPr>
          <p:nvPr/>
        </p:nvSpPr>
        <p:spPr bwMode="gray">
          <a:xfrm>
            <a:off x="3528916" y="5734950"/>
            <a:ext cx="432000" cy="139224"/>
          </a:xfrm>
          <a:prstGeom prst="rect">
            <a:avLst/>
          </a:prstGeom>
          <a:pattFill prst="dkHorz">
            <a:fgClr>
              <a:srgbClr val="BBCBDC"/>
            </a:fgClr>
            <a:bgClr>
              <a:srgbClr val="ABBFD5"/>
            </a:bgClr>
          </a:patt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1499799" eaLnBrk="0" latinLnBrk="0" hangingPunct="0"/>
            <a:endParaRPr lang="en-US" altLang="ko-KR" sz="900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58" name="Rectangle 118"/>
          <p:cNvSpPr>
            <a:spLocks noChangeArrowheads="1"/>
          </p:cNvSpPr>
          <p:nvPr/>
        </p:nvSpPr>
        <p:spPr bwMode="gray">
          <a:xfrm>
            <a:off x="4044481" y="5954817"/>
            <a:ext cx="432000" cy="139224"/>
          </a:xfrm>
          <a:prstGeom prst="rect">
            <a:avLst/>
          </a:prstGeom>
          <a:pattFill prst="dkHorz">
            <a:fgClr>
              <a:srgbClr val="BBCBDC"/>
            </a:fgClr>
            <a:bgClr>
              <a:srgbClr val="ABBFD5"/>
            </a:bgClr>
          </a:patt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1499799" eaLnBrk="0" latinLnBrk="0" hangingPunct="0"/>
            <a:endParaRPr lang="en-US" altLang="ko-KR" sz="900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59" name="Rectangle 118"/>
          <p:cNvSpPr>
            <a:spLocks noChangeArrowheads="1"/>
          </p:cNvSpPr>
          <p:nvPr/>
        </p:nvSpPr>
        <p:spPr bwMode="gray">
          <a:xfrm>
            <a:off x="4044481" y="6160385"/>
            <a:ext cx="432000" cy="139224"/>
          </a:xfrm>
          <a:prstGeom prst="rect">
            <a:avLst/>
          </a:prstGeom>
          <a:pattFill prst="dkHorz">
            <a:fgClr>
              <a:srgbClr val="BBCBDC"/>
            </a:fgClr>
            <a:bgClr>
              <a:srgbClr val="ABBFD5"/>
            </a:bgClr>
          </a:patt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1499799" eaLnBrk="0" latinLnBrk="0" hangingPunct="0"/>
            <a:endParaRPr lang="en-US" altLang="ko-KR" sz="900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61" name="Line 135"/>
          <p:cNvSpPr>
            <a:spLocks noChangeShapeType="1"/>
          </p:cNvSpPr>
          <p:nvPr/>
        </p:nvSpPr>
        <p:spPr bwMode="auto">
          <a:xfrm>
            <a:off x="2427055" y="5097777"/>
            <a:ext cx="0" cy="17145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</p:spPr>
        <p:txBody>
          <a:bodyPr vert="horz" wrap="square" lIns="46797" tIns="46797" rIns="46797" bIns="46797" numCol="1" anchor="ctr" anchorCtr="0" compatLnSpc="1">
            <a:prstTxWarp prst="textNoShape">
              <a:avLst/>
            </a:prstTxWarp>
          </a:bodyPr>
          <a:lstStyle/>
          <a:p>
            <a:pPr algn="l" eaLnBrk="0" latinLnBrk="0" hangingPunct="0"/>
            <a:endParaRPr lang="ko-KR" altLang="en-US" sz="1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62" name="Line 135"/>
          <p:cNvSpPr>
            <a:spLocks noChangeShapeType="1"/>
          </p:cNvSpPr>
          <p:nvPr/>
        </p:nvSpPr>
        <p:spPr bwMode="auto">
          <a:xfrm>
            <a:off x="4520952" y="5106244"/>
            <a:ext cx="0" cy="17145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</p:spPr>
        <p:txBody>
          <a:bodyPr vert="horz" wrap="square" lIns="46797" tIns="46797" rIns="46797" bIns="46797" numCol="1" anchor="ctr" anchorCtr="0" compatLnSpc="1">
            <a:prstTxWarp prst="textNoShape">
              <a:avLst/>
            </a:prstTxWarp>
          </a:bodyPr>
          <a:lstStyle/>
          <a:p>
            <a:pPr algn="l" eaLnBrk="0" latinLnBrk="0" hangingPunct="0"/>
            <a:endParaRPr lang="ko-KR" altLang="en-US" sz="1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63" name="Line 135"/>
          <p:cNvSpPr>
            <a:spLocks noChangeShapeType="1"/>
          </p:cNvSpPr>
          <p:nvPr/>
        </p:nvSpPr>
        <p:spPr bwMode="auto">
          <a:xfrm>
            <a:off x="2955846" y="5095787"/>
            <a:ext cx="0" cy="17145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</p:spPr>
        <p:txBody>
          <a:bodyPr vert="horz" wrap="square" lIns="46797" tIns="46797" rIns="46797" bIns="46797" numCol="1" anchor="ctr" anchorCtr="0" compatLnSpc="1">
            <a:prstTxWarp prst="textNoShape">
              <a:avLst/>
            </a:prstTxWarp>
          </a:bodyPr>
          <a:lstStyle/>
          <a:p>
            <a:pPr algn="l" eaLnBrk="0" latinLnBrk="0" hangingPunct="0"/>
            <a:endParaRPr lang="ko-KR" altLang="en-US" sz="1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64" name="Line 135"/>
          <p:cNvSpPr>
            <a:spLocks noChangeShapeType="1"/>
          </p:cNvSpPr>
          <p:nvPr/>
        </p:nvSpPr>
        <p:spPr bwMode="auto">
          <a:xfrm>
            <a:off x="3468369" y="5097777"/>
            <a:ext cx="0" cy="17145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</p:spPr>
        <p:txBody>
          <a:bodyPr vert="horz" wrap="square" lIns="46797" tIns="46797" rIns="46797" bIns="46797" numCol="1" anchor="ctr" anchorCtr="0" compatLnSpc="1">
            <a:prstTxWarp prst="textNoShape">
              <a:avLst/>
            </a:prstTxWarp>
          </a:bodyPr>
          <a:lstStyle/>
          <a:p>
            <a:pPr algn="l" eaLnBrk="0" latinLnBrk="0" hangingPunct="0"/>
            <a:endParaRPr lang="ko-KR" altLang="en-US" sz="1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65" name="Line 135"/>
          <p:cNvSpPr>
            <a:spLocks noChangeShapeType="1"/>
          </p:cNvSpPr>
          <p:nvPr/>
        </p:nvSpPr>
        <p:spPr bwMode="auto">
          <a:xfrm>
            <a:off x="3999509" y="5097777"/>
            <a:ext cx="0" cy="17145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</p:spPr>
        <p:txBody>
          <a:bodyPr vert="horz" wrap="square" lIns="46797" tIns="46797" rIns="46797" bIns="46797" numCol="1" anchor="ctr" anchorCtr="0" compatLnSpc="1">
            <a:prstTxWarp prst="textNoShape">
              <a:avLst/>
            </a:prstTxWarp>
          </a:bodyPr>
          <a:lstStyle/>
          <a:p>
            <a:pPr algn="l" eaLnBrk="0" latinLnBrk="0" hangingPunct="0"/>
            <a:endParaRPr lang="ko-KR" altLang="en-US" sz="1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67" name="AutoShape 376" descr="체크 무늬"/>
          <p:cNvSpPr>
            <a:spLocks noChangeArrowheads="1"/>
          </p:cNvSpPr>
          <p:nvPr/>
        </p:nvSpPr>
        <p:spPr bwMode="auto">
          <a:xfrm flipV="1">
            <a:off x="3840528" y="4542883"/>
            <a:ext cx="484273" cy="19271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41 w 21600"/>
              <a:gd name="T13" fmla="*/ 2841 h 21600"/>
              <a:gd name="T14" fmla="*/ 18759 w 21600"/>
              <a:gd name="T15" fmla="*/ 1875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81" y="21600"/>
                </a:lnTo>
                <a:lnTo>
                  <a:pt x="1951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BCBDC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185C86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8" name="AutoShape 378" descr="체크 무늬"/>
          <p:cNvSpPr>
            <a:spLocks noChangeArrowheads="1"/>
          </p:cNvSpPr>
          <p:nvPr/>
        </p:nvSpPr>
        <p:spPr bwMode="auto">
          <a:xfrm flipV="1">
            <a:off x="4983041" y="4542883"/>
            <a:ext cx="484273" cy="19271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41 w 21600"/>
              <a:gd name="T13" fmla="*/ 2841 h 21600"/>
              <a:gd name="T14" fmla="*/ 18759 w 21600"/>
              <a:gd name="T15" fmla="*/ 1875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81" y="21600"/>
                </a:lnTo>
                <a:lnTo>
                  <a:pt x="1951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BCBDC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185C86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1" name="Text Box 72"/>
          <p:cNvSpPr txBox="1">
            <a:spLocks noChangeArrowheads="1"/>
          </p:cNvSpPr>
          <p:nvPr/>
        </p:nvSpPr>
        <p:spPr bwMode="auto">
          <a:xfrm>
            <a:off x="8445388" y="4476488"/>
            <a:ext cx="25648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366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Open</a:t>
            </a:r>
          </a:p>
        </p:txBody>
      </p:sp>
      <p:sp>
        <p:nvSpPr>
          <p:cNvPr id="172" name="Text Box 72"/>
          <p:cNvSpPr txBox="1">
            <a:spLocks noChangeArrowheads="1"/>
          </p:cNvSpPr>
          <p:nvPr/>
        </p:nvSpPr>
        <p:spPr bwMode="auto">
          <a:xfrm>
            <a:off x="680140" y="4476488"/>
            <a:ext cx="3654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366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계약</a:t>
            </a:r>
          </a:p>
        </p:txBody>
      </p:sp>
      <p:sp>
        <p:nvSpPr>
          <p:cNvPr id="175" name="Text Box 72"/>
          <p:cNvSpPr txBox="1">
            <a:spLocks noChangeArrowheads="1"/>
          </p:cNvSpPr>
          <p:nvPr/>
        </p:nvSpPr>
        <p:spPr bwMode="auto">
          <a:xfrm>
            <a:off x="3058120" y="4476488"/>
            <a:ext cx="689291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366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스템 </a:t>
            </a:r>
            <a:r>
              <a:rPr kumimoji="1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발 </a:t>
            </a: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완료</a:t>
            </a:r>
          </a:p>
        </p:txBody>
      </p:sp>
      <p:pic>
        <p:nvPicPr>
          <p:cNvPr id="187" name="Picture 377" descr="그림6"/>
          <p:cNvPicPr>
            <a:picLocks noChangeAspect="1" noChangeArrowheads="1"/>
          </p:cNvPicPr>
          <p:nvPr/>
        </p:nvPicPr>
        <p:blipFill>
          <a:blip r:embed="rId2" cstate="print"/>
          <a:srcRect l="4225"/>
          <a:stretch>
            <a:fillRect/>
          </a:stretch>
        </p:blipFill>
        <p:spPr bwMode="gray">
          <a:xfrm>
            <a:off x="746030" y="4639254"/>
            <a:ext cx="191937" cy="20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" name="Picture 377" descr="그림6"/>
          <p:cNvPicPr>
            <a:picLocks noChangeAspect="1" noChangeArrowheads="1"/>
          </p:cNvPicPr>
          <p:nvPr/>
        </p:nvPicPr>
        <p:blipFill>
          <a:blip r:embed="rId2" cstate="print"/>
          <a:srcRect l="4225"/>
          <a:stretch>
            <a:fillRect/>
          </a:stretch>
        </p:blipFill>
        <p:spPr bwMode="gray">
          <a:xfrm>
            <a:off x="3726742" y="4639254"/>
            <a:ext cx="191937" cy="20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9" name="Picture 377" descr="그림6"/>
          <p:cNvPicPr>
            <a:picLocks noChangeAspect="1" noChangeArrowheads="1"/>
          </p:cNvPicPr>
          <p:nvPr/>
        </p:nvPicPr>
        <p:blipFill>
          <a:blip r:embed="rId2" cstate="print"/>
          <a:srcRect l="4225"/>
          <a:stretch>
            <a:fillRect/>
          </a:stretch>
        </p:blipFill>
        <p:spPr bwMode="gray">
          <a:xfrm>
            <a:off x="8553400" y="4639254"/>
            <a:ext cx="191937" cy="20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0" name="AutoShape 380" descr="넓은 상향 대각선"/>
          <p:cNvSpPr>
            <a:spLocks noChangeArrowheads="1"/>
          </p:cNvSpPr>
          <p:nvPr/>
        </p:nvSpPr>
        <p:spPr bwMode="auto">
          <a:xfrm rot="10800000" flipV="1">
            <a:off x="4334323" y="4761148"/>
            <a:ext cx="3072386" cy="264689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41 w 21600"/>
              <a:gd name="T13" fmla="*/ 2841 h 21600"/>
              <a:gd name="T14" fmla="*/ 18759 w 21600"/>
              <a:gd name="T15" fmla="*/ 1875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81" y="21600"/>
                </a:lnTo>
                <a:lnTo>
                  <a:pt x="1951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CC99">
                  <a:alpha val="10001"/>
                </a:srgbClr>
              </a:gs>
              <a:gs pos="100000">
                <a:srgbClr val="FF6600">
                  <a:alpha val="39998"/>
                </a:srgbClr>
              </a:gs>
            </a:gsLst>
            <a:lin ang="162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BE6D6C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3" name="Text Box 72"/>
          <p:cNvSpPr txBox="1">
            <a:spLocks noChangeArrowheads="1"/>
          </p:cNvSpPr>
          <p:nvPr/>
        </p:nvSpPr>
        <p:spPr bwMode="auto">
          <a:xfrm>
            <a:off x="5228527" y="4818088"/>
            <a:ext cx="128397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defTabSz="936625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366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문제점 보완 및 </a:t>
            </a:r>
            <a:r>
              <a:rPr kumimoji="1" lang="ko-KR" altLang="en-US" sz="800" b="0" i="0" u="none" strike="noStrike" kern="0" cap="none" spc="0" normalizeH="0" noProof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스템 튜닝 </a:t>
            </a:r>
          </a:p>
        </p:txBody>
      </p:sp>
      <p:sp>
        <p:nvSpPr>
          <p:cNvPr id="185" name="AutoShape 380" descr="넓은 상향 대각선"/>
          <p:cNvSpPr>
            <a:spLocks noChangeArrowheads="1"/>
          </p:cNvSpPr>
          <p:nvPr/>
        </p:nvSpPr>
        <p:spPr bwMode="auto">
          <a:xfrm rot="10800000" flipV="1">
            <a:off x="4324800" y="4761150"/>
            <a:ext cx="3081909" cy="225404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41 w 21600"/>
              <a:gd name="T13" fmla="*/ 2841 h 21600"/>
              <a:gd name="T14" fmla="*/ 18759 w 21600"/>
              <a:gd name="T15" fmla="*/ 1875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81" y="21600"/>
                </a:lnTo>
                <a:lnTo>
                  <a:pt x="1951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9050" algn="ctr">
            <a:solidFill>
              <a:srgbClr val="EE5B00"/>
            </a:solidFill>
            <a:round/>
            <a:headEnd/>
            <a:tailEnd/>
          </a:ln>
          <a:effectLst>
            <a:outerShdw blurRad="12700" dist="12700" dir="2700000" algn="tl" rotWithShape="0">
              <a:srgbClr val="000000">
                <a:alpha val="34000"/>
              </a:srgbClr>
            </a:outerShdw>
          </a:effectLst>
          <a:extLst/>
        </p:spPr>
        <p:txBody>
          <a:bodyPr wrap="none" lIns="90000" tIns="46800" rIns="90000" bIns="46800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6" name="AutoShape 380" descr="넓은 상향 대각선"/>
          <p:cNvSpPr>
            <a:spLocks noChangeArrowheads="1"/>
          </p:cNvSpPr>
          <p:nvPr/>
        </p:nvSpPr>
        <p:spPr bwMode="auto">
          <a:xfrm rot="10800000" flipV="1">
            <a:off x="4334325" y="4761147"/>
            <a:ext cx="3072384" cy="22535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41 w 21600"/>
              <a:gd name="T13" fmla="*/ 2841 h 21600"/>
              <a:gd name="T14" fmla="*/ 18759 w 21600"/>
              <a:gd name="T15" fmla="*/ 1875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81" y="21600"/>
                </a:lnTo>
                <a:lnTo>
                  <a:pt x="1951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4445" algn="ctr">
            <a:solidFill>
              <a:sysClr val="window" lastClr="FFFFFF"/>
            </a:solidFill>
            <a:prstDash val="sysDash"/>
            <a:round/>
            <a:headEnd/>
            <a:tailEnd/>
          </a:ln>
          <a:extLst/>
        </p:spPr>
        <p:txBody>
          <a:bodyPr wrap="none" lIns="90000" tIns="46800" rIns="90000" bIns="46800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9" name="LcShp 28" descr="어두운 상향 대각선"/>
          <p:cNvSpPr>
            <a:spLocks noChangeArrowheads="1"/>
          </p:cNvSpPr>
          <p:nvPr/>
        </p:nvSpPr>
        <p:spPr bwMode="auto">
          <a:xfrm>
            <a:off x="4038551" y="4365104"/>
            <a:ext cx="408661" cy="199305"/>
          </a:xfrm>
          <a:prstGeom prst="roundRect">
            <a:avLst>
              <a:gd name="adj" fmla="val 5000"/>
            </a:avLst>
          </a:prstGeom>
          <a:noFill/>
          <a:ln w="6350" algn="ctr">
            <a:noFill/>
            <a:round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kumimoji="0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차</a:t>
            </a:r>
            <a:endParaRPr kumimoji="0" lang="ko-KR" altLang="en-US" sz="800" b="0" i="0" u="none" strike="noStrike" kern="0" cap="none" spc="0" normalizeH="0" noProof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26679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80" name="LcShp 28" descr="어두운 상향 대각선"/>
          <p:cNvSpPr>
            <a:spLocks noChangeArrowheads="1"/>
          </p:cNvSpPr>
          <p:nvPr/>
        </p:nvSpPr>
        <p:spPr bwMode="auto">
          <a:xfrm>
            <a:off x="5170182" y="4365104"/>
            <a:ext cx="408661" cy="199305"/>
          </a:xfrm>
          <a:prstGeom prst="roundRect">
            <a:avLst>
              <a:gd name="adj" fmla="val 5000"/>
            </a:avLst>
          </a:prstGeom>
          <a:noFill/>
          <a:ln w="6350" algn="ctr">
            <a:noFill/>
            <a:round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kern="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kumimoji="0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차</a:t>
            </a:r>
            <a:endParaRPr kumimoji="0" lang="ko-KR" altLang="en-US" sz="800" b="0" i="0" u="none" strike="noStrike" kern="0" cap="none" spc="0" normalizeH="0" noProof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26679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18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69" t="22569" r="53814" b="45274"/>
          <a:stretch/>
        </p:blipFill>
        <p:spPr bwMode="auto">
          <a:xfrm>
            <a:off x="3829039" y="4390244"/>
            <a:ext cx="144016" cy="132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69" t="22569" r="53814" b="45274"/>
          <a:stretch/>
        </p:blipFill>
        <p:spPr bwMode="auto">
          <a:xfrm>
            <a:off x="4987149" y="4390244"/>
            <a:ext cx="144016" cy="132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0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6" name="AutoShape 378" descr="체크 무늬"/>
          <p:cNvSpPr>
            <a:spLocks noChangeArrowheads="1"/>
          </p:cNvSpPr>
          <p:nvPr/>
        </p:nvSpPr>
        <p:spPr bwMode="auto">
          <a:xfrm flipV="1">
            <a:off x="6137047" y="4542883"/>
            <a:ext cx="484273" cy="19271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41 w 21600"/>
              <a:gd name="T13" fmla="*/ 2841 h 21600"/>
              <a:gd name="T14" fmla="*/ 18759 w 21600"/>
              <a:gd name="T15" fmla="*/ 1875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81" y="21600"/>
                </a:lnTo>
                <a:lnTo>
                  <a:pt x="1951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BCBDC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185C86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8" name="LcShp 28" descr="어두운 상향 대각선"/>
          <p:cNvSpPr>
            <a:spLocks noChangeArrowheads="1"/>
          </p:cNvSpPr>
          <p:nvPr/>
        </p:nvSpPr>
        <p:spPr bwMode="auto">
          <a:xfrm>
            <a:off x="6324188" y="4365104"/>
            <a:ext cx="408661" cy="199305"/>
          </a:xfrm>
          <a:prstGeom prst="roundRect">
            <a:avLst>
              <a:gd name="adj" fmla="val 5000"/>
            </a:avLst>
          </a:prstGeom>
          <a:noFill/>
          <a:ln w="6350" algn="ctr">
            <a:noFill/>
            <a:round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kern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</a:t>
            </a:r>
            <a:r>
              <a:rPr kumimoji="0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차</a:t>
            </a:r>
            <a:endParaRPr kumimoji="0" lang="ko-KR" altLang="en-US" sz="800" b="0" i="0" u="none" strike="noStrike" kern="0" cap="none" spc="0" normalizeH="0" noProof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26679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8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69" t="22569" r="53814" b="45274"/>
          <a:stretch/>
        </p:blipFill>
        <p:spPr bwMode="auto">
          <a:xfrm>
            <a:off x="6141155" y="4390244"/>
            <a:ext cx="144016" cy="132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0" name="AutoShape 378" descr="체크 무늬"/>
          <p:cNvSpPr>
            <a:spLocks noChangeArrowheads="1"/>
          </p:cNvSpPr>
          <p:nvPr/>
        </p:nvSpPr>
        <p:spPr bwMode="auto">
          <a:xfrm flipV="1">
            <a:off x="7406710" y="4542883"/>
            <a:ext cx="484273" cy="19271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41 w 21600"/>
              <a:gd name="T13" fmla="*/ 2841 h 21600"/>
              <a:gd name="T14" fmla="*/ 18759 w 21600"/>
              <a:gd name="T15" fmla="*/ 1875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81" y="21600"/>
                </a:lnTo>
                <a:lnTo>
                  <a:pt x="19519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BBCBDC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185C86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1" name="LcShp 28" descr="어두운 상향 대각선"/>
          <p:cNvSpPr>
            <a:spLocks noChangeArrowheads="1"/>
          </p:cNvSpPr>
          <p:nvPr/>
        </p:nvSpPr>
        <p:spPr bwMode="auto">
          <a:xfrm>
            <a:off x="7593851" y="4365104"/>
            <a:ext cx="408661" cy="199305"/>
          </a:xfrm>
          <a:prstGeom prst="roundRect">
            <a:avLst>
              <a:gd name="adj" fmla="val 5000"/>
            </a:avLst>
          </a:prstGeom>
          <a:noFill/>
          <a:ln w="6350" algn="ctr">
            <a:noFill/>
            <a:round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kern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</a:t>
            </a:r>
            <a:r>
              <a:rPr kumimoji="0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26679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차</a:t>
            </a:r>
            <a:endParaRPr kumimoji="0" lang="ko-KR" altLang="en-US" sz="800" b="0" i="0" u="none" strike="noStrike" kern="0" cap="none" spc="0" normalizeH="0" noProof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26679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9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69" t="22569" r="53814" b="45274"/>
          <a:stretch/>
        </p:blipFill>
        <p:spPr bwMode="auto">
          <a:xfrm>
            <a:off x="7410818" y="4390244"/>
            <a:ext cx="144016" cy="132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74" name="AutoShape 2191"/>
          <p:cNvCxnSpPr>
            <a:cxnSpLocks noChangeShapeType="1"/>
          </p:cNvCxnSpPr>
          <p:nvPr/>
        </p:nvCxnSpPr>
        <p:spPr bwMode="auto">
          <a:xfrm flipH="1">
            <a:off x="922292" y="4737347"/>
            <a:ext cx="7668000" cy="0"/>
          </a:xfrm>
          <a:prstGeom prst="straightConnector1">
            <a:avLst/>
          </a:prstGeom>
          <a:noFill/>
          <a:ln w="38100">
            <a:pattFill prst="narVert">
              <a:fgClr>
                <a:srgbClr val="3366FF"/>
              </a:fgClr>
              <a:bgClr>
                <a:srgbClr val="99CCFF"/>
              </a:bgClr>
            </a:pattFill>
            <a:round/>
            <a:headEnd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900062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3.4 </a:t>
            </a:r>
            <a:r>
              <a:rPr lang="ko-KR" altLang="en-US" dirty="0"/>
              <a:t>성능 </a:t>
            </a:r>
            <a:r>
              <a:rPr lang="ko-KR" altLang="en-US" dirty="0" smtClean="0"/>
              <a:t>테스트 검증 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6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완료 후 시스템의 성능을 확인하며 운영 시스템에 부하 발생 시에도 정상적인 업무 처리와 기술 아키텍처 적정 수준의 성능을 내는지 검증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테스트 검증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성능 테스트 방안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6" name="AutoShape 6"/>
          <p:cNvSpPr>
            <a:spLocks noChangeArrowheads="1"/>
          </p:cNvSpPr>
          <p:nvPr/>
        </p:nvSpPr>
        <p:spPr bwMode="auto">
          <a:xfrm>
            <a:off x="1365295" y="2478802"/>
            <a:ext cx="2192734" cy="3943349"/>
          </a:xfrm>
          <a:prstGeom prst="roundRect">
            <a:avLst>
              <a:gd name="adj" fmla="val 1819"/>
            </a:avLst>
          </a:prstGeom>
          <a:solidFill>
            <a:schemeClr val="bg1"/>
          </a:solidFill>
          <a:ln w="9525" cap="rnd" algn="ctr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  <p:txBody>
          <a:bodyPr lIns="36000" tIns="0" rIns="36000" bIns="0" anchor="ctr"/>
          <a:lstStyle>
            <a:lvl1pPr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endParaRPr lang="ko-KR" altLang="ko-KR" sz="10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1C1C1C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8" name="AutoShape 6" descr="채우기1-1"/>
          <p:cNvSpPr>
            <a:spLocks noChangeArrowheads="1"/>
          </p:cNvSpPr>
          <p:nvPr/>
        </p:nvSpPr>
        <p:spPr bwMode="auto">
          <a:xfrm>
            <a:off x="1365295" y="2318465"/>
            <a:ext cx="2192734" cy="234000"/>
          </a:xfrm>
          <a:prstGeom prst="roundRect">
            <a:avLst>
              <a:gd name="adj" fmla="val 1819"/>
            </a:avLst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kumimoji="0" lang="ko-KR" altLang="en-US" sz="10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1C1C1C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아키텍처 진단</a:t>
            </a:r>
            <a:endParaRPr kumimoji="0" lang="ko-KR" altLang="en-US" sz="10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1C1C1C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1563716" y="2634319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각  요소별</a:t>
            </a:r>
            <a:endParaRPr kumimoji="1"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목표수준 정의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0" name="AutoShape 6"/>
          <p:cNvSpPr>
            <a:spLocks noChangeArrowheads="1"/>
          </p:cNvSpPr>
          <p:nvPr/>
        </p:nvSpPr>
        <p:spPr bwMode="auto">
          <a:xfrm>
            <a:off x="3802611" y="2473213"/>
            <a:ext cx="3105541" cy="3949743"/>
          </a:xfrm>
          <a:prstGeom prst="roundRect">
            <a:avLst>
              <a:gd name="adj" fmla="val 1819"/>
            </a:avLst>
          </a:prstGeom>
          <a:solidFill>
            <a:schemeClr val="bg1"/>
          </a:solidFill>
          <a:ln w="9525" cap="rnd" algn="ctr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  <p:txBody>
          <a:bodyPr lIns="36000" tIns="0" rIns="36000" bIns="0" anchor="ctr"/>
          <a:lstStyle>
            <a:lvl1pPr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endParaRPr lang="ko-KR" altLang="ko-KR" sz="10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1C1C1C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91" name="AutoShape 6" descr="채우기1-1"/>
          <p:cNvSpPr>
            <a:spLocks noChangeArrowheads="1"/>
          </p:cNvSpPr>
          <p:nvPr/>
        </p:nvSpPr>
        <p:spPr bwMode="auto">
          <a:xfrm>
            <a:off x="3799841" y="2312876"/>
            <a:ext cx="3108311" cy="234000"/>
          </a:xfrm>
          <a:prstGeom prst="roundRect">
            <a:avLst>
              <a:gd name="adj" fmla="val 1819"/>
            </a:avLst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kumimoji="0" lang="ko-KR" altLang="en-US" sz="10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1C1C1C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진단</a:t>
            </a:r>
            <a:endParaRPr kumimoji="0" lang="ko-KR" altLang="en-US" sz="10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1C1C1C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2" name="AutoShape 6"/>
          <p:cNvSpPr>
            <a:spLocks noChangeArrowheads="1"/>
          </p:cNvSpPr>
          <p:nvPr/>
        </p:nvSpPr>
        <p:spPr bwMode="auto">
          <a:xfrm>
            <a:off x="7113250" y="2473214"/>
            <a:ext cx="2232360" cy="3948938"/>
          </a:xfrm>
          <a:prstGeom prst="roundRect">
            <a:avLst>
              <a:gd name="adj" fmla="val 1819"/>
            </a:avLst>
          </a:prstGeom>
          <a:solidFill>
            <a:schemeClr val="bg1"/>
          </a:solidFill>
          <a:ln w="9525" cap="rnd" algn="ctr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  <p:txBody>
          <a:bodyPr lIns="36000" tIns="0" rIns="36000" bIns="0" anchor="ctr"/>
          <a:lstStyle>
            <a:lvl1pPr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08038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endParaRPr lang="ko-KR" altLang="ko-KR" sz="10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1C1C1C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93" name="AutoShape 6" descr="채우기1-1"/>
          <p:cNvSpPr>
            <a:spLocks noChangeArrowheads="1"/>
          </p:cNvSpPr>
          <p:nvPr/>
        </p:nvSpPr>
        <p:spPr bwMode="auto">
          <a:xfrm>
            <a:off x="7113250" y="2312876"/>
            <a:ext cx="2229590" cy="234000"/>
          </a:xfrm>
          <a:prstGeom prst="roundRect">
            <a:avLst>
              <a:gd name="adj" fmla="val 1819"/>
            </a:avLst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741363" eaLnBrk="0" hangingPunct="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741363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kumimoji="0" lang="ko-KR" altLang="en-US" sz="10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1C1C1C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니터링 및 최적화</a:t>
            </a:r>
            <a:endParaRPr kumimoji="0" lang="ko-KR" altLang="en-US" sz="10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1C1C1C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1563716" y="3248094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아키텍처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진단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95" name="AutoShape 52"/>
          <p:cNvCxnSpPr>
            <a:cxnSpLocks noChangeShapeType="1"/>
            <a:stCxn id="94" idx="3"/>
            <a:endCxn id="96" idx="1"/>
          </p:cNvCxnSpPr>
          <p:nvPr/>
        </p:nvCxnSpPr>
        <p:spPr bwMode="auto">
          <a:xfrm flipV="1">
            <a:off x="2283716" y="2809653"/>
            <a:ext cx="355068" cy="618441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6" name="직사각형 95"/>
          <p:cNvSpPr/>
          <p:nvPr/>
        </p:nvSpPr>
        <p:spPr bwMode="auto">
          <a:xfrm>
            <a:off x="2638784" y="2629653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아키텍처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준 평가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2638784" y="3248094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아키텍처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진단 결과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99" name="직선 화살표 연결선 98"/>
          <p:cNvCxnSpPr>
            <a:stCxn id="89" idx="2"/>
            <a:endCxn id="94" idx="0"/>
          </p:cNvCxnSpPr>
          <p:nvPr/>
        </p:nvCxnSpPr>
        <p:spPr bwMode="auto">
          <a:xfrm>
            <a:off x="1923716" y="2994319"/>
            <a:ext cx="0" cy="253775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0" name="직선 화살표 연결선 99"/>
          <p:cNvCxnSpPr>
            <a:stCxn id="96" idx="2"/>
            <a:endCxn id="98" idx="0"/>
          </p:cNvCxnSpPr>
          <p:nvPr/>
        </p:nvCxnSpPr>
        <p:spPr bwMode="auto">
          <a:xfrm>
            <a:off x="2998784" y="2989653"/>
            <a:ext cx="0" cy="25844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1" name="직사각형 214"/>
          <p:cNvSpPr>
            <a:spLocks noChangeArrowheads="1"/>
          </p:cNvSpPr>
          <p:nvPr/>
        </p:nvSpPr>
        <p:spPr bwMode="auto">
          <a:xfrm>
            <a:off x="2648780" y="3911995"/>
            <a:ext cx="720000" cy="360000"/>
          </a:xfrm>
          <a:prstGeom prst="roundRect">
            <a:avLst>
              <a:gd name="adj" fmla="val 7333"/>
            </a:avLst>
          </a:prstGeom>
          <a:gradFill rotWithShape="1">
            <a:gsLst>
              <a:gs pos="0">
                <a:srgbClr val="B7E7FF"/>
              </a:gs>
              <a:gs pos="100000">
                <a:srgbClr val="4FC0FF"/>
              </a:gs>
            </a:gsLst>
            <a:lin ang="5400000" scaled="1"/>
          </a:gradFill>
          <a:ln w="9525" algn="ctr">
            <a:solidFill>
              <a:srgbClr val="2FB5FF"/>
            </a:solidFill>
            <a:round/>
            <a:headEnd/>
            <a:tailEnd/>
          </a:ln>
        </p:spPr>
        <p:txBody>
          <a:bodyPr vert="horz" lIns="0" tIns="0" rIns="0" bIns="0" anchor="ctr"/>
          <a:lstStyle>
            <a:lvl1pPr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성능 진단</a:t>
            </a:r>
            <a:endParaRPr lang="en-US" altLang="ko-KR" sz="800" b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  <a:p>
            <a:pPr algn="ctr"/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수행 결정</a:t>
            </a:r>
            <a:endParaRPr lang="en-US" altLang="ko-KR" sz="8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3968394" y="2634319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진단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설계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03" name="AutoShape 52"/>
          <p:cNvCxnSpPr>
            <a:cxnSpLocks noChangeShapeType="1"/>
            <a:stCxn id="101" idx="3"/>
            <a:endCxn id="102" idx="1"/>
          </p:cNvCxnSpPr>
          <p:nvPr/>
        </p:nvCxnSpPr>
        <p:spPr bwMode="auto">
          <a:xfrm flipV="1">
            <a:off x="3368780" y="2814319"/>
            <a:ext cx="599614" cy="1277676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4" name="직사각형 103"/>
          <p:cNvSpPr/>
          <p:nvPr/>
        </p:nvSpPr>
        <p:spPr bwMode="auto">
          <a:xfrm>
            <a:off x="3968394" y="3248094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진단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행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05" name="직선 화살표 연결선 104"/>
          <p:cNvCxnSpPr>
            <a:stCxn id="102" idx="2"/>
            <a:endCxn id="104" idx="0"/>
          </p:cNvCxnSpPr>
          <p:nvPr/>
        </p:nvCxnSpPr>
        <p:spPr bwMode="auto">
          <a:xfrm>
            <a:off x="4328394" y="2994319"/>
            <a:ext cx="0" cy="253775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6" name="직사각형 105"/>
          <p:cNvSpPr/>
          <p:nvPr/>
        </p:nvSpPr>
        <p:spPr bwMode="auto">
          <a:xfrm>
            <a:off x="4995405" y="2629548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저해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인 도출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4995405" y="3243323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개선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획 마련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08" name="AutoShape 52"/>
          <p:cNvCxnSpPr>
            <a:cxnSpLocks noChangeShapeType="1"/>
            <a:stCxn id="104" idx="3"/>
            <a:endCxn id="106" idx="1"/>
          </p:cNvCxnSpPr>
          <p:nvPr/>
        </p:nvCxnSpPr>
        <p:spPr bwMode="auto">
          <a:xfrm flipV="1">
            <a:off x="4688394" y="2809548"/>
            <a:ext cx="307011" cy="618546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9" name="직선 화살표 연결선 108"/>
          <p:cNvCxnSpPr>
            <a:stCxn id="106" idx="2"/>
            <a:endCxn id="107" idx="0"/>
          </p:cNvCxnSpPr>
          <p:nvPr/>
        </p:nvCxnSpPr>
        <p:spPr bwMode="auto">
          <a:xfrm>
            <a:off x="5355405" y="2989548"/>
            <a:ext cx="0" cy="253775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0" name="직사각형 109"/>
          <p:cNvSpPr/>
          <p:nvPr/>
        </p:nvSpPr>
        <p:spPr bwMode="auto">
          <a:xfrm>
            <a:off x="6033250" y="3243323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개선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작업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1" name="직사각형 214"/>
          <p:cNvSpPr>
            <a:spLocks noChangeArrowheads="1"/>
          </p:cNvSpPr>
          <p:nvPr/>
        </p:nvSpPr>
        <p:spPr bwMode="auto">
          <a:xfrm>
            <a:off x="4995405" y="3911995"/>
            <a:ext cx="720000" cy="360000"/>
          </a:xfrm>
          <a:prstGeom prst="roundRect">
            <a:avLst>
              <a:gd name="adj" fmla="val 7333"/>
            </a:avLst>
          </a:prstGeom>
          <a:gradFill rotWithShape="1">
            <a:gsLst>
              <a:gs pos="0">
                <a:srgbClr val="B7E7FF"/>
              </a:gs>
              <a:gs pos="100000">
                <a:srgbClr val="4FC0FF"/>
              </a:gs>
            </a:gsLst>
            <a:lin ang="5400000" scaled="1"/>
          </a:gradFill>
          <a:ln w="9525" algn="ctr">
            <a:solidFill>
              <a:srgbClr val="2FB5FF"/>
            </a:solidFill>
            <a:round/>
            <a:headEnd/>
            <a:tailEnd/>
          </a:ln>
        </p:spPr>
        <p:txBody>
          <a:bodyPr vert="horz" lIns="0" tIns="0" rIns="0" bIns="0" anchor="ctr"/>
          <a:lstStyle>
            <a:lvl1pPr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성능 개선</a:t>
            </a:r>
            <a:endParaRPr lang="en-US" altLang="ko-KR" sz="800" b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  <a:p>
            <a:pPr algn="ctr"/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결정</a:t>
            </a:r>
            <a:endParaRPr lang="en-US" altLang="ko-KR" sz="8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113" name="AutoShape 52"/>
          <p:cNvCxnSpPr>
            <a:cxnSpLocks noChangeShapeType="1"/>
            <a:stCxn id="111" idx="3"/>
            <a:endCxn id="110" idx="2"/>
          </p:cNvCxnSpPr>
          <p:nvPr/>
        </p:nvCxnSpPr>
        <p:spPr bwMode="auto">
          <a:xfrm flipV="1">
            <a:off x="5715405" y="3603323"/>
            <a:ext cx="677845" cy="488672"/>
          </a:xfrm>
          <a:prstGeom prst="bentConnector2">
            <a:avLst/>
          </a:prstGeom>
          <a:noFill/>
          <a:ln w="6350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5" name="직사각형 114"/>
          <p:cNvSpPr/>
          <p:nvPr/>
        </p:nvSpPr>
        <p:spPr bwMode="auto">
          <a:xfrm>
            <a:off x="7257320" y="3243323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원인 분석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7257320" y="2644550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해결 방안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마련 및 적용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18" name="직선 화살표 연결선 117"/>
          <p:cNvCxnSpPr>
            <a:stCxn id="117" idx="2"/>
            <a:endCxn id="115" idx="0"/>
          </p:cNvCxnSpPr>
          <p:nvPr/>
        </p:nvCxnSpPr>
        <p:spPr bwMode="auto">
          <a:xfrm>
            <a:off x="7617320" y="3004550"/>
            <a:ext cx="0" cy="238773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med" len="med"/>
            <a:tailEnd type="none"/>
          </a:ln>
          <a:effectLst/>
        </p:spPr>
      </p:cxnSp>
      <p:sp>
        <p:nvSpPr>
          <p:cNvPr id="120" name="직사각형 214"/>
          <p:cNvSpPr>
            <a:spLocks noChangeArrowheads="1"/>
          </p:cNvSpPr>
          <p:nvPr/>
        </p:nvSpPr>
        <p:spPr bwMode="auto">
          <a:xfrm>
            <a:off x="7257320" y="3911995"/>
            <a:ext cx="720000" cy="360000"/>
          </a:xfrm>
          <a:prstGeom prst="roundRect">
            <a:avLst>
              <a:gd name="adj" fmla="val 7333"/>
            </a:avLst>
          </a:prstGeom>
          <a:gradFill rotWithShape="1">
            <a:gsLst>
              <a:gs pos="0">
                <a:srgbClr val="B7E7FF"/>
              </a:gs>
              <a:gs pos="100000">
                <a:srgbClr val="4FC0FF"/>
              </a:gs>
            </a:gsLst>
            <a:lin ang="5400000" scaled="1"/>
          </a:gradFill>
          <a:ln w="9525" algn="ctr">
            <a:solidFill>
              <a:srgbClr val="2FB5FF"/>
            </a:solidFill>
            <a:round/>
            <a:headEnd/>
            <a:tailEnd/>
          </a:ln>
        </p:spPr>
        <p:txBody>
          <a:bodyPr vert="horz" lIns="0" tIns="0" rIns="0" bIns="0" anchor="ctr"/>
          <a:lstStyle>
            <a:lvl1pPr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장애</a:t>
            </a:r>
            <a:r>
              <a:rPr lang="en-US" altLang="ko-KR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/</a:t>
            </a:r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성능</a:t>
            </a:r>
            <a:endParaRPr lang="en-US" altLang="ko-KR" sz="800" b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  <a:p>
            <a:pPr algn="ctr"/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저하 통보</a:t>
            </a:r>
            <a:endParaRPr lang="en-US" altLang="ko-KR" sz="8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121" name="직선 화살표 연결선 120"/>
          <p:cNvCxnSpPr>
            <a:stCxn id="115" idx="2"/>
            <a:endCxn id="120" idx="0"/>
          </p:cNvCxnSpPr>
          <p:nvPr/>
        </p:nvCxnSpPr>
        <p:spPr bwMode="auto">
          <a:xfrm>
            <a:off x="7617320" y="3603323"/>
            <a:ext cx="0" cy="308672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2" name="직사각형 121"/>
          <p:cNvSpPr/>
          <p:nvPr/>
        </p:nvSpPr>
        <p:spPr bwMode="auto">
          <a:xfrm>
            <a:off x="8450114" y="3243323"/>
            <a:ext cx="720000" cy="360000"/>
          </a:xfrm>
          <a:prstGeom prst="rect">
            <a:avLst/>
          </a:prstGeom>
          <a:blipFill>
            <a:blip r:embed="rId3" cstate="print">
              <a:grayscl/>
              <a:extLst/>
            </a:blip>
            <a:stretch>
              <a:fillRect/>
            </a:stretch>
          </a:blipFill>
          <a:ln w="6350" algn="ctr">
            <a:solidFill>
              <a:srgbClr val="BFBFBF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lvl="1" algn="ctr" defTabSz="902993" fontAlgn="ctr" latinLnBrk="0"/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치 결과서</a:t>
            </a:r>
            <a:endParaRPr lang="en-US" altLang="ko-KR" sz="8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902993" fontAlgn="ctr" latinLnBrk="0"/>
            <a:r>
              <a:rPr kumimoji="1"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제출</a:t>
            </a:r>
            <a:endParaRPr kumimoji="1"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3" name="직사각형 214"/>
          <p:cNvSpPr>
            <a:spLocks noChangeArrowheads="1"/>
          </p:cNvSpPr>
          <p:nvPr/>
        </p:nvSpPr>
        <p:spPr bwMode="auto">
          <a:xfrm>
            <a:off x="8450114" y="3906444"/>
            <a:ext cx="720000" cy="360000"/>
          </a:xfrm>
          <a:prstGeom prst="roundRect">
            <a:avLst>
              <a:gd name="adj" fmla="val 7333"/>
            </a:avLst>
          </a:prstGeom>
          <a:gradFill rotWithShape="1">
            <a:gsLst>
              <a:gs pos="0">
                <a:srgbClr val="B7E7FF"/>
              </a:gs>
              <a:gs pos="100000">
                <a:srgbClr val="4FC0FF"/>
              </a:gs>
            </a:gsLst>
            <a:lin ang="5400000" scaled="1"/>
          </a:gradFill>
          <a:ln w="9525" algn="ctr">
            <a:solidFill>
              <a:srgbClr val="2FB5FF"/>
            </a:solidFill>
            <a:round/>
            <a:headEnd/>
            <a:tailEnd/>
          </a:ln>
        </p:spPr>
        <p:txBody>
          <a:bodyPr vert="horz" lIns="0" tIns="0" rIns="0" bIns="0" anchor="ctr"/>
          <a:lstStyle>
            <a:lvl1pPr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4192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4192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r>
              <a:rPr lang="ko-KR" altLang="en-US" sz="800" b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결과 확인</a:t>
            </a:r>
            <a:endParaRPr lang="en-US" altLang="ko-KR" sz="800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124" name="직선 화살표 연결선 123"/>
          <p:cNvCxnSpPr>
            <a:stCxn id="122" idx="2"/>
            <a:endCxn id="123" idx="0"/>
          </p:cNvCxnSpPr>
          <p:nvPr/>
        </p:nvCxnSpPr>
        <p:spPr bwMode="auto">
          <a:xfrm>
            <a:off x="8810114" y="3603323"/>
            <a:ext cx="0" cy="30312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25" name="그룹 124"/>
          <p:cNvGrpSpPr/>
          <p:nvPr/>
        </p:nvGrpSpPr>
        <p:grpSpPr>
          <a:xfrm>
            <a:off x="8497326" y="2638040"/>
            <a:ext cx="616675" cy="367140"/>
            <a:chOff x="6291801" y="4264895"/>
            <a:chExt cx="616675" cy="367140"/>
          </a:xfrm>
        </p:grpSpPr>
        <p:pic>
          <p:nvPicPr>
            <p:cNvPr id="126" name="그림 1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1801" y="4264895"/>
              <a:ext cx="616675" cy="367140"/>
            </a:xfrm>
            <a:prstGeom prst="rect">
              <a:avLst/>
            </a:prstGeom>
          </p:spPr>
        </p:pic>
        <p:sp>
          <p:nvSpPr>
            <p:cNvPr id="127" name="Text Box 60"/>
            <p:cNvSpPr txBox="1">
              <a:spLocks noChangeArrowheads="1"/>
            </p:cNvSpPr>
            <p:nvPr/>
          </p:nvSpPr>
          <p:spPr bwMode="auto">
            <a:xfrm>
              <a:off x="6419195" y="4427131"/>
              <a:ext cx="365485" cy="1969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ctr" defTabSz="893763"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1pPr>
              <a:lvl2pPr marL="725488" indent="-279400" algn="ctr" defTabSz="893763"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2pPr>
              <a:lvl3pPr marL="1116013" indent="-222250" algn="ctr" defTabSz="893763"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3pPr>
              <a:lvl4pPr marL="1563688" indent="-223838" algn="ctr" defTabSz="893763"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4pPr>
              <a:lvl5pPr marL="2009775" indent="-223838" algn="ctr" defTabSz="893763"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5pPr>
              <a:lvl6pPr marL="2466975" indent="-223838" algn="ctr" defTabSz="8937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6pPr>
              <a:lvl7pPr marL="2924175" indent="-223838" algn="ctr" defTabSz="8937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7pPr>
              <a:lvl8pPr marL="3381375" indent="-223838" algn="ctr" defTabSz="8937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8pPr>
              <a:lvl9pPr marL="3838575" indent="-223838" algn="ctr" defTabSz="893763" eaLnBrk="0" fontAlgn="base" hangingPunct="0">
                <a:spcBef>
                  <a:spcPct val="0"/>
                </a:spcBef>
                <a:spcAft>
                  <a:spcPct val="0"/>
                </a:spcAft>
                <a:defRPr kumimoji="1" sz="100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defRPr>
              </a:lvl9pPr>
            </a:lstStyle>
            <a:p>
              <a:pPr latinLnBrk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SzPct val="80000"/>
              </a:pPr>
              <a:r>
                <a:rPr kumimoji="0" lang="ko-KR" altLang="en-US" sz="8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장애이력</a:t>
              </a:r>
            </a:p>
            <a:p>
              <a:pPr latinLnBrk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SzPct val="80000"/>
              </a:pPr>
              <a:r>
                <a:rPr kumimoji="0" lang="en-US" altLang="ko-KR" sz="80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B</a:t>
              </a:r>
            </a:p>
          </p:txBody>
        </p:sp>
      </p:grpSp>
      <p:cxnSp>
        <p:nvCxnSpPr>
          <p:cNvPr id="152" name="직선 화살표 연결선 151"/>
          <p:cNvCxnSpPr>
            <a:stCxn id="117" idx="3"/>
            <a:endCxn id="126" idx="1"/>
          </p:cNvCxnSpPr>
          <p:nvPr/>
        </p:nvCxnSpPr>
        <p:spPr bwMode="auto">
          <a:xfrm flipV="1">
            <a:off x="7977320" y="2821610"/>
            <a:ext cx="520006" cy="294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9" name="직선 화살표 연결선 168"/>
          <p:cNvCxnSpPr>
            <a:stCxn id="127" idx="2"/>
            <a:endCxn id="122" idx="0"/>
          </p:cNvCxnSpPr>
          <p:nvPr/>
        </p:nvCxnSpPr>
        <p:spPr bwMode="auto">
          <a:xfrm>
            <a:off x="8807463" y="2997253"/>
            <a:ext cx="2651" cy="24607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1" name="AutoShape 147"/>
          <p:cNvSpPr>
            <a:spLocks noChangeArrowheads="1"/>
          </p:cNvSpPr>
          <p:nvPr/>
        </p:nvSpPr>
        <p:spPr bwMode="auto">
          <a:xfrm>
            <a:off x="2217314" y="3781813"/>
            <a:ext cx="7056285" cy="584624"/>
          </a:xfrm>
          <a:prstGeom prst="roundRect">
            <a:avLst>
              <a:gd name="adj" fmla="val 0"/>
            </a:avLst>
          </a:prstGeom>
          <a:noFill/>
          <a:ln w="19050" algn="ctr">
            <a:solidFill>
              <a:srgbClr val="0F8BD3"/>
            </a:solidFill>
            <a:round/>
            <a:headEnd/>
            <a:tailEnd/>
          </a:ln>
          <a:effectLst>
            <a:outerShdw dist="25400" dir="2700000" algn="ctr" rotWithShape="0">
              <a:srgbClr val="EFF1F0"/>
            </a:outerShdw>
          </a:effectLst>
        </p:spPr>
        <p:txBody>
          <a:bodyPr wrap="none" anchor="ctr"/>
          <a:lstStyle/>
          <a:p>
            <a:endParaRPr lang="ko-KR" altLang="en-US" sz="105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FFFFFF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82" name="Text Box 200"/>
          <p:cNvSpPr txBox="1">
            <a:spLocks noChangeArrowheads="1"/>
          </p:cNvSpPr>
          <p:nvPr/>
        </p:nvSpPr>
        <p:spPr bwMode="auto">
          <a:xfrm>
            <a:off x="2286988" y="3897742"/>
            <a:ext cx="289682" cy="377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36000" anchor="ctr">
            <a:spAutoFit/>
          </a:bodyPr>
          <a:lstStyle>
            <a:lvl1pPr algn="ctr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742950" indent="-285750" algn="ctr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2pPr>
            <a:lvl3pPr marL="1143000" indent="-228600" algn="ctr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3pPr>
            <a:lvl4pPr marL="1600200" indent="-228600" algn="ctr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4pPr>
            <a:lvl5pPr marL="2057400" indent="-228600" algn="ctr"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9pPr>
          </a:lstStyle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</a:t>
            </a:r>
            <a:endParaRPr lang="en-US" altLang="ko-KR" sz="9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확인</a:t>
            </a:r>
            <a:endParaRPr lang="en-US" altLang="ko-KR" sz="9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90" name="직선 화살표 연결선 189"/>
          <p:cNvCxnSpPr>
            <a:stCxn id="107" idx="2"/>
            <a:endCxn id="111" idx="0"/>
          </p:cNvCxnSpPr>
          <p:nvPr/>
        </p:nvCxnSpPr>
        <p:spPr bwMode="auto">
          <a:xfrm>
            <a:off x="5355405" y="3603323"/>
            <a:ext cx="0" cy="308672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1" name="직사각형 190"/>
          <p:cNvSpPr/>
          <p:nvPr/>
        </p:nvSpPr>
        <p:spPr bwMode="auto">
          <a:xfrm>
            <a:off x="464182" y="2629548"/>
            <a:ext cx="816308" cy="970046"/>
          </a:xfrm>
          <a:prstGeom prst="rect">
            <a:avLst/>
          </a:prstGeom>
          <a:solidFill>
            <a:srgbClr val="3C99D8"/>
          </a:solidFill>
          <a:ln w="15875">
            <a:solidFill>
              <a:srgbClr val="3C99D8"/>
            </a:solidFill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cene3d>
              <a:camera prst="orthographicFront"/>
              <a:lightRig rig="threePt" dir="t"/>
            </a:scene3d>
            <a:sp3d extrusionH="1270">
              <a:bevelT w="0"/>
            </a:sp3d>
          </a:bodyPr>
          <a:lstStyle/>
          <a:p>
            <a:pPr marL="0" lvl="1" algn="ctr" defTabSz="1145926" eaLnBrk="1" latin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tabLst>
                <a:tab pos="5648325" algn="l"/>
              </a:tabLst>
              <a:defRPr/>
            </a:pPr>
            <a:r>
              <a:rPr lang="ko-KR" altLang="en-US" sz="1100" spc="-15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검증</a:t>
            </a:r>
            <a:endParaRPr lang="en-US" altLang="ko-KR" sz="1100" spc="-15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1145926" eaLnBrk="1" latin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tabLst>
                <a:tab pos="5648325" algn="l"/>
              </a:tabLst>
              <a:defRPr/>
            </a:pPr>
            <a:r>
              <a:rPr lang="ko-KR" altLang="en-US" sz="1100" spc="-15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행 절차</a:t>
            </a:r>
            <a:endParaRPr lang="en-US" altLang="ko-KR" sz="1100" spc="-15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92" name="그룹 191"/>
          <p:cNvGrpSpPr/>
          <p:nvPr/>
        </p:nvGrpSpPr>
        <p:grpSpPr>
          <a:xfrm>
            <a:off x="1424510" y="4499596"/>
            <a:ext cx="2050713" cy="1923361"/>
            <a:chOff x="1542252" y="8155402"/>
            <a:chExt cx="2050713" cy="1923361"/>
          </a:xfrm>
        </p:grpSpPr>
        <p:grpSp>
          <p:nvGrpSpPr>
            <p:cNvPr id="193" name="그룹 192"/>
            <p:cNvGrpSpPr/>
            <p:nvPr/>
          </p:nvGrpSpPr>
          <p:grpSpPr>
            <a:xfrm>
              <a:off x="1758192" y="8311639"/>
              <a:ext cx="1593442" cy="1503546"/>
              <a:chOff x="9359092" y="7228546"/>
              <a:chExt cx="3426626" cy="3233313"/>
            </a:xfrm>
          </p:grpSpPr>
          <p:sp>
            <p:nvSpPr>
              <p:cNvPr id="199" name="Oval 27"/>
              <p:cNvSpPr>
                <a:spLocks noChangeArrowheads="1"/>
              </p:cNvSpPr>
              <p:nvPr/>
            </p:nvSpPr>
            <p:spPr bwMode="gray">
              <a:xfrm>
                <a:off x="9853537" y="7884699"/>
                <a:ext cx="2361646" cy="2363461"/>
              </a:xfrm>
              <a:prstGeom prst="ellipse">
                <a:avLst/>
              </a:prstGeom>
              <a:solidFill>
                <a:sysClr val="window" lastClr="FFFFFF">
                  <a:lumMod val="95000"/>
                  <a:alpha val="46000"/>
                </a:sysClr>
              </a:solidFill>
              <a:ln w="101600" algn="ctr">
                <a:solidFill>
                  <a:sysClr val="window" lastClr="FFFFFF">
                    <a:lumMod val="50000"/>
                    <a:alpha val="20000"/>
                  </a:sysClr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 marL="0" marR="0" lvl="0" indent="0" algn="l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grpSp>
            <p:nvGrpSpPr>
              <p:cNvPr id="200" name="Group 29"/>
              <p:cNvGrpSpPr>
                <a:grpSpLocks/>
              </p:cNvGrpSpPr>
              <p:nvPr/>
            </p:nvGrpSpPr>
            <p:grpSpPr bwMode="auto">
              <a:xfrm>
                <a:off x="10289456" y="8335997"/>
                <a:ext cx="1488137" cy="1460866"/>
                <a:chOff x="985" y="2195"/>
                <a:chExt cx="1398" cy="1399"/>
              </a:xfrm>
            </p:grpSpPr>
            <p:sp>
              <p:nvSpPr>
                <p:cNvPr id="226" name="Oval 30"/>
                <p:cNvSpPr>
                  <a:spLocks noChangeArrowheads="1"/>
                </p:cNvSpPr>
                <p:nvPr/>
              </p:nvSpPr>
              <p:spPr bwMode="gray">
                <a:xfrm>
                  <a:off x="985" y="2195"/>
                  <a:ext cx="1398" cy="1399"/>
                </a:xfrm>
                <a:prstGeom prst="ellipse">
                  <a:avLst/>
                </a:prstGeom>
                <a:solidFill>
                  <a:sysClr val="window" lastClr="FFFFFF"/>
                </a:solidFill>
                <a:ln w="9525" algn="ctr">
                  <a:solidFill>
                    <a:srgbClr val="C0C0C0"/>
                  </a:solidFill>
                  <a:prstDash val="dash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900" b="0" i="0" u="none" strike="noStrike" kern="0" cap="none" spc="0" normalizeH="0" noProof="0" dirty="0" smtClean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227" name="Oval 31"/>
                <p:cNvSpPr>
                  <a:spLocks noChangeArrowheads="1"/>
                </p:cNvSpPr>
                <p:nvPr/>
              </p:nvSpPr>
              <p:spPr bwMode="gray">
                <a:xfrm>
                  <a:off x="1059" y="2269"/>
                  <a:ext cx="1250" cy="1252"/>
                </a:xfrm>
                <a:prstGeom prst="ellipse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prstDash val="dash"/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900" b="0" i="0" u="none" strike="noStrike" kern="0" cap="none" spc="0" normalizeH="0" noProof="0" dirty="0" smtClean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</p:grpSp>
          <p:sp>
            <p:nvSpPr>
              <p:cNvPr id="201" name="Text Box 30"/>
              <p:cNvSpPr txBox="1">
                <a:spLocks noChangeArrowheads="1"/>
              </p:cNvSpPr>
              <p:nvPr/>
            </p:nvSpPr>
            <p:spPr bwMode="auto">
              <a:xfrm>
                <a:off x="10539815" y="8575000"/>
                <a:ext cx="990908" cy="9828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2700" algn="ctr" rotWithShape="0">
                        <a:srgbClr val="0D95E9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 anchorCtr="0">
                <a:spAutoFit/>
              </a:bodyPr>
              <a:lstStyle>
                <a:defPPr>
                  <a:defRPr lang="ko-KR"/>
                </a:defPPr>
                <a:lvl1pPr algn="ctr">
                  <a:lnSpc>
                    <a:spcPct val="110000"/>
                  </a:lnSpc>
                  <a:defRPr sz="1300">
                    <a:solidFill>
                      <a:srgbClr val="1F497D"/>
                    </a:solidFill>
                    <a:latin typeface="Rix모던고딕 EB" pitchFamily="18" charset="-127"/>
                    <a:ea typeface="Rix모던고딕 EB" pitchFamily="18" charset="-127"/>
                  </a:defRPr>
                </a:lvl1pPr>
              </a:lstStyle>
              <a:p>
                <a:pPr marL="0" marR="0" lvl="0" indent="0" algn="ctr" defTabSz="91440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noProof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다양한</a:t>
                </a:r>
              </a:p>
              <a:p>
                <a:pPr marL="0" marR="0" lvl="0" indent="0" algn="ctr" defTabSz="914400" eaLnBrk="0" fontAlgn="auto" latinLnBrk="0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noProof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진단기법</a:t>
                </a:r>
                <a:br>
                  <a:rPr kumimoji="0" lang="ko-KR" altLang="en-US" sz="900" b="0" i="0" u="none" strike="noStrike" kern="0" cap="none" spc="0" normalizeH="0" noProof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</a:br>
                <a:r>
                  <a:rPr kumimoji="0" lang="ko-KR" altLang="en-US" sz="900" b="0" i="0" u="none" strike="noStrike" kern="0" cap="none" spc="0" normalizeH="0" noProof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활용</a:t>
                </a:r>
              </a:p>
            </p:txBody>
          </p:sp>
          <p:grpSp>
            <p:nvGrpSpPr>
              <p:cNvPr id="202" name="그룹 201"/>
              <p:cNvGrpSpPr/>
              <p:nvPr/>
            </p:nvGrpSpPr>
            <p:grpSpPr>
              <a:xfrm>
                <a:off x="10541818" y="7228546"/>
                <a:ext cx="988905" cy="993046"/>
                <a:chOff x="-4559001" y="6577409"/>
                <a:chExt cx="757238" cy="760412"/>
              </a:xfrm>
            </p:grpSpPr>
            <p:sp>
              <p:nvSpPr>
                <p:cNvPr id="224" name="타원 39"/>
                <p:cNvSpPr>
                  <a:spLocks noChangeArrowheads="1"/>
                </p:cNvSpPr>
                <p:nvPr/>
              </p:nvSpPr>
              <p:spPr bwMode="auto">
                <a:xfrm>
                  <a:off x="-4559001" y="6577409"/>
                  <a:ext cx="757238" cy="760412"/>
                </a:xfrm>
                <a:prstGeom prst="ellipse">
                  <a:avLst/>
                </a:prstGeom>
                <a:solidFill>
                  <a:sysClr val="window" lastClr="FFFFFF">
                    <a:lumMod val="65000"/>
                    <a:alpha val="35000"/>
                  </a:sysClr>
                </a:solidFill>
                <a:ln w="12700"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 type="none" w="sm" len="sm"/>
                    </a14:hiddenLine>
                  </a:ext>
                </a:extLst>
              </p:spPr>
              <p:txBody>
                <a:bodyPr lIns="80778" tIns="40389" rIns="80778" bIns="40389" anchor="ctr"/>
                <a:lstStyle/>
                <a:p>
                  <a:pPr marL="0" marR="0" lvl="0" indent="0" defTabSz="1019175" eaLnBrk="0" fontAlgn="ctr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ko-KR" altLang="ko-KR" sz="1000" b="0" i="0" u="none" strike="noStrike" kern="0" cap="none" spc="0" normalizeH="0" noProof="0" dirty="0" smtClean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225" name="타원 40"/>
                <p:cNvSpPr>
                  <a:spLocks noChangeArrowheads="1"/>
                </p:cNvSpPr>
                <p:nvPr/>
              </p:nvSpPr>
              <p:spPr bwMode="auto">
                <a:xfrm>
                  <a:off x="-4514746" y="6621777"/>
                  <a:ext cx="668730" cy="670444"/>
                </a:xfrm>
                <a:prstGeom prst="ellipse">
                  <a:avLst/>
                </a:prstGeom>
                <a:solidFill>
                  <a:srgbClr val="98C801"/>
                </a:solidFill>
                <a:ln w="25400" cap="flat" cmpd="sng" algn="ctr">
                  <a:noFill/>
                  <a:prstDash val="solid"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 type="none" w="sm" len="sm"/>
                    </a14:hiddenLine>
                  </a:ext>
                </a:extLst>
              </p:spPr>
              <p:txBody>
                <a:bodyPr rtlCol="0" anchor="ctr"/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ko-KR" sz="1000" b="0" i="0" u="none" strike="noStrike" kern="0" cap="none" spc="0" normalizeH="0" noProof="0" dirty="0" smtClean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</p:grpSp>
          <p:sp>
            <p:nvSpPr>
              <p:cNvPr id="203" name="TextBox 43"/>
              <p:cNvSpPr txBox="1">
                <a:spLocks noChangeArrowheads="1"/>
              </p:cNvSpPr>
              <p:nvPr/>
            </p:nvSpPr>
            <p:spPr bwMode="auto">
              <a:xfrm>
                <a:off x="10659928" y="7591894"/>
                <a:ext cx="752683" cy="264745"/>
              </a:xfrm>
              <a:prstGeom prst="rect">
                <a:avLst/>
              </a:prstGeom>
              <a:noFill/>
              <a:ln>
                <a:noFill/>
              </a:ln>
              <a:sp3d>
                <a:bevelT w="0"/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 algn="l" eaLnBrk="0" hangingPunct="0"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algn="l" eaLnBrk="0" hangingPunct="0"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algn="l" eaLnBrk="0" hangingPunct="0"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algn="l" eaLnBrk="0" hangingPunct="0"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algn="l" eaLnBrk="0" hangingPunct="0"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800" b="0" i="0" u="none" strike="noStrike" kern="0" cap="none" spc="0" normalizeH="0" noProof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보안</a:t>
                </a:r>
              </a:p>
            </p:txBody>
          </p:sp>
          <p:grpSp>
            <p:nvGrpSpPr>
              <p:cNvPr id="204" name="그룹 203"/>
              <p:cNvGrpSpPr/>
              <p:nvPr/>
            </p:nvGrpSpPr>
            <p:grpSpPr>
              <a:xfrm>
                <a:off x="11796813" y="8161874"/>
                <a:ext cx="988905" cy="993046"/>
                <a:chOff x="4105444" y="4030219"/>
                <a:chExt cx="876001" cy="879673"/>
              </a:xfrm>
            </p:grpSpPr>
            <p:grpSp>
              <p:nvGrpSpPr>
                <p:cNvPr id="220" name="그룹 219"/>
                <p:cNvGrpSpPr/>
                <p:nvPr/>
              </p:nvGrpSpPr>
              <p:grpSpPr>
                <a:xfrm>
                  <a:off x="4105444" y="4030219"/>
                  <a:ext cx="876001" cy="879673"/>
                  <a:chOff x="-4559001" y="6577409"/>
                  <a:chExt cx="757238" cy="760412"/>
                </a:xfrm>
              </p:grpSpPr>
              <p:sp>
                <p:nvSpPr>
                  <p:cNvPr id="222" name="타원 39"/>
                  <p:cNvSpPr>
                    <a:spLocks noChangeArrowheads="1"/>
                  </p:cNvSpPr>
                  <p:nvPr/>
                </p:nvSpPr>
                <p:spPr bwMode="auto">
                  <a:xfrm>
                    <a:off x="-4559001" y="6577409"/>
                    <a:ext cx="757238" cy="760412"/>
                  </a:xfrm>
                  <a:prstGeom prst="ellipse">
                    <a:avLst/>
                  </a:prstGeom>
                  <a:solidFill>
                    <a:sysClr val="window" lastClr="FFFFFF">
                      <a:lumMod val="65000"/>
                      <a:alpha val="35000"/>
                    </a:sysClr>
                  </a:solidFill>
                  <a:ln w="12700"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lIns="80778" tIns="40389" rIns="80778" bIns="40389" anchor="ctr"/>
                  <a:lstStyle/>
                  <a:p>
                    <a:pPr marL="0" marR="0" lvl="0" indent="0" defTabSz="1019175" eaLnBrk="0" fontAlgn="ctr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  <p:sp>
                <p:nvSpPr>
                  <p:cNvPr id="223" name="타원 40"/>
                  <p:cNvSpPr>
                    <a:spLocks noChangeArrowheads="1"/>
                  </p:cNvSpPr>
                  <p:nvPr/>
                </p:nvSpPr>
                <p:spPr bwMode="auto">
                  <a:xfrm>
                    <a:off x="-4514746" y="6621777"/>
                    <a:ext cx="668730" cy="670444"/>
                  </a:xfrm>
                  <a:prstGeom prst="ellipse">
                    <a:avLst/>
                  </a:prstGeom>
                  <a:solidFill>
                    <a:srgbClr val="98C801"/>
                  </a:solidFill>
                  <a:ln w="25400" cap="flat" cmpd="sng" algn="ctr">
                    <a:noFill/>
                    <a:prstDash val="solid"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rtlCol="0" anchor="ctr"/>
                  <a:lstStyle/>
                  <a:p>
                    <a:pPr marL="0" marR="0" lvl="0" indent="0" defTabSz="91440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</p:grpSp>
            <p:sp>
              <p:nvSpPr>
                <p:cNvPr id="221" name="TextBox 43"/>
                <p:cNvSpPr txBox="1">
                  <a:spLocks noChangeArrowheads="1"/>
                </p:cNvSpPr>
                <p:nvPr/>
              </p:nvSpPr>
              <p:spPr bwMode="auto">
                <a:xfrm>
                  <a:off x="4174302" y="4234822"/>
                  <a:ext cx="738285" cy="469038"/>
                </a:xfrm>
                <a:prstGeom prst="rect">
                  <a:avLst/>
                </a:prstGeom>
                <a:noFill/>
                <a:ln>
                  <a:noFill/>
                </a:ln>
                <a:sp3d>
                  <a:bevelT w="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defPPr>
                    <a:defRPr lang="ko-KR"/>
                  </a:defPPr>
                  <a:lvl1pPr algn="ctr" eaLnBrk="1" hangingPunct="1">
                    <a:defRPr sz="1000">
                      <a:solidFill>
                        <a:schemeClr val="bg1"/>
                      </a:solidFill>
                      <a:latin typeface="Rix모던고딕 B" pitchFamily="18" charset="-127"/>
                      <a:ea typeface="Rix모던고딕 B" pitchFamily="18" charset="-127"/>
                    </a:defRPr>
                  </a:lvl1pPr>
                  <a:lvl2pPr marL="742950" indent="-285750" eaLnBrk="0" hangingPunct="0"/>
                  <a:lvl3pPr marL="1143000" indent="-228600" eaLnBrk="0" hangingPunct="0"/>
                  <a:lvl4pPr marL="1600200" indent="-228600" eaLnBrk="0" hangingPunct="0"/>
                  <a:lvl5pPr marL="2057400" indent="-228600" eaLnBrk="0" hangingPunct="0"/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noProof="0" dirty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WEB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noProof="0" dirty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WAS</a:t>
                  </a:r>
                </a:p>
              </p:txBody>
            </p:sp>
          </p:grpSp>
          <p:grpSp>
            <p:nvGrpSpPr>
              <p:cNvPr id="205" name="그룹 204"/>
              <p:cNvGrpSpPr/>
              <p:nvPr/>
            </p:nvGrpSpPr>
            <p:grpSpPr>
              <a:xfrm>
                <a:off x="9359092" y="8161874"/>
                <a:ext cx="988906" cy="993046"/>
                <a:chOff x="4105444" y="4030219"/>
                <a:chExt cx="876001" cy="879673"/>
              </a:xfrm>
            </p:grpSpPr>
            <p:grpSp>
              <p:nvGrpSpPr>
                <p:cNvPr id="216" name="그룹 215"/>
                <p:cNvGrpSpPr/>
                <p:nvPr/>
              </p:nvGrpSpPr>
              <p:grpSpPr>
                <a:xfrm>
                  <a:off x="4105444" y="4030219"/>
                  <a:ext cx="876001" cy="879673"/>
                  <a:chOff x="-4559001" y="6577409"/>
                  <a:chExt cx="757238" cy="760412"/>
                </a:xfrm>
              </p:grpSpPr>
              <p:sp>
                <p:nvSpPr>
                  <p:cNvPr id="218" name="타원 39"/>
                  <p:cNvSpPr>
                    <a:spLocks noChangeArrowheads="1"/>
                  </p:cNvSpPr>
                  <p:nvPr/>
                </p:nvSpPr>
                <p:spPr bwMode="auto">
                  <a:xfrm>
                    <a:off x="-4559001" y="6577409"/>
                    <a:ext cx="757238" cy="760412"/>
                  </a:xfrm>
                  <a:prstGeom prst="ellipse">
                    <a:avLst/>
                  </a:prstGeom>
                  <a:solidFill>
                    <a:sysClr val="window" lastClr="FFFFFF">
                      <a:lumMod val="65000"/>
                      <a:alpha val="35000"/>
                    </a:sysClr>
                  </a:solidFill>
                  <a:ln w="12700"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lIns="80778" tIns="40389" rIns="80778" bIns="40389" anchor="ctr"/>
                  <a:lstStyle/>
                  <a:p>
                    <a:pPr marL="0" marR="0" lvl="0" indent="0" defTabSz="1019175" eaLnBrk="0" fontAlgn="ctr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  <p:sp>
                <p:nvSpPr>
                  <p:cNvPr id="219" name="타원 40"/>
                  <p:cNvSpPr>
                    <a:spLocks noChangeArrowheads="1"/>
                  </p:cNvSpPr>
                  <p:nvPr/>
                </p:nvSpPr>
                <p:spPr bwMode="auto">
                  <a:xfrm>
                    <a:off x="-4516189" y="6621777"/>
                    <a:ext cx="668730" cy="670444"/>
                  </a:xfrm>
                  <a:prstGeom prst="ellipse">
                    <a:avLst/>
                  </a:prstGeom>
                  <a:solidFill>
                    <a:srgbClr val="98C801"/>
                  </a:solidFill>
                  <a:ln w="25400" cap="flat" cmpd="sng" algn="ctr">
                    <a:noFill/>
                    <a:prstDash val="solid"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rtlCol="0" anchor="ctr"/>
                  <a:lstStyle/>
                  <a:p>
                    <a:pPr marL="0" marR="0" lvl="0" indent="0" defTabSz="91440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</p:grpSp>
            <p:sp>
              <p:nvSpPr>
                <p:cNvPr id="217" name="TextBox 43"/>
                <p:cNvSpPr txBox="1">
                  <a:spLocks noChangeArrowheads="1"/>
                </p:cNvSpPr>
                <p:nvPr/>
              </p:nvSpPr>
              <p:spPr bwMode="auto">
                <a:xfrm>
                  <a:off x="4161984" y="4352081"/>
                  <a:ext cx="759583" cy="234520"/>
                </a:xfrm>
                <a:prstGeom prst="rect">
                  <a:avLst/>
                </a:prstGeom>
                <a:noFill/>
                <a:ln>
                  <a:noFill/>
                </a:ln>
                <a:sp3d>
                  <a:bevelT w="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defPPr>
                    <a:defRPr lang="ko-KR"/>
                  </a:defPPr>
                  <a:lvl1pPr algn="ctr" eaLnBrk="1" hangingPunct="1">
                    <a:defRPr sz="1000">
                      <a:solidFill>
                        <a:schemeClr val="bg1"/>
                      </a:solidFill>
                      <a:latin typeface="Rix모던고딕 B" pitchFamily="18" charset="-127"/>
                      <a:ea typeface="Rix모던고딕 B" pitchFamily="18" charset="-127"/>
                    </a:defRPr>
                  </a:lvl1pPr>
                  <a:lvl2pPr marL="742950" indent="-285750" eaLnBrk="0" hangingPunct="0"/>
                  <a:lvl3pPr marL="1143000" indent="-228600" eaLnBrk="0" hangingPunct="0"/>
                  <a:lvl4pPr marL="1600200" indent="-228600" eaLnBrk="0" hangingPunct="0"/>
                  <a:lvl5pPr marL="2057400" indent="-228600" eaLnBrk="0" hangingPunct="0"/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800" b="0" i="0" u="none" strike="noStrike" kern="0" cap="none" spc="0" normalizeH="0" noProof="0" dirty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시스템</a:t>
                  </a:r>
                </a:p>
              </p:txBody>
            </p:sp>
          </p:grpSp>
          <p:grpSp>
            <p:nvGrpSpPr>
              <p:cNvPr id="206" name="그룹 205"/>
              <p:cNvGrpSpPr/>
              <p:nvPr/>
            </p:nvGrpSpPr>
            <p:grpSpPr>
              <a:xfrm>
                <a:off x="11553785" y="9468812"/>
                <a:ext cx="988905" cy="993046"/>
                <a:chOff x="4105444" y="4030219"/>
                <a:chExt cx="876001" cy="879673"/>
              </a:xfrm>
            </p:grpSpPr>
            <p:grpSp>
              <p:nvGrpSpPr>
                <p:cNvPr id="212" name="그룹 211"/>
                <p:cNvGrpSpPr/>
                <p:nvPr/>
              </p:nvGrpSpPr>
              <p:grpSpPr>
                <a:xfrm>
                  <a:off x="4105444" y="4030219"/>
                  <a:ext cx="876001" cy="879673"/>
                  <a:chOff x="-4559001" y="6577409"/>
                  <a:chExt cx="757238" cy="760412"/>
                </a:xfrm>
              </p:grpSpPr>
              <p:sp>
                <p:nvSpPr>
                  <p:cNvPr id="214" name="타원 39"/>
                  <p:cNvSpPr>
                    <a:spLocks noChangeArrowheads="1"/>
                  </p:cNvSpPr>
                  <p:nvPr/>
                </p:nvSpPr>
                <p:spPr bwMode="auto">
                  <a:xfrm>
                    <a:off x="-4559001" y="6577409"/>
                    <a:ext cx="757238" cy="760412"/>
                  </a:xfrm>
                  <a:prstGeom prst="ellipse">
                    <a:avLst/>
                  </a:prstGeom>
                  <a:solidFill>
                    <a:sysClr val="window" lastClr="FFFFFF">
                      <a:lumMod val="65000"/>
                      <a:alpha val="35000"/>
                    </a:sysClr>
                  </a:solidFill>
                  <a:ln w="12700"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lIns="80778" tIns="40389" rIns="80778" bIns="40389" anchor="ctr"/>
                  <a:lstStyle/>
                  <a:p>
                    <a:pPr marL="0" marR="0" lvl="0" indent="0" defTabSz="1019175" eaLnBrk="0" fontAlgn="ctr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  <p:sp>
                <p:nvSpPr>
                  <p:cNvPr id="215" name="타원 40"/>
                  <p:cNvSpPr>
                    <a:spLocks noChangeArrowheads="1"/>
                  </p:cNvSpPr>
                  <p:nvPr/>
                </p:nvSpPr>
                <p:spPr bwMode="auto">
                  <a:xfrm>
                    <a:off x="-4516189" y="6621777"/>
                    <a:ext cx="668730" cy="670444"/>
                  </a:xfrm>
                  <a:prstGeom prst="ellipse">
                    <a:avLst/>
                  </a:prstGeom>
                  <a:solidFill>
                    <a:srgbClr val="98C801"/>
                  </a:solidFill>
                  <a:ln w="25400" cap="flat" cmpd="sng" algn="ctr">
                    <a:noFill/>
                    <a:prstDash val="solid"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rtlCol="0" anchor="ctr"/>
                  <a:lstStyle/>
                  <a:p>
                    <a:pPr marL="0" marR="0" lvl="0" indent="0" defTabSz="91440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</p:grpSp>
            <p:sp>
              <p:nvSpPr>
                <p:cNvPr id="213" name="TextBox 43"/>
                <p:cNvSpPr txBox="1">
                  <a:spLocks noChangeArrowheads="1"/>
                </p:cNvSpPr>
                <p:nvPr/>
              </p:nvSpPr>
              <p:spPr bwMode="auto">
                <a:xfrm>
                  <a:off x="4182352" y="4234824"/>
                  <a:ext cx="718847" cy="469038"/>
                </a:xfrm>
                <a:prstGeom prst="rect">
                  <a:avLst/>
                </a:prstGeom>
                <a:noFill/>
                <a:ln>
                  <a:noFill/>
                </a:ln>
                <a:sp3d>
                  <a:bevelT w="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defPPr>
                    <a:defRPr lang="ko-KR"/>
                  </a:defPPr>
                  <a:lvl1pPr algn="ctr" eaLnBrk="1" hangingPunct="1">
                    <a:defRPr sz="1000">
                      <a:solidFill>
                        <a:schemeClr val="bg1"/>
                      </a:solidFill>
                      <a:latin typeface="Rix모던고딕 B" pitchFamily="18" charset="-127"/>
                      <a:ea typeface="Rix모던고딕 B" pitchFamily="18" charset="-127"/>
                    </a:defRPr>
                  </a:lvl1pPr>
                  <a:lvl2pPr marL="742950" indent="-285750" eaLnBrk="0" hangingPunct="0"/>
                  <a:lvl3pPr marL="1143000" indent="-228600" eaLnBrk="0" hangingPunct="0"/>
                  <a:lvl4pPr marL="1600200" indent="-228600" eaLnBrk="0" hangingPunct="0"/>
                  <a:lvl5pPr marL="2057400" indent="-228600" eaLnBrk="0" hangingPunct="0"/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800" b="0" i="0" u="none" strike="noStrike" kern="0" cap="none" spc="0" normalizeH="0" noProof="0" dirty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응용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noProof="0" dirty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S/W</a:t>
                  </a:r>
                </a:p>
              </p:txBody>
            </p:sp>
          </p:grpSp>
          <p:grpSp>
            <p:nvGrpSpPr>
              <p:cNvPr id="207" name="그룹 206"/>
              <p:cNvGrpSpPr/>
              <p:nvPr/>
            </p:nvGrpSpPr>
            <p:grpSpPr>
              <a:xfrm>
                <a:off x="9553364" y="9468813"/>
                <a:ext cx="1006435" cy="993046"/>
                <a:chOff x="4096010" y="4030219"/>
                <a:chExt cx="891530" cy="879673"/>
              </a:xfrm>
            </p:grpSpPr>
            <p:grpSp>
              <p:nvGrpSpPr>
                <p:cNvPr id="208" name="그룹 207"/>
                <p:cNvGrpSpPr/>
                <p:nvPr/>
              </p:nvGrpSpPr>
              <p:grpSpPr>
                <a:xfrm>
                  <a:off x="4105444" y="4030219"/>
                  <a:ext cx="876001" cy="879673"/>
                  <a:chOff x="-4559001" y="6577409"/>
                  <a:chExt cx="757238" cy="760412"/>
                </a:xfrm>
              </p:grpSpPr>
              <p:sp>
                <p:nvSpPr>
                  <p:cNvPr id="210" name="타원 39"/>
                  <p:cNvSpPr>
                    <a:spLocks noChangeArrowheads="1"/>
                  </p:cNvSpPr>
                  <p:nvPr/>
                </p:nvSpPr>
                <p:spPr bwMode="auto">
                  <a:xfrm>
                    <a:off x="-4559001" y="6577409"/>
                    <a:ext cx="757238" cy="760412"/>
                  </a:xfrm>
                  <a:prstGeom prst="ellipse">
                    <a:avLst/>
                  </a:prstGeom>
                  <a:solidFill>
                    <a:sysClr val="window" lastClr="FFFFFF">
                      <a:lumMod val="65000"/>
                      <a:alpha val="35000"/>
                    </a:sysClr>
                  </a:solidFill>
                  <a:ln w="12700"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lIns="80778" tIns="40389" rIns="80778" bIns="40389" anchor="ctr"/>
                  <a:lstStyle/>
                  <a:p>
                    <a:pPr marL="0" marR="0" lvl="0" indent="0" defTabSz="1019175" eaLnBrk="0" fontAlgn="ctr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  <p:sp>
                <p:nvSpPr>
                  <p:cNvPr id="211" name="타원 40"/>
                  <p:cNvSpPr>
                    <a:spLocks noChangeArrowheads="1"/>
                  </p:cNvSpPr>
                  <p:nvPr/>
                </p:nvSpPr>
                <p:spPr bwMode="auto">
                  <a:xfrm>
                    <a:off x="-4516190" y="6621777"/>
                    <a:ext cx="668730" cy="670444"/>
                  </a:xfrm>
                  <a:prstGeom prst="ellipse">
                    <a:avLst/>
                  </a:prstGeom>
                  <a:solidFill>
                    <a:srgbClr val="98C801"/>
                  </a:solidFill>
                  <a:ln w="25400" cap="flat" cmpd="sng" algn="ctr">
                    <a:noFill/>
                    <a:prstDash val="solid"/>
                  </a:ln>
                  <a:effectLst/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miter lim="800000"/>
                        <a:headEnd/>
                        <a:tailEnd type="none" w="sm" len="sm"/>
                      </a14:hiddenLine>
                    </a:ext>
                  </a:extLst>
                </p:spPr>
                <p:txBody>
                  <a:bodyPr rtlCol="0" anchor="ctr"/>
                  <a:lstStyle/>
                  <a:p>
                    <a:pPr marL="0" marR="0" lvl="0" indent="0" defTabSz="91440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ko-KR" sz="10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endParaRPr>
                  </a:p>
                </p:txBody>
              </p:sp>
            </p:grpSp>
            <p:sp>
              <p:nvSpPr>
                <p:cNvPr id="209" name="TextBox 43"/>
                <p:cNvSpPr txBox="1">
                  <a:spLocks noChangeArrowheads="1"/>
                </p:cNvSpPr>
                <p:nvPr/>
              </p:nvSpPr>
              <p:spPr bwMode="auto">
                <a:xfrm>
                  <a:off x="4096010" y="4352081"/>
                  <a:ext cx="891530" cy="234520"/>
                </a:xfrm>
                <a:prstGeom prst="rect">
                  <a:avLst/>
                </a:prstGeom>
                <a:noFill/>
                <a:ln>
                  <a:noFill/>
                </a:ln>
                <a:sp3d>
                  <a:bevelT w="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defPPr>
                    <a:defRPr lang="ko-KR"/>
                  </a:defPPr>
                  <a:lvl1pPr algn="ctr" eaLnBrk="1" hangingPunct="1">
                    <a:defRPr sz="1000">
                      <a:solidFill>
                        <a:schemeClr val="bg1"/>
                      </a:solidFill>
                      <a:latin typeface="Rix모던고딕 B" pitchFamily="18" charset="-127"/>
                      <a:ea typeface="Rix모던고딕 B" pitchFamily="18" charset="-127"/>
                    </a:defRPr>
                  </a:lvl1pPr>
                  <a:lvl2pPr marL="742950" indent="-285750" eaLnBrk="0" hangingPunct="0"/>
                  <a:lvl3pPr marL="1143000" indent="-228600" eaLnBrk="0" hangingPunct="0"/>
                  <a:lvl4pPr marL="1600200" indent="-228600" eaLnBrk="0" hangingPunct="0"/>
                  <a:lvl5pPr marL="2057400" indent="-228600" eaLnBrk="0" hangingPunct="0"/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noProof="0" dirty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DB</a:t>
                  </a:r>
                </a:p>
              </p:txBody>
            </p:sp>
          </p:grpSp>
        </p:grpSp>
        <p:sp>
          <p:nvSpPr>
            <p:cNvPr id="194" name="AutoShape 53"/>
            <p:cNvSpPr>
              <a:spLocks noChangeArrowheads="1"/>
            </p:cNvSpPr>
            <p:nvPr/>
          </p:nvSpPr>
          <p:spPr bwMode="auto">
            <a:xfrm>
              <a:off x="2034811" y="8155402"/>
              <a:ext cx="1145764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95250" marR="0" lvl="0" indent="-95250" algn="l" defTabSz="820738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80000"/>
                <a:buFont typeface="Wingdings 2" pitchFamily="18" charset="2"/>
                <a:buChar char="¡"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cs typeface="한컴돋움" pitchFamily="18" charset="2"/>
                </a:rPr>
                <a:t>시스템 보안 취약점 점검 </a:t>
              </a:r>
            </a:p>
          </p:txBody>
        </p:sp>
        <p:sp>
          <p:nvSpPr>
            <p:cNvPr id="195" name="AutoShape 53"/>
            <p:cNvSpPr>
              <a:spLocks noChangeArrowheads="1"/>
            </p:cNvSpPr>
            <p:nvPr/>
          </p:nvSpPr>
          <p:spPr bwMode="auto">
            <a:xfrm>
              <a:off x="3038008" y="8503521"/>
              <a:ext cx="55495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95250" marR="0" lvl="0" indent="-95250" algn="l" defTabSz="820738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80000"/>
                <a:buFont typeface="Wingdings 2" pitchFamily="18" charset="2"/>
                <a:buChar char="¡"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시스템</a:t>
              </a:r>
              <a:b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</a:br>
              <a:r>
                <a:rPr kumimoji="0" lang="ko-KR" altLang="en-US" sz="800" b="0" i="0" u="none" strike="noStrike" kern="0" cap="none" spc="-10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사용량 분석</a:t>
              </a:r>
            </a:p>
          </p:txBody>
        </p:sp>
        <p:sp>
          <p:nvSpPr>
            <p:cNvPr id="196" name="AutoShape 53"/>
            <p:cNvSpPr>
              <a:spLocks noChangeArrowheads="1"/>
            </p:cNvSpPr>
            <p:nvPr/>
          </p:nvSpPr>
          <p:spPr bwMode="auto">
            <a:xfrm>
              <a:off x="1542252" y="8501494"/>
              <a:ext cx="895415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95250" marR="0" lvl="0" indent="-95250" algn="l" defTabSz="820738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80000"/>
                <a:buFont typeface="Wingdings 2" pitchFamily="18" charset="2"/>
                <a:buChar char="¡"/>
                <a:tabLst/>
                <a:defRPr/>
              </a:pPr>
              <a:r>
                <a:rPr kumimoji="0" lang="ko-KR" altLang="en-US" sz="800" b="0" i="0" u="none" strike="noStrike" kern="0" cap="none" spc="-8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성능  모니터링</a:t>
              </a:r>
            </a:p>
            <a:p>
              <a:pPr marL="95250" marR="0" lvl="0" indent="-95250" algn="l" defTabSz="820738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80000"/>
                <a:buFont typeface="Wingdings 2" pitchFamily="18" charset="2"/>
                <a:buChar char="¡"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병목구간</a:t>
              </a:r>
              <a:r>
                <a:rPr kumimoji="0" lang="en-US" altLang="ko-KR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 </a:t>
              </a: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분석</a:t>
              </a:r>
            </a:p>
          </p:txBody>
        </p:sp>
        <p:sp>
          <p:nvSpPr>
            <p:cNvPr id="197" name="AutoShape 53"/>
            <p:cNvSpPr>
              <a:spLocks noChangeArrowheads="1"/>
            </p:cNvSpPr>
            <p:nvPr/>
          </p:nvSpPr>
          <p:spPr bwMode="auto">
            <a:xfrm>
              <a:off x="2622402" y="9832542"/>
              <a:ext cx="91183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95250" marR="0" lvl="0" indent="-95250" algn="l" defTabSz="820738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80000"/>
                <a:buFont typeface="Wingdings 2" pitchFamily="18" charset="2"/>
                <a:buChar char="¡"/>
                <a:tabLst/>
                <a:defRPr/>
              </a:pPr>
              <a:r>
                <a:rPr kumimoji="0" lang="ko-KR" altLang="en-US" sz="800" b="0" i="0" u="none" strike="noStrike" kern="0" cap="none" spc="-5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병목 구간 모니터링</a:t>
              </a:r>
            </a:p>
            <a:p>
              <a:pPr marL="95250" marR="0" lvl="0" indent="-95250" algn="l" defTabSz="820738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80000"/>
                <a:buFont typeface="Wingdings 2" pitchFamily="18" charset="2"/>
                <a:buChar char="¡"/>
                <a:tabLst/>
                <a:defRPr/>
              </a:pPr>
              <a:r>
                <a:rPr kumimoji="0" lang="ko-KR" altLang="en-US" sz="800" b="0" i="0" u="none" strike="noStrike" kern="0" cap="none" spc="-5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프로그램 성능분석</a:t>
              </a:r>
            </a:p>
          </p:txBody>
        </p:sp>
        <p:sp>
          <p:nvSpPr>
            <p:cNvPr id="198" name="AutoShape 53"/>
            <p:cNvSpPr>
              <a:spLocks noChangeArrowheads="1"/>
            </p:cNvSpPr>
            <p:nvPr/>
          </p:nvSpPr>
          <p:spPr bwMode="auto">
            <a:xfrm>
              <a:off x="1667223" y="9832542"/>
              <a:ext cx="81115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95250" marR="0" lvl="0" indent="-95250" algn="l" defTabSz="820738" eaLnBrk="0" fontAlgn="ctr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8080"/>
                </a:buClr>
                <a:buSzPct val="80000"/>
                <a:buFont typeface="Wingdings 2" pitchFamily="18" charset="2"/>
                <a:buChar char="¡"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데이터베이스 </a:t>
              </a:r>
              <a:b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</a:b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한컴돋움" pitchFamily="18" charset="2"/>
                </a:rPr>
                <a:t>성능문제 해결</a:t>
              </a:r>
            </a:p>
          </p:txBody>
        </p:sp>
      </p:grpSp>
      <p:grpSp>
        <p:nvGrpSpPr>
          <p:cNvPr id="228" name="그룹 227"/>
          <p:cNvGrpSpPr/>
          <p:nvPr/>
        </p:nvGrpSpPr>
        <p:grpSpPr>
          <a:xfrm>
            <a:off x="4382531" y="4528591"/>
            <a:ext cx="1938661" cy="1825101"/>
            <a:chOff x="4382531" y="4561806"/>
            <a:chExt cx="1938661" cy="1825101"/>
          </a:xfrm>
        </p:grpSpPr>
        <p:sp>
          <p:nvSpPr>
            <p:cNvPr id="229" name="AutoShape 71"/>
            <p:cNvSpPr>
              <a:spLocks noChangeArrowheads="1"/>
            </p:cNvSpPr>
            <p:nvPr/>
          </p:nvSpPr>
          <p:spPr bwMode="auto">
            <a:xfrm rot="5400000">
              <a:off x="5011834" y="5384946"/>
              <a:ext cx="360000" cy="192629"/>
            </a:xfrm>
            <a:prstGeom prst="rightArrow">
              <a:avLst>
                <a:gd name="adj1" fmla="val 62926"/>
                <a:gd name="adj2" fmla="val 51264"/>
              </a:avLst>
            </a:prstGeom>
            <a:gradFill flip="none" rotWithShape="1">
              <a:gsLst>
                <a:gs pos="9000">
                  <a:sysClr val="window" lastClr="FFFFFF">
                    <a:lumMod val="75000"/>
                  </a:sysClr>
                </a:gs>
                <a:gs pos="100000">
                  <a:sysClr val="window" lastClr="FFFFFF"/>
                </a:gs>
              </a:gsLst>
              <a:lin ang="10800000" scaled="1"/>
              <a:tileRect/>
            </a:gra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30" name="AutoShape 71"/>
            <p:cNvSpPr>
              <a:spLocks noChangeArrowheads="1"/>
            </p:cNvSpPr>
            <p:nvPr/>
          </p:nvSpPr>
          <p:spPr bwMode="auto">
            <a:xfrm rot="5400000">
              <a:off x="5578641" y="5384946"/>
              <a:ext cx="360000" cy="192628"/>
            </a:xfrm>
            <a:prstGeom prst="rightArrow">
              <a:avLst>
                <a:gd name="adj1" fmla="val 62926"/>
                <a:gd name="adj2" fmla="val 51264"/>
              </a:avLst>
            </a:prstGeom>
            <a:gradFill flip="none" rotWithShape="1">
              <a:gsLst>
                <a:gs pos="9000">
                  <a:sysClr val="window" lastClr="FFFFFF">
                    <a:lumMod val="75000"/>
                  </a:sysClr>
                </a:gs>
                <a:gs pos="100000">
                  <a:sysClr val="window" lastClr="FFFFFF"/>
                </a:gs>
              </a:gsLst>
              <a:lin ang="10800000" scaled="1"/>
              <a:tileRect/>
            </a:gra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231" name="Picture 146" descr="0813아이콘작업진행-21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2531" y="4722218"/>
              <a:ext cx="551176" cy="404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2" name="AutoShape 362" descr="TCP-52"/>
            <p:cNvSpPr>
              <a:spLocks noChangeArrowheads="1"/>
            </p:cNvSpPr>
            <p:nvPr/>
          </p:nvSpPr>
          <p:spPr bwMode="auto">
            <a:xfrm>
              <a:off x="4888135" y="4907456"/>
              <a:ext cx="1224183" cy="926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</a:sysClr>
                </a:gs>
              </a:gsLst>
              <a:lin ang="5400000" scaled="1"/>
            </a:gradFill>
            <a:ln w="6350">
              <a:solidFill>
                <a:sysClr val="windowText" lastClr="000000">
                  <a:lumMod val="50000"/>
                  <a:lumOff val="50000"/>
                </a:sysClr>
              </a:solidFill>
            </a:ln>
            <a:effectLst>
              <a:outerShdw blurRad="25400" dist="25400" dir="5400000" algn="t" rotWithShape="0">
                <a:prstClr val="black">
                  <a:alpha val="25000"/>
                </a:prstClr>
              </a:outerShdw>
            </a:effectLst>
            <a:extLst/>
          </p:spPr>
          <p:txBody>
            <a:bodyPr wrap="none" tIns="0" bIns="0" anchor="ctr">
              <a:scene3d>
                <a:camera prst="orthographicFront"/>
                <a:lightRig rig="threePt" dir="t"/>
              </a:scene3d>
              <a:sp3d>
                <a:bevelT/>
              </a:sp3d>
            </a:bodyPr>
            <a:lstStyle/>
            <a:p>
              <a:pPr marL="0" marR="0" lvl="0" indent="0" algn="l" defTabSz="914400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70000"/>
                <a:buFontTx/>
                <a:buNone/>
                <a:tabLst>
                  <a:tab pos="5648325" algn="l"/>
                </a:tabLst>
                <a:defRPr/>
              </a:pPr>
              <a:endParaRPr kumimoji="0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33" name="Text Box 57"/>
            <p:cNvSpPr txBox="1">
              <a:spLocks noChangeAspect="1" noChangeArrowheads="1"/>
            </p:cNvSpPr>
            <p:nvPr/>
          </p:nvSpPr>
          <p:spPr bwMode="auto">
            <a:xfrm>
              <a:off x="4552064" y="4861873"/>
              <a:ext cx="221214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algn="just">
                <a:lnSpc>
                  <a:spcPct val="110000"/>
                </a:lnSpc>
                <a:spcBef>
                  <a:spcPct val="25000"/>
                </a:spcBef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1pPr>
              <a:lvl2pPr marL="742950" indent="-285750" algn="just">
                <a:lnSpc>
                  <a:spcPct val="110000"/>
                </a:lnSpc>
                <a:spcBef>
                  <a:spcPct val="25000"/>
                </a:spcBef>
                <a:buChar char="–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2pPr>
              <a:lvl3pPr marL="1143000" indent="-228600" algn="just">
                <a:lnSpc>
                  <a:spcPct val="110000"/>
                </a:lnSpc>
                <a:spcBef>
                  <a:spcPct val="25000"/>
                </a:spcBef>
                <a:buChar char="•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3pPr>
              <a:lvl4pPr marL="1600200" indent="-228600" algn="just">
                <a:lnSpc>
                  <a:spcPct val="110000"/>
                </a:lnSpc>
                <a:spcBef>
                  <a:spcPct val="25000"/>
                </a:spcBef>
                <a:buChar char="–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4pPr>
              <a:lvl5pPr marL="2057400" indent="-228600" algn="just">
                <a:lnSpc>
                  <a:spcPct val="110000"/>
                </a:lnSpc>
                <a:spcBef>
                  <a:spcPct val="25000"/>
                </a:spcBef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5pPr>
              <a:lvl6pPr marL="25146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6pPr>
              <a:lvl7pPr marL="29718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7pPr>
              <a:lvl8pPr marL="34290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8pPr>
              <a:lvl9pPr marL="38862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noProof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cs typeface="+mn-cs"/>
                </a:rPr>
                <a:t>N/W</a:t>
              </a:r>
            </a:p>
          </p:txBody>
        </p:sp>
        <p:sp>
          <p:nvSpPr>
            <p:cNvPr id="234" name="Line 578"/>
            <p:cNvSpPr>
              <a:spLocks noChangeShapeType="1"/>
            </p:cNvSpPr>
            <p:nvPr/>
          </p:nvSpPr>
          <p:spPr bwMode="auto">
            <a:xfrm>
              <a:off x="5052133" y="4709901"/>
              <a:ext cx="842584" cy="0"/>
            </a:xfrm>
            <a:prstGeom prst="line">
              <a:avLst/>
            </a:prstGeom>
            <a:noFill/>
            <a:ln w="6350">
              <a:solidFill>
                <a:srgbClr val="4D4D4D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101919" tIns="50960" rIns="101919" bIns="50960"/>
            <a:lstStyle/>
            <a:p>
              <a:pPr marL="0" marR="0" lvl="0" indent="0" algn="l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35" name="Text Box 57"/>
            <p:cNvSpPr txBox="1">
              <a:spLocks noChangeAspect="1" noChangeArrowheads="1"/>
            </p:cNvSpPr>
            <p:nvPr/>
          </p:nvSpPr>
          <p:spPr bwMode="auto">
            <a:xfrm>
              <a:off x="5292218" y="4561806"/>
              <a:ext cx="36548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algn="just" defTabSz="942975">
                <a:lnSpc>
                  <a:spcPct val="110000"/>
                </a:lnSpc>
                <a:spcBef>
                  <a:spcPct val="25000"/>
                </a:spcBef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1pPr>
              <a:lvl2pPr marL="742950" indent="-285750" algn="just" defTabSz="942975">
                <a:lnSpc>
                  <a:spcPct val="110000"/>
                </a:lnSpc>
                <a:spcBef>
                  <a:spcPct val="25000"/>
                </a:spcBef>
                <a:buChar char="–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2pPr>
              <a:lvl3pPr marL="1143000" indent="-228600" algn="just" defTabSz="942975">
                <a:lnSpc>
                  <a:spcPct val="110000"/>
                </a:lnSpc>
                <a:spcBef>
                  <a:spcPct val="25000"/>
                </a:spcBef>
                <a:buChar char="•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3pPr>
              <a:lvl4pPr marL="1600200" indent="-228600" algn="just" defTabSz="942975">
                <a:lnSpc>
                  <a:spcPct val="110000"/>
                </a:lnSpc>
                <a:spcBef>
                  <a:spcPct val="25000"/>
                </a:spcBef>
                <a:buChar char="–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4pPr>
              <a:lvl5pPr marL="2057400" indent="-228600" algn="just" defTabSz="942975">
                <a:lnSpc>
                  <a:spcPct val="110000"/>
                </a:lnSpc>
                <a:spcBef>
                  <a:spcPct val="25000"/>
                </a:spcBef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5pPr>
              <a:lvl6pPr marL="2514600" indent="-228600" algn="just" defTabSz="942975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6pPr>
              <a:lvl7pPr marL="2971800" indent="-228600" algn="just" defTabSz="942975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7pPr>
              <a:lvl8pPr marL="3429000" indent="-228600" algn="just" defTabSz="942975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8pPr>
              <a:lvl9pPr marL="3886200" indent="-228600" algn="just" defTabSz="942975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200">
                  <a:solidFill>
                    <a:srgbClr val="000000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9pPr>
            </a:lstStyle>
            <a:p>
              <a:pPr marL="0" marR="0" lvl="0" indent="0" algn="ctr" defTabSz="9429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66666"/>
                </a:buClr>
                <a:buSzPct val="8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noProof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cs typeface="+mn-cs"/>
                </a:rPr>
                <a:t>성능진단</a:t>
              </a:r>
            </a:p>
          </p:txBody>
        </p:sp>
        <p:grpSp>
          <p:nvGrpSpPr>
            <p:cNvPr id="236" name="그룹 235"/>
            <p:cNvGrpSpPr/>
            <p:nvPr/>
          </p:nvGrpSpPr>
          <p:grpSpPr>
            <a:xfrm>
              <a:off x="4968140" y="4777591"/>
              <a:ext cx="926577" cy="451659"/>
              <a:chOff x="4040046" y="8339442"/>
              <a:chExt cx="926577" cy="451659"/>
            </a:xfrm>
          </p:grpSpPr>
          <p:grpSp>
            <p:nvGrpSpPr>
              <p:cNvPr id="249" name="그룹 248"/>
              <p:cNvGrpSpPr/>
              <p:nvPr/>
            </p:nvGrpSpPr>
            <p:grpSpPr>
              <a:xfrm>
                <a:off x="4040046" y="8339442"/>
                <a:ext cx="506549" cy="451659"/>
                <a:chOff x="4040046" y="8353803"/>
                <a:chExt cx="506549" cy="451659"/>
              </a:xfrm>
            </p:grpSpPr>
            <p:sp>
              <p:nvSpPr>
                <p:cNvPr id="258" name="Text Box 57"/>
                <p:cNvSpPr txBox="1">
                  <a:spLocks noChangeAspect="1" noChangeArrowheads="1"/>
                </p:cNvSpPr>
                <p:nvPr/>
              </p:nvSpPr>
              <p:spPr bwMode="auto">
                <a:xfrm>
                  <a:off x="4040046" y="8682351"/>
                  <a:ext cx="506549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algn="just">
                    <a:lnSpc>
                      <a:spcPct val="110000"/>
                    </a:lnSpc>
                    <a:spcBef>
                      <a:spcPct val="25000"/>
                    </a:spcBef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1pPr>
                  <a:lvl2pPr marL="742950" indent="-285750" algn="just">
                    <a:lnSpc>
                      <a:spcPct val="110000"/>
                    </a:lnSpc>
                    <a:spcBef>
                      <a:spcPct val="25000"/>
                    </a:spcBef>
                    <a:buChar char="–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2pPr>
                  <a:lvl3pPr marL="1143000" indent="-228600" algn="just">
                    <a:lnSpc>
                      <a:spcPct val="110000"/>
                    </a:lnSpc>
                    <a:spcBef>
                      <a:spcPct val="25000"/>
                    </a:spcBef>
                    <a:buChar char="•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3pPr>
                  <a:lvl4pPr marL="1600200" indent="-228600" algn="just">
                    <a:lnSpc>
                      <a:spcPct val="110000"/>
                    </a:lnSpc>
                    <a:spcBef>
                      <a:spcPct val="25000"/>
                    </a:spcBef>
                    <a:buChar char="–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4pPr>
                  <a:lvl5pPr marL="2057400" indent="-228600" algn="just">
                    <a:lnSpc>
                      <a:spcPct val="110000"/>
                    </a:lnSpc>
                    <a:spcBef>
                      <a:spcPct val="25000"/>
                    </a:spcBef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5pPr>
                  <a:lvl6pPr marL="25146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6pPr>
                  <a:lvl7pPr marL="29718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7pPr>
                  <a:lvl8pPr marL="34290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8pPr>
                  <a:lvl9pPr marL="38862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80000"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  <a:cs typeface="+mn-cs"/>
                    </a:rPr>
                    <a:t>WEB/WAS</a:t>
                  </a:r>
                  <a:endParaRPr kumimoji="0" lang="en-US" altLang="ko-KR" sz="800" b="0" i="0" u="none" strike="noStrike" kern="0" cap="none" spc="0" normalizeH="0" noProof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0000300000000000000" pitchFamily="2" charset="-127"/>
                    <a:ea typeface="KoPub돋움체 Light" panose="00000300000000000000" pitchFamily="2" charset="-127"/>
                    <a:cs typeface="+mn-cs"/>
                  </a:endParaRPr>
                </a:p>
              </p:txBody>
            </p:sp>
            <p:pic>
              <p:nvPicPr>
                <p:cNvPr id="259" name="Picture 12" descr="C:\Users\wslee\Desktop\29.png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99655" y="8353803"/>
                  <a:ext cx="187331" cy="2908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251" name="그룹 250"/>
              <p:cNvGrpSpPr/>
              <p:nvPr/>
            </p:nvGrpSpPr>
            <p:grpSpPr>
              <a:xfrm>
                <a:off x="4708982" y="8339442"/>
                <a:ext cx="257641" cy="451659"/>
                <a:chOff x="4708982" y="8353803"/>
                <a:chExt cx="257641" cy="451659"/>
              </a:xfrm>
            </p:grpSpPr>
            <p:sp>
              <p:nvSpPr>
                <p:cNvPr id="252" name="Text Box 57"/>
                <p:cNvSpPr txBox="1">
                  <a:spLocks noChangeAspect="1" noChangeArrowheads="1"/>
                </p:cNvSpPr>
                <p:nvPr/>
              </p:nvSpPr>
              <p:spPr bwMode="auto">
                <a:xfrm>
                  <a:off x="4759115" y="8682351"/>
                  <a:ext cx="141065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algn="just">
                    <a:lnSpc>
                      <a:spcPct val="110000"/>
                    </a:lnSpc>
                    <a:spcBef>
                      <a:spcPct val="25000"/>
                    </a:spcBef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1pPr>
                  <a:lvl2pPr marL="742950" indent="-285750" algn="just">
                    <a:lnSpc>
                      <a:spcPct val="110000"/>
                    </a:lnSpc>
                    <a:spcBef>
                      <a:spcPct val="25000"/>
                    </a:spcBef>
                    <a:buChar char="–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2pPr>
                  <a:lvl3pPr marL="1143000" indent="-228600" algn="just">
                    <a:lnSpc>
                      <a:spcPct val="110000"/>
                    </a:lnSpc>
                    <a:spcBef>
                      <a:spcPct val="25000"/>
                    </a:spcBef>
                    <a:buChar char="•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3pPr>
                  <a:lvl4pPr marL="1600200" indent="-228600" algn="just">
                    <a:lnSpc>
                      <a:spcPct val="110000"/>
                    </a:lnSpc>
                    <a:spcBef>
                      <a:spcPct val="25000"/>
                    </a:spcBef>
                    <a:buChar char="–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4pPr>
                  <a:lvl5pPr marL="2057400" indent="-228600" algn="just">
                    <a:lnSpc>
                      <a:spcPct val="110000"/>
                    </a:lnSpc>
                    <a:spcBef>
                      <a:spcPct val="25000"/>
                    </a:spcBef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5pPr>
                  <a:lvl6pPr marL="25146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6pPr>
                  <a:lvl7pPr marL="29718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7pPr>
                  <a:lvl8pPr marL="34290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8pPr>
                  <a:lvl9pPr marL="3886200" indent="-228600" algn="just" eaLnBrk="0" fontAlgn="base" hangingPunct="0">
                    <a:lnSpc>
                      <a:spcPct val="110000"/>
                    </a:lnSpc>
                    <a:spcBef>
                      <a:spcPct val="25000"/>
                    </a:spcBef>
                    <a:spcAft>
                      <a:spcPct val="0"/>
                    </a:spcAft>
                    <a:buChar char="»"/>
                    <a:defRPr kumimoji="1" sz="1200">
                      <a:solidFill>
                        <a:srgbClr val="000000"/>
                      </a:solidFill>
                      <a:latin typeface="KoPub바탕체 Light" panose="02020603020101020101" pitchFamily="18" charset="-127"/>
                      <a:ea typeface="KoPub바탕체 Light" panose="02020603020101020101" pitchFamily="18" charset="-127"/>
                      <a:cs typeface="굴림" panose="020B0600000101010101" pitchFamily="50" charset="-127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80000"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  <a:cs typeface="+mn-cs"/>
                    </a:rPr>
                    <a:t>DB</a:t>
                  </a:r>
                  <a:endParaRPr kumimoji="0" lang="en-US" altLang="ko-KR" sz="800" b="0" i="0" u="none" strike="noStrike" kern="0" cap="none" spc="0" normalizeH="0" noProof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KoPub돋움체 Light" panose="00000300000000000000" pitchFamily="2" charset="-127"/>
                    <a:ea typeface="KoPub돋움체 Light" panose="00000300000000000000" pitchFamily="2" charset="-127"/>
                    <a:cs typeface="+mn-cs"/>
                  </a:endParaRPr>
                </a:p>
              </p:txBody>
            </p:sp>
            <p:grpSp>
              <p:nvGrpSpPr>
                <p:cNvPr id="253" name="그룹 252"/>
                <p:cNvGrpSpPr/>
                <p:nvPr/>
              </p:nvGrpSpPr>
              <p:grpSpPr>
                <a:xfrm>
                  <a:off x="4708982" y="8353803"/>
                  <a:ext cx="257641" cy="298461"/>
                  <a:chOff x="4736586" y="8353803"/>
                  <a:chExt cx="257641" cy="298461"/>
                </a:xfrm>
              </p:grpSpPr>
              <p:pic>
                <p:nvPicPr>
                  <p:cNvPr id="254" name="Picture 12" descr="C:\Users\wslee\Desktop\29.png"/>
                  <p:cNvPicPr>
                    <a:picLocks noChangeAspect="1" noChangeArrowheads="1"/>
                  </p:cNvPicPr>
                  <p:nvPr/>
                </p:nvPicPr>
                <p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736586" y="8353803"/>
                    <a:ext cx="187331" cy="29084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55" name="그림 254"/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44598" y="8531632"/>
                    <a:ext cx="149629" cy="120632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237" name="그룹 236"/>
            <p:cNvGrpSpPr/>
            <p:nvPr/>
          </p:nvGrpSpPr>
          <p:grpSpPr>
            <a:xfrm>
              <a:off x="4616394" y="5520036"/>
              <a:ext cx="1704798" cy="866871"/>
              <a:chOff x="6100368" y="7646730"/>
              <a:chExt cx="2242182" cy="1140128"/>
            </a:xfrm>
          </p:grpSpPr>
          <p:grpSp>
            <p:nvGrpSpPr>
              <p:cNvPr id="238" name="그룹 225"/>
              <p:cNvGrpSpPr/>
              <p:nvPr/>
            </p:nvGrpSpPr>
            <p:grpSpPr>
              <a:xfrm>
                <a:off x="6100368" y="7646730"/>
                <a:ext cx="1058301" cy="1138823"/>
                <a:chOff x="1095119" y="3540128"/>
                <a:chExt cx="1730349" cy="1495306"/>
              </a:xfrm>
            </p:grpSpPr>
            <p:sp>
              <p:nvSpPr>
                <p:cNvPr id="246" name="직사각형 245"/>
                <p:cNvSpPr/>
                <p:nvPr/>
              </p:nvSpPr>
              <p:spPr>
                <a:xfrm>
                  <a:off x="1145905" y="3540128"/>
                  <a:ext cx="1628772" cy="1078639"/>
                </a:xfrm>
                <a:prstGeom prst="rect">
                  <a:avLst/>
                </a:prstGeom>
                <a:gradFill>
                  <a:gsLst>
                    <a:gs pos="0">
                      <a:sysClr val="window" lastClr="FFFFFF">
                        <a:alpha val="0"/>
                      </a:sysClr>
                    </a:gs>
                    <a:gs pos="100000">
                      <a:srgbClr val="4F81BD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800" b="0" i="0" u="none" strike="noStrike" kern="0" cap="none" spc="0" normalizeH="0" noProof="0" dirty="0" smtClean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pic>
              <p:nvPicPr>
                <p:cNvPr id="247" name="그림 246" descr="받침.png"/>
                <p:cNvPicPr>
                  <a:picLocks noChangeAspect="1"/>
                </p:cNvPicPr>
                <p:nvPr/>
              </p:nvPicPr>
              <p:blipFill>
                <a:blip r:embed="rId8" cstate="print"/>
                <a:stretch>
                  <a:fillRect/>
                </a:stretch>
              </p:blipFill>
              <p:spPr>
                <a:xfrm>
                  <a:off x="1095119" y="4433456"/>
                  <a:ext cx="1730349" cy="601978"/>
                </a:xfrm>
                <a:prstGeom prst="rect">
                  <a:avLst/>
                </a:prstGeom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248" name="Rectangle 137"/>
                <p:cNvSpPr>
                  <a:spLocks noChangeArrowheads="1"/>
                </p:cNvSpPr>
                <p:nvPr/>
              </p:nvSpPr>
              <p:spPr bwMode="auto">
                <a:xfrm>
                  <a:off x="1543186" y="4501970"/>
                  <a:ext cx="834202" cy="382686"/>
                </a:xfrm>
                <a:prstGeom prst="rect">
                  <a:avLst/>
                </a:prstGeom>
                <a:noFill/>
                <a:ln w="6350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80000"/>
                    <a:buFontTx/>
                    <a:buNone/>
                    <a:tabLst/>
                    <a:defRPr/>
                  </a:pPr>
                  <a:r>
                    <a:rPr kumimoji="0" lang="ko-KR" altLang="en-US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  <a:t>시스템</a:t>
                  </a:r>
                  <a:br>
                    <a:rPr kumimoji="0" lang="ko-KR" altLang="en-US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</a:br>
                  <a:r>
                    <a:rPr kumimoji="0" lang="ko-KR" altLang="en-US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  <a:t>성능 분석</a:t>
                  </a:r>
                </a:p>
              </p:txBody>
            </p:sp>
          </p:grpSp>
          <p:grpSp>
            <p:nvGrpSpPr>
              <p:cNvPr id="239" name="그룹 229"/>
              <p:cNvGrpSpPr/>
              <p:nvPr/>
            </p:nvGrpSpPr>
            <p:grpSpPr>
              <a:xfrm>
                <a:off x="7284249" y="8328389"/>
                <a:ext cx="1058301" cy="458469"/>
                <a:chOff x="1151280" y="4435162"/>
                <a:chExt cx="1730347" cy="601982"/>
              </a:xfrm>
            </p:grpSpPr>
            <p:pic>
              <p:nvPicPr>
                <p:cNvPr id="244" name="그림 243" descr="받침.png"/>
                <p:cNvPicPr>
                  <a:picLocks noChangeAspect="1"/>
                </p:cNvPicPr>
                <p:nvPr/>
              </p:nvPicPr>
              <p:blipFill>
                <a:blip r:embed="rId8" cstate="print"/>
                <a:stretch>
                  <a:fillRect/>
                </a:stretch>
              </p:blipFill>
              <p:spPr>
                <a:xfrm>
                  <a:off x="1151280" y="4435162"/>
                  <a:ext cx="1730347" cy="601982"/>
                </a:xfrm>
                <a:prstGeom prst="rect">
                  <a:avLst/>
                </a:prstGeom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245" name="Rectangle 137"/>
                <p:cNvSpPr>
                  <a:spLocks noChangeArrowheads="1"/>
                </p:cNvSpPr>
                <p:nvPr/>
              </p:nvSpPr>
              <p:spPr bwMode="auto">
                <a:xfrm>
                  <a:off x="1482149" y="4503679"/>
                  <a:ext cx="1089290" cy="382684"/>
                </a:xfrm>
                <a:prstGeom prst="rect">
                  <a:avLst/>
                </a:prstGeom>
                <a:noFill/>
                <a:ln w="6350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80000"/>
                    <a:buFontTx/>
                    <a:buNone/>
                    <a:tabLst/>
                    <a:defRPr/>
                  </a:pPr>
                  <a:r>
                    <a:rPr kumimoji="0" lang="en-US" altLang="ko-KR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  <a:t>WEB/WAS</a:t>
                  </a:r>
                  <a:br>
                    <a:rPr kumimoji="0" lang="en-US" altLang="ko-KR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</a:br>
                  <a:r>
                    <a:rPr kumimoji="0" lang="ko-KR" altLang="en-US" sz="800" b="0" i="0" u="none" strike="noStrike" kern="0" cap="none" spc="0" normalizeH="0" noProof="0" dirty="0" smtClean="0">
                      <a:ln>
                        <a:solidFill>
                          <a:schemeClr val="accent1">
                            <a:alpha val="0"/>
                          </a:schemeClr>
                        </a:solidFill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  <a:t>환경 분석</a:t>
                  </a:r>
                </a:p>
              </p:txBody>
            </p:sp>
          </p:grpSp>
          <p:grpSp>
            <p:nvGrpSpPr>
              <p:cNvPr id="240" name="그룹 118"/>
              <p:cNvGrpSpPr>
                <a:grpSpLocks/>
              </p:cNvGrpSpPr>
              <p:nvPr/>
            </p:nvGrpSpPr>
            <p:grpSpPr bwMode="auto">
              <a:xfrm>
                <a:off x="6262314" y="7820227"/>
                <a:ext cx="524856" cy="533784"/>
                <a:chOff x="615822" y="6568423"/>
                <a:chExt cx="840551" cy="853815"/>
              </a:xfrm>
            </p:grpSpPr>
            <p:pic>
              <p:nvPicPr>
                <p:cNvPr id="242" name="그림 119" descr="교육자.PNG"/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339" t="8791" r="20868" b="12717"/>
                <a:stretch>
                  <a:fillRect/>
                </a:stretch>
              </p:blipFill>
              <p:spPr bwMode="auto">
                <a:xfrm>
                  <a:off x="780036" y="6568423"/>
                  <a:ext cx="676337" cy="8538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43" name="그림 120" descr="돋보기.png"/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9086" t="6622" r="28494" b="2425"/>
                <a:stretch>
                  <a:fillRect/>
                </a:stretch>
              </p:blipFill>
              <p:spPr bwMode="auto">
                <a:xfrm>
                  <a:off x="615822" y="6745373"/>
                  <a:ext cx="307236" cy="51206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41" name="그림 93" descr="2.jpg"/>
              <p:cNvPicPr>
                <a:picLocks noChangeAspect="1"/>
              </p:cNvPicPr>
              <p:nvPr/>
            </p:nvPicPr>
            <p:blipFill>
              <a:blip r:embed="rId11" cstate="print">
                <a:lum bright="18000" contrast="-14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10956" y="7940723"/>
                <a:ext cx="604890" cy="3566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3" name="그룹 2"/>
          <p:cNvGrpSpPr/>
          <p:nvPr/>
        </p:nvGrpSpPr>
        <p:grpSpPr>
          <a:xfrm>
            <a:off x="7462378" y="4520618"/>
            <a:ext cx="1570327" cy="1001572"/>
            <a:chOff x="7462378" y="4520618"/>
            <a:chExt cx="1570327" cy="1001572"/>
          </a:xfrm>
        </p:grpSpPr>
        <p:sp>
          <p:nvSpPr>
            <p:cNvPr id="274" name="양쪽 모서리가 둥근 사각형 273"/>
            <p:cNvSpPr/>
            <p:nvPr/>
          </p:nvSpPr>
          <p:spPr>
            <a:xfrm>
              <a:off x="7462378" y="4628789"/>
              <a:ext cx="1570327" cy="503496"/>
            </a:xfrm>
            <a:prstGeom prst="round2SameRect">
              <a:avLst/>
            </a:prstGeom>
            <a:gradFill>
              <a:gsLst>
                <a:gs pos="1250">
                  <a:sysClr val="window" lastClr="FFFFFF">
                    <a:alpha val="0"/>
                  </a:sysClr>
                </a:gs>
                <a:gs pos="100000">
                  <a:sysClr val="window" lastClr="FFFFFF">
                    <a:lumMod val="95000"/>
                  </a:sysClr>
                </a:gs>
              </a:gsLst>
              <a:lin ang="16200000" scaled="0"/>
            </a:gradFill>
            <a:ln w="12700" cap="flat" cmpd="sng" algn="ctr">
              <a:gradFill>
                <a:gsLst>
                  <a:gs pos="0">
                    <a:sysClr val="window" lastClr="FFFFFF">
                      <a:lumMod val="75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0"/>
              </a:gra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75" name="모서리가 둥근 직사각형 274"/>
            <p:cNvSpPr/>
            <p:nvPr/>
          </p:nvSpPr>
          <p:spPr>
            <a:xfrm>
              <a:off x="7658010" y="4520618"/>
              <a:ext cx="1179063" cy="21047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BCBDC"/>
                </a:gs>
                <a:gs pos="100000">
                  <a:srgbClr val="AEC1D6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 w="6350">
              <a:solidFill>
                <a:srgbClr val="8FABC7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니터링</a:t>
              </a:r>
            </a:p>
          </p:txBody>
        </p:sp>
        <p:sp>
          <p:nvSpPr>
            <p:cNvPr id="270" name="직사각형 269"/>
            <p:cNvSpPr/>
            <p:nvPr/>
          </p:nvSpPr>
          <p:spPr bwMode="gray">
            <a:xfrm>
              <a:off x="7598641" y="4838736"/>
              <a:ext cx="612000" cy="310074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6200000" scaled="1"/>
              <a:tileRect/>
            </a:gradFill>
            <a:ln w="6350">
              <a:solidFill>
                <a:sysClr val="window" lastClr="FFFFFF">
                  <a:lumMod val="6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서버 자원</a:t>
              </a:r>
              <a:b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현황</a:t>
              </a:r>
            </a:p>
          </p:txBody>
        </p:sp>
        <p:sp>
          <p:nvSpPr>
            <p:cNvPr id="271" name="직사각형 270"/>
            <p:cNvSpPr/>
            <p:nvPr/>
          </p:nvSpPr>
          <p:spPr bwMode="gray">
            <a:xfrm>
              <a:off x="8284441" y="4838736"/>
              <a:ext cx="612000" cy="310074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6200000" scaled="1"/>
              <a:tileRect/>
            </a:gradFill>
            <a:ln w="6350">
              <a:solidFill>
                <a:sysClr val="window" lastClr="FFFFFF">
                  <a:lumMod val="6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응용 </a:t>
              </a:r>
              <a:r>
                <a:rPr kumimoji="0" lang="en-US" altLang="ko-KR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P</a:t>
              </a:r>
              <a:br>
                <a:rPr kumimoji="0" lang="en-US" altLang="ko-KR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성능</a:t>
              </a:r>
            </a:p>
          </p:txBody>
        </p:sp>
        <p:sp>
          <p:nvSpPr>
            <p:cNvPr id="272" name="직사각형 271"/>
            <p:cNvSpPr/>
            <p:nvPr/>
          </p:nvSpPr>
          <p:spPr bwMode="gray">
            <a:xfrm>
              <a:off x="7598641" y="5212116"/>
              <a:ext cx="612000" cy="310074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6200000" scaled="1"/>
              <a:tileRect/>
            </a:gradFill>
            <a:ln w="6350">
              <a:solidFill>
                <a:sysClr val="window" lastClr="FFFFFF">
                  <a:lumMod val="6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장애 및</a:t>
              </a:r>
              <a:b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성능 저하</a:t>
              </a:r>
            </a:p>
          </p:txBody>
        </p:sp>
        <p:sp>
          <p:nvSpPr>
            <p:cNvPr id="273" name="직사각형 272"/>
            <p:cNvSpPr/>
            <p:nvPr/>
          </p:nvSpPr>
          <p:spPr bwMode="gray">
            <a:xfrm>
              <a:off x="8284441" y="5212116"/>
              <a:ext cx="612000" cy="310074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6200000" scaled="1"/>
              <a:tileRect/>
            </a:gradFill>
            <a:ln w="6350">
              <a:solidFill>
                <a:sysClr val="window" lastClr="FFFFFF">
                  <a:lumMod val="6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noProof="0" dirty="0" smtClean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구성 정보</a:t>
              </a:r>
            </a:p>
          </p:txBody>
        </p:sp>
      </p:grpSp>
      <p:pic>
        <p:nvPicPr>
          <p:cNvPr id="263" name="Picture 2" descr="C:\Users\sung\Desktop\5-2.나.5).라)-001-02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957092" y="5630847"/>
            <a:ext cx="580898" cy="273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4" name="그룹 263"/>
          <p:cNvGrpSpPr/>
          <p:nvPr/>
        </p:nvGrpSpPr>
        <p:grpSpPr>
          <a:xfrm>
            <a:off x="7420286" y="5990523"/>
            <a:ext cx="1654510" cy="400948"/>
            <a:chOff x="5147321" y="9463659"/>
            <a:chExt cx="1891989" cy="513996"/>
          </a:xfrm>
        </p:grpSpPr>
        <p:pic>
          <p:nvPicPr>
            <p:cNvPr id="265" name="Picture 376"/>
            <p:cNvPicPr preferRelativeResize="0">
              <a:picLocks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7321" y="9550148"/>
              <a:ext cx="583288" cy="375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571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" name="Picture 377"/>
            <p:cNvPicPr preferRelativeResize="0">
              <a:picLocks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6022" y="9550150"/>
              <a:ext cx="583288" cy="375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571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67" name="Group 466"/>
            <p:cNvGrpSpPr>
              <a:grpSpLocks/>
            </p:cNvGrpSpPr>
            <p:nvPr/>
          </p:nvGrpSpPr>
          <p:grpSpPr bwMode="auto">
            <a:xfrm>
              <a:off x="5784569" y="9463659"/>
              <a:ext cx="617493" cy="513996"/>
              <a:chOff x="3528" y="5035"/>
              <a:chExt cx="438" cy="376"/>
            </a:xfrm>
          </p:grpSpPr>
          <p:pic>
            <p:nvPicPr>
              <p:cNvPr id="268" name="Picture 379" descr="024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28" y="5202"/>
                <a:ext cx="438" cy="2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9" name="Picture 380" descr="023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94" y="5035"/>
                <a:ext cx="306" cy="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76" name="직사각형 275"/>
          <p:cNvSpPr/>
          <p:nvPr/>
        </p:nvSpPr>
        <p:spPr bwMode="auto">
          <a:xfrm>
            <a:off x="464182" y="4804821"/>
            <a:ext cx="816308" cy="970046"/>
          </a:xfrm>
          <a:prstGeom prst="rect">
            <a:avLst/>
          </a:prstGeom>
          <a:solidFill>
            <a:srgbClr val="3C99D8"/>
          </a:solidFill>
          <a:ln w="15875">
            <a:solidFill>
              <a:srgbClr val="3C99D8"/>
            </a:solidFill>
          </a:ln>
          <a:effectLst>
            <a:outerShdw blurRad="38100" dist="25400" dir="5400000" algn="t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cene3d>
              <a:camera prst="orthographicFront"/>
              <a:lightRig rig="threePt" dir="t"/>
            </a:scene3d>
            <a:sp3d extrusionH="1270">
              <a:bevelT w="0"/>
            </a:sp3d>
          </a:bodyPr>
          <a:lstStyle/>
          <a:p>
            <a:pPr marL="0" lvl="1" algn="ctr" defTabSz="1145926" eaLnBrk="1" latin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tabLst>
                <a:tab pos="5648325" algn="l"/>
              </a:tabLst>
              <a:defRPr/>
            </a:pPr>
            <a:r>
              <a:rPr lang="ko-KR" altLang="en-US" sz="1100" spc="-15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검증</a:t>
            </a:r>
            <a:endParaRPr lang="en-US" altLang="ko-KR" sz="1100" spc="-15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lvl="1" algn="ctr" defTabSz="1145926" eaLnBrk="1" latin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70000"/>
              <a:tabLst>
                <a:tab pos="5648325" algn="l"/>
              </a:tabLst>
              <a:defRPr/>
            </a:pPr>
            <a:r>
              <a:rPr lang="ko-KR" altLang="en-US" sz="1100" spc="-15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행 기법</a:t>
            </a:r>
            <a:endParaRPr lang="en-US" altLang="ko-KR" sz="1100" spc="-15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0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86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3.5 </a:t>
            </a:r>
            <a:r>
              <a:rPr lang="ko-KR" altLang="en-US" dirty="0"/>
              <a:t>성능 </a:t>
            </a:r>
            <a:r>
              <a:rPr lang="ko-KR" altLang="en-US" dirty="0" smtClean="0"/>
              <a:t>최적화 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해 구축되는 서버의 테스트 영역에 따라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S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시스템 소프트웨어에 대한 파라미터 최적화를 통해 정상적인 업무 처리 및 성능을 보장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최적화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성능 테스트 방안 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718393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테스트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37" name="자유형 136"/>
          <p:cNvSpPr/>
          <p:nvPr/>
        </p:nvSpPr>
        <p:spPr bwMode="auto">
          <a:xfrm>
            <a:off x="578902" y="2422664"/>
            <a:ext cx="648744" cy="3617945"/>
          </a:xfrm>
          <a:custGeom>
            <a:avLst/>
            <a:gdLst>
              <a:gd name="connsiteX0" fmla="*/ 662940 w 670560"/>
              <a:gd name="connsiteY0" fmla="*/ 0 h 3764280"/>
              <a:gd name="connsiteX1" fmla="*/ 0 w 670560"/>
              <a:gd name="connsiteY1" fmla="*/ 533400 h 3764280"/>
              <a:gd name="connsiteX2" fmla="*/ 0 w 670560"/>
              <a:gd name="connsiteY2" fmla="*/ 3764280 h 3764280"/>
              <a:gd name="connsiteX3" fmla="*/ 670560 w 670560"/>
              <a:gd name="connsiteY3" fmla="*/ 3215640 h 3764280"/>
              <a:gd name="connsiteX4" fmla="*/ 662940 w 670560"/>
              <a:gd name="connsiteY4" fmla="*/ 0 h 3764280"/>
              <a:gd name="connsiteX0" fmla="*/ 662940 w 670560"/>
              <a:gd name="connsiteY0" fmla="*/ 0 h 3749992"/>
              <a:gd name="connsiteX1" fmla="*/ 0 w 670560"/>
              <a:gd name="connsiteY1" fmla="*/ 533400 h 3749992"/>
              <a:gd name="connsiteX2" fmla="*/ 2381 w 670560"/>
              <a:gd name="connsiteY2" fmla="*/ 3749992 h 3749992"/>
              <a:gd name="connsiteX3" fmla="*/ 670560 w 670560"/>
              <a:gd name="connsiteY3" fmla="*/ 3215640 h 3749992"/>
              <a:gd name="connsiteX4" fmla="*/ 662940 w 670560"/>
              <a:gd name="connsiteY4" fmla="*/ 0 h 3749992"/>
              <a:gd name="connsiteX0" fmla="*/ 665426 w 673046"/>
              <a:gd name="connsiteY0" fmla="*/ 0 h 3747611"/>
              <a:gd name="connsiteX1" fmla="*/ 2486 w 673046"/>
              <a:gd name="connsiteY1" fmla="*/ 533400 h 3747611"/>
              <a:gd name="connsiteX2" fmla="*/ 105 w 673046"/>
              <a:gd name="connsiteY2" fmla="*/ 3747611 h 3747611"/>
              <a:gd name="connsiteX3" fmla="*/ 673046 w 673046"/>
              <a:gd name="connsiteY3" fmla="*/ 3215640 h 3747611"/>
              <a:gd name="connsiteX4" fmla="*/ 665426 w 673046"/>
              <a:gd name="connsiteY4" fmla="*/ 0 h 3747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3046" h="3747611">
                <a:moveTo>
                  <a:pt x="665426" y="0"/>
                </a:moveTo>
                <a:lnTo>
                  <a:pt x="2486" y="533400"/>
                </a:lnTo>
                <a:cubicBezTo>
                  <a:pt x="3280" y="1605597"/>
                  <a:pt x="-689" y="2675414"/>
                  <a:pt x="105" y="3747611"/>
                </a:cubicBezTo>
                <a:lnTo>
                  <a:pt x="673046" y="3215640"/>
                </a:lnTo>
                <a:lnTo>
                  <a:pt x="665426" y="0"/>
                </a:lnTo>
                <a:close/>
              </a:path>
            </a:pathLst>
          </a:custGeom>
          <a:gradFill flip="none" rotWithShape="1">
            <a:gsLst>
              <a:gs pos="0">
                <a:srgbClr val="BBCBDC"/>
              </a:gs>
              <a:gs pos="100000">
                <a:srgbClr val="AEC1D6">
                  <a:tint val="23500"/>
                  <a:satMod val="160000"/>
                </a:srgbClr>
              </a:gs>
            </a:gsLst>
            <a:lin ang="16200000" scaled="1"/>
            <a:tileRect/>
          </a:gradFill>
          <a:ln w="6350">
            <a:solidFill>
              <a:srgbClr val="8FABC7"/>
            </a:solidFill>
            <a:round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eaLnBrk="0" latinLnBrk="0" hangingPunct="0">
              <a:spcBef>
                <a:spcPts val="0"/>
              </a:spcBef>
              <a:spcAft>
                <a:spcPts val="0"/>
              </a:spcAft>
              <a:buSzPct val="80000"/>
            </a:pPr>
            <a:endParaRPr kumimoji="0" lang="ko-KR" altLang="en-US" sz="9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1214680" y="2423701"/>
            <a:ext cx="2010080" cy="3102156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0"/>
            <a:tileRect/>
          </a:gradFill>
          <a:ln w="6350">
            <a:solidFill>
              <a:sysClr val="window" lastClr="FFFFFF">
                <a:lumMod val="65000"/>
              </a:sysClr>
            </a:solidFill>
            <a:round/>
            <a:headEnd/>
            <a:tailEnd/>
          </a:ln>
          <a:effectLst/>
        </p:spPr>
        <p:txBody>
          <a:bodyPr wrap="square" lIns="36000" rIns="3600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39" name="평행 사변형 138"/>
          <p:cNvSpPr/>
          <p:nvPr/>
        </p:nvSpPr>
        <p:spPr>
          <a:xfrm>
            <a:off x="582248" y="5525857"/>
            <a:ext cx="2642100" cy="513353"/>
          </a:xfrm>
          <a:prstGeom prst="parallelogram">
            <a:avLst>
              <a:gd name="adj" fmla="val 130694"/>
            </a:avLst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0"/>
            <a:tileRect/>
          </a:gradFill>
          <a:ln w="6350">
            <a:solidFill>
              <a:sysClr val="window" lastClr="FFFFFF">
                <a:lumMod val="65000"/>
              </a:sysClr>
            </a:solidFill>
            <a:round/>
            <a:headEnd/>
            <a:tailEnd/>
          </a:ln>
          <a:effectLst/>
        </p:spPr>
        <p:txBody>
          <a:bodyPr wrap="square" lIns="36000" rIns="3600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40" name="평행 사변형 139"/>
          <p:cNvSpPr/>
          <p:nvPr/>
        </p:nvSpPr>
        <p:spPr>
          <a:xfrm>
            <a:off x="582248" y="4514556"/>
            <a:ext cx="2642100" cy="513353"/>
          </a:xfrm>
          <a:prstGeom prst="parallelogram">
            <a:avLst>
              <a:gd name="adj" fmla="val 130694"/>
            </a:avLst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0"/>
            <a:tileRect/>
          </a:gradFill>
          <a:ln w="6350">
            <a:solidFill>
              <a:sysClr val="window" lastClr="FFFFFF">
                <a:lumMod val="65000"/>
              </a:sysClr>
            </a:solidFill>
            <a:round/>
            <a:headEnd/>
            <a:tailEnd/>
          </a:ln>
          <a:effectLst/>
        </p:spPr>
        <p:txBody>
          <a:bodyPr wrap="square" lIns="36000" rIns="3600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41" name="평행 사변형 140"/>
          <p:cNvSpPr/>
          <p:nvPr/>
        </p:nvSpPr>
        <p:spPr>
          <a:xfrm>
            <a:off x="582248" y="3538762"/>
            <a:ext cx="2642100" cy="513353"/>
          </a:xfrm>
          <a:prstGeom prst="parallelogram">
            <a:avLst>
              <a:gd name="adj" fmla="val 130694"/>
            </a:avLst>
          </a:prstGeom>
          <a:gradFill flip="none" rotWithShape="1"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/>
              </a:gs>
            </a:gsLst>
            <a:lin ang="16200000" scaled="0"/>
            <a:tileRect/>
          </a:gradFill>
          <a:ln w="6350">
            <a:solidFill>
              <a:sysClr val="window" lastClr="FFFFFF">
                <a:lumMod val="65000"/>
              </a:sysClr>
            </a:solidFill>
            <a:round/>
            <a:headEnd/>
            <a:tailEnd/>
          </a:ln>
          <a:effectLst/>
        </p:spPr>
        <p:txBody>
          <a:bodyPr wrap="square" lIns="36000" rIns="3600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1214680" y="2420860"/>
            <a:ext cx="2009668" cy="598834"/>
          </a:xfrm>
          <a:prstGeom prst="rect">
            <a:avLst/>
          </a:prstGeom>
          <a:pattFill prst="wdDnDiag">
            <a:fgClr>
              <a:srgbClr val="DDDDDD"/>
            </a:fgClr>
            <a:bgClr>
              <a:srgbClr val="EAEAEA"/>
            </a:bgClr>
          </a:pattFill>
          <a:ln w="6350">
            <a:solidFill>
              <a:srgbClr val="A6A6A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l" eaLnBrk="0" fontAlgn="auto" latinLnBrk="0" hangingPunct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ysClr val="windowText" lastClr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43" name="TextBox 34"/>
          <p:cNvSpPr txBox="1">
            <a:spLocks noChangeArrowheads="1"/>
          </p:cNvSpPr>
          <p:nvPr/>
        </p:nvSpPr>
        <p:spPr bwMode="auto">
          <a:xfrm>
            <a:off x="758202" y="3148424"/>
            <a:ext cx="290144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just" defTabSz="773113">
              <a:lnSpc>
                <a:spcPct val="110000"/>
              </a:lnSpc>
              <a:spcBef>
                <a:spcPct val="25000"/>
              </a:spcBef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defTabSz="773113">
              <a:lnSpc>
                <a:spcPct val="110000"/>
              </a:lnSpc>
              <a:spcBef>
                <a:spcPct val="25000"/>
              </a:spcBef>
              <a:buChar char="•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defTabSz="773113">
              <a:lnSpc>
                <a:spcPct val="110000"/>
              </a:lnSpc>
              <a:spcBef>
                <a:spcPct val="25000"/>
              </a:spcBef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en-US" altLang="ko-KR" sz="10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WEB</a:t>
            </a:r>
            <a:endParaRPr lang="ko-KR" altLang="en-US" sz="10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영역</a:t>
            </a:r>
          </a:p>
        </p:txBody>
      </p:sp>
      <p:sp>
        <p:nvSpPr>
          <p:cNvPr id="144" name="TextBox 34"/>
          <p:cNvSpPr txBox="1">
            <a:spLocks noChangeArrowheads="1"/>
          </p:cNvSpPr>
          <p:nvPr/>
        </p:nvSpPr>
        <p:spPr bwMode="auto">
          <a:xfrm>
            <a:off x="759002" y="4264504"/>
            <a:ext cx="288542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just" defTabSz="773113">
              <a:lnSpc>
                <a:spcPct val="110000"/>
              </a:lnSpc>
              <a:spcBef>
                <a:spcPct val="25000"/>
              </a:spcBef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defTabSz="773113">
              <a:lnSpc>
                <a:spcPct val="110000"/>
              </a:lnSpc>
              <a:spcBef>
                <a:spcPct val="25000"/>
              </a:spcBef>
              <a:buChar char="•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defTabSz="773113">
              <a:lnSpc>
                <a:spcPct val="110000"/>
              </a:lnSpc>
              <a:spcBef>
                <a:spcPct val="25000"/>
              </a:spcBef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en-US" altLang="ko-KR" sz="10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WAS</a:t>
            </a:r>
            <a:endParaRPr lang="ko-KR" altLang="en-US" sz="10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영역</a:t>
            </a:r>
          </a:p>
        </p:txBody>
      </p:sp>
      <p:sp>
        <p:nvSpPr>
          <p:cNvPr id="145" name="TextBox 34"/>
          <p:cNvSpPr txBox="1">
            <a:spLocks noChangeArrowheads="1"/>
          </p:cNvSpPr>
          <p:nvPr/>
        </p:nvSpPr>
        <p:spPr bwMode="auto">
          <a:xfrm>
            <a:off x="789461" y="5248441"/>
            <a:ext cx="227626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just" defTabSz="773113">
              <a:lnSpc>
                <a:spcPct val="110000"/>
              </a:lnSpc>
              <a:spcBef>
                <a:spcPct val="25000"/>
              </a:spcBef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defTabSz="773113">
              <a:lnSpc>
                <a:spcPct val="110000"/>
              </a:lnSpc>
              <a:spcBef>
                <a:spcPct val="25000"/>
              </a:spcBef>
              <a:buChar char="•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defTabSz="773113">
              <a:lnSpc>
                <a:spcPct val="110000"/>
              </a:lnSpc>
              <a:spcBef>
                <a:spcPct val="25000"/>
              </a:spcBef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en-US" altLang="ko-KR" sz="10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DB</a:t>
            </a:r>
            <a:endParaRPr lang="ko-KR" altLang="en-US" sz="10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black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영역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1592098" y="3247734"/>
            <a:ext cx="1125417" cy="178321"/>
          </a:xfrm>
          <a:prstGeom prst="rect">
            <a:avLst/>
          </a:pr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7" name="자유형 146"/>
          <p:cNvSpPr/>
          <p:nvPr/>
        </p:nvSpPr>
        <p:spPr bwMode="auto">
          <a:xfrm>
            <a:off x="1205304" y="3404156"/>
            <a:ext cx="576457" cy="481781"/>
          </a:xfrm>
          <a:custGeom>
            <a:avLst/>
            <a:gdLst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12700 h 488950"/>
              <a:gd name="connsiteX6" fmla="*/ 412750 w 612775"/>
              <a:gd name="connsiteY6" fmla="*/ 0 h 488950"/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0 h 488950"/>
              <a:gd name="connsiteX6" fmla="*/ 412750 w 612775"/>
              <a:gd name="connsiteY6" fmla="*/ 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775" h="488950">
                <a:moveTo>
                  <a:pt x="412750" y="0"/>
                </a:moveTo>
                <a:lnTo>
                  <a:pt x="419100" y="142875"/>
                </a:lnTo>
                <a:lnTo>
                  <a:pt x="0" y="488950"/>
                </a:lnTo>
                <a:lnTo>
                  <a:pt x="196850" y="488950"/>
                </a:lnTo>
                <a:lnTo>
                  <a:pt x="612775" y="133350"/>
                </a:lnTo>
                <a:lnTo>
                  <a:pt x="612775" y="0"/>
                </a:lnTo>
                <a:lnTo>
                  <a:pt x="412750" y="0"/>
                </a:lnTo>
                <a:close/>
              </a:path>
            </a:pathLst>
          </a:cu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8" name="자유형 147"/>
          <p:cNvSpPr/>
          <p:nvPr/>
        </p:nvSpPr>
        <p:spPr bwMode="auto">
          <a:xfrm>
            <a:off x="2144233" y="3404156"/>
            <a:ext cx="576457" cy="481781"/>
          </a:xfrm>
          <a:custGeom>
            <a:avLst/>
            <a:gdLst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12700 h 488950"/>
              <a:gd name="connsiteX6" fmla="*/ 412750 w 612775"/>
              <a:gd name="connsiteY6" fmla="*/ 0 h 488950"/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0 h 488950"/>
              <a:gd name="connsiteX6" fmla="*/ 412750 w 612775"/>
              <a:gd name="connsiteY6" fmla="*/ 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775" h="488950">
                <a:moveTo>
                  <a:pt x="412750" y="0"/>
                </a:moveTo>
                <a:lnTo>
                  <a:pt x="419100" y="142875"/>
                </a:lnTo>
                <a:lnTo>
                  <a:pt x="0" y="488950"/>
                </a:lnTo>
                <a:lnTo>
                  <a:pt x="196850" y="488950"/>
                </a:lnTo>
                <a:lnTo>
                  <a:pt x="612775" y="133350"/>
                </a:lnTo>
                <a:lnTo>
                  <a:pt x="612775" y="0"/>
                </a:lnTo>
                <a:lnTo>
                  <a:pt x="412750" y="0"/>
                </a:lnTo>
                <a:close/>
              </a:path>
            </a:pathLst>
          </a:cu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9" name="자유형 148"/>
          <p:cNvSpPr/>
          <p:nvPr/>
        </p:nvSpPr>
        <p:spPr bwMode="auto">
          <a:xfrm>
            <a:off x="1542514" y="3332202"/>
            <a:ext cx="399406" cy="349604"/>
          </a:xfrm>
          <a:custGeom>
            <a:avLst/>
            <a:gdLst>
              <a:gd name="connsiteX0" fmla="*/ 516731 w 516731"/>
              <a:gd name="connsiteY0" fmla="*/ 0 h 354806"/>
              <a:gd name="connsiteX1" fmla="*/ 173831 w 516731"/>
              <a:gd name="connsiteY1" fmla="*/ 0 h 354806"/>
              <a:gd name="connsiteX2" fmla="*/ 173831 w 516731"/>
              <a:gd name="connsiteY2" fmla="*/ 214313 h 354806"/>
              <a:gd name="connsiteX3" fmla="*/ 0 w 516731"/>
              <a:gd name="connsiteY3" fmla="*/ 354806 h 354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6731" h="354806">
                <a:moveTo>
                  <a:pt x="516731" y="0"/>
                </a:moveTo>
                <a:lnTo>
                  <a:pt x="173831" y="0"/>
                </a:lnTo>
                <a:lnTo>
                  <a:pt x="173831" y="214313"/>
                </a:lnTo>
                <a:lnTo>
                  <a:pt x="0" y="354806"/>
                </a:lnTo>
              </a:path>
            </a:pathLst>
          </a:custGeom>
          <a:noFill/>
          <a:ln w="12700">
            <a:solidFill>
              <a:sysClr val="window" lastClr="FFFFFF"/>
            </a:solidFill>
            <a:round/>
            <a:headEnd/>
            <a:tailEnd type="triangle" w="med" len="med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191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50" name="자유형 149"/>
          <p:cNvSpPr/>
          <p:nvPr/>
        </p:nvSpPr>
        <p:spPr bwMode="auto">
          <a:xfrm>
            <a:off x="2366990" y="3332202"/>
            <a:ext cx="242526" cy="351985"/>
          </a:xfrm>
          <a:custGeom>
            <a:avLst/>
            <a:gdLst>
              <a:gd name="connsiteX0" fmla="*/ 0 w 328612"/>
              <a:gd name="connsiteY0" fmla="*/ 0 h 354806"/>
              <a:gd name="connsiteX1" fmla="*/ 328612 w 328612"/>
              <a:gd name="connsiteY1" fmla="*/ 0 h 354806"/>
              <a:gd name="connsiteX2" fmla="*/ 328612 w 328612"/>
              <a:gd name="connsiteY2" fmla="*/ 216693 h 354806"/>
              <a:gd name="connsiteX3" fmla="*/ 166687 w 328612"/>
              <a:gd name="connsiteY3" fmla="*/ 354806 h 354806"/>
              <a:gd name="connsiteX0" fmla="*/ 0 w 328612"/>
              <a:gd name="connsiteY0" fmla="*/ 0 h 357222"/>
              <a:gd name="connsiteX1" fmla="*/ 328612 w 328612"/>
              <a:gd name="connsiteY1" fmla="*/ 0 h 357222"/>
              <a:gd name="connsiteX2" fmla="*/ 328612 w 328612"/>
              <a:gd name="connsiteY2" fmla="*/ 216693 h 357222"/>
              <a:gd name="connsiteX3" fmla="*/ 137649 w 328612"/>
              <a:gd name="connsiteY3" fmla="*/ 357222 h 357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2" h="357222">
                <a:moveTo>
                  <a:pt x="0" y="0"/>
                </a:moveTo>
                <a:lnTo>
                  <a:pt x="328612" y="0"/>
                </a:lnTo>
                <a:lnTo>
                  <a:pt x="328612" y="216693"/>
                </a:lnTo>
                <a:cubicBezTo>
                  <a:pt x="274637" y="262731"/>
                  <a:pt x="191624" y="311184"/>
                  <a:pt x="137649" y="357222"/>
                </a:cubicBezTo>
              </a:path>
            </a:pathLst>
          </a:custGeom>
          <a:noFill/>
          <a:ln w="12700">
            <a:solidFill>
              <a:sysClr val="window" lastClr="FFFFFF"/>
            </a:solidFill>
            <a:round/>
            <a:headEnd/>
            <a:tailEnd type="triangle" w="med" len="med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191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51" name="TextBox 34"/>
          <p:cNvSpPr txBox="1">
            <a:spLocks noChangeArrowheads="1"/>
          </p:cNvSpPr>
          <p:nvPr/>
        </p:nvSpPr>
        <p:spPr bwMode="auto">
          <a:xfrm>
            <a:off x="1963188" y="3275455"/>
            <a:ext cx="387927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just" defTabSz="773113">
              <a:lnSpc>
                <a:spcPct val="110000"/>
              </a:lnSpc>
              <a:spcBef>
                <a:spcPct val="25000"/>
              </a:spcBef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defTabSz="773113">
              <a:lnSpc>
                <a:spcPct val="110000"/>
              </a:lnSpc>
              <a:spcBef>
                <a:spcPct val="25000"/>
              </a:spcBef>
              <a:buChar char="•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defTabSz="773113">
              <a:lnSpc>
                <a:spcPct val="110000"/>
              </a:lnSpc>
              <a:spcBef>
                <a:spcPct val="25000"/>
              </a:spcBef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algn="ctr" latinLnBrk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부하</a:t>
            </a:r>
            <a:r>
              <a:rPr lang="en-US" altLang="ko-KR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8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산</a:t>
            </a:r>
          </a:p>
        </p:txBody>
      </p:sp>
      <p:sp>
        <p:nvSpPr>
          <p:cNvPr id="153" name="직사각형 152"/>
          <p:cNvSpPr/>
          <p:nvPr/>
        </p:nvSpPr>
        <p:spPr bwMode="auto">
          <a:xfrm>
            <a:off x="1866966" y="4083741"/>
            <a:ext cx="616752" cy="162811"/>
          </a:xfrm>
          <a:prstGeom prst="rect">
            <a:avLst/>
          </a:pr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atinLnBrk="0"/>
            <a:endParaRPr lang="ko-KR" altLang="en-US" sz="1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grpSp>
        <p:nvGrpSpPr>
          <p:cNvPr id="154" name="그룹 153"/>
          <p:cNvGrpSpPr/>
          <p:nvPr/>
        </p:nvGrpSpPr>
        <p:grpSpPr>
          <a:xfrm>
            <a:off x="1981880" y="4112654"/>
            <a:ext cx="394262" cy="139217"/>
            <a:chOff x="2267311" y="4430712"/>
            <a:chExt cx="419100" cy="141288"/>
          </a:xfrm>
        </p:grpSpPr>
        <p:cxnSp>
          <p:nvCxnSpPr>
            <p:cNvPr id="155" name="직선 연결선 154"/>
            <p:cNvCxnSpPr/>
            <p:nvPr/>
          </p:nvCxnSpPr>
          <p:spPr bwMode="auto">
            <a:xfrm>
              <a:off x="2267311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56" name="직선 연결선 155"/>
            <p:cNvCxnSpPr/>
            <p:nvPr/>
          </p:nvCxnSpPr>
          <p:spPr bwMode="auto">
            <a:xfrm>
              <a:off x="2372086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57" name="직선 연결선 156"/>
            <p:cNvCxnSpPr/>
            <p:nvPr/>
          </p:nvCxnSpPr>
          <p:spPr bwMode="auto">
            <a:xfrm>
              <a:off x="2476861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58" name="직선 연결선 157"/>
            <p:cNvCxnSpPr/>
            <p:nvPr/>
          </p:nvCxnSpPr>
          <p:spPr bwMode="auto">
            <a:xfrm>
              <a:off x="2581636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59" name="직선 연결선 158"/>
            <p:cNvCxnSpPr/>
            <p:nvPr/>
          </p:nvCxnSpPr>
          <p:spPr bwMode="auto">
            <a:xfrm>
              <a:off x="2686411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</p:grpSp>
      <p:sp>
        <p:nvSpPr>
          <p:cNvPr id="160" name="Rectangle 222"/>
          <p:cNvSpPr>
            <a:spLocks noChangeArrowheads="1"/>
          </p:cNvSpPr>
          <p:nvPr/>
        </p:nvSpPr>
        <p:spPr bwMode="auto">
          <a:xfrm flipH="1">
            <a:off x="1243548" y="2571104"/>
            <a:ext cx="1980799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latinLnBrk="0" hangingPunct="0"/>
            <a:r>
              <a:rPr lang="ko-KR" altLang="en-US" sz="11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규 구축 시스템에 대한</a:t>
            </a:r>
            <a:endParaRPr lang="en-US" altLang="ko-KR" sz="110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0" latinLnBrk="0" hangingPunct="0"/>
            <a:r>
              <a:rPr lang="ko-KR" altLang="en-US" sz="11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의 </a:t>
            </a:r>
            <a:r>
              <a:rPr lang="ko-KR" altLang="en-US" sz="11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향상</a:t>
            </a:r>
          </a:p>
        </p:txBody>
      </p:sp>
      <p:pic>
        <p:nvPicPr>
          <p:cNvPr id="161" name="Picture 49" descr="Picture37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058" y="3701709"/>
            <a:ext cx="317031" cy="322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49" descr="Picture37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434" y="3701709"/>
            <a:ext cx="317031" cy="322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" name="직사각형 162"/>
          <p:cNvSpPr/>
          <p:nvPr/>
        </p:nvSpPr>
        <p:spPr bwMode="auto">
          <a:xfrm>
            <a:off x="1592892" y="4250348"/>
            <a:ext cx="1125417" cy="178321"/>
          </a:xfrm>
          <a:prstGeom prst="rect">
            <a:avLst/>
          </a:pr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64" name="자유형 163"/>
          <p:cNvSpPr/>
          <p:nvPr/>
        </p:nvSpPr>
        <p:spPr bwMode="auto">
          <a:xfrm>
            <a:off x="1205304" y="4406770"/>
            <a:ext cx="576457" cy="481781"/>
          </a:xfrm>
          <a:custGeom>
            <a:avLst/>
            <a:gdLst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12700 h 488950"/>
              <a:gd name="connsiteX6" fmla="*/ 412750 w 612775"/>
              <a:gd name="connsiteY6" fmla="*/ 0 h 488950"/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0 h 488950"/>
              <a:gd name="connsiteX6" fmla="*/ 412750 w 612775"/>
              <a:gd name="connsiteY6" fmla="*/ 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775" h="488950">
                <a:moveTo>
                  <a:pt x="412750" y="0"/>
                </a:moveTo>
                <a:lnTo>
                  <a:pt x="419100" y="142875"/>
                </a:lnTo>
                <a:lnTo>
                  <a:pt x="0" y="488950"/>
                </a:lnTo>
                <a:lnTo>
                  <a:pt x="196850" y="488950"/>
                </a:lnTo>
                <a:lnTo>
                  <a:pt x="612775" y="133350"/>
                </a:lnTo>
                <a:lnTo>
                  <a:pt x="612775" y="0"/>
                </a:lnTo>
                <a:lnTo>
                  <a:pt x="412750" y="0"/>
                </a:lnTo>
                <a:close/>
              </a:path>
            </a:pathLst>
          </a:cu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65" name="자유형 164"/>
          <p:cNvSpPr/>
          <p:nvPr/>
        </p:nvSpPr>
        <p:spPr bwMode="auto">
          <a:xfrm>
            <a:off x="2141852" y="4406770"/>
            <a:ext cx="576457" cy="481781"/>
          </a:xfrm>
          <a:custGeom>
            <a:avLst/>
            <a:gdLst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12700 h 488950"/>
              <a:gd name="connsiteX6" fmla="*/ 412750 w 612775"/>
              <a:gd name="connsiteY6" fmla="*/ 0 h 488950"/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0 h 488950"/>
              <a:gd name="connsiteX6" fmla="*/ 412750 w 612775"/>
              <a:gd name="connsiteY6" fmla="*/ 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775" h="488950">
                <a:moveTo>
                  <a:pt x="412750" y="0"/>
                </a:moveTo>
                <a:lnTo>
                  <a:pt x="419100" y="142875"/>
                </a:lnTo>
                <a:lnTo>
                  <a:pt x="0" y="488950"/>
                </a:lnTo>
                <a:lnTo>
                  <a:pt x="196850" y="488950"/>
                </a:lnTo>
                <a:lnTo>
                  <a:pt x="612775" y="133350"/>
                </a:lnTo>
                <a:lnTo>
                  <a:pt x="612775" y="0"/>
                </a:lnTo>
                <a:lnTo>
                  <a:pt x="412750" y="0"/>
                </a:lnTo>
                <a:close/>
              </a:path>
            </a:pathLst>
          </a:cu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66" name="자유형 165"/>
          <p:cNvSpPr/>
          <p:nvPr/>
        </p:nvSpPr>
        <p:spPr bwMode="auto">
          <a:xfrm>
            <a:off x="1540133" y="4334816"/>
            <a:ext cx="399406" cy="349604"/>
          </a:xfrm>
          <a:custGeom>
            <a:avLst/>
            <a:gdLst>
              <a:gd name="connsiteX0" fmla="*/ 516731 w 516731"/>
              <a:gd name="connsiteY0" fmla="*/ 0 h 354806"/>
              <a:gd name="connsiteX1" fmla="*/ 173831 w 516731"/>
              <a:gd name="connsiteY1" fmla="*/ 0 h 354806"/>
              <a:gd name="connsiteX2" fmla="*/ 173831 w 516731"/>
              <a:gd name="connsiteY2" fmla="*/ 214313 h 354806"/>
              <a:gd name="connsiteX3" fmla="*/ 0 w 516731"/>
              <a:gd name="connsiteY3" fmla="*/ 354806 h 354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6731" h="354806">
                <a:moveTo>
                  <a:pt x="516731" y="0"/>
                </a:moveTo>
                <a:lnTo>
                  <a:pt x="173831" y="0"/>
                </a:lnTo>
                <a:lnTo>
                  <a:pt x="173831" y="214313"/>
                </a:lnTo>
                <a:lnTo>
                  <a:pt x="0" y="354806"/>
                </a:lnTo>
              </a:path>
            </a:pathLst>
          </a:custGeom>
          <a:noFill/>
          <a:ln w="12700">
            <a:solidFill>
              <a:sysClr val="window" lastClr="FFFFFF"/>
            </a:solidFill>
            <a:round/>
            <a:headEnd/>
            <a:tailEnd type="triangle" w="med" len="med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191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67" name="자유형 166"/>
          <p:cNvSpPr/>
          <p:nvPr/>
        </p:nvSpPr>
        <p:spPr bwMode="auto">
          <a:xfrm>
            <a:off x="2394183" y="4334816"/>
            <a:ext cx="225421" cy="368654"/>
          </a:xfrm>
          <a:custGeom>
            <a:avLst/>
            <a:gdLst>
              <a:gd name="connsiteX0" fmla="*/ 0 w 328612"/>
              <a:gd name="connsiteY0" fmla="*/ 0 h 354806"/>
              <a:gd name="connsiteX1" fmla="*/ 328612 w 328612"/>
              <a:gd name="connsiteY1" fmla="*/ 0 h 354806"/>
              <a:gd name="connsiteX2" fmla="*/ 328612 w 328612"/>
              <a:gd name="connsiteY2" fmla="*/ 216693 h 354806"/>
              <a:gd name="connsiteX3" fmla="*/ 166687 w 328612"/>
              <a:gd name="connsiteY3" fmla="*/ 354806 h 354806"/>
              <a:gd name="connsiteX0" fmla="*/ 0 w 328612"/>
              <a:gd name="connsiteY0" fmla="*/ 0 h 374139"/>
              <a:gd name="connsiteX1" fmla="*/ 328612 w 328612"/>
              <a:gd name="connsiteY1" fmla="*/ 0 h 374139"/>
              <a:gd name="connsiteX2" fmla="*/ 328612 w 328612"/>
              <a:gd name="connsiteY2" fmla="*/ 216693 h 374139"/>
              <a:gd name="connsiteX3" fmla="*/ 113986 w 328612"/>
              <a:gd name="connsiteY3" fmla="*/ 374139 h 374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2" h="374139">
                <a:moveTo>
                  <a:pt x="0" y="0"/>
                </a:moveTo>
                <a:lnTo>
                  <a:pt x="328612" y="0"/>
                </a:lnTo>
                <a:lnTo>
                  <a:pt x="328612" y="216693"/>
                </a:lnTo>
                <a:cubicBezTo>
                  <a:pt x="274637" y="262731"/>
                  <a:pt x="167961" y="328101"/>
                  <a:pt x="113986" y="374139"/>
                </a:cubicBezTo>
              </a:path>
            </a:pathLst>
          </a:custGeom>
          <a:noFill/>
          <a:ln w="12700">
            <a:solidFill>
              <a:sysClr val="window" lastClr="FFFFFF"/>
            </a:solidFill>
            <a:round/>
            <a:headEnd/>
            <a:tailEnd type="triangle" w="med" len="med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191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68" name="TextBox 34"/>
          <p:cNvSpPr txBox="1">
            <a:spLocks noChangeArrowheads="1"/>
          </p:cNvSpPr>
          <p:nvPr/>
        </p:nvSpPr>
        <p:spPr bwMode="auto">
          <a:xfrm>
            <a:off x="1976682" y="4278069"/>
            <a:ext cx="387927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just" defTabSz="773113">
              <a:lnSpc>
                <a:spcPct val="110000"/>
              </a:lnSpc>
              <a:spcBef>
                <a:spcPct val="25000"/>
              </a:spcBef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defTabSz="773113">
              <a:lnSpc>
                <a:spcPct val="110000"/>
              </a:lnSpc>
              <a:spcBef>
                <a:spcPct val="25000"/>
              </a:spcBef>
              <a:buChar char="•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defTabSz="773113">
              <a:lnSpc>
                <a:spcPct val="110000"/>
              </a:lnSpc>
              <a:spcBef>
                <a:spcPct val="25000"/>
              </a:spcBef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algn="ctr" latinLnBrk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부하</a:t>
            </a:r>
            <a:r>
              <a:rPr lang="en-US" altLang="ko-KR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8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산</a:t>
            </a:r>
          </a:p>
        </p:txBody>
      </p:sp>
      <p:pic>
        <p:nvPicPr>
          <p:cNvPr id="170" name="Picture 50" descr="Picture43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058" y="4675742"/>
            <a:ext cx="323983" cy="322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" name="Picture 50" descr="Picture43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434" y="4675742"/>
            <a:ext cx="323983" cy="322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2" name="AutoShape 174" descr="블랙"/>
          <p:cNvSpPr>
            <a:spLocks noChangeArrowheads="1"/>
          </p:cNvSpPr>
          <p:nvPr/>
        </p:nvSpPr>
        <p:spPr bwMode="auto">
          <a:xfrm>
            <a:off x="1299683" y="3087800"/>
            <a:ext cx="202037" cy="206320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19050" algn="ctr">
            <a:solidFill>
              <a:sysClr val="window" lastClr="FFFFFF"/>
            </a:solidFill>
            <a:round/>
            <a:headEnd/>
            <a:tailEnd/>
          </a:ln>
          <a:effectLst>
            <a:outerShdw dist="25400" dir="54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algn="ctr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Times New Roman" pitchFamily="18" charset="0"/>
              </a:rPr>
              <a:t>1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1592098" y="5243838"/>
            <a:ext cx="1125417" cy="178321"/>
          </a:xfrm>
          <a:prstGeom prst="rect">
            <a:avLst/>
          </a:pr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74" name="자유형 173"/>
          <p:cNvSpPr/>
          <p:nvPr/>
        </p:nvSpPr>
        <p:spPr bwMode="auto">
          <a:xfrm>
            <a:off x="1205304" y="5400260"/>
            <a:ext cx="576457" cy="481781"/>
          </a:xfrm>
          <a:custGeom>
            <a:avLst/>
            <a:gdLst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12700 h 488950"/>
              <a:gd name="connsiteX6" fmla="*/ 412750 w 612775"/>
              <a:gd name="connsiteY6" fmla="*/ 0 h 488950"/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0 h 488950"/>
              <a:gd name="connsiteX6" fmla="*/ 412750 w 612775"/>
              <a:gd name="connsiteY6" fmla="*/ 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775" h="488950">
                <a:moveTo>
                  <a:pt x="412750" y="0"/>
                </a:moveTo>
                <a:lnTo>
                  <a:pt x="419100" y="142875"/>
                </a:lnTo>
                <a:lnTo>
                  <a:pt x="0" y="488950"/>
                </a:lnTo>
                <a:lnTo>
                  <a:pt x="196850" y="488950"/>
                </a:lnTo>
                <a:lnTo>
                  <a:pt x="612775" y="133350"/>
                </a:lnTo>
                <a:lnTo>
                  <a:pt x="612775" y="0"/>
                </a:lnTo>
                <a:lnTo>
                  <a:pt x="412750" y="0"/>
                </a:lnTo>
                <a:close/>
              </a:path>
            </a:pathLst>
          </a:cu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75" name="자유형 174"/>
          <p:cNvSpPr/>
          <p:nvPr/>
        </p:nvSpPr>
        <p:spPr bwMode="auto">
          <a:xfrm>
            <a:off x="2144233" y="5400260"/>
            <a:ext cx="576457" cy="481781"/>
          </a:xfrm>
          <a:custGeom>
            <a:avLst/>
            <a:gdLst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12700 h 488950"/>
              <a:gd name="connsiteX6" fmla="*/ 412750 w 612775"/>
              <a:gd name="connsiteY6" fmla="*/ 0 h 488950"/>
              <a:gd name="connsiteX0" fmla="*/ 412750 w 612775"/>
              <a:gd name="connsiteY0" fmla="*/ 0 h 488950"/>
              <a:gd name="connsiteX1" fmla="*/ 419100 w 612775"/>
              <a:gd name="connsiteY1" fmla="*/ 142875 h 488950"/>
              <a:gd name="connsiteX2" fmla="*/ 0 w 612775"/>
              <a:gd name="connsiteY2" fmla="*/ 488950 h 488950"/>
              <a:gd name="connsiteX3" fmla="*/ 196850 w 612775"/>
              <a:gd name="connsiteY3" fmla="*/ 488950 h 488950"/>
              <a:gd name="connsiteX4" fmla="*/ 612775 w 612775"/>
              <a:gd name="connsiteY4" fmla="*/ 133350 h 488950"/>
              <a:gd name="connsiteX5" fmla="*/ 612775 w 612775"/>
              <a:gd name="connsiteY5" fmla="*/ 0 h 488950"/>
              <a:gd name="connsiteX6" fmla="*/ 412750 w 612775"/>
              <a:gd name="connsiteY6" fmla="*/ 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775" h="488950">
                <a:moveTo>
                  <a:pt x="412750" y="0"/>
                </a:moveTo>
                <a:lnTo>
                  <a:pt x="419100" y="142875"/>
                </a:lnTo>
                <a:lnTo>
                  <a:pt x="0" y="488950"/>
                </a:lnTo>
                <a:lnTo>
                  <a:pt x="196850" y="488950"/>
                </a:lnTo>
                <a:lnTo>
                  <a:pt x="612775" y="133350"/>
                </a:lnTo>
                <a:lnTo>
                  <a:pt x="612775" y="0"/>
                </a:lnTo>
                <a:lnTo>
                  <a:pt x="412750" y="0"/>
                </a:lnTo>
                <a:close/>
              </a:path>
            </a:pathLst>
          </a:cu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76" name="자유형 175"/>
          <p:cNvSpPr/>
          <p:nvPr/>
        </p:nvSpPr>
        <p:spPr bwMode="auto">
          <a:xfrm>
            <a:off x="1542514" y="5328306"/>
            <a:ext cx="399406" cy="349604"/>
          </a:xfrm>
          <a:custGeom>
            <a:avLst/>
            <a:gdLst>
              <a:gd name="connsiteX0" fmla="*/ 516731 w 516731"/>
              <a:gd name="connsiteY0" fmla="*/ 0 h 354806"/>
              <a:gd name="connsiteX1" fmla="*/ 173831 w 516731"/>
              <a:gd name="connsiteY1" fmla="*/ 0 h 354806"/>
              <a:gd name="connsiteX2" fmla="*/ 173831 w 516731"/>
              <a:gd name="connsiteY2" fmla="*/ 214313 h 354806"/>
              <a:gd name="connsiteX3" fmla="*/ 0 w 516731"/>
              <a:gd name="connsiteY3" fmla="*/ 354806 h 354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6731" h="354806">
                <a:moveTo>
                  <a:pt x="516731" y="0"/>
                </a:moveTo>
                <a:lnTo>
                  <a:pt x="173831" y="0"/>
                </a:lnTo>
                <a:lnTo>
                  <a:pt x="173831" y="214313"/>
                </a:lnTo>
                <a:lnTo>
                  <a:pt x="0" y="354806"/>
                </a:lnTo>
              </a:path>
            </a:pathLst>
          </a:custGeom>
          <a:noFill/>
          <a:ln w="12700">
            <a:solidFill>
              <a:sysClr val="window" lastClr="FFFFFF"/>
            </a:solidFill>
            <a:round/>
            <a:headEnd/>
            <a:tailEnd type="triangle" w="med" len="med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191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77" name="자유형 176"/>
          <p:cNvSpPr/>
          <p:nvPr/>
        </p:nvSpPr>
        <p:spPr bwMode="auto">
          <a:xfrm>
            <a:off x="2396564" y="5328306"/>
            <a:ext cx="225421" cy="368654"/>
          </a:xfrm>
          <a:custGeom>
            <a:avLst/>
            <a:gdLst>
              <a:gd name="connsiteX0" fmla="*/ 0 w 328612"/>
              <a:gd name="connsiteY0" fmla="*/ 0 h 354806"/>
              <a:gd name="connsiteX1" fmla="*/ 328612 w 328612"/>
              <a:gd name="connsiteY1" fmla="*/ 0 h 354806"/>
              <a:gd name="connsiteX2" fmla="*/ 328612 w 328612"/>
              <a:gd name="connsiteY2" fmla="*/ 216693 h 354806"/>
              <a:gd name="connsiteX3" fmla="*/ 166687 w 328612"/>
              <a:gd name="connsiteY3" fmla="*/ 354806 h 354806"/>
              <a:gd name="connsiteX0" fmla="*/ 0 w 328612"/>
              <a:gd name="connsiteY0" fmla="*/ 0 h 374139"/>
              <a:gd name="connsiteX1" fmla="*/ 328612 w 328612"/>
              <a:gd name="connsiteY1" fmla="*/ 0 h 374139"/>
              <a:gd name="connsiteX2" fmla="*/ 328612 w 328612"/>
              <a:gd name="connsiteY2" fmla="*/ 216693 h 374139"/>
              <a:gd name="connsiteX3" fmla="*/ 113986 w 328612"/>
              <a:gd name="connsiteY3" fmla="*/ 374139 h 374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8612" h="374139">
                <a:moveTo>
                  <a:pt x="0" y="0"/>
                </a:moveTo>
                <a:lnTo>
                  <a:pt x="328612" y="0"/>
                </a:lnTo>
                <a:lnTo>
                  <a:pt x="328612" y="216693"/>
                </a:lnTo>
                <a:cubicBezTo>
                  <a:pt x="274637" y="262731"/>
                  <a:pt x="167961" y="328101"/>
                  <a:pt x="113986" y="374139"/>
                </a:cubicBezTo>
              </a:path>
            </a:pathLst>
          </a:custGeom>
          <a:noFill/>
          <a:ln w="12700">
            <a:solidFill>
              <a:sysClr val="window" lastClr="FFFFFF"/>
            </a:solidFill>
            <a:round/>
            <a:headEnd/>
            <a:tailEnd type="triangle" w="med" len="med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191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noProof="0" dirty="0" smtClean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78" name="TextBox 34"/>
          <p:cNvSpPr txBox="1">
            <a:spLocks noChangeArrowheads="1"/>
          </p:cNvSpPr>
          <p:nvPr/>
        </p:nvSpPr>
        <p:spPr bwMode="auto">
          <a:xfrm>
            <a:off x="1974256" y="5271559"/>
            <a:ext cx="397545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just" defTabSz="773113">
              <a:lnSpc>
                <a:spcPct val="110000"/>
              </a:lnSpc>
              <a:spcBef>
                <a:spcPct val="25000"/>
              </a:spcBef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defTabSz="773113">
              <a:lnSpc>
                <a:spcPct val="110000"/>
              </a:lnSpc>
              <a:spcBef>
                <a:spcPct val="25000"/>
              </a:spcBef>
              <a:buChar char="•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defTabSz="773113">
              <a:lnSpc>
                <a:spcPct val="110000"/>
              </a:lnSpc>
              <a:spcBef>
                <a:spcPct val="25000"/>
              </a:spcBef>
              <a:buChar char="–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defTabSz="773113">
              <a:lnSpc>
                <a:spcPct val="110000"/>
              </a:lnSpc>
              <a:spcBef>
                <a:spcPct val="25000"/>
              </a:spcBef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defTabSz="773113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200">
                <a:solidFill>
                  <a:srgbClr val="000000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algn="ctr" latinLnBrk="0">
              <a:lnSpc>
                <a:spcPct val="100000"/>
              </a:lnSpc>
              <a:spcBef>
                <a:spcPct val="0"/>
              </a:spcBef>
              <a:buClr>
                <a:srgbClr val="969696"/>
              </a:buClr>
              <a:buSzPct val="80000"/>
            </a:pPr>
            <a:r>
              <a:rPr lang="en-US" altLang="ko-KR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QL </a:t>
            </a:r>
            <a:r>
              <a:rPr lang="ko-KR" altLang="en-US" sz="8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튜닝</a:t>
            </a:r>
            <a:endParaRPr lang="ko-KR" altLang="en-US" sz="8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79" name="Picture 50" descr="Picture43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058" y="5680661"/>
            <a:ext cx="323983" cy="322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0" name="Picture 50" descr="Picture43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434" y="5680661"/>
            <a:ext cx="323983" cy="322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직사각형 182"/>
          <p:cNvSpPr/>
          <p:nvPr/>
        </p:nvSpPr>
        <p:spPr bwMode="auto">
          <a:xfrm>
            <a:off x="1866187" y="5077179"/>
            <a:ext cx="616752" cy="162811"/>
          </a:xfrm>
          <a:prstGeom prst="rect">
            <a:avLst/>
          </a:prstGeom>
          <a:solidFill>
            <a:srgbClr val="B2B2B2"/>
          </a:solidFill>
          <a:ln w="6350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atinLnBrk="0"/>
            <a:endParaRPr lang="ko-KR" altLang="en-US" sz="1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grpSp>
        <p:nvGrpSpPr>
          <p:cNvPr id="184" name="그룹 183"/>
          <p:cNvGrpSpPr/>
          <p:nvPr/>
        </p:nvGrpSpPr>
        <p:grpSpPr>
          <a:xfrm>
            <a:off x="1981101" y="5106092"/>
            <a:ext cx="394262" cy="139217"/>
            <a:chOff x="2267311" y="4430712"/>
            <a:chExt cx="419100" cy="141288"/>
          </a:xfrm>
        </p:grpSpPr>
        <p:cxnSp>
          <p:nvCxnSpPr>
            <p:cNvPr id="185" name="직선 연결선 184"/>
            <p:cNvCxnSpPr/>
            <p:nvPr/>
          </p:nvCxnSpPr>
          <p:spPr bwMode="auto">
            <a:xfrm>
              <a:off x="2267311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86" name="직선 연결선 185"/>
            <p:cNvCxnSpPr/>
            <p:nvPr/>
          </p:nvCxnSpPr>
          <p:spPr bwMode="auto">
            <a:xfrm>
              <a:off x="2372086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87" name="직선 연결선 186"/>
            <p:cNvCxnSpPr/>
            <p:nvPr/>
          </p:nvCxnSpPr>
          <p:spPr bwMode="auto">
            <a:xfrm>
              <a:off x="2476861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88" name="직선 연결선 187"/>
            <p:cNvCxnSpPr/>
            <p:nvPr/>
          </p:nvCxnSpPr>
          <p:spPr bwMode="auto">
            <a:xfrm>
              <a:off x="2581636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  <p:cxnSp>
          <p:nvCxnSpPr>
            <p:cNvPr id="189" name="직선 연결선 188"/>
            <p:cNvCxnSpPr/>
            <p:nvPr/>
          </p:nvCxnSpPr>
          <p:spPr bwMode="auto">
            <a:xfrm>
              <a:off x="2686411" y="4430712"/>
              <a:ext cx="0" cy="141288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/>
              <a:tailEnd type="triangle" w="med" len="med"/>
            </a:ln>
          </p:spPr>
        </p:cxnSp>
      </p:grpSp>
      <p:sp>
        <p:nvSpPr>
          <p:cNvPr id="250" name="AutoShape 174" descr="블랙"/>
          <p:cNvSpPr>
            <a:spLocks noChangeArrowheads="1"/>
          </p:cNvSpPr>
          <p:nvPr/>
        </p:nvSpPr>
        <p:spPr bwMode="auto">
          <a:xfrm>
            <a:off x="1299683" y="4155128"/>
            <a:ext cx="202037" cy="206320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19050" algn="ctr">
            <a:solidFill>
              <a:sysClr val="window" lastClr="FFFFFF"/>
            </a:solidFill>
            <a:round/>
            <a:headEnd/>
            <a:tailEnd/>
          </a:ln>
          <a:effectLst>
            <a:outerShdw dist="25400" dir="54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algn="ctr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Times New Roman" pitchFamily="18" charset="0"/>
              </a:rPr>
              <a:t>2</a:t>
            </a:r>
          </a:p>
        </p:txBody>
      </p:sp>
      <p:sp>
        <p:nvSpPr>
          <p:cNvPr id="256" name="AutoShape 174" descr="블랙"/>
          <p:cNvSpPr>
            <a:spLocks noChangeArrowheads="1"/>
          </p:cNvSpPr>
          <p:nvPr/>
        </p:nvSpPr>
        <p:spPr bwMode="auto">
          <a:xfrm>
            <a:off x="1299683" y="5116538"/>
            <a:ext cx="202037" cy="206320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19050" algn="ctr">
            <a:solidFill>
              <a:sysClr val="window" lastClr="FFFFFF"/>
            </a:solidFill>
            <a:round/>
            <a:headEnd/>
            <a:tailEnd/>
          </a:ln>
          <a:effectLst>
            <a:outerShdw dist="25400" dir="54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algn="ctr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Times New Roman" pitchFamily="18" charset="0"/>
              </a:rPr>
              <a:t>3</a:t>
            </a:r>
          </a:p>
        </p:txBody>
      </p:sp>
      <p:graphicFrame>
        <p:nvGraphicFramePr>
          <p:cNvPr id="257" name="Group 95"/>
          <p:cNvGraphicFramePr>
            <a:graphicFrameLocks noGrp="1"/>
          </p:cNvGraphicFramePr>
          <p:nvPr>
            <p:extLst/>
          </p:nvPr>
        </p:nvGraphicFramePr>
        <p:xfrm>
          <a:off x="3656574" y="3872851"/>
          <a:ext cx="5916057" cy="2569196"/>
        </p:xfrm>
        <a:graphic>
          <a:graphicData uri="http://schemas.openxmlformats.org/drawingml/2006/table">
            <a:tbl>
              <a:tblPr/>
              <a:tblGrid>
                <a:gridCol w="805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22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84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9020">
                <a:tc>
                  <a:txBody>
                    <a:bodyPr/>
                    <a:lstStyle>
                      <a:lvl1pPr marL="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성능진단대상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점검항목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점검방법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굴림" pitchFamily="50" charset="-127"/>
                        </a:rPr>
                        <a:t>운영 분석도구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892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WEB</a:t>
                      </a: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CPU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메모리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프로세스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파일시스템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각 서비스 인스턴스 로그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서버 모니터링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직접 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모니터링 도구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0928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WAS</a:t>
                      </a:r>
                      <a:endParaRPr kumimoji="1" lang="ko-KR" altLang="en-US" sz="9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CPU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메모리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프로세스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파일시스템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컨테이너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인스턴스 등 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JVM Health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모니터링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transaction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모니터링 등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WAS admin, managed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인스턴스 로그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서버 모니터링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직접 분석 및 분석스크립트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WAS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모니터링 도구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597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DB</a:t>
                      </a:r>
                      <a:endParaRPr kumimoji="1" lang="ko-KR" altLang="en-US" sz="9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CPU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메모리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프로세스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,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파일시스템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DB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로그분석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SQL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수행시간 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서버 모니터링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직접 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DB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모니터링 도구</a:t>
                      </a:r>
                      <a:endParaRPr kumimoji="1" lang="en-US" altLang="ko-KR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3187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상용</a:t>
                      </a: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 S/W</a:t>
                      </a:r>
                      <a:endParaRPr kumimoji="1" lang="ko-KR" altLang="en-US" sz="9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성능관련 </a:t>
                      </a:r>
                      <a:r>
                        <a:rPr kumimoji="1" lang="en-US" altLang="ko-KR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S/W </a:t>
                      </a: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설정 값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직접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endParaRPr kumimoji="1" lang="ko-KR" altLang="en-US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3187">
                <a:tc>
                  <a:txBody>
                    <a:bodyPr/>
                    <a:lstStyle>
                      <a:lvl1pPr marL="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820738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820738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8207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굴림" pitchFamily="50" charset="-127"/>
                        </a:rPr>
                        <a:t>OS</a:t>
                      </a:r>
                      <a:endParaRPr kumimoji="1" lang="ko-KR" altLang="en-US" sz="900" b="0" i="0" u="none" strike="noStrike" kern="1200" cap="none" normalizeH="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굴림" pitchFamily="50" charset="-127"/>
                      </a:endParaRPr>
                    </a:p>
                  </a:txBody>
                  <a:tcPr marL="43200" marR="43200" marT="43200" marB="43200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E7EF"/>
                    </a:solidFill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성능관련 파라미터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r>
                        <a:rPr kumimoji="1" lang="ko-KR" altLang="en-US" sz="900" kern="1200" baseline="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charset="-127"/>
                        </a:rPr>
                        <a:t>직접분석</a:t>
                      </a: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8425" indent="-98425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1pPr>
                      <a:lvl2pPr marL="742950" indent="-28575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2pPr>
                      <a:lvl3pPr marL="11430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3pPr>
                      <a:lvl4pPr marL="16002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4pPr>
                      <a:lvl5pPr marL="2057400" indent="-228600" algn="just" defTabSz="914400" rtl="0" eaLnBrk="1" latinLnBrk="1" hangingPunct="1">
                        <a:lnSpc>
                          <a:spcPct val="110000"/>
                        </a:lnSpc>
                        <a:spcBef>
                          <a:spcPct val="25000"/>
                        </a:spcBef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5pPr>
                      <a:lvl6pPr marL="25146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6pPr>
                      <a:lvl7pPr marL="29718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7pPr>
                      <a:lvl8pPr marL="34290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8pPr>
                      <a:lvl9pPr marL="3886200" indent="-228600" algn="just" defTabSz="914400" rtl="0" eaLnBrk="0" fontAlgn="base" latinLnBrk="1" hangingPunct="0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defRPr kumimoji="1" sz="1000" kern="1200">
                          <a:solidFill>
                            <a:srgbClr val="000000"/>
                          </a:solidFill>
                          <a:latin typeface="KoPub바탕체 Light" panose="02020603020101020101" pitchFamily="18" charset="-127"/>
                          <a:ea typeface="KoPub바탕체 Light" panose="02020603020101020101" pitchFamily="18" charset="-127"/>
                          <a:cs typeface="굴림" panose="020B0600000101010101" pitchFamily="50" charset="-127"/>
                        </a:defRPr>
                      </a:lvl9pPr>
                    </a:lstStyle>
                    <a:p>
                      <a:pPr marL="95245" marR="0" lvl="0" indent="-95245" algn="l" defTabSz="820738" rtl="0" eaLnBrk="0" fontAlgn="ctr" latinLnBrk="0" hangingPunct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808080"/>
                        </a:buClr>
                        <a:buSzPct val="80000"/>
                        <a:buFont typeface="Wingdings 2" pitchFamily="18" charset="2"/>
                        <a:buChar char="¡"/>
                        <a:tabLst/>
                      </a:pPr>
                      <a:endParaRPr kumimoji="1" lang="ko-KR" altLang="en-US" sz="900" kern="1200" baseline="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charset="-127"/>
                      </a:endParaRPr>
                    </a:p>
                  </a:txBody>
                  <a:tcPr marL="43200" marR="43200" marT="43200" marB="432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67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77" name="AutoShape 62"/>
          <p:cNvSpPr>
            <a:spLocks noChangeArrowheads="1"/>
          </p:cNvSpPr>
          <p:nvPr/>
        </p:nvSpPr>
        <p:spPr bwMode="gray">
          <a:xfrm>
            <a:off x="3759321" y="2240868"/>
            <a:ext cx="3539680" cy="40631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EAE3D2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8000" tIns="0" rIns="0" bIns="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9pPr>
          </a:lstStyle>
          <a:p>
            <a:pPr algn="l" latinLnBrk="0">
              <a:spcBef>
                <a:spcPct val="20000"/>
              </a:spcBef>
            </a:pPr>
            <a:r>
              <a:rPr kumimoji="0" lang="ko-KR" altLang="en-US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무 부하분산</a:t>
            </a:r>
            <a:endParaRPr kumimoji="0" lang="ko-KR" altLang="en-US" sz="1100" i="1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8" name="AutoShape 103" descr="어두운 수평선"/>
          <p:cNvSpPr>
            <a:spLocks noChangeArrowheads="1"/>
          </p:cNvSpPr>
          <p:nvPr/>
        </p:nvSpPr>
        <p:spPr bwMode="gray">
          <a:xfrm>
            <a:off x="5709327" y="2256946"/>
            <a:ext cx="2910740" cy="396000"/>
          </a:xfrm>
          <a:prstGeom prst="roundRect">
            <a:avLst>
              <a:gd name="adj" fmla="val 16667"/>
            </a:avLst>
          </a:prstGeom>
          <a:pattFill prst="dkHorz">
            <a:fgClr>
              <a:srgbClr val="DFE9F1"/>
            </a:fgClr>
            <a:bgClr>
              <a:srgbClr val="D1DFEB"/>
            </a:bgClr>
          </a:pattFill>
          <a:ln w="12700">
            <a:solidFill>
              <a:srgbClr val="ACC5DC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8" tIns="45668" rIns="91338" bIns="45668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9pPr>
          </a:lstStyle>
          <a:p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79" name="AutoShape 104"/>
          <p:cNvSpPr>
            <a:spLocks noChangeArrowheads="1"/>
          </p:cNvSpPr>
          <p:nvPr/>
        </p:nvSpPr>
        <p:spPr bwMode="auto">
          <a:xfrm>
            <a:off x="5649316" y="2247351"/>
            <a:ext cx="2508040" cy="41519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6B7D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38" tIns="45668" rIns="91338" bIns="45668" anchor="ctr"/>
          <a:lstStyle/>
          <a:p>
            <a:pPr algn="l" eaLnBrk="1" fontAlgn="auto" latinLnBrk="0" hangingPunct="1">
              <a:spcBef>
                <a:spcPct val="300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 </a:t>
            </a:r>
            <a:r>
              <a:rPr lang="en-US" altLang="ko-KR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WEB </a:t>
            </a: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서비스 구축에 </a:t>
            </a: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따른 업무 부하 분산</a:t>
            </a:r>
          </a:p>
          <a:p>
            <a:pPr algn="l" eaLnBrk="1" fontAlgn="auto" latinLnBrk="0" hangingPunct="1">
              <a:spcBef>
                <a:spcPct val="300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en-US" altLang="ko-KR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 WAS </a:t>
            </a: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서비스 연동을 위한 플러그인 설정</a:t>
            </a:r>
          </a:p>
        </p:txBody>
      </p:sp>
      <p:sp>
        <p:nvSpPr>
          <p:cNvPr id="280" name="AutoShape 174" descr="블랙"/>
          <p:cNvSpPr>
            <a:spLocks noChangeArrowheads="1"/>
          </p:cNvSpPr>
          <p:nvPr/>
        </p:nvSpPr>
        <p:spPr bwMode="auto">
          <a:xfrm>
            <a:off x="3656820" y="2340863"/>
            <a:ext cx="202037" cy="206320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19050" algn="ctr">
            <a:solidFill>
              <a:sysClr val="window" lastClr="FFFFFF"/>
            </a:solidFill>
            <a:round/>
            <a:headEnd/>
            <a:tailEnd/>
          </a:ln>
          <a:effectLst>
            <a:outerShdw dist="25400" dir="54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algn="ctr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Times New Roman" pitchFamily="18" charset="0"/>
              </a:rPr>
              <a:t>1</a:t>
            </a:r>
          </a:p>
        </p:txBody>
      </p:sp>
      <p:sp>
        <p:nvSpPr>
          <p:cNvPr id="281" name="AutoShape 62"/>
          <p:cNvSpPr>
            <a:spLocks noChangeArrowheads="1"/>
          </p:cNvSpPr>
          <p:nvPr/>
        </p:nvSpPr>
        <p:spPr bwMode="gray">
          <a:xfrm>
            <a:off x="3759321" y="2769537"/>
            <a:ext cx="3539680" cy="40631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EAE3D2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8000" tIns="0" rIns="0" bIns="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9pPr>
          </a:lstStyle>
          <a:p>
            <a:pPr algn="l" latinLnBrk="0">
              <a:spcBef>
                <a:spcPct val="20000"/>
              </a:spcBef>
            </a:pPr>
            <a:r>
              <a:rPr kumimoji="0" lang="en-US" altLang="ko-KR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JVM </a:t>
            </a:r>
            <a:r>
              <a:rPr kumimoji="0" lang="ko-KR" altLang="en-US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</a:t>
            </a:r>
            <a:r>
              <a:rPr kumimoji="0" lang="en-US" altLang="ko-KR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OS </a:t>
            </a:r>
            <a:r>
              <a:rPr kumimoji="0" lang="ko-KR" altLang="en-US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파라미터 조정</a:t>
            </a:r>
            <a:endParaRPr kumimoji="0" lang="ko-KR" altLang="en-US" sz="1100" i="1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82" name="AutoShape 103" descr="어두운 수평선"/>
          <p:cNvSpPr>
            <a:spLocks noChangeArrowheads="1"/>
          </p:cNvSpPr>
          <p:nvPr/>
        </p:nvSpPr>
        <p:spPr bwMode="gray">
          <a:xfrm>
            <a:off x="5709327" y="2785615"/>
            <a:ext cx="2910740" cy="396000"/>
          </a:xfrm>
          <a:prstGeom prst="roundRect">
            <a:avLst>
              <a:gd name="adj" fmla="val 16667"/>
            </a:avLst>
          </a:prstGeom>
          <a:pattFill prst="dkHorz">
            <a:fgClr>
              <a:srgbClr val="DFE9F1"/>
            </a:fgClr>
            <a:bgClr>
              <a:srgbClr val="D1DFEB"/>
            </a:bgClr>
          </a:pattFill>
          <a:ln w="12700">
            <a:solidFill>
              <a:srgbClr val="ACC5DC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8" tIns="45668" rIns="91338" bIns="45668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9pPr>
          </a:lstStyle>
          <a:p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83" name="AutoShape 104"/>
          <p:cNvSpPr>
            <a:spLocks noChangeArrowheads="1"/>
          </p:cNvSpPr>
          <p:nvPr/>
        </p:nvSpPr>
        <p:spPr bwMode="auto">
          <a:xfrm>
            <a:off x="5649316" y="2776020"/>
            <a:ext cx="2508040" cy="41519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6B7D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38" tIns="45668" rIns="91338" bIns="45668" anchor="ctr"/>
          <a:lstStyle/>
          <a:p>
            <a:pPr algn="l" eaLnBrk="1" fontAlgn="auto" latinLnBrk="0" hangingPunct="1">
              <a:spcBef>
                <a:spcPct val="300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 </a:t>
            </a:r>
            <a:r>
              <a:rPr lang="en-US" altLang="ko-KR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WAS JVM Heap </a:t>
            </a: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사이즈 등 파라미터 조정</a:t>
            </a:r>
          </a:p>
          <a:p>
            <a:pPr algn="l" eaLnBrk="1" fontAlgn="auto" latinLnBrk="0" hangingPunct="1">
              <a:spcBef>
                <a:spcPct val="300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 최적의 </a:t>
            </a:r>
            <a:r>
              <a:rPr lang="en-US" altLang="ko-KR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OS </a:t>
            </a: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파라미터 튜닝 및 적용</a:t>
            </a:r>
          </a:p>
        </p:txBody>
      </p:sp>
      <p:sp>
        <p:nvSpPr>
          <p:cNvPr id="284" name="AutoShape 174" descr="블랙"/>
          <p:cNvSpPr>
            <a:spLocks noChangeArrowheads="1"/>
          </p:cNvSpPr>
          <p:nvPr/>
        </p:nvSpPr>
        <p:spPr bwMode="auto">
          <a:xfrm>
            <a:off x="3656820" y="2869532"/>
            <a:ext cx="202037" cy="206320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19050" algn="ctr">
            <a:solidFill>
              <a:sysClr val="window" lastClr="FFFFFF"/>
            </a:solidFill>
            <a:round/>
            <a:headEnd/>
            <a:tailEnd/>
          </a:ln>
          <a:effectLst>
            <a:outerShdw dist="25400" dir="54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algn="ctr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Times New Roman" pitchFamily="18" charset="0"/>
              </a:rPr>
              <a:t>2</a:t>
            </a:r>
          </a:p>
        </p:txBody>
      </p:sp>
      <p:sp>
        <p:nvSpPr>
          <p:cNvPr id="285" name="AutoShape 62"/>
          <p:cNvSpPr>
            <a:spLocks noChangeArrowheads="1"/>
          </p:cNvSpPr>
          <p:nvPr/>
        </p:nvSpPr>
        <p:spPr bwMode="gray">
          <a:xfrm>
            <a:off x="3764662" y="3283994"/>
            <a:ext cx="3539680" cy="40631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EAE3D2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8000" tIns="0" rIns="0" bIns="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9pPr>
          </a:lstStyle>
          <a:p>
            <a:pPr algn="l" latinLnBrk="0">
              <a:spcBef>
                <a:spcPct val="20000"/>
              </a:spcBef>
            </a:pPr>
            <a:r>
              <a:rPr kumimoji="0" lang="ko-KR" altLang="en-US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병렬 처리 및 </a:t>
            </a:r>
            <a:r>
              <a:rPr kumimoji="0" lang="en-US" altLang="ko-KR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QL </a:t>
            </a:r>
            <a:r>
              <a:rPr kumimoji="0" lang="ko-KR" altLang="en-US" sz="1100" i="1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튜닝</a:t>
            </a:r>
            <a:endParaRPr kumimoji="0" lang="ko-KR" altLang="en-US" sz="1100" i="1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86" name="AutoShape 103" descr="어두운 수평선"/>
          <p:cNvSpPr>
            <a:spLocks noChangeArrowheads="1"/>
          </p:cNvSpPr>
          <p:nvPr/>
        </p:nvSpPr>
        <p:spPr bwMode="gray">
          <a:xfrm>
            <a:off x="5714668" y="3300072"/>
            <a:ext cx="2910740" cy="396000"/>
          </a:xfrm>
          <a:prstGeom prst="roundRect">
            <a:avLst>
              <a:gd name="adj" fmla="val 16667"/>
            </a:avLst>
          </a:prstGeom>
          <a:pattFill prst="dkHorz">
            <a:fgClr>
              <a:srgbClr val="DFE9F1"/>
            </a:fgClr>
            <a:bgClr>
              <a:srgbClr val="D1DFEB"/>
            </a:bgClr>
          </a:pattFill>
          <a:ln w="12700">
            <a:solidFill>
              <a:srgbClr val="ACC5DC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38" tIns="45668" rIns="91338" bIns="45668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" charset="0"/>
                <a:ea typeface="산돌고딕 L" pitchFamily="18" charset="-127"/>
                <a:cs typeface="+mn-cs"/>
              </a:defRPr>
            </a:lvl9pPr>
          </a:lstStyle>
          <a:p>
            <a:endParaRPr lang="ko-KR" altLang="en-US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87" name="AutoShape 104"/>
          <p:cNvSpPr>
            <a:spLocks noChangeArrowheads="1"/>
          </p:cNvSpPr>
          <p:nvPr/>
        </p:nvSpPr>
        <p:spPr bwMode="auto">
          <a:xfrm>
            <a:off x="5654657" y="3290477"/>
            <a:ext cx="2970751" cy="41519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76B7D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38" tIns="45668" rIns="91338" bIns="45668" anchor="ctr"/>
          <a:lstStyle/>
          <a:p>
            <a:pPr algn="l" eaLnBrk="1" fontAlgn="auto" latinLnBrk="0" hangingPunct="1">
              <a:spcBef>
                <a:spcPct val="300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 </a:t>
            </a:r>
            <a:r>
              <a:rPr lang="en-US" altLang="ko-KR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Oracle </a:t>
            </a: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구성을 통해 작업 부하 분산 및 병렬 </a:t>
            </a:r>
            <a:r>
              <a:rPr lang="ko-KR" altLang="en-US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처리 </a:t>
            </a: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구성</a:t>
            </a:r>
          </a:p>
          <a:p>
            <a:pPr algn="l" eaLnBrk="1" fontAlgn="auto" latinLnBrk="0" hangingPunct="1">
              <a:spcBef>
                <a:spcPct val="300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</a:pPr>
            <a:r>
              <a:rPr lang="en-US" altLang="ko-KR" sz="90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 DB </a:t>
            </a:r>
            <a:r>
              <a:rPr lang="ko-KR" altLang="en-US" sz="9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charset="0"/>
              </a:rPr>
              <a:t>신규 구성에 따른 최적의 파라미터 적용</a:t>
            </a:r>
          </a:p>
        </p:txBody>
      </p:sp>
      <p:sp>
        <p:nvSpPr>
          <p:cNvPr id="288" name="AutoShape 174" descr="블랙"/>
          <p:cNvSpPr>
            <a:spLocks noChangeArrowheads="1"/>
          </p:cNvSpPr>
          <p:nvPr/>
        </p:nvSpPr>
        <p:spPr bwMode="auto">
          <a:xfrm>
            <a:off x="3662161" y="3383989"/>
            <a:ext cx="202037" cy="206320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19050" algn="ctr">
            <a:solidFill>
              <a:sysClr val="window" lastClr="FFFFFF"/>
            </a:solidFill>
            <a:round/>
            <a:headEnd/>
            <a:tailEnd/>
          </a:ln>
          <a:effectLst>
            <a:outerShdw dist="25400" dir="5400000" algn="ctr" rotWithShape="0">
              <a:srgbClr val="808080"/>
            </a:outerShdw>
          </a:effectLst>
        </p:spPr>
        <p:txBody>
          <a:bodyPr wrap="none" anchor="ctr"/>
          <a:lstStyle/>
          <a:p>
            <a:pPr marL="0" marR="0" lvl="0" indent="0" algn="ctr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noProof="0" dirty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Times New Roman" pitchFamily="18" charset="0"/>
              </a:rPr>
              <a:t>3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0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79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62009" y="367600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552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1 </a:t>
            </a:r>
            <a:r>
              <a:rPr lang="ko-KR" altLang="en-US" dirty="0"/>
              <a:t>제안사 최적의 이행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신규 개발 업무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연계 개발 업무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개선 업무 등 다양한 개발 형태에서 발생할 수 있는 위험요소에 대하여 철저히 대비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적의 이행 방안을 도출하여 목표 시간 내에 안정적인 이행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완수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이행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방안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4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39717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 최적의 이행 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99" name="Group 154"/>
          <p:cNvGrpSpPr>
            <a:grpSpLocks/>
          </p:cNvGrpSpPr>
          <p:nvPr/>
        </p:nvGrpSpPr>
        <p:grpSpPr bwMode="auto">
          <a:xfrm>
            <a:off x="2735671" y="2425703"/>
            <a:ext cx="4773613" cy="566738"/>
            <a:chOff x="1704" y="1600"/>
            <a:chExt cx="3007" cy="357"/>
          </a:xfrm>
        </p:grpSpPr>
        <p:sp>
          <p:nvSpPr>
            <p:cNvPr id="100" name="Rectangle 75"/>
            <p:cNvSpPr>
              <a:spLocks noChangeArrowheads="1"/>
            </p:cNvSpPr>
            <p:nvPr/>
          </p:nvSpPr>
          <p:spPr bwMode="auto">
            <a:xfrm>
              <a:off x="2310" y="1600"/>
              <a:ext cx="1620" cy="163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 wrap="none" lIns="0" tIns="0" rIns="0" bIns="0" anchor="ctr">
              <a:spAutoFit/>
            </a:bodyPr>
            <a:lstStyle/>
            <a:p>
              <a:pPr algn="ctr">
                <a:lnSpc>
                  <a:spcPct val="110000"/>
                </a:lnSpc>
                <a:defRPr/>
              </a:pPr>
              <a:r>
                <a:rPr lang="ko-KR" altLang="en-US" sz="16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목표 시간내의 안정적 이행 완수</a:t>
              </a:r>
            </a:p>
          </p:txBody>
        </p:sp>
        <p:grpSp>
          <p:nvGrpSpPr>
            <p:cNvPr id="101" name="Group 76"/>
            <p:cNvGrpSpPr>
              <a:grpSpLocks/>
            </p:cNvGrpSpPr>
            <p:nvPr/>
          </p:nvGrpSpPr>
          <p:grpSpPr bwMode="auto">
            <a:xfrm>
              <a:off x="1704" y="1602"/>
              <a:ext cx="3007" cy="355"/>
              <a:chOff x="1805" y="1220"/>
              <a:chExt cx="3007" cy="355"/>
            </a:xfrm>
          </p:grpSpPr>
          <p:pic>
            <p:nvPicPr>
              <p:cNvPr id="102" name="Picture 77" descr="헤드(밑줄,별x)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0871" t="21777" r="6761" b="65610"/>
              <a:stretch>
                <a:fillRect/>
              </a:stretch>
            </p:blipFill>
            <p:spPr bwMode="auto">
              <a:xfrm>
                <a:off x="4376" y="1220"/>
                <a:ext cx="436" cy="3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Picture 78" descr="별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527" t="27637" r="78218" b="68724"/>
              <a:stretch>
                <a:fillRect/>
              </a:stretch>
            </p:blipFill>
            <p:spPr bwMode="auto">
              <a:xfrm>
                <a:off x="1805" y="1362"/>
                <a:ext cx="116" cy="1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4" name="Picture 79" descr="밑줄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495" t="28647" r="27940" b="69173"/>
              <a:stretch>
                <a:fillRect/>
              </a:stretch>
            </p:blipFill>
            <p:spPr bwMode="auto">
              <a:xfrm>
                <a:off x="1823" y="1410"/>
                <a:ext cx="258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05" name="Picture 115" descr="1장_3_구름"/>
          <p:cNvPicPr>
            <a:picLocks noChangeAspect="1" noChangeArrowheads="1"/>
          </p:cNvPicPr>
          <p:nvPr/>
        </p:nvPicPr>
        <p:blipFill>
          <a:blip r:embed="rId5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84" r="4893"/>
          <a:stretch>
            <a:fillRect/>
          </a:stretch>
        </p:blipFill>
        <p:spPr bwMode="auto">
          <a:xfrm>
            <a:off x="7694613" y="2411413"/>
            <a:ext cx="1974850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80" descr="헤드(밑줄,별x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9" t="31548" r="22443" b="59608"/>
          <a:stretch>
            <a:fillRect/>
          </a:stretch>
        </p:blipFill>
        <p:spPr bwMode="auto">
          <a:xfrm>
            <a:off x="2530642" y="2986091"/>
            <a:ext cx="4555548" cy="832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AutoShape 83"/>
          <p:cNvSpPr>
            <a:spLocks noChangeArrowheads="1"/>
          </p:cNvSpPr>
          <p:nvPr/>
        </p:nvSpPr>
        <p:spPr bwMode="gray">
          <a:xfrm>
            <a:off x="912813" y="3870573"/>
            <a:ext cx="2293937" cy="2330735"/>
          </a:xfrm>
          <a:prstGeom prst="roundRect">
            <a:avLst>
              <a:gd name="adj" fmla="val 2032"/>
            </a:avLst>
          </a:prstGeom>
          <a:solidFill>
            <a:schemeClr val="bg1"/>
          </a:solidFill>
          <a:ln w="9525" algn="ctr">
            <a:solidFill>
              <a:srgbClr val="378CD9"/>
            </a:solidFill>
            <a:round/>
            <a:headEnd/>
            <a:tailEnd/>
          </a:ln>
        </p:spPr>
        <p:txBody>
          <a:bodyPr lIns="34765" tIns="69530" rIns="34765" bIns="34765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7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8" name="Rectangle 84"/>
          <p:cNvSpPr>
            <a:spLocks noChangeArrowheads="1"/>
          </p:cNvSpPr>
          <p:nvPr/>
        </p:nvSpPr>
        <p:spPr bwMode="gray">
          <a:xfrm>
            <a:off x="973138" y="3861048"/>
            <a:ext cx="2173287" cy="165100"/>
          </a:xfrm>
          <a:prstGeom prst="rect">
            <a:avLst/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09" name="AutoShape 85"/>
          <p:cNvSpPr>
            <a:spLocks noChangeArrowheads="1"/>
          </p:cNvSpPr>
          <p:nvPr/>
        </p:nvSpPr>
        <p:spPr bwMode="gray">
          <a:xfrm>
            <a:off x="973138" y="4010480"/>
            <a:ext cx="2173287" cy="126778"/>
          </a:xfrm>
          <a:prstGeom prst="roundRect">
            <a:avLst>
              <a:gd name="adj" fmla="val 26088"/>
            </a:avLst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10" name="AutoShape 86"/>
          <p:cNvSpPr>
            <a:spLocks noChangeArrowheads="1"/>
          </p:cNvSpPr>
          <p:nvPr/>
        </p:nvSpPr>
        <p:spPr bwMode="gray">
          <a:xfrm>
            <a:off x="966788" y="3861048"/>
            <a:ext cx="2184400" cy="20638"/>
          </a:xfrm>
          <a:prstGeom prst="roundRect">
            <a:avLst>
              <a:gd name="adj" fmla="val 16667"/>
            </a:avLst>
          </a:prstGeom>
          <a:solidFill>
            <a:srgbClr val="1A57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11" name="Rectangle 87"/>
          <p:cNvSpPr>
            <a:spLocks noChangeArrowheads="1"/>
          </p:cNvSpPr>
          <p:nvPr/>
        </p:nvSpPr>
        <p:spPr bwMode="gray">
          <a:xfrm>
            <a:off x="1527584" y="3907795"/>
            <a:ext cx="106439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10000"/>
              </a:spcBef>
              <a:buSzPct val="80000"/>
              <a:buFont typeface="Wingdings" panose="05000000000000000000" pitchFamily="2" charset="2"/>
              <a:buNone/>
            </a:pPr>
            <a:r>
              <a:rPr kumimoji="0" lang="ko-KR" altLang="en-US" sz="11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스템 안정성 확보</a:t>
            </a:r>
            <a:endParaRPr kumimoji="0" lang="en-US" altLang="ko-KR" sz="11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2" name="AutoShape 139"/>
          <p:cNvSpPr>
            <a:spLocks noChangeArrowheads="1"/>
          </p:cNvSpPr>
          <p:nvPr/>
        </p:nvSpPr>
        <p:spPr bwMode="gray">
          <a:xfrm>
            <a:off x="6699250" y="3870573"/>
            <a:ext cx="2293938" cy="2330735"/>
          </a:xfrm>
          <a:prstGeom prst="roundRect">
            <a:avLst>
              <a:gd name="adj" fmla="val 2032"/>
            </a:avLst>
          </a:prstGeom>
          <a:solidFill>
            <a:schemeClr val="bg1"/>
          </a:solidFill>
          <a:ln w="9525" algn="ctr">
            <a:solidFill>
              <a:srgbClr val="378CD9"/>
            </a:solidFill>
            <a:round/>
            <a:headEnd/>
            <a:tailEnd/>
          </a:ln>
        </p:spPr>
        <p:txBody>
          <a:bodyPr lIns="34765" tIns="69530" rIns="34765" bIns="34765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7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3" name="Rectangle 140"/>
          <p:cNvSpPr>
            <a:spLocks noChangeArrowheads="1"/>
          </p:cNvSpPr>
          <p:nvPr/>
        </p:nvSpPr>
        <p:spPr bwMode="gray">
          <a:xfrm>
            <a:off x="6759575" y="3861048"/>
            <a:ext cx="2173288" cy="165100"/>
          </a:xfrm>
          <a:prstGeom prst="rect">
            <a:avLst/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14" name="AutoShape 141"/>
          <p:cNvSpPr>
            <a:spLocks noChangeArrowheads="1"/>
          </p:cNvSpPr>
          <p:nvPr/>
        </p:nvSpPr>
        <p:spPr bwMode="gray">
          <a:xfrm>
            <a:off x="6759575" y="4010480"/>
            <a:ext cx="2173288" cy="126778"/>
          </a:xfrm>
          <a:prstGeom prst="roundRect">
            <a:avLst>
              <a:gd name="adj" fmla="val 26088"/>
            </a:avLst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15" name="AutoShape 142"/>
          <p:cNvSpPr>
            <a:spLocks noChangeArrowheads="1"/>
          </p:cNvSpPr>
          <p:nvPr/>
        </p:nvSpPr>
        <p:spPr bwMode="gray">
          <a:xfrm>
            <a:off x="6753225" y="3861048"/>
            <a:ext cx="2184400" cy="20638"/>
          </a:xfrm>
          <a:prstGeom prst="roundRect">
            <a:avLst>
              <a:gd name="adj" fmla="val 16667"/>
            </a:avLst>
          </a:prstGeom>
          <a:solidFill>
            <a:srgbClr val="1A57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16" name="Rectangle 143"/>
          <p:cNvSpPr>
            <a:spLocks noChangeArrowheads="1"/>
          </p:cNvSpPr>
          <p:nvPr/>
        </p:nvSpPr>
        <p:spPr bwMode="gray">
          <a:xfrm>
            <a:off x="7289976" y="3907795"/>
            <a:ext cx="111248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10000"/>
              </a:spcBef>
              <a:buSzPct val="80000"/>
            </a:pPr>
            <a:r>
              <a:rPr kumimoji="0" lang="ko-KR" altLang="en-US" sz="1100" b="1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 목표 시간 준수</a:t>
            </a:r>
            <a:endParaRPr kumimoji="0" lang="en-US" altLang="ko-KR" sz="1100" b="1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8" name="AutoShape 125"/>
          <p:cNvSpPr>
            <a:spLocks noChangeArrowheads="1"/>
          </p:cNvSpPr>
          <p:nvPr/>
        </p:nvSpPr>
        <p:spPr bwMode="gray">
          <a:xfrm>
            <a:off x="3808413" y="3870573"/>
            <a:ext cx="2293937" cy="2330735"/>
          </a:xfrm>
          <a:prstGeom prst="roundRect">
            <a:avLst>
              <a:gd name="adj" fmla="val 2032"/>
            </a:avLst>
          </a:prstGeom>
          <a:solidFill>
            <a:schemeClr val="bg1"/>
          </a:solidFill>
          <a:ln w="9525" algn="ctr">
            <a:solidFill>
              <a:srgbClr val="378CD9"/>
            </a:solidFill>
            <a:round/>
            <a:headEnd/>
            <a:tailEnd/>
          </a:ln>
        </p:spPr>
        <p:txBody>
          <a:bodyPr lIns="34765" tIns="69530" rIns="34765" bIns="34765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7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9" name="Rectangle 126"/>
          <p:cNvSpPr>
            <a:spLocks noChangeArrowheads="1"/>
          </p:cNvSpPr>
          <p:nvPr/>
        </p:nvSpPr>
        <p:spPr bwMode="gray">
          <a:xfrm>
            <a:off x="3868738" y="3861048"/>
            <a:ext cx="2173287" cy="165100"/>
          </a:xfrm>
          <a:prstGeom prst="rect">
            <a:avLst/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20" name="AutoShape 127"/>
          <p:cNvSpPr>
            <a:spLocks noChangeArrowheads="1"/>
          </p:cNvSpPr>
          <p:nvPr/>
        </p:nvSpPr>
        <p:spPr bwMode="gray">
          <a:xfrm>
            <a:off x="3868738" y="4010480"/>
            <a:ext cx="2173287" cy="126778"/>
          </a:xfrm>
          <a:prstGeom prst="roundRect">
            <a:avLst>
              <a:gd name="adj" fmla="val 26088"/>
            </a:avLst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21" name="AutoShape 128"/>
          <p:cNvSpPr>
            <a:spLocks noChangeArrowheads="1"/>
          </p:cNvSpPr>
          <p:nvPr/>
        </p:nvSpPr>
        <p:spPr bwMode="gray">
          <a:xfrm>
            <a:off x="3862388" y="3861048"/>
            <a:ext cx="2184400" cy="20638"/>
          </a:xfrm>
          <a:prstGeom prst="roundRect">
            <a:avLst>
              <a:gd name="adj" fmla="val 16667"/>
            </a:avLst>
          </a:prstGeom>
          <a:solidFill>
            <a:srgbClr val="1A57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sz="100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122" name="Rectangle 129"/>
          <p:cNvSpPr>
            <a:spLocks noChangeArrowheads="1"/>
          </p:cNvSpPr>
          <p:nvPr/>
        </p:nvSpPr>
        <p:spPr bwMode="gray">
          <a:xfrm>
            <a:off x="4282120" y="3907795"/>
            <a:ext cx="134652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10000"/>
              </a:spcBef>
              <a:buSzPct val="80000"/>
              <a:buFont typeface="Wingdings" panose="05000000000000000000" pitchFamily="2" charset="2"/>
              <a:buNone/>
            </a:pPr>
            <a:r>
              <a:rPr kumimoji="0" lang="ko-KR" altLang="en-US" sz="1100" b="1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 위험요소 대비 철저</a:t>
            </a:r>
            <a:endParaRPr kumimoji="0" lang="en-US" altLang="ko-KR" sz="1100" b="1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3" name="Rectangle 6"/>
          <p:cNvSpPr>
            <a:spLocks noChangeArrowheads="1"/>
          </p:cNvSpPr>
          <p:nvPr/>
        </p:nvSpPr>
        <p:spPr bwMode="gray">
          <a:xfrm>
            <a:off x="3890963" y="4257092"/>
            <a:ext cx="2155825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 marL="88900" indent="-889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171450" indent="-80963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행 준비 체크리스트</a:t>
            </a: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행 시나리오</a:t>
            </a: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종합 상황실 운영</a:t>
            </a: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상 상황 대비 복구 준비</a:t>
            </a:r>
            <a:endParaRPr lang="ko-KR" altLang="en-US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lvl="1"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Yoon 윤고딕 520_TT" pitchFamily="18" charset="-127"/>
              <a:buChar char="-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장애복구 방안, F</a:t>
            </a:r>
            <a:r>
              <a:rPr lang="en-US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l</a:t>
            </a: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back 방안 등</a:t>
            </a:r>
          </a:p>
        </p:txBody>
      </p:sp>
      <p:sp>
        <p:nvSpPr>
          <p:cNvPr id="124" name="Rectangle 6"/>
          <p:cNvSpPr>
            <a:spLocks noChangeArrowheads="1"/>
          </p:cNvSpPr>
          <p:nvPr/>
        </p:nvSpPr>
        <p:spPr bwMode="gray">
          <a:xfrm>
            <a:off x="6786563" y="4257092"/>
            <a:ext cx="2155825" cy="1777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 marL="88900" indent="-889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171450" indent="-80963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간대</a:t>
            </a:r>
            <a:r>
              <a:rPr lang="en-US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별 이행 시나리오</a:t>
            </a:r>
            <a:endParaRPr lang="ko-KR" altLang="en-US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lvl="1"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Yoon 윤고딕 520_TT" pitchFamily="18" charset="-127"/>
              <a:buChar char="-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행리허설을 통한 점검 확인</a:t>
            </a: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세한 인력 배치 및 책임</a:t>
            </a: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 </a:t>
            </a:r>
            <a:r>
              <a:rPr lang="ko-KR" altLang="en-US" sz="11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행</a:t>
            </a:r>
            <a:r>
              <a:rPr lang="ko-KR" altLang="ko-KR" sz="11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간 단축</a:t>
            </a:r>
            <a:endParaRPr lang="ko-KR" altLang="en-US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lvl="1"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Yoon 윤고딕 520_TT" pitchFamily="18" charset="-127"/>
              <a:buChar char="-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과거데이터 및 시계열 데이터</a:t>
            </a:r>
            <a:b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행 방안</a:t>
            </a:r>
            <a:endParaRPr lang="ko-KR" altLang="en-US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lvl="1" eaLnBrk="1" hangingPunct="1">
              <a:lnSpc>
                <a:spcPct val="120000"/>
              </a:lnSpc>
              <a:spcBef>
                <a:spcPct val="10000"/>
              </a:spcBef>
              <a:buClr>
                <a:srgbClr val="969696"/>
              </a:buClr>
              <a:buSzPct val="80000"/>
              <a:buFont typeface="Yoon 윤고딕 520_TT" pitchFamily="18" charset="-127"/>
              <a:buChar char="-"/>
            </a:pPr>
            <a:r>
              <a:rPr lang="ko-KR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초기적재 방안 </a:t>
            </a:r>
          </a:p>
        </p:txBody>
      </p:sp>
      <p:pic>
        <p:nvPicPr>
          <p:cNvPr id="125" name="Picture 58" descr="비지니스-회의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575" y="5015892"/>
            <a:ext cx="1524000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6" name="Rectangle 6"/>
          <p:cNvSpPr>
            <a:spLocks noChangeArrowheads="1"/>
          </p:cNvSpPr>
          <p:nvPr/>
        </p:nvSpPr>
        <p:spPr bwMode="gray">
          <a:xfrm>
            <a:off x="995363" y="4257092"/>
            <a:ext cx="2155825" cy="981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 marL="88900" indent="-889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4931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493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스템 전환에 따른 기존 업무 </a:t>
            </a:r>
            <a:r>
              <a:rPr lang="en-US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안정성 확보</a:t>
            </a:r>
            <a:endParaRPr lang="en-US" altLang="ko-KR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운영 요구 성능 보장</a:t>
            </a:r>
            <a:endParaRPr lang="en-US" altLang="ko-KR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비스 연속성 확보</a:t>
            </a:r>
            <a:endParaRPr lang="en-US" altLang="ko-KR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0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2016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1 </a:t>
            </a:r>
            <a:r>
              <a:rPr lang="ko-KR" altLang="en-US" dirty="0"/>
              <a:t>데이터 </a:t>
            </a:r>
            <a:r>
              <a:rPr lang="ko-KR" altLang="en-US" dirty="0" smtClean="0"/>
              <a:t>이행 </a:t>
            </a:r>
            <a:r>
              <a:rPr lang="ko-KR" altLang="en-US" dirty="0"/>
              <a:t>개요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이행은 프로젝트 성공의 기초가 되는 중요 사안으로써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가 보유한 이행 노하우와 최고의 이행 인력을 투입하여 데이터 이행 및 이행 데이터의 정합성과 데이터 이행의 안정성을 확보 하겠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이행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개요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grpSp>
        <p:nvGrpSpPr>
          <p:cNvPr id="13" name="Group 62"/>
          <p:cNvGrpSpPr>
            <a:grpSpLocks/>
          </p:cNvGrpSpPr>
          <p:nvPr/>
        </p:nvGrpSpPr>
        <p:grpSpPr bwMode="auto">
          <a:xfrm>
            <a:off x="2705100" y="2133600"/>
            <a:ext cx="4773613" cy="800100"/>
            <a:chOff x="1704" y="1344"/>
            <a:chExt cx="3007" cy="504"/>
          </a:xfrm>
        </p:grpSpPr>
        <p:grpSp>
          <p:nvGrpSpPr>
            <p:cNvPr id="14" name="Group 63"/>
            <p:cNvGrpSpPr>
              <a:grpSpLocks/>
            </p:cNvGrpSpPr>
            <p:nvPr/>
          </p:nvGrpSpPr>
          <p:grpSpPr bwMode="auto">
            <a:xfrm>
              <a:off x="2366" y="1344"/>
              <a:ext cx="1507" cy="310"/>
              <a:chOff x="2366" y="1325"/>
              <a:chExt cx="1507" cy="310"/>
            </a:xfrm>
          </p:grpSpPr>
          <p:sp>
            <p:nvSpPr>
              <p:cNvPr id="19" name="Text Box 64"/>
              <p:cNvSpPr txBox="1">
                <a:spLocks noChangeArrowheads="1"/>
              </p:cNvSpPr>
              <p:nvPr/>
            </p:nvSpPr>
            <p:spPr bwMode="auto">
              <a:xfrm>
                <a:off x="2574" y="1325"/>
                <a:ext cx="1103" cy="1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ko-KR" sz="1200" kern="0" dirty="0">
                    <a:solidFill>
                      <a:srgbClr val="5F5F5F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  <a:cs typeface="Times New Roman" panose="02020603050405020304" pitchFamily="18" charset="0"/>
                  </a:rPr>
                  <a:t>안정적인 시스템 오픈을 위한</a:t>
                </a:r>
              </a:p>
            </p:txBody>
          </p:sp>
          <p:sp>
            <p:nvSpPr>
              <p:cNvPr id="20" name="Rectangle 65"/>
              <p:cNvSpPr>
                <a:spLocks noChangeArrowheads="1"/>
              </p:cNvSpPr>
              <p:nvPr/>
            </p:nvSpPr>
            <p:spPr bwMode="auto">
              <a:xfrm>
                <a:off x="2366" y="1472"/>
                <a:ext cx="1507" cy="163"/>
              </a:xfrm>
              <a:prstGeom prst="rect">
                <a:avLst/>
              </a:prstGeom>
              <a:noFill/>
              <a:ln>
                <a:noFill/>
              </a:ln>
              <a:effectLst>
                <a:prstShdw prst="shdw17" dist="17961" dir="2700000">
                  <a:srgbClr val="4F81BD">
                    <a:gamma/>
                    <a:shade val="60000"/>
                    <a:invGamma/>
                  </a:srgbClr>
                </a:prstShdw>
              </a:effectLst>
              <a:extLst/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auto" latinLnBrk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600" kern="0" dirty="0">
                    <a:solidFill>
                      <a:srgbClr val="000000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성공적인 데이터 </a:t>
                </a:r>
                <a:r>
                  <a:rPr kumimoji="0" lang="ko-KR" altLang="en-US" sz="1600" kern="0" dirty="0" smtClean="0">
                    <a:solidFill>
                      <a:srgbClr val="000000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이행 </a:t>
                </a:r>
                <a:r>
                  <a:rPr kumimoji="0" lang="ko-KR" altLang="en-US" sz="1600" kern="0" dirty="0">
                    <a:solidFill>
                      <a:srgbClr val="000000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및 검증</a:t>
                </a:r>
              </a:p>
            </p:txBody>
          </p:sp>
        </p:grpSp>
        <p:grpSp>
          <p:nvGrpSpPr>
            <p:cNvPr id="15" name="Group 66"/>
            <p:cNvGrpSpPr>
              <a:grpSpLocks/>
            </p:cNvGrpSpPr>
            <p:nvPr/>
          </p:nvGrpSpPr>
          <p:grpSpPr bwMode="auto">
            <a:xfrm>
              <a:off x="1704" y="1493"/>
              <a:ext cx="3007" cy="355"/>
              <a:chOff x="1805" y="1220"/>
              <a:chExt cx="3007" cy="355"/>
            </a:xfrm>
          </p:grpSpPr>
          <p:pic>
            <p:nvPicPr>
              <p:cNvPr id="16" name="Picture 67" descr="헤드(밑줄,별x)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0871" t="21777" r="6761" b="65610"/>
              <a:stretch>
                <a:fillRect/>
              </a:stretch>
            </p:blipFill>
            <p:spPr bwMode="auto">
              <a:xfrm>
                <a:off x="4376" y="1220"/>
                <a:ext cx="436" cy="3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" name="Picture 68" descr="별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527" t="27637" r="78218" b="68724"/>
              <a:stretch>
                <a:fillRect/>
              </a:stretch>
            </p:blipFill>
            <p:spPr bwMode="auto">
              <a:xfrm>
                <a:off x="1805" y="1362"/>
                <a:ext cx="116" cy="1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Picture 69" descr="밑줄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495" t="28647" r="27940" b="69173"/>
              <a:stretch>
                <a:fillRect/>
              </a:stretch>
            </p:blipFill>
            <p:spPr bwMode="auto">
              <a:xfrm>
                <a:off x="1823" y="1410"/>
                <a:ext cx="2586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21" name="Picture 80" descr="바닥03"/>
          <p:cNvPicPr>
            <a:picLocks noChangeAspect="1" noChangeArrowheads="1"/>
          </p:cNvPicPr>
          <p:nvPr/>
        </p:nvPicPr>
        <p:blipFill>
          <a:blip r:embed="rId5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5" r="5125"/>
          <a:stretch>
            <a:fillRect/>
          </a:stretch>
        </p:blipFill>
        <p:spPr bwMode="auto">
          <a:xfrm>
            <a:off x="200025" y="3517900"/>
            <a:ext cx="9505950" cy="110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Group 168"/>
          <p:cNvGrpSpPr>
            <a:grpSpLocks/>
          </p:cNvGrpSpPr>
          <p:nvPr/>
        </p:nvGrpSpPr>
        <p:grpSpPr bwMode="auto">
          <a:xfrm>
            <a:off x="454025" y="3903663"/>
            <a:ext cx="1771650" cy="610964"/>
            <a:chOff x="218" y="2629"/>
            <a:chExt cx="1706" cy="385"/>
          </a:xfrm>
        </p:grpSpPr>
        <p:sp>
          <p:nvSpPr>
            <p:cNvPr id="23" name="AutoShape 134"/>
            <p:cNvSpPr>
              <a:spLocks noChangeArrowheads="1"/>
            </p:cNvSpPr>
            <p:nvPr/>
          </p:nvSpPr>
          <p:spPr bwMode="auto">
            <a:xfrm rot="5400000">
              <a:off x="878" y="1969"/>
              <a:ext cx="385" cy="1706"/>
            </a:xfrm>
            <a:prstGeom prst="roundRect">
              <a:avLst>
                <a:gd name="adj" fmla="val 15074"/>
              </a:avLst>
            </a:prstGeom>
            <a:solidFill>
              <a:srgbClr val="469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5" name="Rectangle 135"/>
            <p:cNvSpPr>
              <a:spLocks noChangeArrowheads="1"/>
            </p:cNvSpPr>
            <p:nvPr/>
          </p:nvSpPr>
          <p:spPr bwMode="auto">
            <a:xfrm rot="5400000">
              <a:off x="1050" y="2087"/>
              <a:ext cx="42" cy="1706"/>
            </a:xfrm>
            <a:prstGeom prst="rect">
              <a:avLst/>
            </a:prstGeom>
            <a:gradFill rotWithShape="1">
              <a:gsLst>
                <a:gs pos="0">
                  <a:srgbClr val="4699DE"/>
                </a:gs>
                <a:gs pos="100000">
                  <a:srgbClr val="244B6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6" name="Rectangle 136"/>
            <p:cNvSpPr>
              <a:spLocks noChangeArrowheads="1"/>
            </p:cNvSpPr>
            <p:nvPr/>
          </p:nvSpPr>
          <p:spPr bwMode="gray">
            <a:xfrm>
              <a:off x="423" y="2729"/>
              <a:ext cx="1309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>
                <a:spcBef>
                  <a:spcPct val="10000"/>
                </a:spcBef>
                <a:buSzPct val="80000"/>
                <a:buFont typeface="Wingdings" panose="05000000000000000000" pitchFamily="2" charset="2"/>
                <a:buNone/>
              </a:pP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검증된 </a:t>
              </a:r>
              <a:r>
                <a:rPr kumimoji="0" lang="ko-KR" altLang="en-US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이행</a:t>
              </a:r>
              <a:r>
                <a:rPr kumimoji="0" lang="ko-KR" altLang="ko-KR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 </a:t>
              </a: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방법론 적용</a:t>
              </a:r>
            </a:p>
          </p:txBody>
        </p:sp>
      </p:grpSp>
      <p:grpSp>
        <p:nvGrpSpPr>
          <p:cNvPr id="27" name="Group 171"/>
          <p:cNvGrpSpPr>
            <a:grpSpLocks/>
          </p:cNvGrpSpPr>
          <p:nvPr/>
        </p:nvGrpSpPr>
        <p:grpSpPr bwMode="auto">
          <a:xfrm>
            <a:off x="2860675" y="3903663"/>
            <a:ext cx="1771650" cy="611187"/>
            <a:chOff x="218" y="2629"/>
            <a:chExt cx="1706" cy="385"/>
          </a:xfrm>
        </p:grpSpPr>
        <p:sp>
          <p:nvSpPr>
            <p:cNvPr id="28" name="AutoShape 172"/>
            <p:cNvSpPr>
              <a:spLocks noChangeArrowheads="1"/>
            </p:cNvSpPr>
            <p:nvPr/>
          </p:nvSpPr>
          <p:spPr bwMode="auto">
            <a:xfrm rot="5400000">
              <a:off x="878" y="1969"/>
              <a:ext cx="385" cy="1706"/>
            </a:xfrm>
            <a:prstGeom prst="roundRect">
              <a:avLst>
                <a:gd name="adj" fmla="val 15074"/>
              </a:avLst>
            </a:prstGeom>
            <a:solidFill>
              <a:srgbClr val="469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9" name="Rectangle 173"/>
            <p:cNvSpPr>
              <a:spLocks noChangeArrowheads="1"/>
            </p:cNvSpPr>
            <p:nvPr/>
          </p:nvSpPr>
          <p:spPr bwMode="auto">
            <a:xfrm rot="5400000">
              <a:off x="1050" y="2087"/>
              <a:ext cx="42" cy="1706"/>
            </a:xfrm>
            <a:prstGeom prst="rect">
              <a:avLst/>
            </a:prstGeom>
            <a:gradFill rotWithShape="1">
              <a:gsLst>
                <a:gs pos="0">
                  <a:srgbClr val="4699DE"/>
                </a:gs>
                <a:gs pos="100000">
                  <a:srgbClr val="244B6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0" name="Rectangle 174"/>
            <p:cNvSpPr>
              <a:spLocks noChangeArrowheads="1"/>
            </p:cNvSpPr>
            <p:nvPr/>
          </p:nvSpPr>
          <p:spPr bwMode="gray">
            <a:xfrm>
              <a:off x="520" y="2675"/>
              <a:ext cx="1111" cy="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>
                <a:spcBef>
                  <a:spcPct val="10000"/>
                </a:spcBef>
                <a:buSzPct val="80000"/>
                <a:buFont typeface="Wingdings" panose="05000000000000000000" pitchFamily="2" charset="2"/>
                <a:buNone/>
              </a:pP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전문인력의</a:t>
              </a:r>
              <a:r>
                <a:rPr kumimoji="0" lang="ko-KR" altLang="en-US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/>
              </a:r>
              <a:br>
                <a:rPr kumimoji="0" lang="ko-KR" altLang="en-US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</a:br>
              <a:r>
                <a:rPr kumimoji="0" lang="ko-KR" altLang="en-US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데이터 </a:t>
              </a:r>
              <a:r>
                <a:rPr kumimoji="0" lang="ko-KR" altLang="en-US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이행</a:t>
              </a:r>
              <a:r>
                <a:rPr kumimoji="0" lang="ko-KR" altLang="ko-KR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 </a:t>
              </a: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및 검증 </a:t>
              </a:r>
            </a:p>
          </p:txBody>
        </p:sp>
      </p:grpSp>
      <p:grpSp>
        <p:nvGrpSpPr>
          <p:cNvPr id="31" name="Group 178"/>
          <p:cNvGrpSpPr>
            <a:grpSpLocks/>
          </p:cNvGrpSpPr>
          <p:nvPr/>
        </p:nvGrpSpPr>
        <p:grpSpPr bwMode="auto">
          <a:xfrm>
            <a:off x="5270500" y="3903663"/>
            <a:ext cx="1771650" cy="611187"/>
            <a:chOff x="218" y="2629"/>
            <a:chExt cx="1706" cy="385"/>
          </a:xfrm>
        </p:grpSpPr>
        <p:sp>
          <p:nvSpPr>
            <p:cNvPr id="32" name="AutoShape 179"/>
            <p:cNvSpPr>
              <a:spLocks noChangeArrowheads="1"/>
            </p:cNvSpPr>
            <p:nvPr/>
          </p:nvSpPr>
          <p:spPr bwMode="auto">
            <a:xfrm rot="5400000">
              <a:off x="878" y="1969"/>
              <a:ext cx="385" cy="1706"/>
            </a:xfrm>
            <a:prstGeom prst="roundRect">
              <a:avLst>
                <a:gd name="adj" fmla="val 15074"/>
              </a:avLst>
            </a:prstGeom>
            <a:solidFill>
              <a:srgbClr val="469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3" name="Rectangle 180"/>
            <p:cNvSpPr>
              <a:spLocks noChangeArrowheads="1"/>
            </p:cNvSpPr>
            <p:nvPr/>
          </p:nvSpPr>
          <p:spPr bwMode="auto">
            <a:xfrm rot="5400000">
              <a:off x="1050" y="2087"/>
              <a:ext cx="42" cy="1706"/>
            </a:xfrm>
            <a:prstGeom prst="rect">
              <a:avLst/>
            </a:prstGeom>
            <a:gradFill rotWithShape="1">
              <a:gsLst>
                <a:gs pos="0">
                  <a:srgbClr val="4699DE"/>
                </a:gs>
                <a:gs pos="100000">
                  <a:srgbClr val="244B6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4" name="Rectangle 181"/>
            <p:cNvSpPr>
              <a:spLocks noChangeArrowheads="1"/>
            </p:cNvSpPr>
            <p:nvPr/>
          </p:nvSpPr>
          <p:spPr bwMode="gray">
            <a:xfrm>
              <a:off x="624" y="2675"/>
              <a:ext cx="905" cy="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>
                <a:spcBef>
                  <a:spcPct val="10000"/>
                </a:spcBef>
                <a:buSzPct val="80000"/>
                <a:buFont typeface="Wingdings" panose="05000000000000000000" pitchFamily="2" charset="2"/>
                <a:buNone/>
              </a:pP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품질 확보를 위한</a:t>
              </a:r>
              <a:r>
                <a:rPr kumimoji="0" lang="ko-KR" altLang="en-US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/>
              </a:r>
              <a:br>
                <a:rPr kumimoji="0" lang="ko-KR" altLang="en-US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</a:b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데이터 정제 </a:t>
              </a:r>
            </a:p>
          </p:txBody>
        </p:sp>
      </p:grpSp>
      <p:grpSp>
        <p:nvGrpSpPr>
          <p:cNvPr id="35" name="Group 185"/>
          <p:cNvGrpSpPr>
            <a:grpSpLocks/>
          </p:cNvGrpSpPr>
          <p:nvPr/>
        </p:nvGrpSpPr>
        <p:grpSpPr bwMode="auto">
          <a:xfrm>
            <a:off x="7678738" y="3903663"/>
            <a:ext cx="1771650" cy="611187"/>
            <a:chOff x="218" y="2629"/>
            <a:chExt cx="1706" cy="385"/>
          </a:xfrm>
        </p:grpSpPr>
        <p:sp>
          <p:nvSpPr>
            <p:cNvPr id="36" name="AutoShape 186"/>
            <p:cNvSpPr>
              <a:spLocks noChangeArrowheads="1"/>
            </p:cNvSpPr>
            <p:nvPr/>
          </p:nvSpPr>
          <p:spPr bwMode="auto">
            <a:xfrm rot="5400000">
              <a:off x="878" y="1969"/>
              <a:ext cx="385" cy="1706"/>
            </a:xfrm>
            <a:prstGeom prst="roundRect">
              <a:avLst>
                <a:gd name="adj" fmla="val 15074"/>
              </a:avLst>
            </a:prstGeom>
            <a:solidFill>
              <a:srgbClr val="469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7" name="Rectangle 187"/>
            <p:cNvSpPr>
              <a:spLocks noChangeArrowheads="1"/>
            </p:cNvSpPr>
            <p:nvPr/>
          </p:nvSpPr>
          <p:spPr bwMode="auto">
            <a:xfrm rot="5400000">
              <a:off x="1050" y="2087"/>
              <a:ext cx="42" cy="1706"/>
            </a:xfrm>
            <a:prstGeom prst="rect">
              <a:avLst/>
            </a:prstGeom>
            <a:gradFill rotWithShape="1">
              <a:gsLst>
                <a:gs pos="0">
                  <a:srgbClr val="4699DE"/>
                </a:gs>
                <a:gs pos="100000">
                  <a:srgbClr val="244B6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/>
              <a:endParaRPr lang="ko-KR" altLang="en-US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8" name="Rectangle 188"/>
            <p:cNvSpPr>
              <a:spLocks noChangeArrowheads="1"/>
            </p:cNvSpPr>
            <p:nvPr/>
          </p:nvSpPr>
          <p:spPr bwMode="gray">
            <a:xfrm>
              <a:off x="481" y="2729"/>
              <a:ext cx="1190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95567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95567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latinLnBrk="0" hangingPunct="1">
                <a:spcBef>
                  <a:spcPct val="10000"/>
                </a:spcBef>
                <a:buSzPct val="80000"/>
                <a:buFont typeface="Wingdings" panose="05000000000000000000" pitchFamily="2" charset="2"/>
                <a:buNone/>
              </a:pP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최적의 </a:t>
              </a:r>
              <a:r>
                <a:rPr kumimoji="0" lang="ko-KR" altLang="en-US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이행 환경</a:t>
              </a:r>
              <a:r>
                <a:rPr kumimoji="0" lang="ko-KR" altLang="ko-KR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 </a:t>
              </a:r>
              <a:r>
                <a:rPr kumimoji="0"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구축</a:t>
              </a:r>
            </a:p>
          </p:txBody>
        </p:sp>
      </p:grpSp>
      <p:grpSp>
        <p:nvGrpSpPr>
          <p:cNvPr id="46" name="Group 415"/>
          <p:cNvGrpSpPr>
            <a:grpSpLocks/>
          </p:cNvGrpSpPr>
          <p:nvPr/>
        </p:nvGrpSpPr>
        <p:grpSpPr bwMode="auto">
          <a:xfrm>
            <a:off x="1362075" y="2868613"/>
            <a:ext cx="7180263" cy="828675"/>
            <a:chOff x="858" y="1954"/>
            <a:chExt cx="4523" cy="522"/>
          </a:xfrm>
        </p:grpSpPr>
        <p:grpSp>
          <p:nvGrpSpPr>
            <p:cNvPr id="47" name="Group 414"/>
            <p:cNvGrpSpPr>
              <a:grpSpLocks/>
            </p:cNvGrpSpPr>
            <p:nvPr/>
          </p:nvGrpSpPr>
          <p:grpSpPr bwMode="auto">
            <a:xfrm>
              <a:off x="858" y="1977"/>
              <a:ext cx="4523" cy="499"/>
              <a:chOff x="858" y="1977"/>
              <a:chExt cx="4523" cy="499"/>
            </a:xfrm>
          </p:grpSpPr>
          <p:grpSp>
            <p:nvGrpSpPr>
              <p:cNvPr id="52" name="Group 155"/>
              <p:cNvGrpSpPr>
                <a:grpSpLocks/>
              </p:cNvGrpSpPr>
              <p:nvPr/>
            </p:nvGrpSpPr>
            <p:grpSpPr bwMode="auto">
              <a:xfrm>
                <a:off x="2403" y="1977"/>
                <a:ext cx="1433" cy="499"/>
                <a:chOff x="1669" y="2010"/>
                <a:chExt cx="1433" cy="499"/>
              </a:xfrm>
            </p:grpSpPr>
            <p:sp>
              <p:nvSpPr>
                <p:cNvPr id="59" name="AutoShape 85"/>
                <p:cNvSpPr>
                  <a:spLocks noChangeArrowheads="1"/>
                </p:cNvSpPr>
                <p:nvPr/>
              </p:nvSpPr>
              <p:spPr bwMode="auto">
                <a:xfrm rot="10800000" flipH="1" flipV="1">
                  <a:off x="1669" y="2399"/>
                  <a:ext cx="1433" cy="11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909 w 21600"/>
                    <a:gd name="T13" fmla="*/ 2945 h 21600"/>
                    <a:gd name="T14" fmla="*/ 18691 w 21600"/>
                    <a:gd name="T15" fmla="*/ 18655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215" y="21600"/>
                      </a:lnTo>
                      <a:lnTo>
                        <a:pt x="19385" y="21600"/>
                      </a:lnTo>
                      <a:lnTo>
                        <a:pt x="2160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FFFF"/>
                    </a:gs>
                    <a:gs pos="100000">
                      <a:srgbClr val="ABABAB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dirty="0">
                    <a:solidFill>
                      <a:srgbClr val="000000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endParaRPr>
                </a:p>
              </p:txBody>
            </p:sp>
            <p:sp>
              <p:nvSpPr>
                <p:cNvPr id="60" name="AutoShape 86"/>
                <p:cNvSpPr>
                  <a:spLocks noChangeArrowheads="1"/>
                </p:cNvSpPr>
                <p:nvPr/>
              </p:nvSpPr>
              <p:spPr bwMode="auto">
                <a:xfrm>
                  <a:off x="1806" y="2175"/>
                  <a:ext cx="1159" cy="334"/>
                </a:xfrm>
                <a:prstGeom prst="roundRect">
                  <a:avLst>
                    <a:gd name="adj" fmla="val 4074"/>
                  </a:avLst>
                </a:prstGeom>
                <a:solidFill>
                  <a:srgbClr val="76C1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" rIns="36000" anchor="ctr"/>
                <a:lstStyle>
                  <a:lvl1pPr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1pPr>
                  <a:lvl2pPr marL="742950" indent="-28575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2pPr>
                  <a:lvl3pPr marL="11430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3pPr>
                  <a:lvl4pPr marL="16002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4pPr>
                  <a:lvl5pPr marL="20574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5pPr>
                  <a:lvl6pPr marL="25146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6pPr>
                  <a:lvl7pPr marL="29718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7pPr>
                  <a:lvl8pPr marL="34290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8pPr>
                  <a:lvl9pPr marL="38862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9pPr>
                </a:lstStyle>
                <a:p>
                  <a:pPr algn="ctr" eaLnBrk="1" latinLnBrk="0" hangingPunct="1">
                    <a:lnSpc>
                      <a:spcPct val="110000"/>
                    </a:lnSpc>
                  </a:pPr>
                  <a:r>
                    <a:rPr lang="ko-KR" altLang="en-US" sz="1200" dirty="0" smtClean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이행</a:t>
                  </a:r>
                  <a:r>
                    <a:rPr lang="en-US" altLang="en-US" sz="1200" dirty="0" smtClean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en-US" sz="1200" dirty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데이터</a:t>
                  </a:r>
                </a:p>
                <a:p>
                  <a:pPr algn="ctr" eaLnBrk="1" latinLnBrk="0" hangingPunct="1">
                    <a:lnSpc>
                      <a:spcPct val="110000"/>
                    </a:lnSpc>
                  </a:pPr>
                  <a:r>
                    <a:rPr lang="en-US" altLang="en-US" sz="1200" dirty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정합성 확보</a:t>
                  </a:r>
                </a:p>
              </p:txBody>
            </p:sp>
            <p:grpSp>
              <p:nvGrpSpPr>
                <p:cNvPr id="61" name="Group 92"/>
                <p:cNvGrpSpPr>
                  <a:grpSpLocks/>
                </p:cNvGrpSpPr>
                <p:nvPr/>
              </p:nvGrpSpPr>
              <p:grpSpPr bwMode="auto">
                <a:xfrm>
                  <a:off x="1907" y="2010"/>
                  <a:ext cx="187" cy="170"/>
                  <a:chOff x="10501" y="3104"/>
                  <a:chExt cx="352" cy="320"/>
                </a:xfrm>
              </p:grpSpPr>
              <p:sp>
                <p:nvSpPr>
                  <p:cNvPr id="62" name="Freeform 93"/>
                  <p:cNvSpPr>
                    <a:spLocks/>
                  </p:cNvSpPr>
                  <p:nvPr/>
                </p:nvSpPr>
                <p:spPr bwMode="auto">
                  <a:xfrm>
                    <a:off x="10551" y="3364"/>
                    <a:ext cx="140" cy="60"/>
                  </a:xfrm>
                  <a:custGeom>
                    <a:avLst/>
                    <a:gdLst>
                      <a:gd name="T0" fmla="*/ 0 w 1394"/>
                      <a:gd name="T1" fmla="*/ 0 h 595"/>
                      <a:gd name="T2" fmla="*/ 0 w 1394"/>
                      <a:gd name="T3" fmla="*/ 0 h 595"/>
                      <a:gd name="T4" fmla="*/ 0 w 1394"/>
                      <a:gd name="T5" fmla="*/ 0 h 595"/>
                      <a:gd name="T6" fmla="*/ 0 w 1394"/>
                      <a:gd name="T7" fmla="*/ 0 h 595"/>
                      <a:gd name="T8" fmla="*/ 0 w 1394"/>
                      <a:gd name="T9" fmla="*/ 0 h 595"/>
                      <a:gd name="T10" fmla="*/ 0 w 1394"/>
                      <a:gd name="T11" fmla="*/ 0 h 595"/>
                      <a:gd name="T12" fmla="*/ 0 w 1394"/>
                      <a:gd name="T13" fmla="*/ 0 h 595"/>
                      <a:gd name="T14" fmla="*/ 0 w 1394"/>
                      <a:gd name="T15" fmla="*/ 0 h 595"/>
                      <a:gd name="T16" fmla="*/ 0 w 1394"/>
                      <a:gd name="T17" fmla="*/ 0 h 595"/>
                      <a:gd name="T18" fmla="*/ 0 w 1394"/>
                      <a:gd name="T19" fmla="*/ 0 h 595"/>
                      <a:gd name="T20" fmla="*/ 0 w 1394"/>
                      <a:gd name="T21" fmla="*/ 0 h 595"/>
                      <a:gd name="T22" fmla="*/ 0 w 1394"/>
                      <a:gd name="T23" fmla="*/ 0 h 595"/>
                      <a:gd name="T24" fmla="*/ 0 w 1394"/>
                      <a:gd name="T25" fmla="*/ 0 h 595"/>
                      <a:gd name="T26" fmla="*/ 0 w 1394"/>
                      <a:gd name="T27" fmla="*/ 0 h 595"/>
                      <a:gd name="T28" fmla="*/ 0 w 1394"/>
                      <a:gd name="T29" fmla="*/ 0 h 595"/>
                      <a:gd name="T30" fmla="*/ 0 w 1394"/>
                      <a:gd name="T31" fmla="*/ 0 h 595"/>
                      <a:gd name="T32" fmla="*/ 0 w 1394"/>
                      <a:gd name="T33" fmla="*/ 0 h 595"/>
                      <a:gd name="T34" fmla="*/ 0 w 1394"/>
                      <a:gd name="T35" fmla="*/ 0 h 595"/>
                      <a:gd name="T36" fmla="*/ 0 w 1394"/>
                      <a:gd name="T37" fmla="*/ 0 h 595"/>
                      <a:gd name="T38" fmla="*/ 0 w 1394"/>
                      <a:gd name="T39" fmla="*/ 0 h 595"/>
                      <a:gd name="T40" fmla="*/ 0 w 1394"/>
                      <a:gd name="T41" fmla="*/ 0 h 595"/>
                      <a:gd name="T42" fmla="*/ 0 w 1394"/>
                      <a:gd name="T43" fmla="*/ 0 h 595"/>
                      <a:gd name="T44" fmla="*/ 0 w 1394"/>
                      <a:gd name="T45" fmla="*/ 0 h 595"/>
                      <a:gd name="T46" fmla="*/ 0 w 1394"/>
                      <a:gd name="T47" fmla="*/ 0 h 595"/>
                      <a:gd name="T48" fmla="*/ 0 w 1394"/>
                      <a:gd name="T49" fmla="*/ 0 h 595"/>
                      <a:gd name="T50" fmla="*/ 0 w 1394"/>
                      <a:gd name="T51" fmla="*/ 0 h 595"/>
                      <a:gd name="T52" fmla="*/ 0 w 1394"/>
                      <a:gd name="T53" fmla="*/ 0 h 595"/>
                      <a:gd name="T54" fmla="*/ 0 w 1394"/>
                      <a:gd name="T55" fmla="*/ 0 h 595"/>
                      <a:gd name="T56" fmla="*/ 0 w 1394"/>
                      <a:gd name="T57" fmla="*/ 0 h 595"/>
                      <a:gd name="T58" fmla="*/ 0 w 1394"/>
                      <a:gd name="T59" fmla="*/ 0 h 595"/>
                      <a:gd name="T60" fmla="*/ 0 w 1394"/>
                      <a:gd name="T61" fmla="*/ 0 h 595"/>
                      <a:gd name="T62" fmla="*/ 0 w 1394"/>
                      <a:gd name="T63" fmla="*/ 0 h 595"/>
                      <a:gd name="T64" fmla="*/ 0 w 1394"/>
                      <a:gd name="T65" fmla="*/ 0 h 595"/>
                      <a:gd name="T66" fmla="*/ 0 w 1394"/>
                      <a:gd name="T67" fmla="*/ 0 h 595"/>
                      <a:gd name="T68" fmla="*/ 0 w 1394"/>
                      <a:gd name="T69" fmla="*/ 0 h 595"/>
                      <a:gd name="T70" fmla="*/ 0 w 1394"/>
                      <a:gd name="T71" fmla="*/ 0 h 595"/>
                      <a:gd name="T72" fmla="*/ 0 w 1394"/>
                      <a:gd name="T73" fmla="*/ 0 h 595"/>
                      <a:gd name="T74" fmla="*/ 0 w 1394"/>
                      <a:gd name="T75" fmla="*/ 0 h 595"/>
                      <a:gd name="T76" fmla="*/ 0 w 1394"/>
                      <a:gd name="T77" fmla="*/ 0 h 595"/>
                      <a:gd name="T78" fmla="*/ 0 w 1394"/>
                      <a:gd name="T79" fmla="*/ 0 h 595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w 1394"/>
                      <a:gd name="T121" fmla="*/ 0 h 595"/>
                      <a:gd name="T122" fmla="*/ 1394 w 1394"/>
                      <a:gd name="T123" fmla="*/ 595 h 595"/>
                    </a:gdLst>
                    <a:ahLst/>
                    <a:cxnLst>
                      <a:cxn ang="T80">
                        <a:pos x="T0" y="T1"/>
                      </a:cxn>
                      <a:cxn ang="T81">
                        <a:pos x="T2" y="T3"/>
                      </a:cxn>
                      <a:cxn ang="T82">
                        <a:pos x="T4" y="T5"/>
                      </a:cxn>
                      <a:cxn ang="T83">
                        <a:pos x="T6" y="T7"/>
                      </a:cxn>
                      <a:cxn ang="T84">
                        <a:pos x="T8" y="T9"/>
                      </a:cxn>
                      <a:cxn ang="T85">
                        <a:pos x="T10" y="T11"/>
                      </a:cxn>
                      <a:cxn ang="T86">
                        <a:pos x="T12" y="T13"/>
                      </a:cxn>
                      <a:cxn ang="T87">
                        <a:pos x="T14" y="T15"/>
                      </a:cxn>
                      <a:cxn ang="T88">
                        <a:pos x="T16" y="T17"/>
                      </a:cxn>
                      <a:cxn ang="T89">
                        <a:pos x="T18" y="T19"/>
                      </a:cxn>
                      <a:cxn ang="T90">
                        <a:pos x="T20" y="T21"/>
                      </a:cxn>
                      <a:cxn ang="T91">
                        <a:pos x="T22" y="T23"/>
                      </a:cxn>
                      <a:cxn ang="T92">
                        <a:pos x="T24" y="T25"/>
                      </a:cxn>
                      <a:cxn ang="T93">
                        <a:pos x="T26" y="T27"/>
                      </a:cxn>
                      <a:cxn ang="T94">
                        <a:pos x="T28" y="T29"/>
                      </a:cxn>
                      <a:cxn ang="T95">
                        <a:pos x="T30" y="T31"/>
                      </a:cxn>
                      <a:cxn ang="T96">
                        <a:pos x="T32" y="T33"/>
                      </a:cxn>
                      <a:cxn ang="T97">
                        <a:pos x="T34" y="T35"/>
                      </a:cxn>
                      <a:cxn ang="T98">
                        <a:pos x="T36" y="T37"/>
                      </a:cxn>
                      <a:cxn ang="T99">
                        <a:pos x="T38" y="T39"/>
                      </a:cxn>
                      <a:cxn ang="T100">
                        <a:pos x="T40" y="T41"/>
                      </a:cxn>
                      <a:cxn ang="T101">
                        <a:pos x="T42" y="T43"/>
                      </a:cxn>
                      <a:cxn ang="T102">
                        <a:pos x="T44" y="T45"/>
                      </a:cxn>
                      <a:cxn ang="T103">
                        <a:pos x="T46" y="T47"/>
                      </a:cxn>
                      <a:cxn ang="T104">
                        <a:pos x="T48" y="T49"/>
                      </a:cxn>
                      <a:cxn ang="T105">
                        <a:pos x="T50" y="T51"/>
                      </a:cxn>
                      <a:cxn ang="T106">
                        <a:pos x="T52" y="T53"/>
                      </a:cxn>
                      <a:cxn ang="T107">
                        <a:pos x="T54" y="T55"/>
                      </a:cxn>
                      <a:cxn ang="T108">
                        <a:pos x="T56" y="T57"/>
                      </a:cxn>
                      <a:cxn ang="T109">
                        <a:pos x="T58" y="T59"/>
                      </a:cxn>
                      <a:cxn ang="T110">
                        <a:pos x="T60" y="T61"/>
                      </a:cxn>
                      <a:cxn ang="T111">
                        <a:pos x="T62" y="T63"/>
                      </a:cxn>
                      <a:cxn ang="T112">
                        <a:pos x="T64" y="T65"/>
                      </a:cxn>
                      <a:cxn ang="T113">
                        <a:pos x="T66" y="T67"/>
                      </a:cxn>
                      <a:cxn ang="T114">
                        <a:pos x="T68" y="T69"/>
                      </a:cxn>
                      <a:cxn ang="T115">
                        <a:pos x="T70" y="T71"/>
                      </a:cxn>
                      <a:cxn ang="T116">
                        <a:pos x="T72" y="T73"/>
                      </a:cxn>
                      <a:cxn ang="T117">
                        <a:pos x="T74" y="T75"/>
                      </a:cxn>
                      <a:cxn ang="T118">
                        <a:pos x="T76" y="T77"/>
                      </a:cxn>
                      <a:cxn ang="T119">
                        <a:pos x="T78" y="T79"/>
                      </a:cxn>
                    </a:cxnLst>
                    <a:rect l="T120" t="T121" r="T122" b="T123"/>
                    <a:pathLst>
                      <a:path w="1394" h="595">
                        <a:moveTo>
                          <a:pt x="381" y="0"/>
                        </a:moveTo>
                        <a:lnTo>
                          <a:pt x="391" y="41"/>
                        </a:lnTo>
                        <a:lnTo>
                          <a:pt x="405" y="81"/>
                        </a:lnTo>
                        <a:lnTo>
                          <a:pt x="423" y="117"/>
                        </a:lnTo>
                        <a:lnTo>
                          <a:pt x="446" y="150"/>
                        </a:lnTo>
                        <a:lnTo>
                          <a:pt x="473" y="181"/>
                        </a:lnTo>
                        <a:lnTo>
                          <a:pt x="504" y="208"/>
                        </a:lnTo>
                        <a:lnTo>
                          <a:pt x="537" y="230"/>
                        </a:lnTo>
                        <a:lnTo>
                          <a:pt x="574" y="248"/>
                        </a:lnTo>
                        <a:lnTo>
                          <a:pt x="613" y="262"/>
                        </a:lnTo>
                        <a:lnTo>
                          <a:pt x="654" y="271"/>
                        </a:lnTo>
                        <a:lnTo>
                          <a:pt x="697" y="274"/>
                        </a:lnTo>
                        <a:lnTo>
                          <a:pt x="740" y="271"/>
                        </a:lnTo>
                        <a:lnTo>
                          <a:pt x="781" y="262"/>
                        </a:lnTo>
                        <a:lnTo>
                          <a:pt x="820" y="248"/>
                        </a:lnTo>
                        <a:lnTo>
                          <a:pt x="857" y="230"/>
                        </a:lnTo>
                        <a:lnTo>
                          <a:pt x="890" y="208"/>
                        </a:lnTo>
                        <a:lnTo>
                          <a:pt x="921" y="181"/>
                        </a:lnTo>
                        <a:lnTo>
                          <a:pt x="948" y="150"/>
                        </a:lnTo>
                        <a:lnTo>
                          <a:pt x="971" y="117"/>
                        </a:lnTo>
                        <a:lnTo>
                          <a:pt x="989" y="81"/>
                        </a:lnTo>
                        <a:lnTo>
                          <a:pt x="1003" y="41"/>
                        </a:lnTo>
                        <a:lnTo>
                          <a:pt x="1013" y="1"/>
                        </a:lnTo>
                        <a:lnTo>
                          <a:pt x="1063" y="20"/>
                        </a:lnTo>
                        <a:lnTo>
                          <a:pt x="1110" y="42"/>
                        </a:lnTo>
                        <a:lnTo>
                          <a:pt x="1151" y="67"/>
                        </a:lnTo>
                        <a:lnTo>
                          <a:pt x="1189" y="93"/>
                        </a:lnTo>
                        <a:lnTo>
                          <a:pt x="1222" y="120"/>
                        </a:lnTo>
                        <a:lnTo>
                          <a:pt x="1252" y="149"/>
                        </a:lnTo>
                        <a:lnTo>
                          <a:pt x="1277" y="179"/>
                        </a:lnTo>
                        <a:lnTo>
                          <a:pt x="1300" y="208"/>
                        </a:lnTo>
                        <a:lnTo>
                          <a:pt x="1320" y="238"/>
                        </a:lnTo>
                        <a:lnTo>
                          <a:pt x="1336" y="266"/>
                        </a:lnTo>
                        <a:lnTo>
                          <a:pt x="1350" y="295"/>
                        </a:lnTo>
                        <a:lnTo>
                          <a:pt x="1362" y="322"/>
                        </a:lnTo>
                        <a:lnTo>
                          <a:pt x="1371" y="348"/>
                        </a:lnTo>
                        <a:lnTo>
                          <a:pt x="1379" y="371"/>
                        </a:lnTo>
                        <a:lnTo>
                          <a:pt x="1384" y="392"/>
                        </a:lnTo>
                        <a:lnTo>
                          <a:pt x="1388" y="410"/>
                        </a:lnTo>
                        <a:lnTo>
                          <a:pt x="1391" y="426"/>
                        </a:lnTo>
                        <a:lnTo>
                          <a:pt x="1392" y="438"/>
                        </a:lnTo>
                        <a:lnTo>
                          <a:pt x="1394" y="447"/>
                        </a:lnTo>
                        <a:lnTo>
                          <a:pt x="1394" y="477"/>
                        </a:lnTo>
                        <a:lnTo>
                          <a:pt x="1387" y="504"/>
                        </a:lnTo>
                        <a:lnTo>
                          <a:pt x="1375" y="529"/>
                        </a:lnTo>
                        <a:lnTo>
                          <a:pt x="1359" y="552"/>
                        </a:lnTo>
                        <a:lnTo>
                          <a:pt x="1342" y="567"/>
                        </a:lnTo>
                        <a:lnTo>
                          <a:pt x="1324" y="579"/>
                        </a:lnTo>
                        <a:lnTo>
                          <a:pt x="1303" y="588"/>
                        </a:lnTo>
                        <a:lnTo>
                          <a:pt x="1280" y="593"/>
                        </a:lnTo>
                        <a:lnTo>
                          <a:pt x="1257" y="595"/>
                        </a:lnTo>
                        <a:lnTo>
                          <a:pt x="137" y="595"/>
                        </a:lnTo>
                        <a:lnTo>
                          <a:pt x="114" y="593"/>
                        </a:lnTo>
                        <a:lnTo>
                          <a:pt x="91" y="588"/>
                        </a:lnTo>
                        <a:lnTo>
                          <a:pt x="70" y="579"/>
                        </a:lnTo>
                        <a:lnTo>
                          <a:pt x="52" y="567"/>
                        </a:lnTo>
                        <a:lnTo>
                          <a:pt x="35" y="552"/>
                        </a:lnTo>
                        <a:lnTo>
                          <a:pt x="19" y="529"/>
                        </a:lnTo>
                        <a:lnTo>
                          <a:pt x="7" y="504"/>
                        </a:lnTo>
                        <a:lnTo>
                          <a:pt x="0" y="477"/>
                        </a:lnTo>
                        <a:lnTo>
                          <a:pt x="0" y="447"/>
                        </a:lnTo>
                        <a:lnTo>
                          <a:pt x="0" y="441"/>
                        </a:lnTo>
                        <a:lnTo>
                          <a:pt x="2" y="433"/>
                        </a:lnTo>
                        <a:lnTo>
                          <a:pt x="4" y="419"/>
                        </a:lnTo>
                        <a:lnTo>
                          <a:pt x="7" y="402"/>
                        </a:lnTo>
                        <a:lnTo>
                          <a:pt x="12" y="382"/>
                        </a:lnTo>
                        <a:lnTo>
                          <a:pt x="19" y="358"/>
                        </a:lnTo>
                        <a:lnTo>
                          <a:pt x="27" y="334"/>
                        </a:lnTo>
                        <a:lnTo>
                          <a:pt x="39" y="306"/>
                        </a:lnTo>
                        <a:lnTo>
                          <a:pt x="52" y="277"/>
                        </a:lnTo>
                        <a:lnTo>
                          <a:pt x="68" y="247"/>
                        </a:lnTo>
                        <a:lnTo>
                          <a:pt x="88" y="217"/>
                        </a:lnTo>
                        <a:lnTo>
                          <a:pt x="110" y="186"/>
                        </a:lnTo>
                        <a:lnTo>
                          <a:pt x="136" y="156"/>
                        </a:lnTo>
                        <a:lnTo>
                          <a:pt x="166" y="126"/>
                        </a:lnTo>
                        <a:lnTo>
                          <a:pt x="200" y="97"/>
                        </a:lnTo>
                        <a:lnTo>
                          <a:pt x="238" y="69"/>
                        </a:lnTo>
                        <a:lnTo>
                          <a:pt x="281" y="44"/>
                        </a:lnTo>
                        <a:lnTo>
                          <a:pt x="329" y="21"/>
                        </a:lnTo>
                        <a:lnTo>
                          <a:pt x="381" y="0"/>
                        </a:lnTo>
                        <a:close/>
                      </a:path>
                    </a:pathLst>
                  </a:custGeom>
                  <a:solidFill>
                    <a:srgbClr val="76C1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36000" rIns="36000" anchor="ctr"/>
                  <a:lstStyle/>
                  <a:p>
                    <a:pPr algn="ctr"/>
                    <a:endParaRPr lang="ko-KR" altLang="en-US" dirty="0">
                      <a:solidFill>
                        <a:srgbClr val="000000"/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</a:endParaRPr>
                  </a:p>
                </p:txBody>
              </p:sp>
              <p:sp>
                <p:nvSpPr>
                  <p:cNvPr id="63" name="Freeform 94"/>
                  <p:cNvSpPr>
                    <a:spLocks noEditPoints="1"/>
                  </p:cNvSpPr>
                  <p:nvPr/>
                </p:nvSpPr>
                <p:spPr bwMode="auto">
                  <a:xfrm>
                    <a:off x="10501" y="3136"/>
                    <a:ext cx="240" cy="192"/>
                  </a:xfrm>
                  <a:custGeom>
                    <a:avLst/>
                    <a:gdLst>
                      <a:gd name="T0" fmla="*/ 0 w 2400"/>
                      <a:gd name="T1" fmla="*/ 0 h 1920"/>
                      <a:gd name="T2" fmla="*/ 0 w 2400"/>
                      <a:gd name="T3" fmla="*/ 0 h 1920"/>
                      <a:gd name="T4" fmla="*/ 0 w 2400"/>
                      <a:gd name="T5" fmla="*/ 0 h 1920"/>
                      <a:gd name="T6" fmla="*/ 0 w 2400"/>
                      <a:gd name="T7" fmla="*/ 0 h 1920"/>
                      <a:gd name="T8" fmla="*/ 0 w 2400"/>
                      <a:gd name="T9" fmla="*/ 0 h 1920"/>
                      <a:gd name="T10" fmla="*/ 0 w 2400"/>
                      <a:gd name="T11" fmla="*/ 0 h 1920"/>
                      <a:gd name="T12" fmla="*/ 0 w 2400"/>
                      <a:gd name="T13" fmla="*/ 0 h 1920"/>
                      <a:gd name="T14" fmla="*/ 0 w 2400"/>
                      <a:gd name="T15" fmla="*/ 0 h 1920"/>
                      <a:gd name="T16" fmla="*/ 0 w 2400"/>
                      <a:gd name="T17" fmla="*/ 0 h 1920"/>
                      <a:gd name="T18" fmla="*/ 0 w 2400"/>
                      <a:gd name="T19" fmla="*/ 0 h 1920"/>
                      <a:gd name="T20" fmla="*/ 0 w 2400"/>
                      <a:gd name="T21" fmla="*/ 0 h 1920"/>
                      <a:gd name="T22" fmla="*/ 0 w 2400"/>
                      <a:gd name="T23" fmla="*/ 0 h 1920"/>
                      <a:gd name="T24" fmla="*/ 0 w 2400"/>
                      <a:gd name="T25" fmla="*/ 0 h 1920"/>
                      <a:gd name="T26" fmla="*/ 0 w 2400"/>
                      <a:gd name="T27" fmla="*/ 0 h 1920"/>
                      <a:gd name="T28" fmla="*/ 0 w 2400"/>
                      <a:gd name="T29" fmla="*/ 0 h 1920"/>
                      <a:gd name="T30" fmla="*/ 0 w 2400"/>
                      <a:gd name="T31" fmla="*/ 0 h 1920"/>
                      <a:gd name="T32" fmla="*/ 0 w 2400"/>
                      <a:gd name="T33" fmla="*/ 0 h 1920"/>
                      <a:gd name="T34" fmla="*/ 0 w 2400"/>
                      <a:gd name="T35" fmla="*/ 0 h 1920"/>
                      <a:gd name="T36" fmla="*/ 0 w 2400"/>
                      <a:gd name="T37" fmla="*/ 0 h 1920"/>
                      <a:gd name="T38" fmla="*/ 0 w 2400"/>
                      <a:gd name="T39" fmla="*/ 0 h 1920"/>
                      <a:gd name="T40" fmla="*/ 0 w 2400"/>
                      <a:gd name="T41" fmla="*/ 0 h 1920"/>
                      <a:gd name="T42" fmla="*/ 0 w 2400"/>
                      <a:gd name="T43" fmla="*/ 0 h 1920"/>
                      <a:gd name="T44" fmla="*/ 0 w 2400"/>
                      <a:gd name="T45" fmla="*/ 0 h 1920"/>
                      <a:gd name="T46" fmla="*/ 0 w 2400"/>
                      <a:gd name="T47" fmla="*/ 0 h 1920"/>
                      <a:gd name="T48" fmla="*/ 0 w 2400"/>
                      <a:gd name="T49" fmla="*/ 0 h 1920"/>
                      <a:gd name="T50" fmla="*/ 0 w 2400"/>
                      <a:gd name="T51" fmla="*/ 0 h 1920"/>
                      <a:gd name="T52" fmla="*/ 0 w 2400"/>
                      <a:gd name="T53" fmla="*/ 0 h 1920"/>
                      <a:gd name="T54" fmla="*/ 0 w 2400"/>
                      <a:gd name="T55" fmla="*/ 0 h 1920"/>
                      <a:gd name="T56" fmla="*/ 0 w 2400"/>
                      <a:gd name="T57" fmla="*/ 0 h 1920"/>
                      <a:gd name="T58" fmla="*/ 0 w 2400"/>
                      <a:gd name="T59" fmla="*/ 0 h 1920"/>
                      <a:gd name="T60" fmla="*/ 0 w 2400"/>
                      <a:gd name="T61" fmla="*/ 0 h 1920"/>
                      <a:gd name="T62" fmla="*/ 0 w 2400"/>
                      <a:gd name="T63" fmla="*/ 0 h 1920"/>
                      <a:gd name="T64" fmla="*/ 0 w 2400"/>
                      <a:gd name="T65" fmla="*/ 0 h 1920"/>
                      <a:gd name="T66" fmla="*/ 0 w 2400"/>
                      <a:gd name="T67" fmla="*/ 0 h 1920"/>
                      <a:gd name="T68" fmla="*/ 0 w 2400"/>
                      <a:gd name="T69" fmla="*/ 0 h 1920"/>
                      <a:gd name="T70" fmla="*/ 0 w 2400"/>
                      <a:gd name="T71" fmla="*/ 0 h 1920"/>
                      <a:gd name="T72" fmla="*/ 0 w 2400"/>
                      <a:gd name="T73" fmla="*/ 0 h 1920"/>
                      <a:gd name="T74" fmla="*/ 0 w 2400"/>
                      <a:gd name="T75" fmla="*/ 0 h 1920"/>
                      <a:gd name="T76" fmla="*/ 0 w 2400"/>
                      <a:gd name="T77" fmla="*/ 0 h 1920"/>
                      <a:gd name="T78" fmla="*/ 0 w 2400"/>
                      <a:gd name="T79" fmla="*/ 0 h 1920"/>
                      <a:gd name="T80" fmla="*/ 0 w 2400"/>
                      <a:gd name="T81" fmla="*/ 0 h 1920"/>
                      <a:gd name="T82" fmla="*/ 0 w 2400"/>
                      <a:gd name="T83" fmla="*/ 0 h 1920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w 2400"/>
                      <a:gd name="T127" fmla="*/ 0 h 1920"/>
                      <a:gd name="T128" fmla="*/ 2400 w 2400"/>
                      <a:gd name="T129" fmla="*/ 1920 h 1920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T126" t="T127" r="T128" b="T129"/>
                    <a:pathLst>
                      <a:path w="2400" h="1920">
                        <a:moveTo>
                          <a:pt x="240" y="240"/>
                        </a:moveTo>
                        <a:lnTo>
                          <a:pt x="240" y="1520"/>
                        </a:lnTo>
                        <a:lnTo>
                          <a:pt x="2160" y="1520"/>
                        </a:lnTo>
                        <a:lnTo>
                          <a:pt x="2160" y="240"/>
                        </a:lnTo>
                        <a:lnTo>
                          <a:pt x="240" y="240"/>
                        </a:lnTo>
                        <a:close/>
                        <a:moveTo>
                          <a:pt x="160" y="0"/>
                        </a:moveTo>
                        <a:lnTo>
                          <a:pt x="2240" y="0"/>
                        </a:lnTo>
                        <a:lnTo>
                          <a:pt x="2272" y="3"/>
                        </a:lnTo>
                        <a:lnTo>
                          <a:pt x="2302" y="13"/>
                        </a:lnTo>
                        <a:lnTo>
                          <a:pt x="2330" y="27"/>
                        </a:lnTo>
                        <a:lnTo>
                          <a:pt x="2353" y="47"/>
                        </a:lnTo>
                        <a:lnTo>
                          <a:pt x="2372" y="70"/>
                        </a:lnTo>
                        <a:lnTo>
                          <a:pt x="2387" y="97"/>
                        </a:lnTo>
                        <a:lnTo>
                          <a:pt x="2397" y="128"/>
                        </a:lnTo>
                        <a:lnTo>
                          <a:pt x="2400" y="160"/>
                        </a:lnTo>
                        <a:lnTo>
                          <a:pt x="2400" y="1760"/>
                        </a:lnTo>
                        <a:lnTo>
                          <a:pt x="2397" y="1792"/>
                        </a:lnTo>
                        <a:lnTo>
                          <a:pt x="2387" y="1822"/>
                        </a:lnTo>
                        <a:lnTo>
                          <a:pt x="2372" y="1850"/>
                        </a:lnTo>
                        <a:lnTo>
                          <a:pt x="2353" y="1873"/>
                        </a:lnTo>
                        <a:lnTo>
                          <a:pt x="2330" y="1892"/>
                        </a:lnTo>
                        <a:lnTo>
                          <a:pt x="2302" y="1907"/>
                        </a:lnTo>
                        <a:lnTo>
                          <a:pt x="2272" y="1917"/>
                        </a:lnTo>
                        <a:lnTo>
                          <a:pt x="2240" y="1920"/>
                        </a:lnTo>
                        <a:lnTo>
                          <a:pt x="160" y="1920"/>
                        </a:lnTo>
                        <a:lnTo>
                          <a:pt x="128" y="1917"/>
                        </a:lnTo>
                        <a:lnTo>
                          <a:pt x="98" y="1907"/>
                        </a:lnTo>
                        <a:lnTo>
                          <a:pt x="70" y="1892"/>
                        </a:lnTo>
                        <a:lnTo>
                          <a:pt x="47" y="1873"/>
                        </a:lnTo>
                        <a:lnTo>
                          <a:pt x="28" y="1850"/>
                        </a:lnTo>
                        <a:lnTo>
                          <a:pt x="13" y="1822"/>
                        </a:lnTo>
                        <a:lnTo>
                          <a:pt x="3" y="1792"/>
                        </a:lnTo>
                        <a:lnTo>
                          <a:pt x="0" y="1760"/>
                        </a:lnTo>
                        <a:lnTo>
                          <a:pt x="0" y="160"/>
                        </a:lnTo>
                        <a:lnTo>
                          <a:pt x="3" y="128"/>
                        </a:lnTo>
                        <a:lnTo>
                          <a:pt x="13" y="97"/>
                        </a:lnTo>
                        <a:lnTo>
                          <a:pt x="28" y="70"/>
                        </a:lnTo>
                        <a:lnTo>
                          <a:pt x="47" y="47"/>
                        </a:lnTo>
                        <a:lnTo>
                          <a:pt x="70" y="27"/>
                        </a:lnTo>
                        <a:lnTo>
                          <a:pt x="98" y="13"/>
                        </a:lnTo>
                        <a:lnTo>
                          <a:pt x="128" y="3"/>
                        </a:lnTo>
                        <a:lnTo>
                          <a:pt x="160" y="0"/>
                        </a:lnTo>
                        <a:close/>
                      </a:path>
                    </a:pathLst>
                  </a:custGeom>
                  <a:solidFill>
                    <a:srgbClr val="76C1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36000" rIns="36000" anchor="ctr"/>
                  <a:lstStyle/>
                  <a:p>
                    <a:pPr algn="ctr"/>
                    <a:endParaRPr lang="ko-KR" altLang="en-US" dirty="0">
                      <a:solidFill>
                        <a:srgbClr val="000000"/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</a:endParaRPr>
                  </a:p>
                </p:txBody>
              </p:sp>
              <p:sp>
                <p:nvSpPr>
                  <p:cNvPr id="64" name="Freeform 95"/>
                  <p:cNvSpPr>
                    <a:spLocks noEditPoints="1"/>
                  </p:cNvSpPr>
                  <p:nvPr/>
                </p:nvSpPr>
                <p:spPr bwMode="auto">
                  <a:xfrm>
                    <a:off x="10757" y="3104"/>
                    <a:ext cx="96" cy="200"/>
                  </a:xfrm>
                  <a:custGeom>
                    <a:avLst/>
                    <a:gdLst>
                      <a:gd name="T0" fmla="*/ 0 w 960"/>
                      <a:gd name="T1" fmla="*/ 0 h 2000"/>
                      <a:gd name="T2" fmla="*/ 0 w 960"/>
                      <a:gd name="T3" fmla="*/ 0 h 2000"/>
                      <a:gd name="T4" fmla="*/ 0 w 960"/>
                      <a:gd name="T5" fmla="*/ 0 h 2000"/>
                      <a:gd name="T6" fmla="*/ 0 w 960"/>
                      <a:gd name="T7" fmla="*/ 0 h 2000"/>
                      <a:gd name="T8" fmla="*/ 0 w 960"/>
                      <a:gd name="T9" fmla="*/ 0 h 2000"/>
                      <a:gd name="T10" fmla="*/ 0 w 960"/>
                      <a:gd name="T11" fmla="*/ 0 h 2000"/>
                      <a:gd name="T12" fmla="*/ 0 w 960"/>
                      <a:gd name="T13" fmla="*/ 0 h 2000"/>
                      <a:gd name="T14" fmla="*/ 0 w 960"/>
                      <a:gd name="T15" fmla="*/ 0 h 2000"/>
                      <a:gd name="T16" fmla="*/ 0 w 960"/>
                      <a:gd name="T17" fmla="*/ 0 h 2000"/>
                      <a:gd name="T18" fmla="*/ 0 w 960"/>
                      <a:gd name="T19" fmla="*/ 0 h 2000"/>
                      <a:gd name="T20" fmla="*/ 0 w 960"/>
                      <a:gd name="T21" fmla="*/ 0 h 2000"/>
                      <a:gd name="T22" fmla="*/ 0 w 960"/>
                      <a:gd name="T23" fmla="*/ 0 h 2000"/>
                      <a:gd name="T24" fmla="*/ 0 w 960"/>
                      <a:gd name="T25" fmla="*/ 0 h 2000"/>
                      <a:gd name="T26" fmla="*/ 0 w 960"/>
                      <a:gd name="T27" fmla="*/ 0 h 2000"/>
                      <a:gd name="T28" fmla="*/ 0 w 960"/>
                      <a:gd name="T29" fmla="*/ 0 h 2000"/>
                      <a:gd name="T30" fmla="*/ 0 w 960"/>
                      <a:gd name="T31" fmla="*/ 0 h 2000"/>
                      <a:gd name="T32" fmla="*/ 0 w 960"/>
                      <a:gd name="T33" fmla="*/ 0 h 2000"/>
                      <a:gd name="T34" fmla="*/ 0 w 960"/>
                      <a:gd name="T35" fmla="*/ 0 h 2000"/>
                      <a:gd name="T36" fmla="*/ 0 w 960"/>
                      <a:gd name="T37" fmla="*/ 0 h 2000"/>
                      <a:gd name="T38" fmla="*/ 0 w 960"/>
                      <a:gd name="T39" fmla="*/ 0 h 2000"/>
                      <a:gd name="T40" fmla="*/ 0 w 960"/>
                      <a:gd name="T41" fmla="*/ 0 h 2000"/>
                      <a:gd name="T42" fmla="*/ 0 w 960"/>
                      <a:gd name="T43" fmla="*/ 0 h 2000"/>
                      <a:gd name="T44" fmla="*/ 0 w 960"/>
                      <a:gd name="T45" fmla="*/ 0 h 2000"/>
                      <a:gd name="T46" fmla="*/ 0 w 960"/>
                      <a:gd name="T47" fmla="*/ 0 h 2000"/>
                      <a:gd name="T48" fmla="*/ 0 w 960"/>
                      <a:gd name="T49" fmla="*/ 0 h 2000"/>
                      <a:gd name="T50" fmla="*/ 0 w 960"/>
                      <a:gd name="T51" fmla="*/ 0 h 2000"/>
                      <a:gd name="T52" fmla="*/ 0 w 960"/>
                      <a:gd name="T53" fmla="*/ 0 h 2000"/>
                      <a:gd name="T54" fmla="*/ 0 w 960"/>
                      <a:gd name="T55" fmla="*/ 0 h 2000"/>
                      <a:gd name="T56" fmla="*/ 0 w 960"/>
                      <a:gd name="T57" fmla="*/ 0 h 2000"/>
                      <a:gd name="T58" fmla="*/ 0 w 960"/>
                      <a:gd name="T59" fmla="*/ 0 h 2000"/>
                      <a:gd name="T60" fmla="*/ 0 w 960"/>
                      <a:gd name="T61" fmla="*/ 0 h 2000"/>
                      <a:gd name="T62" fmla="*/ 0 w 960"/>
                      <a:gd name="T63" fmla="*/ 0 h 2000"/>
                      <a:gd name="T64" fmla="*/ 0 w 960"/>
                      <a:gd name="T65" fmla="*/ 0 h 2000"/>
                      <a:gd name="T66" fmla="*/ 0 w 960"/>
                      <a:gd name="T67" fmla="*/ 0 h 2000"/>
                      <a:gd name="T68" fmla="*/ 0 w 960"/>
                      <a:gd name="T69" fmla="*/ 0 h 2000"/>
                      <a:gd name="T70" fmla="*/ 0 w 960"/>
                      <a:gd name="T71" fmla="*/ 0 h 2000"/>
                      <a:gd name="T72" fmla="*/ 0 w 960"/>
                      <a:gd name="T73" fmla="*/ 0 h 2000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960"/>
                      <a:gd name="T112" fmla="*/ 0 h 2000"/>
                      <a:gd name="T113" fmla="*/ 960 w 960"/>
                      <a:gd name="T114" fmla="*/ 2000 h 2000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960" h="2000">
                        <a:moveTo>
                          <a:pt x="240" y="560"/>
                        </a:moveTo>
                        <a:lnTo>
                          <a:pt x="219" y="562"/>
                        </a:lnTo>
                        <a:lnTo>
                          <a:pt x="199" y="571"/>
                        </a:lnTo>
                        <a:lnTo>
                          <a:pt x="183" y="583"/>
                        </a:lnTo>
                        <a:lnTo>
                          <a:pt x="171" y="599"/>
                        </a:lnTo>
                        <a:lnTo>
                          <a:pt x="163" y="619"/>
                        </a:lnTo>
                        <a:lnTo>
                          <a:pt x="160" y="640"/>
                        </a:lnTo>
                        <a:lnTo>
                          <a:pt x="163" y="661"/>
                        </a:lnTo>
                        <a:lnTo>
                          <a:pt x="171" y="680"/>
                        </a:lnTo>
                        <a:lnTo>
                          <a:pt x="183" y="696"/>
                        </a:lnTo>
                        <a:lnTo>
                          <a:pt x="199" y="708"/>
                        </a:lnTo>
                        <a:lnTo>
                          <a:pt x="219" y="717"/>
                        </a:lnTo>
                        <a:lnTo>
                          <a:pt x="240" y="720"/>
                        </a:lnTo>
                        <a:lnTo>
                          <a:pt x="720" y="720"/>
                        </a:lnTo>
                        <a:lnTo>
                          <a:pt x="741" y="717"/>
                        </a:lnTo>
                        <a:lnTo>
                          <a:pt x="761" y="708"/>
                        </a:lnTo>
                        <a:lnTo>
                          <a:pt x="777" y="696"/>
                        </a:lnTo>
                        <a:lnTo>
                          <a:pt x="789" y="680"/>
                        </a:lnTo>
                        <a:lnTo>
                          <a:pt x="797" y="661"/>
                        </a:lnTo>
                        <a:lnTo>
                          <a:pt x="800" y="640"/>
                        </a:lnTo>
                        <a:lnTo>
                          <a:pt x="797" y="619"/>
                        </a:lnTo>
                        <a:lnTo>
                          <a:pt x="789" y="599"/>
                        </a:lnTo>
                        <a:lnTo>
                          <a:pt x="777" y="583"/>
                        </a:lnTo>
                        <a:lnTo>
                          <a:pt x="761" y="571"/>
                        </a:lnTo>
                        <a:lnTo>
                          <a:pt x="741" y="562"/>
                        </a:lnTo>
                        <a:lnTo>
                          <a:pt x="720" y="560"/>
                        </a:lnTo>
                        <a:lnTo>
                          <a:pt x="240" y="560"/>
                        </a:lnTo>
                        <a:close/>
                        <a:moveTo>
                          <a:pt x="240" y="240"/>
                        </a:moveTo>
                        <a:lnTo>
                          <a:pt x="219" y="242"/>
                        </a:lnTo>
                        <a:lnTo>
                          <a:pt x="199" y="251"/>
                        </a:lnTo>
                        <a:lnTo>
                          <a:pt x="183" y="263"/>
                        </a:lnTo>
                        <a:lnTo>
                          <a:pt x="171" y="279"/>
                        </a:lnTo>
                        <a:lnTo>
                          <a:pt x="163" y="299"/>
                        </a:lnTo>
                        <a:lnTo>
                          <a:pt x="160" y="320"/>
                        </a:lnTo>
                        <a:lnTo>
                          <a:pt x="163" y="341"/>
                        </a:lnTo>
                        <a:lnTo>
                          <a:pt x="171" y="360"/>
                        </a:lnTo>
                        <a:lnTo>
                          <a:pt x="183" y="376"/>
                        </a:lnTo>
                        <a:lnTo>
                          <a:pt x="199" y="388"/>
                        </a:lnTo>
                        <a:lnTo>
                          <a:pt x="219" y="397"/>
                        </a:lnTo>
                        <a:lnTo>
                          <a:pt x="240" y="400"/>
                        </a:lnTo>
                        <a:lnTo>
                          <a:pt x="720" y="400"/>
                        </a:lnTo>
                        <a:lnTo>
                          <a:pt x="741" y="397"/>
                        </a:lnTo>
                        <a:lnTo>
                          <a:pt x="761" y="388"/>
                        </a:lnTo>
                        <a:lnTo>
                          <a:pt x="777" y="376"/>
                        </a:lnTo>
                        <a:lnTo>
                          <a:pt x="789" y="360"/>
                        </a:lnTo>
                        <a:lnTo>
                          <a:pt x="797" y="341"/>
                        </a:lnTo>
                        <a:lnTo>
                          <a:pt x="800" y="320"/>
                        </a:lnTo>
                        <a:lnTo>
                          <a:pt x="797" y="299"/>
                        </a:lnTo>
                        <a:lnTo>
                          <a:pt x="789" y="279"/>
                        </a:lnTo>
                        <a:lnTo>
                          <a:pt x="777" y="263"/>
                        </a:lnTo>
                        <a:lnTo>
                          <a:pt x="761" y="251"/>
                        </a:lnTo>
                        <a:lnTo>
                          <a:pt x="741" y="242"/>
                        </a:lnTo>
                        <a:lnTo>
                          <a:pt x="720" y="240"/>
                        </a:lnTo>
                        <a:lnTo>
                          <a:pt x="240" y="240"/>
                        </a:lnTo>
                        <a:close/>
                        <a:moveTo>
                          <a:pt x="160" y="0"/>
                        </a:moveTo>
                        <a:lnTo>
                          <a:pt x="800" y="0"/>
                        </a:lnTo>
                        <a:lnTo>
                          <a:pt x="832" y="3"/>
                        </a:lnTo>
                        <a:lnTo>
                          <a:pt x="862" y="13"/>
                        </a:lnTo>
                        <a:lnTo>
                          <a:pt x="890" y="27"/>
                        </a:lnTo>
                        <a:lnTo>
                          <a:pt x="913" y="47"/>
                        </a:lnTo>
                        <a:lnTo>
                          <a:pt x="932" y="70"/>
                        </a:lnTo>
                        <a:lnTo>
                          <a:pt x="947" y="97"/>
                        </a:lnTo>
                        <a:lnTo>
                          <a:pt x="957" y="128"/>
                        </a:lnTo>
                        <a:lnTo>
                          <a:pt x="960" y="160"/>
                        </a:lnTo>
                        <a:lnTo>
                          <a:pt x="960" y="2000"/>
                        </a:lnTo>
                        <a:lnTo>
                          <a:pt x="0" y="2000"/>
                        </a:lnTo>
                        <a:lnTo>
                          <a:pt x="0" y="160"/>
                        </a:lnTo>
                        <a:lnTo>
                          <a:pt x="3" y="128"/>
                        </a:lnTo>
                        <a:lnTo>
                          <a:pt x="13" y="97"/>
                        </a:lnTo>
                        <a:lnTo>
                          <a:pt x="28" y="70"/>
                        </a:lnTo>
                        <a:lnTo>
                          <a:pt x="47" y="47"/>
                        </a:lnTo>
                        <a:lnTo>
                          <a:pt x="70" y="27"/>
                        </a:lnTo>
                        <a:lnTo>
                          <a:pt x="98" y="13"/>
                        </a:lnTo>
                        <a:lnTo>
                          <a:pt x="128" y="3"/>
                        </a:lnTo>
                        <a:lnTo>
                          <a:pt x="160" y="0"/>
                        </a:lnTo>
                        <a:close/>
                      </a:path>
                    </a:pathLst>
                  </a:custGeom>
                  <a:solidFill>
                    <a:srgbClr val="76C1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36000" rIns="36000" anchor="ctr"/>
                  <a:lstStyle/>
                  <a:p>
                    <a:pPr algn="ctr"/>
                    <a:endParaRPr lang="ko-KR" altLang="en-US" dirty="0">
                      <a:solidFill>
                        <a:srgbClr val="000000"/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</a:endParaRPr>
                  </a:p>
                </p:txBody>
              </p:sp>
              <p:sp>
                <p:nvSpPr>
                  <p:cNvPr id="65" name="Freeform 96"/>
                  <p:cNvSpPr>
                    <a:spLocks noEditPoints="1"/>
                  </p:cNvSpPr>
                  <p:nvPr/>
                </p:nvSpPr>
                <p:spPr bwMode="auto">
                  <a:xfrm>
                    <a:off x="10757" y="3312"/>
                    <a:ext cx="96" cy="112"/>
                  </a:xfrm>
                  <a:custGeom>
                    <a:avLst/>
                    <a:gdLst>
                      <a:gd name="T0" fmla="*/ 0 w 960"/>
                      <a:gd name="T1" fmla="*/ 0 h 1120"/>
                      <a:gd name="T2" fmla="*/ 0 w 960"/>
                      <a:gd name="T3" fmla="*/ 0 h 1120"/>
                      <a:gd name="T4" fmla="*/ 0 w 960"/>
                      <a:gd name="T5" fmla="*/ 0 h 1120"/>
                      <a:gd name="T6" fmla="*/ 0 w 960"/>
                      <a:gd name="T7" fmla="*/ 0 h 1120"/>
                      <a:gd name="T8" fmla="*/ 0 w 960"/>
                      <a:gd name="T9" fmla="*/ 0 h 1120"/>
                      <a:gd name="T10" fmla="*/ 0 w 960"/>
                      <a:gd name="T11" fmla="*/ 0 h 1120"/>
                      <a:gd name="T12" fmla="*/ 0 w 960"/>
                      <a:gd name="T13" fmla="*/ 0 h 1120"/>
                      <a:gd name="T14" fmla="*/ 0 w 960"/>
                      <a:gd name="T15" fmla="*/ 0 h 1120"/>
                      <a:gd name="T16" fmla="*/ 0 w 960"/>
                      <a:gd name="T17" fmla="*/ 0 h 1120"/>
                      <a:gd name="T18" fmla="*/ 0 w 960"/>
                      <a:gd name="T19" fmla="*/ 0 h 1120"/>
                      <a:gd name="T20" fmla="*/ 0 w 960"/>
                      <a:gd name="T21" fmla="*/ 0 h 1120"/>
                      <a:gd name="T22" fmla="*/ 0 w 960"/>
                      <a:gd name="T23" fmla="*/ 0 h 1120"/>
                      <a:gd name="T24" fmla="*/ 0 w 960"/>
                      <a:gd name="T25" fmla="*/ 0 h 1120"/>
                      <a:gd name="T26" fmla="*/ 0 w 960"/>
                      <a:gd name="T27" fmla="*/ 0 h 1120"/>
                      <a:gd name="T28" fmla="*/ 0 w 960"/>
                      <a:gd name="T29" fmla="*/ 0 h 1120"/>
                      <a:gd name="T30" fmla="*/ 0 w 960"/>
                      <a:gd name="T31" fmla="*/ 0 h 1120"/>
                      <a:gd name="T32" fmla="*/ 0 w 960"/>
                      <a:gd name="T33" fmla="*/ 0 h 1120"/>
                      <a:gd name="T34" fmla="*/ 0 w 960"/>
                      <a:gd name="T35" fmla="*/ 0 h 1120"/>
                      <a:gd name="T36" fmla="*/ 0 w 960"/>
                      <a:gd name="T37" fmla="*/ 0 h 1120"/>
                      <a:gd name="T38" fmla="*/ 0 w 960"/>
                      <a:gd name="T39" fmla="*/ 0 h 1120"/>
                      <a:gd name="T40" fmla="*/ 0 w 960"/>
                      <a:gd name="T41" fmla="*/ 0 h 1120"/>
                      <a:gd name="T42" fmla="*/ 0 w 960"/>
                      <a:gd name="T43" fmla="*/ 0 h 1120"/>
                      <a:gd name="T44" fmla="*/ 0 w 960"/>
                      <a:gd name="T45" fmla="*/ 0 h 1120"/>
                      <a:gd name="T46" fmla="*/ 0 w 960"/>
                      <a:gd name="T47" fmla="*/ 0 h 1120"/>
                      <a:gd name="T48" fmla="*/ 0 w 960"/>
                      <a:gd name="T49" fmla="*/ 0 h 1120"/>
                      <a:gd name="T50" fmla="*/ 0 w 960"/>
                      <a:gd name="T51" fmla="*/ 0 h 1120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960"/>
                      <a:gd name="T79" fmla="*/ 0 h 1120"/>
                      <a:gd name="T80" fmla="*/ 960 w 960"/>
                      <a:gd name="T81" fmla="*/ 1120 h 1120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960" h="1120">
                        <a:moveTo>
                          <a:pt x="640" y="160"/>
                        </a:moveTo>
                        <a:lnTo>
                          <a:pt x="640" y="240"/>
                        </a:lnTo>
                        <a:lnTo>
                          <a:pt x="800" y="240"/>
                        </a:lnTo>
                        <a:lnTo>
                          <a:pt x="800" y="160"/>
                        </a:lnTo>
                        <a:lnTo>
                          <a:pt x="640" y="160"/>
                        </a:lnTo>
                        <a:close/>
                        <a:moveTo>
                          <a:pt x="0" y="0"/>
                        </a:moveTo>
                        <a:lnTo>
                          <a:pt x="960" y="0"/>
                        </a:lnTo>
                        <a:lnTo>
                          <a:pt x="960" y="960"/>
                        </a:lnTo>
                        <a:lnTo>
                          <a:pt x="957" y="992"/>
                        </a:lnTo>
                        <a:lnTo>
                          <a:pt x="947" y="1022"/>
                        </a:lnTo>
                        <a:lnTo>
                          <a:pt x="932" y="1050"/>
                        </a:lnTo>
                        <a:lnTo>
                          <a:pt x="913" y="1073"/>
                        </a:lnTo>
                        <a:lnTo>
                          <a:pt x="890" y="1092"/>
                        </a:lnTo>
                        <a:lnTo>
                          <a:pt x="862" y="1107"/>
                        </a:lnTo>
                        <a:lnTo>
                          <a:pt x="832" y="1117"/>
                        </a:lnTo>
                        <a:lnTo>
                          <a:pt x="800" y="1120"/>
                        </a:lnTo>
                        <a:lnTo>
                          <a:pt x="160" y="1120"/>
                        </a:lnTo>
                        <a:lnTo>
                          <a:pt x="128" y="1117"/>
                        </a:lnTo>
                        <a:lnTo>
                          <a:pt x="98" y="1107"/>
                        </a:lnTo>
                        <a:lnTo>
                          <a:pt x="70" y="1092"/>
                        </a:lnTo>
                        <a:lnTo>
                          <a:pt x="47" y="1073"/>
                        </a:lnTo>
                        <a:lnTo>
                          <a:pt x="28" y="1050"/>
                        </a:lnTo>
                        <a:lnTo>
                          <a:pt x="13" y="1022"/>
                        </a:lnTo>
                        <a:lnTo>
                          <a:pt x="3" y="992"/>
                        </a:lnTo>
                        <a:lnTo>
                          <a:pt x="0" y="96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76C1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36000" rIns="36000" anchor="ctr"/>
                  <a:lstStyle/>
                  <a:p>
                    <a:pPr algn="ctr"/>
                    <a:endParaRPr lang="ko-KR" altLang="en-US" dirty="0">
                      <a:solidFill>
                        <a:srgbClr val="000000"/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</a:endParaRPr>
                  </a:p>
                </p:txBody>
              </p:sp>
              <p:sp>
                <p:nvSpPr>
                  <p:cNvPr id="66" name="Freeform 97"/>
                  <p:cNvSpPr>
                    <a:spLocks/>
                  </p:cNvSpPr>
                  <p:nvPr/>
                </p:nvSpPr>
                <p:spPr bwMode="auto">
                  <a:xfrm>
                    <a:off x="10597" y="3344"/>
                    <a:ext cx="48" cy="40"/>
                  </a:xfrm>
                  <a:custGeom>
                    <a:avLst/>
                    <a:gdLst>
                      <a:gd name="T0" fmla="*/ 0 w 480"/>
                      <a:gd name="T1" fmla="*/ 0 h 400"/>
                      <a:gd name="T2" fmla="*/ 0 w 480"/>
                      <a:gd name="T3" fmla="*/ 0 h 400"/>
                      <a:gd name="T4" fmla="*/ 0 w 480"/>
                      <a:gd name="T5" fmla="*/ 0 h 400"/>
                      <a:gd name="T6" fmla="*/ 0 w 480"/>
                      <a:gd name="T7" fmla="*/ 0 h 400"/>
                      <a:gd name="T8" fmla="*/ 0 w 480"/>
                      <a:gd name="T9" fmla="*/ 0 h 400"/>
                      <a:gd name="T10" fmla="*/ 0 w 480"/>
                      <a:gd name="T11" fmla="*/ 0 h 400"/>
                      <a:gd name="T12" fmla="*/ 0 w 480"/>
                      <a:gd name="T13" fmla="*/ 0 h 400"/>
                      <a:gd name="T14" fmla="*/ 0 w 480"/>
                      <a:gd name="T15" fmla="*/ 0 h 400"/>
                      <a:gd name="T16" fmla="*/ 0 w 480"/>
                      <a:gd name="T17" fmla="*/ 0 h 400"/>
                      <a:gd name="T18" fmla="*/ 0 w 480"/>
                      <a:gd name="T19" fmla="*/ 0 h 400"/>
                      <a:gd name="T20" fmla="*/ 0 w 480"/>
                      <a:gd name="T21" fmla="*/ 0 h 400"/>
                      <a:gd name="T22" fmla="*/ 0 w 480"/>
                      <a:gd name="T23" fmla="*/ 0 h 400"/>
                      <a:gd name="T24" fmla="*/ 0 w 480"/>
                      <a:gd name="T25" fmla="*/ 0 h 400"/>
                      <a:gd name="T26" fmla="*/ 0 w 480"/>
                      <a:gd name="T27" fmla="*/ 0 h 400"/>
                      <a:gd name="T28" fmla="*/ 0 w 480"/>
                      <a:gd name="T29" fmla="*/ 0 h 400"/>
                      <a:gd name="T30" fmla="*/ 0 w 480"/>
                      <a:gd name="T31" fmla="*/ 0 h 400"/>
                      <a:gd name="T32" fmla="*/ 0 w 480"/>
                      <a:gd name="T33" fmla="*/ 0 h 400"/>
                      <a:gd name="T34" fmla="*/ 0 w 480"/>
                      <a:gd name="T35" fmla="*/ 0 h 400"/>
                      <a:gd name="T36" fmla="*/ 0 w 480"/>
                      <a:gd name="T37" fmla="*/ 0 h 400"/>
                      <a:gd name="T38" fmla="*/ 0 w 480"/>
                      <a:gd name="T39" fmla="*/ 0 h 400"/>
                      <a:gd name="T40" fmla="*/ 0 w 480"/>
                      <a:gd name="T41" fmla="*/ 0 h 400"/>
                      <a:gd name="T42" fmla="*/ 0 w 480"/>
                      <a:gd name="T43" fmla="*/ 0 h 400"/>
                      <a:gd name="T44" fmla="*/ 0 w 480"/>
                      <a:gd name="T45" fmla="*/ 0 h 400"/>
                      <a:gd name="T46" fmla="*/ 0 w 480"/>
                      <a:gd name="T47" fmla="*/ 0 h 4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480"/>
                      <a:gd name="T73" fmla="*/ 0 h 400"/>
                      <a:gd name="T74" fmla="*/ 480 w 480"/>
                      <a:gd name="T75" fmla="*/ 400 h 4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480" h="400">
                        <a:moveTo>
                          <a:pt x="0" y="0"/>
                        </a:moveTo>
                        <a:lnTo>
                          <a:pt x="480" y="0"/>
                        </a:lnTo>
                        <a:lnTo>
                          <a:pt x="480" y="160"/>
                        </a:lnTo>
                        <a:lnTo>
                          <a:pt x="477" y="198"/>
                        </a:lnTo>
                        <a:lnTo>
                          <a:pt x="468" y="236"/>
                        </a:lnTo>
                        <a:lnTo>
                          <a:pt x="453" y="270"/>
                        </a:lnTo>
                        <a:lnTo>
                          <a:pt x="434" y="302"/>
                        </a:lnTo>
                        <a:lnTo>
                          <a:pt x="410" y="330"/>
                        </a:lnTo>
                        <a:lnTo>
                          <a:pt x="382" y="353"/>
                        </a:lnTo>
                        <a:lnTo>
                          <a:pt x="350" y="373"/>
                        </a:lnTo>
                        <a:lnTo>
                          <a:pt x="316" y="387"/>
                        </a:lnTo>
                        <a:lnTo>
                          <a:pt x="278" y="397"/>
                        </a:lnTo>
                        <a:lnTo>
                          <a:pt x="240" y="400"/>
                        </a:lnTo>
                        <a:lnTo>
                          <a:pt x="202" y="397"/>
                        </a:lnTo>
                        <a:lnTo>
                          <a:pt x="164" y="387"/>
                        </a:lnTo>
                        <a:lnTo>
                          <a:pt x="130" y="373"/>
                        </a:lnTo>
                        <a:lnTo>
                          <a:pt x="98" y="353"/>
                        </a:lnTo>
                        <a:lnTo>
                          <a:pt x="70" y="330"/>
                        </a:lnTo>
                        <a:lnTo>
                          <a:pt x="46" y="302"/>
                        </a:lnTo>
                        <a:lnTo>
                          <a:pt x="27" y="270"/>
                        </a:lnTo>
                        <a:lnTo>
                          <a:pt x="12" y="236"/>
                        </a:lnTo>
                        <a:lnTo>
                          <a:pt x="3" y="198"/>
                        </a:lnTo>
                        <a:lnTo>
                          <a:pt x="0" y="16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76C1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36000" rIns="36000" anchor="ctr"/>
                  <a:lstStyle/>
                  <a:p>
                    <a:pPr algn="ctr"/>
                    <a:endParaRPr lang="ko-KR" altLang="en-US" dirty="0">
                      <a:solidFill>
                        <a:srgbClr val="000000"/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</a:endParaRPr>
                  </a:p>
                </p:txBody>
              </p:sp>
            </p:grpSp>
          </p:grpSp>
          <p:grpSp>
            <p:nvGrpSpPr>
              <p:cNvPr id="53" name="Group 412"/>
              <p:cNvGrpSpPr>
                <a:grpSpLocks/>
              </p:cNvGrpSpPr>
              <p:nvPr/>
            </p:nvGrpSpPr>
            <p:grpSpPr bwMode="auto">
              <a:xfrm>
                <a:off x="3948" y="2142"/>
                <a:ext cx="1433" cy="334"/>
                <a:chOff x="3948" y="2142"/>
                <a:chExt cx="1433" cy="334"/>
              </a:xfrm>
            </p:grpSpPr>
            <p:sp>
              <p:nvSpPr>
                <p:cNvPr id="57" name="AutoShape 87"/>
                <p:cNvSpPr>
                  <a:spLocks noChangeArrowheads="1"/>
                </p:cNvSpPr>
                <p:nvPr/>
              </p:nvSpPr>
              <p:spPr bwMode="auto">
                <a:xfrm rot="10800000" flipH="1" flipV="1">
                  <a:off x="3948" y="2366"/>
                  <a:ext cx="1433" cy="11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909 w 21600"/>
                    <a:gd name="T13" fmla="*/ 2945 h 21600"/>
                    <a:gd name="T14" fmla="*/ 18691 w 21600"/>
                    <a:gd name="T15" fmla="*/ 18655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215" y="21600"/>
                      </a:lnTo>
                      <a:lnTo>
                        <a:pt x="19385" y="21600"/>
                      </a:lnTo>
                      <a:lnTo>
                        <a:pt x="2160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FFFF"/>
                    </a:gs>
                    <a:gs pos="100000">
                      <a:srgbClr val="ABABAB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dirty="0">
                    <a:solidFill>
                      <a:srgbClr val="000000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endParaRPr>
                </a:p>
              </p:txBody>
            </p:sp>
            <p:sp>
              <p:nvSpPr>
                <p:cNvPr id="58" name="AutoShape 88"/>
                <p:cNvSpPr>
                  <a:spLocks noChangeArrowheads="1"/>
                </p:cNvSpPr>
                <p:nvPr/>
              </p:nvSpPr>
              <p:spPr bwMode="auto">
                <a:xfrm>
                  <a:off x="4085" y="2142"/>
                  <a:ext cx="1159" cy="334"/>
                </a:xfrm>
                <a:prstGeom prst="roundRect">
                  <a:avLst>
                    <a:gd name="adj" fmla="val 4074"/>
                  </a:avLst>
                </a:prstGeom>
                <a:solidFill>
                  <a:srgbClr val="76C1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" rIns="36000" anchor="ctr"/>
                <a:lstStyle>
                  <a:lvl1pPr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1pPr>
                  <a:lvl2pPr marL="742950" indent="-28575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2pPr>
                  <a:lvl3pPr marL="11430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3pPr>
                  <a:lvl4pPr marL="16002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4pPr>
                  <a:lvl5pPr marL="20574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5pPr>
                  <a:lvl6pPr marL="25146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6pPr>
                  <a:lvl7pPr marL="29718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7pPr>
                  <a:lvl8pPr marL="34290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8pPr>
                  <a:lvl9pPr marL="38862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9pPr>
                </a:lstStyle>
                <a:p>
                  <a:pPr algn="ctr" eaLnBrk="1" latinLnBrk="0" hangingPunct="1">
                    <a:lnSpc>
                      <a:spcPct val="110000"/>
                    </a:lnSpc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데이터 </a:t>
                  </a:r>
                  <a:r>
                    <a:rPr lang="ko-KR" altLang="en-US" sz="1200" dirty="0" smtClean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이행</a:t>
                  </a:r>
                  <a:endParaRPr lang="en-US" altLang="en-US" sz="1200" dirty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endParaRPr>
                </a:p>
                <a:p>
                  <a:pPr algn="ctr" eaLnBrk="1" latinLnBrk="0" hangingPunct="1">
                    <a:lnSpc>
                      <a:spcPct val="110000"/>
                    </a:lnSpc>
                  </a:pPr>
                  <a:r>
                    <a:rPr lang="en-US" altLang="en-US" sz="1200" dirty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안정성 확보</a:t>
                  </a:r>
                </a:p>
              </p:txBody>
            </p:sp>
          </p:grpSp>
          <p:grpSp>
            <p:nvGrpSpPr>
              <p:cNvPr id="54" name="Group 413"/>
              <p:cNvGrpSpPr>
                <a:grpSpLocks/>
              </p:cNvGrpSpPr>
              <p:nvPr/>
            </p:nvGrpSpPr>
            <p:grpSpPr bwMode="auto">
              <a:xfrm>
                <a:off x="858" y="2142"/>
                <a:ext cx="1433" cy="334"/>
                <a:chOff x="858" y="2142"/>
                <a:chExt cx="1433" cy="334"/>
              </a:xfrm>
            </p:grpSpPr>
            <p:sp>
              <p:nvSpPr>
                <p:cNvPr id="55" name="AutoShape 83"/>
                <p:cNvSpPr>
                  <a:spLocks noChangeArrowheads="1"/>
                </p:cNvSpPr>
                <p:nvPr/>
              </p:nvSpPr>
              <p:spPr bwMode="auto">
                <a:xfrm rot="10800000" flipH="1" flipV="1">
                  <a:off x="858" y="2366"/>
                  <a:ext cx="1433" cy="11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909 w 21600"/>
                    <a:gd name="T13" fmla="*/ 2945 h 21600"/>
                    <a:gd name="T14" fmla="*/ 18691 w 21600"/>
                    <a:gd name="T15" fmla="*/ 18655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215" y="21600"/>
                      </a:lnTo>
                      <a:lnTo>
                        <a:pt x="19385" y="21600"/>
                      </a:lnTo>
                      <a:lnTo>
                        <a:pt x="2160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FFFF"/>
                    </a:gs>
                    <a:gs pos="100000">
                      <a:srgbClr val="ABABAB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dirty="0">
                    <a:solidFill>
                      <a:srgbClr val="000000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endParaRPr>
                </a:p>
              </p:txBody>
            </p:sp>
            <p:sp>
              <p:nvSpPr>
                <p:cNvPr id="56" name="AutoShape 84"/>
                <p:cNvSpPr>
                  <a:spLocks noChangeArrowheads="1"/>
                </p:cNvSpPr>
                <p:nvPr/>
              </p:nvSpPr>
              <p:spPr bwMode="auto">
                <a:xfrm>
                  <a:off x="995" y="2142"/>
                  <a:ext cx="1159" cy="334"/>
                </a:xfrm>
                <a:prstGeom prst="roundRect">
                  <a:avLst>
                    <a:gd name="adj" fmla="val 4074"/>
                  </a:avLst>
                </a:prstGeom>
                <a:solidFill>
                  <a:srgbClr val="76C1E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" rIns="36000" anchor="ctr"/>
                <a:lstStyle>
                  <a:lvl1pPr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1pPr>
                  <a:lvl2pPr marL="742950" indent="-28575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2pPr>
                  <a:lvl3pPr marL="11430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3pPr>
                  <a:lvl4pPr marL="16002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4pPr>
                  <a:lvl5pPr marL="2057400" indent="-228600" defTabSz="1476375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5pPr>
                  <a:lvl6pPr marL="25146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6pPr>
                  <a:lvl7pPr marL="29718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7pPr>
                  <a:lvl8pPr marL="34290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8pPr>
                  <a:lvl9pPr marL="3886200" indent="-228600" algn="ctr" defTabSz="14763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9pPr>
                </a:lstStyle>
                <a:p>
                  <a:pPr algn="ctr" eaLnBrk="1" latinLnBrk="0" hangingPunct="1">
                    <a:lnSpc>
                      <a:spcPct val="110000"/>
                    </a:lnSpc>
                  </a:pPr>
                  <a:r>
                    <a:rPr lang="en-US" altLang="ko-KR" sz="1200" dirty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목표 시간 내</a:t>
                  </a:r>
                </a:p>
                <a:p>
                  <a:pPr algn="ctr" eaLnBrk="1" latinLnBrk="0" hangingPunct="1">
                    <a:lnSpc>
                      <a:spcPct val="110000"/>
                    </a:lnSpc>
                  </a:pPr>
                  <a:r>
                    <a:rPr lang="ko-KR" altLang="en-US" sz="1200" dirty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데이터 </a:t>
                  </a:r>
                  <a:r>
                    <a:rPr lang="ko-KR" altLang="en-US" sz="1200" dirty="0" smtClean="0">
                      <a:solidFill>
                        <a:srgbClr val="FFFFFF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  <a:cs typeface="Times New Roman" panose="02020603050405020304" pitchFamily="18" charset="0"/>
                    </a:rPr>
                    <a:t>이행</a:t>
                  </a:r>
                  <a:endParaRPr lang="en-US" altLang="ko-KR" sz="1200" dirty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endParaRPr>
                </a:p>
              </p:txBody>
            </p:sp>
          </p:grpSp>
        </p:grpSp>
        <p:sp>
          <p:nvSpPr>
            <p:cNvPr id="48" name="Freeform 408"/>
            <p:cNvSpPr>
              <a:spLocks noEditPoints="1"/>
            </p:cNvSpPr>
            <p:nvPr/>
          </p:nvSpPr>
          <p:spPr bwMode="auto">
            <a:xfrm>
              <a:off x="1034" y="1954"/>
              <a:ext cx="133" cy="194"/>
            </a:xfrm>
            <a:custGeom>
              <a:avLst/>
              <a:gdLst>
                <a:gd name="T0" fmla="*/ 0 w 1875"/>
                <a:gd name="T1" fmla="*/ 0 h 2720"/>
                <a:gd name="T2" fmla="*/ 0 w 1875"/>
                <a:gd name="T3" fmla="*/ 0 h 2720"/>
                <a:gd name="T4" fmla="*/ 0 w 1875"/>
                <a:gd name="T5" fmla="*/ 0 h 2720"/>
                <a:gd name="T6" fmla="*/ 0 w 1875"/>
                <a:gd name="T7" fmla="*/ 0 h 2720"/>
                <a:gd name="T8" fmla="*/ 0 w 1875"/>
                <a:gd name="T9" fmla="*/ 0 h 2720"/>
                <a:gd name="T10" fmla="*/ 0 w 1875"/>
                <a:gd name="T11" fmla="*/ 0 h 2720"/>
                <a:gd name="T12" fmla="*/ 0 w 1875"/>
                <a:gd name="T13" fmla="*/ 0 h 2720"/>
                <a:gd name="T14" fmla="*/ 0 w 1875"/>
                <a:gd name="T15" fmla="*/ 0 h 2720"/>
                <a:gd name="T16" fmla="*/ 0 w 1875"/>
                <a:gd name="T17" fmla="*/ 0 h 2720"/>
                <a:gd name="T18" fmla="*/ 0 w 1875"/>
                <a:gd name="T19" fmla="*/ 0 h 2720"/>
                <a:gd name="T20" fmla="*/ 0 w 1875"/>
                <a:gd name="T21" fmla="*/ 0 h 2720"/>
                <a:gd name="T22" fmla="*/ 0 w 1875"/>
                <a:gd name="T23" fmla="*/ 0 h 2720"/>
                <a:gd name="T24" fmla="*/ 0 w 1875"/>
                <a:gd name="T25" fmla="*/ 0 h 2720"/>
                <a:gd name="T26" fmla="*/ 0 w 1875"/>
                <a:gd name="T27" fmla="*/ 0 h 2720"/>
                <a:gd name="T28" fmla="*/ 0 w 1875"/>
                <a:gd name="T29" fmla="*/ 0 h 2720"/>
                <a:gd name="T30" fmla="*/ 0 w 1875"/>
                <a:gd name="T31" fmla="*/ 0 h 2720"/>
                <a:gd name="T32" fmla="*/ 0 w 1875"/>
                <a:gd name="T33" fmla="*/ 0 h 2720"/>
                <a:gd name="T34" fmla="*/ 0 w 1875"/>
                <a:gd name="T35" fmla="*/ 0 h 2720"/>
                <a:gd name="T36" fmla="*/ 0 w 1875"/>
                <a:gd name="T37" fmla="*/ 0 h 2720"/>
                <a:gd name="T38" fmla="*/ 0 w 1875"/>
                <a:gd name="T39" fmla="*/ 0 h 2720"/>
                <a:gd name="T40" fmla="*/ 0 w 1875"/>
                <a:gd name="T41" fmla="*/ 0 h 2720"/>
                <a:gd name="T42" fmla="*/ 0 w 1875"/>
                <a:gd name="T43" fmla="*/ 0 h 2720"/>
                <a:gd name="T44" fmla="*/ 0 w 1875"/>
                <a:gd name="T45" fmla="*/ 0 h 2720"/>
                <a:gd name="T46" fmla="*/ 0 w 1875"/>
                <a:gd name="T47" fmla="*/ 0 h 2720"/>
                <a:gd name="T48" fmla="*/ 0 w 1875"/>
                <a:gd name="T49" fmla="*/ 0 h 2720"/>
                <a:gd name="T50" fmla="*/ 0 w 1875"/>
                <a:gd name="T51" fmla="*/ 0 h 2720"/>
                <a:gd name="T52" fmla="*/ 0 w 1875"/>
                <a:gd name="T53" fmla="*/ 0 h 2720"/>
                <a:gd name="T54" fmla="*/ 0 w 1875"/>
                <a:gd name="T55" fmla="*/ 0 h 2720"/>
                <a:gd name="T56" fmla="*/ 0 w 1875"/>
                <a:gd name="T57" fmla="*/ 0 h 2720"/>
                <a:gd name="T58" fmla="*/ 0 w 1875"/>
                <a:gd name="T59" fmla="*/ 0 h 2720"/>
                <a:gd name="T60" fmla="*/ 0 w 1875"/>
                <a:gd name="T61" fmla="*/ 0 h 2720"/>
                <a:gd name="T62" fmla="*/ 0 w 1875"/>
                <a:gd name="T63" fmla="*/ 0 h 2720"/>
                <a:gd name="T64" fmla="*/ 0 w 1875"/>
                <a:gd name="T65" fmla="*/ 0 h 2720"/>
                <a:gd name="T66" fmla="*/ 0 w 1875"/>
                <a:gd name="T67" fmla="*/ 0 h 2720"/>
                <a:gd name="T68" fmla="*/ 0 w 1875"/>
                <a:gd name="T69" fmla="*/ 0 h 2720"/>
                <a:gd name="T70" fmla="*/ 0 w 1875"/>
                <a:gd name="T71" fmla="*/ 0 h 2720"/>
                <a:gd name="T72" fmla="*/ 0 w 1875"/>
                <a:gd name="T73" fmla="*/ 0 h 2720"/>
                <a:gd name="T74" fmla="*/ 0 w 1875"/>
                <a:gd name="T75" fmla="*/ 0 h 2720"/>
                <a:gd name="T76" fmla="*/ 0 w 1875"/>
                <a:gd name="T77" fmla="*/ 0 h 2720"/>
                <a:gd name="T78" fmla="*/ 0 w 1875"/>
                <a:gd name="T79" fmla="*/ 0 h 2720"/>
                <a:gd name="T80" fmla="*/ 0 w 1875"/>
                <a:gd name="T81" fmla="*/ 0 h 2720"/>
                <a:gd name="T82" fmla="*/ 0 w 1875"/>
                <a:gd name="T83" fmla="*/ 0 h 2720"/>
                <a:gd name="T84" fmla="*/ 0 w 1875"/>
                <a:gd name="T85" fmla="*/ 0 h 2720"/>
                <a:gd name="T86" fmla="*/ 0 w 1875"/>
                <a:gd name="T87" fmla="*/ 0 h 2720"/>
                <a:gd name="T88" fmla="*/ 0 w 1875"/>
                <a:gd name="T89" fmla="*/ 0 h 2720"/>
                <a:gd name="T90" fmla="*/ 0 w 1875"/>
                <a:gd name="T91" fmla="*/ 0 h 2720"/>
                <a:gd name="T92" fmla="*/ 0 w 1875"/>
                <a:gd name="T93" fmla="*/ 0 h 2720"/>
                <a:gd name="T94" fmla="*/ 0 w 1875"/>
                <a:gd name="T95" fmla="*/ 0 h 2720"/>
                <a:gd name="T96" fmla="*/ 0 w 1875"/>
                <a:gd name="T97" fmla="*/ 0 h 2720"/>
                <a:gd name="T98" fmla="*/ 0 w 1875"/>
                <a:gd name="T99" fmla="*/ 0 h 2720"/>
                <a:gd name="T100" fmla="*/ 0 w 1875"/>
                <a:gd name="T101" fmla="*/ 0 h 2720"/>
                <a:gd name="T102" fmla="*/ 0 w 1875"/>
                <a:gd name="T103" fmla="*/ 0 h 2720"/>
                <a:gd name="T104" fmla="*/ 0 w 1875"/>
                <a:gd name="T105" fmla="*/ 0 h 2720"/>
                <a:gd name="T106" fmla="*/ 0 w 1875"/>
                <a:gd name="T107" fmla="*/ 0 h 2720"/>
                <a:gd name="T108" fmla="*/ 0 w 1875"/>
                <a:gd name="T109" fmla="*/ 0 h 27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75"/>
                <a:gd name="T166" fmla="*/ 0 h 2720"/>
                <a:gd name="T167" fmla="*/ 1875 w 1875"/>
                <a:gd name="T168" fmla="*/ 2720 h 272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75" h="2720">
                  <a:moveTo>
                    <a:pt x="956" y="1924"/>
                  </a:moveTo>
                  <a:lnTo>
                    <a:pt x="1011" y="1928"/>
                  </a:lnTo>
                  <a:lnTo>
                    <a:pt x="1068" y="1941"/>
                  </a:lnTo>
                  <a:lnTo>
                    <a:pt x="1124" y="1959"/>
                  </a:lnTo>
                  <a:lnTo>
                    <a:pt x="1179" y="1983"/>
                  </a:lnTo>
                  <a:lnTo>
                    <a:pt x="1234" y="2012"/>
                  </a:lnTo>
                  <a:lnTo>
                    <a:pt x="1287" y="2043"/>
                  </a:lnTo>
                  <a:lnTo>
                    <a:pt x="1337" y="2078"/>
                  </a:lnTo>
                  <a:lnTo>
                    <a:pt x="1384" y="2113"/>
                  </a:lnTo>
                  <a:lnTo>
                    <a:pt x="1426" y="2150"/>
                  </a:lnTo>
                  <a:lnTo>
                    <a:pt x="1463" y="2183"/>
                  </a:lnTo>
                  <a:lnTo>
                    <a:pt x="1496" y="2217"/>
                  </a:lnTo>
                  <a:lnTo>
                    <a:pt x="1507" y="2227"/>
                  </a:lnTo>
                  <a:lnTo>
                    <a:pt x="1514" y="2241"/>
                  </a:lnTo>
                  <a:lnTo>
                    <a:pt x="1517" y="2256"/>
                  </a:lnTo>
                  <a:lnTo>
                    <a:pt x="1512" y="2275"/>
                  </a:lnTo>
                  <a:lnTo>
                    <a:pt x="1504" y="2290"/>
                  </a:lnTo>
                  <a:lnTo>
                    <a:pt x="1491" y="2300"/>
                  </a:lnTo>
                  <a:lnTo>
                    <a:pt x="1476" y="2304"/>
                  </a:lnTo>
                  <a:lnTo>
                    <a:pt x="1473" y="2304"/>
                  </a:lnTo>
                  <a:lnTo>
                    <a:pt x="1470" y="2303"/>
                  </a:lnTo>
                  <a:lnTo>
                    <a:pt x="1469" y="2304"/>
                  </a:lnTo>
                  <a:lnTo>
                    <a:pt x="443" y="2304"/>
                  </a:lnTo>
                  <a:lnTo>
                    <a:pt x="443" y="2303"/>
                  </a:lnTo>
                  <a:lnTo>
                    <a:pt x="437" y="2304"/>
                  </a:lnTo>
                  <a:lnTo>
                    <a:pt x="422" y="2300"/>
                  </a:lnTo>
                  <a:lnTo>
                    <a:pt x="409" y="2290"/>
                  </a:lnTo>
                  <a:lnTo>
                    <a:pt x="400" y="2275"/>
                  </a:lnTo>
                  <a:lnTo>
                    <a:pt x="397" y="2256"/>
                  </a:lnTo>
                  <a:lnTo>
                    <a:pt x="400" y="2241"/>
                  </a:lnTo>
                  <a:lnTo>
                    <a:pt x="407" y="2227"/>
                  </a:lnTo>
                  <a:lnTo>
                    <a:pt x="418" y="2217"/>
                  </a:lnTo>
                  <a:lnTo>
                    <a:pt x="450" y="2183"/>
                  </a:lnTo>
                  <a:lnTo>
                    <a:pt x="488" y="2150"/>
                  </a:lnTo>
                  <a:lnTo>
                    <a:pt x="530" y="2113"/>
                  </a:lnTo>
                  <a:lnTo>
                    <a:pt x="576" y="2078"/>
                  </a:lnTo>
                  <a:lnTo>
                    <a:pt x="627" y="2045"/>
                  </a:lnTo>
                  <a:lnTo>
                    <a:pt x="678" y="2012"/>
                  </a:lnTo>
                  <a:lnTo>
                    <a:pt x="733" y="1983"/>
                  </a:lnTo>
                  <a:lnTo>
                    <a:pt x="789" y="1959"/>
                  </a:lnTo>
                  <a:lnTo>
                    <a:pt x="845" y="1941"/>
                  </a:lnTo>
                  <a:lnTo>
                    <a:pt x="901" y="1928"/>
                  </a:lnTo>
                  <a:lnTo>
                    <a:pt x="956" y="1924"/>
                  </a:lnTo>
                  <a:close/>
                  <a:moveTo>
                    <a:pt x="952" y="1603"/>
                  </a:moveTo>
                  <a:lnTo>
                    <a:pt x="976" y="1607"/>
                  </a:lnTo>
                  <a:lnTo>
                    <a:pt x="995" y="1619"/>
                  </a:lnTo>
                  <a:lnTo>
                    <a:pt x="1012" y="1637"/>
                  </a:lnTo>
                  <a:lnTo>
                    <a:pt x="1022" y="1661"/>
                  </a:lnTo>
                  <a:lnTo>
                    <a:pt x="1026" y="1687"/>
                  </a:lnTo>
                  <a:lnTo>
                    <a:pt x="1022" y="1714"/>
                  </a:lnTo>
                  <a:lnTo>
                    <a:pt x="1012" y="1736"/>
                  </a:lnTo>
                  <a:lnTo>
                    <a:pt x="995" y="1755"/>
                  </a:lnTo>
                  <a:lnTo>
                    <a:pt x="976" y="1767"/>
                  </a:lnTo>
                  <a:lnTo>
                    <a:pt x="952" y="1771"/>
                  </a:lnTo>
                  <a:lnTo>
                    <a:pt x="929" y="1767"/>
                  </a:lnTo>
                  <a:lnTo>
                    <a:pt x="910" y="1755"/>
                  </a:lnTo>
                  <a:lnTo>
                    <a:pt x="893" y="1736"/>
                  </a:lnTo>
                  <a:lnTo>
                    <a:pt x="883" y="1714"/>
                  </a:lnTo>
                  <a:lnTo>
                    <a:pt x="879" y="1687"/>
                  </a:lnTo>
                  <a:lnTo>
                    <a:pt x="883" y="1661"/>
                  </a:lnTo>
                  <a:lnTo>
                    <a:pt x="893" y="1637"/>
                  </a:lnTo>
                  <a:lnTo>
                    <a:pt x="910" y="1619"/>
                  </a:lnTo>
                  <a:lnTo>
                    <a:pt x="929" y="1607"/>
                  </a:lnTo>
                  <a:lnTo>
                    <a:pt x="952" y="1603"/>
                  </a:lnTo>
                  <a:close/>
                  <a:moveTo>
                    <a:pt x="488" y="860"/>
                  </a:moveTo>
                  <a:lnTo>
                    <a:pt x="489" y="860"/>
                  </a:lnTo>
                  <a:lnTo>
                    <a:pt x="1441" y="862"/>
                  </a:lnTo>
                  <a:lnTo>
                    <a:pt x="1442" y="862"/>
                  </a:lnTo>
                  <a:lnTo>
                    <a:pt x="1444" y="862"/>
                  </a:lnTo>
                  <a:lnTo>
                    <a:pt x="1447" y="862"/>
                  </a:lnTo>
                  <a:lnTo>
                    <a:pt x="1461" y="866"/>
                  </a:lnTo>
                  <a:lnTo>
                    <a:pt x="1469" y="876"/>
                  </a:lnTo>
                  <a:lnTo>
                    <a:pt x="1475" y="888"/>
                  </a:lnTo>
                  <a:lnTo>
                    <a:pt x="1477" y="901"/>
                  </a:lnTo>
                  <a:lnTo>
                    <a:pt x="1475" y="915"/>
                  </a:lnTo>
                  <a:lnTo>
                    <a:pt x="1468" y="929"/>
                  </a:lnTo>
                  <a:lnTo>
                    <a:pt x="1461" y="943"/>
                  </a:lnTo>
                  <a:lnTo>
                    <a:pt x="1461" y="944"/>
                  </a:lnTo>
                  <a:lnTo>
                    <a:pt x="1444" y="974"/>
                  </a:lnTo>
                  <a:lnTo>
                    <a:pt x="1424" y="1003"/>
                  </a:lnTo>
                  <a:lnTo>
                    <a:pt x="1402" y="1034"/>
                  </a:lnTo>
                  <a:lnTo>
                    <a:pt x="1376" y="1065"/>
                  </a:lnTo>
                  <a:lnTo>
                    <a:pt x="1344" y="1094"/>
                  </a:lnTo>
                  <a:lnTo>
                    <a:pt x="1308" y="1125"/>
                  </a:lnTo>
                  <a:lnTo>
                    <a:pt x="1264" y="1156"/>
                  </a:lnTo>
                  <a:lnTo>
                    <a:pt x="1213" y="1187"/>
                  </a:lnTo>
                  <a:lnTo>
                    <a:pt x="1152" y="1218"/>
                  </a:lnTo>
                  <a:lnTo>
                    <a:pt x="1127" y="1232"/>
                  </a:lnTo>
                  <a:lnTo>
                    <a:pt x="1102" y="1251"/>
                  </a:lnTo>
                  <a:lnTo>
                    <a:pt x="1081" y="1275"/>
                  </a:lnTo>
                  <a:lnTo>
                    <a:pt x="1063" y="1302"/>
                  </a:lnTo>
                  <a:lnTo>
                    <a:pt x="1050" y="1331"/>
                  </a:lnTo>
                  <a:lnTo>
                    <a:pt x="1044" y="1364"/>
                  </a:lnTo>
                  <a:lnTo>
                    <a:pt x="1039" y="1400"/>
                  </a:lnTo>
                  <a:lnTo>
                    <a:pt x="1030" y="1431"/>
                  </a:lnTo>
                  <a:lnTo>
                    <a:pt x="1018" y="1456"/>
                  </a:lnTo>
                  <a:lnTo>
                    <a:pt x="1004" y="1474"/>
                  </a:lnTo>
                  <a:lnTo>
                    <a:pt x="987" y="1485"/>
                  </a:lnTo>
                  <a:lnTo>
                    <a:pt x="970" y="1492"/>
                  </a:lnTo>
                  <a:lnTo>
                    <a:pt x="952" y="1492"/>
                  </a:lnTo>
                  <a:lnTo>
                    <a:pt x="935" y="1487"/>
                  </a:lnTo>
                  <a:lnTo>
                    <a:pt x="918" y="1476"/>
                  </a:lnTo>
                  <a:lnTo>
                    <a:pt x="903" y="1457"/>
                  </a:lnTo>
                  <a:lnTo>
                    <a:pt x="889" y="1434"/>
                  </a:lnTo>
                  <a:lnTo>
                    <a:pt x="879" y="1406"/>
                  </a:lnTo>
                  <a:lnTo>
                    <a:pt x="872" y="1371"/>
                  </a:lnTo>
                  <a:lnTo>
                    <a:pt x="866" y="1342"/>
                  </a:lnTo>
                  <a:lnTo>
                    <a:pt x="858" y="1314"/>
                  </a:lnTo>
                  <a:lnTo>
                    <a:pt x="845" y="1289"/>
                  </a:lnTo>
                  <a:lnTo>
                    <a:pt x="831" y="1265"/>
                  </a:lnTo>
                  <a:lnTo>
                    <a:pt x="813" y="1244"/>
                  </a:lnTo>
                  <a:lnTo>
                    <a:pt x="793" y="1229"/>
                  </a:lnTo>
                  <a:lnTo>
                    <a:pt x="771" y="1218"/>
                  </a:lnTo>
                  <a:lnTo>
                    <a:pt x="746" y="1208"/>
                  </a:lnTo>
                  <a:lnTo>
                    <a:pt x="716" y="1193"/>
                  </a:lnTo>
                  <a:lnTo>
                    <a:pt x="686" y="1173"/>
                  </a:lnTo>
                  <a:lnTo>
                    <a:pt x="652" y="1150"/>
                  </a:lnTo>
                  <a:lnTo>
                    <a:pt x="618" y="1124"/>
                  </a:lnTo>
                  <a:lnTo>
                    <a:pt x="586" y="1094"/>
                  </a:lnTo>
                  <a:lnTo>
                    <a:pt x="552" y="1062"/>
                  </a:lnTo>
                  <a:lnTo>
                    <a:pt x="523" y="1030"/>
                  </a:lnTo>
                  <a:lnTo>
                    <a:pt x="495" y="995"/>
                  </a:lnTo>
                  <a:lnTo>
                    <a:pt x="470" y="958"/>
                  </a:lnTo>
                  <a:lnTo>
                    <a:pt x="461" y="943"/>
                  </a:lnTo>
                  <a:lnTo>
                    <a:pt x="453" y="926"/>
                  </a:lnTo>
                  <a:lnTo>
                    <a:pt x="449" y="911"/>
                  </a:lnTo>
                  <a:lnTo>
                    <a:pt x="446" y="897"/>
                  </a:lnTo>
                  <a:lnTo>
                    <a:pt x="449" y="883"/>
                  </a:lnTo>
                  <a:lnTo>
                    <a:pt x="454" y="873"/>
                  </a:lnTo>
                  <a:lnTo>
                    <a:pt x="464" y="866"/>
                  </a:lnTo>
                  <a:lnTo>
                    <a:pt x="475" y="862"/>
                  </a:lnTo>
                  <a:lnTo>
                    <a:pt x="488" y="860"/>
                  </a:lnTo>
                  <a:close/>
                  <a:moveTo>
                    <a:pt x="307" y="326"/>
                  </a:moveTo>
                  <a:lnTo>
                    <a:pt x="290" y="401"/>
                  </a:lnTo>
                  <a:lnTo>
                    <a:pt x="280" y="479"/>
                  </a:lnTo>
                  <a:lnTo>
                    <a:pt x="276" y="559"/>
                  </a:lnTo>
                  <a:lnTo>
                    <a:pt x="280" y="644"/>
                  </a:lnTo>
                  <a:lnTo>
                    <a:pt x="293" y="729"/>
                  </a:lnTo>
                  <a:lnTo>
                    <a:pt x="311" y="808"/>
                  </a:lnTo>
                  <a:lnTo>
                    <a:pt x="338" y="884"/>
                  </a:lnTo>
                  <a:lnTo>
                    <a:pt x="370" y="956"/>
                  </a:lnTo>
                  <a:lnTo>
                    <a:pt x="409" y="1023"/>
                  </a:lnTo>
                  <a:lnTo>
                    <a:pt x="454" y="1086"/>
                  </a:lnTo>
                  <a:lnTo>
                    <a:pt x="505" y="1142"/>
                  </a:lnTo>
                  <a:lnTo>
                    <a:pt x="559" y="1193"/>
                  </a:lnTo>
                  <a:lnTo>
                    <a:pt x="618" y="1237"/>
                  </a:lnTo>
                  <a:lnTo>
                    <a:pt x="681" y="1274"/>
                  </a:lnTo>
                  <a:lnTo>
                    <a:pt x="747" y="1303"/>
                  </a:lnTo>
                  <a:lnTo>
                    <a:pt x="763" y="1312"/>
                  </a:lnTo>
                  <a:lnTo>
                    <a:pt x="775" y="1326"/>
                  </a:lnTo>
                  <a:lnTo>
                    <a:pt x="782" y="1342"/>
                  </a:lnTo>
                  <a:lnTo>
                    <a:pt x="785" y="1362"/>
                  </a:lnTo>
                  <a:lnTo>
                    <a:pt x="782" y="1382"/>
                  </a:lnTo>
                  <a:lnTo>
                    <a:pt x="775" y="1399"/>
                  </a:lnTo>
                  <a:lnTo>
                    <a:pt x="763" y="1413"/>
                  </a:lnTo>
                  <a:lnTo>
                    <a:pt x="747" y="1421"/>
                  </a:lnTo>
                  <a:lnTo>
                    <a:pt x="681" y="1450"/>
                  </a:lnTo>
                  <a:lnTo>
                    <a:pt x="618" y="1487"/>
                  </a:lnTo>
                  <a:lnTo>
                    <a:pt x="559" y="1532"/>
                  </a:lnTo>
                  <a:lnTo>
                    <a:pt x="505" y="1582"/>
                  </a:lnTo>
                  <a:lnTo>
                    <a:pt x="454" y="1638"/>
                  </a:lnTo>
                  <a:lnTo>
                    <a:pt x="409" y="1701"/>
                  </a:lnTo>
                  <a:lnTo>
                    <a:pt x="370" y="1769"/>
                  </a:lnTo>
                  <a:lnTo>
                    <a:pt x="338" y="1840"/>
                  </a:lnTo>
                  <a:lnTo>
                    <a:pt x="311" y="1917"/>
                  </a:lnTo>
                  <a:lnTo>
                    <a:pt x="293" y="1997"/>
                  </a:lnTo>
                  <a:lnTo>
                    <a:pt x="280" y="2080"/>
                  </a:lnTo>
                  <a:lnTo>
                    <a:pt x="276" y="2165"/>
                  </a:lnTo>
                  <a:lnTo>
                    <a:pt x="280" y="2244"/>
                  </a:lnTo>
                  <a:lnTo>
                    <a:pt x="290" y="2321"/>
                  </a:lnTo>
                  <a:lnTo>
                    <a:pt x="307" y="2394"/>
                  </a:lnTo>
                  <a:lnTo>
                    <a:pt x="1606" y="2394"/>
                  </a:lnTo>
                  <a:lnTo>
                    <a:pt x="1623" y="2321"/>
                  </a:lnTo>
                  <a:lnTo>
                    <a:pt x="1633" y="2244"/>
                  </a:lnTo>
                  <a:lnTo>
                    <a:pt x="1637" y="2165"/>
                  </a:lnTo>
                  <a:lnTo>
                    <a:pt x="1633" y="2080"/>
                  </a:lnTo>
                  <a:lnTo>
                    <a:pt x="1620" y="1997"/>
                  </a:lnTo>
                  <a:lnTo>
                    <a:pt x="1602" y="1917"/>
                  </a:lnTo>
                  <a:lnTo>
                    <a:pt x="1576" y="1840"/>
                  </a:lnTo>
                  <a:lnTo>
                    <a:pt x="1542" y="1769"/>
                  </a:lnTo>
                  <a:lnTo>
                    <a:pt x="1504" y="1701"/>
                  </a:lnTo>
                  <a:lnTo>
                    <a:pt x="1459" y="1638"/>
                  </a:lnTo>
                  <a:lnTo>
                    <a:pt x="1409" y="1582"/>
                  </a:lnTo>
                  <a:lnTo>
                    <a:pt x="1354" y="1532"/>
                  </a:lnTo>
                  <a:lnTo>
                    <a:pt x="1295" y="1487"/>
                  </a:lnTo>
                  <a:lnTo>
                    <a:pt x="1232" y="1450"/>
                  </a:lnTo>
                  <a:lnTo>
                    <a:pt x="1166" y="1421"/>
                  </a:lnTo>
                  <a:lnTo>
                    <a:pt x="1151" y="1413"/>
                  </a:lnTo>
                  <a:lnTo>
                    <a:pt x="1138" y="1399"/>
                  </a:lnTo>
                  <a:lnTo>
                    <a:pt x="1131" y="1382"/>
                  </a:lnTo>
                  <a:lnTo>
                    <a:pt x="1128" y="1362"/>
                  </a:lnTo>
                  <a:lnTo>
                    <a:pt x="1131" y="1342"/>
                  </a:lnTo>
                  <a:lnTo>
                    <a:pt x="1138" y="1326"/>
                  </a:lnTo>
                  <a:lnTo>
                    <a:pt x="1151" y="1312"/>
                  </a:lnTo>
                  <a:lnTo>
                    <a:pt x="1166" y="1303"/>
                  </a:lnTo>
                  <a:lnTo>
                    <a:pt x="1232" y="1274"/>
                  </a:lnTo>
                  <a:lnTo>
                    <a:pt x="1295" y="1237"/>
                  </a:lnTo>
                  <a:lnTo>
                    <a:pt x="1354" y="1193"/>
                  </a:lnTo>
                  <a:lnTo>
                    <a:pt x="1409" y="1142"/>
                  </a:lnTo>
                  <a:lnTo>
                    <a:pt x="1459" y="1086"/>
                  </a:lnTo>
                  <a:lnTo>
                    <a:pt x="1504" y="1023"/>
                  </a:lnTo>
                  <a:lnTo>
                    <a:pt x="1542" y="956"/>
                  </a:lnTo>
                  <a:lnTo>
                    <a:pt x="1576" y="884"/>
                  </a:lnTo>
                  <a:lnTo>
                    <a:pt x="1602" y="808"/>
                  </a:lnTo>
                  <a:lnTo>
                    <a:pt x="1620" y="729"/>
                  </a:lnTo>
                  <a:lnTo>
                    <a:pt x="1633" y="644"/>
                  </a:lnTo>
                  <a:lnTo>
                    <a:pt x="1637" y="559"/>
                  </a:lnTo>
                  <a:lnTo>
                    <a:pt x="1633" y="479"/>
                  </a:lnTo>
                  <a:lnTo>
                    <a:pt x="1623" y="401"/>
                  </a:lnTo>
                  <a:lnTo>
                    <a:pt x="1606" y="326"/>
                  </a:lnTo>
                  <a:lnTo>
                    <a:pt x="307" y="326"/>
                  </a:lnTo>
                  <a:close/>
                  <a:moveTo>
                    <a:pt x="149" y="0"/>
                  </a:moveTo>
                  <a:lnTo>
                    <a:pt x="1727" y="0"/>
                  </a:lnTo>
                  <a:lnTo>
                    <a:pt x="1761" y="4"/>
                  </a:lnTo>
                  <a:lnTo>
                    <a:pt x="1793" y="15"/>
                  </a:lnTo>
                  <a:lnTo>
                    <a:pt x="1821" y="35"/>
                  </a:lnTo>
                  <a:lnTo>
                    <a:pt x="1843" y="60"/>
                  </a:lnTo>
                  <a:lnTo>
                    <a:pt x="1861" y="91"/>
                  </a:lnTo>
                  <a:lnTo>
                    <a:pt x="1873" y="124"/>
                  </a:lnTo>
                  <a:lnTo>
                    <a:pt x="1875" y="162"/>
                  </a:lnTo>
                  <a:lnTo>
                    <a:pt x="1873" y="200"/>
                  </a:lnTo>
                  <a:lnTo>
                    <a:pt x="1861" y="234"/>
                  </a:lnTo>
                  <a:lnTo>
                    <a:pt x="1843" y="265"/>
                  </a:lnTo>
                  <a:lnTo>
                    <a:pt x="1821" y="290"/>
                  </a:lnTo>
                  <a:lnTo>
                    <a:pt x="1793" y="309"/>
                  </a:lnTo>
                  <a:lnTo>
                    <a:pt x="1761" y="322"/>
                  </a:lnTo>
                  <a:lnTo>
                    <a:pt x="1727" y="326"/>
                  </a:lnTo>
                  <a:lnTo>
                    <a:pt x="1717" y="326"/>
                  </a:lnTo>
                  <a:lnTo>
                    <a:pt x="1733" y="402"/>
                  </a:lnTo>
                  <a:lnTo>
                    <a:pt x="1741" y="479"/>
                  </a:lnTo>
                  <a:lnTo>
                    <a:pt x="1744" y="559"/>
                  </a:lnTo>
                  <a:lnTo>
                    <a:pt x="1741" y="644"/>
                  </a:lnTo>
                  <a:lnTo>
                    <a:pt x="1731" y="727"/>
                  </a:lnTo>
                  <a:lnTo>
                    <a:pt x="1714" y="808"/>
                  </a:lnTo>
                  <a:lnTo>
                    <a:pt x="1692" y="886"/>
                  </a:lnTo>
                  <a:lnTo>
                    <a:pt x="1664" y="960"/>
                  </a:lnTo>
                  <a:lnTo>
                    <a:pt x="1629" y="1030"/>
                  </a:lnTo>
                  <a:lnTo>
                    <a:pt x="1591" y="1097"/>
                  </a:lnTo>
                  <a:lnTo>
                    <a:pt x="1545" y="1160"/>
                  </a:lnTo>
                  <a:lnTo>
                    <a:pt x="1496" y="1219"/>
                  </a:lnTo>
                  <a:lnTo>
                    <a:pt x="1441" y="1272"/>
                  </a:lnTo>
                  <a:lnTo>
                    <a:pt x="1384" y="1320"/>
                  </a:lnTo>
                  <a:lnTo>
                    <a:pt x="1320" y="1362"/>
                  </a:lnTo>
                  <a:lnTo>
                    <a:pt x="1384" y="1404"/>
                  </a:lnTo>
                  <a:lnTo>
                    <a:pt x="1441" y="1452"/>
                  </a:lnTo>
                  <a:lnTo>
                    <a:pt x="1496" y="1505"/>
                  </a:lnTo>
                  <a:lnTo>
                    <a:pt x="1545" y="1564"/>
                  </a:lnTo>
                  <a:lnTo>
                    <a:pt x="1591" y="1627"/>
                  </a:lnTo>
                  <a:lnTo>
                    <a:pt x="1629" y="1694"/>
                  </a:lnTo>
                  <a:lnTo>
                    <a:pt x="1664" y="1764"/>
                  </a:lnTo>
                  <a:lnTo>
                    <a:pt x="1692" y="1839"/>
                  </a:lnTo>
                  <a:lnTo>
                    <a:pt x="1714" y="1916"/>
                  </a:lnTo>
                  <a:lnTo>
                    <a:pt x="1731" y="1997"/>
                  </a:lnTo>
                  <a:lnTo>
                    <a:pt x="1741" y="2080"/>
                  </a:lnTo>
                  <a:lnTo>
                    <a:pt x="1744" y="2165"/>
                  </a:lnTo>
                  <a:lnTo>
                    <a:pt x="1741" y="2244"/>
                  </a:lnTo>
                  <a:lnTo>
                    <a:pt x="1733" y="2319"/>
                  </a:lnTo>
                  <a:lnTo>
                    <a:pt x="1718" y="2394"/>
                  </a:lnTo>
                  <a:lnTo>
                    <a:pt x="1727" y="2394"/>
                  </a:lnTo>
                  <a:lnTo>
                    <a:pt x="1761" y="2398"/>
                  </a:lnTo>
                  <a:lnTo>
                    <a:pt x="1793" y="2411"/>
                  </a:lnTo>
                  <a:lnTo>
                    <a:pt x="1821" y="2430"/>
                  </a:lnTo>
                  <a:lnTo>
                    <a:pt x="1843" y="2455"/>
                  </a:lnTo>
                  <a:lnTo>
                    <a:pt x="1861" y="2486"/>
                  </a:lnTo>
                  <a:lnTo>
                    <a:pt x="1873" y="2520"/>
                  </a:lnTo>
                  <a:lnTo>
                    <a:pt x="1875" y="2558"/>
                  </a:lnTo>
                  <a:lnTo>
                    <a:pt x="1873" y="2596"/>
                  </a:lnTo>
                  <a:lnTo>
                    <a:pt x="1861" y="2629"/>
                  </a:lnTo>
                  <a:lnTo>
                    <a:pt x="1843" y="2660"/>
                  </a:lnTo>
                  <a:lnTo>
                    <a:pt x="1821" y="2685"/>
                  </a:lnTo>
                  <a:lnTo>
                    <a:pt x="1793" y="2705"/>
                  </a:lnTo>
                  <a:lnTo>
                    <a:pt x="1761" y="2716"/>
                  </a:lnTo>
                  <a:lnTo>
                    <a:pt x="1727" y="2720"/>
                  </a:lnTo>
                  <a:lnTo>
                    <a:pt x="149" y="2720"/>
                  </a:lnTo>
                  <a:lnTo>
                    <a:pt x="115" y="2716"/>
                  </a:lnTo>
                  <a:lnTo>
                    <a:pt x="83" y="2705"/>
                  </a:lnTo>
                  <a:lnTo>
                    <a:pt x="55" y="2685"/>
                  </a:lnTo>
                  <a:lnTo>
                    <a:pt x="32" y="2660"/>
                  </a:lnTo>
                  <a:lnTo>
                    <a:pt x="14" y="2629"/>
                  </a:lnTo>
                  <a:lnTo>
                    <a:pt x="3" y="2596"/>
                  </a:lnTo>
                  <a:lnTo>
                    <a:pt x="0" y="2558"/>
                  </a:lnTo>
                  <a:lnTo>
                    <a:pt x="3" y="2520"/>
                  </a:lnTo>
                  <a:lnTo>
                    <a:pt x="14" y="2486"/>
                  </a:lnTo>
                  <a:lnTo>
                    <a:pt x="32" y="2455"/>
                  </a:lnTo>
                  <a:lnTo>
                    <a:pt x="55" y="2430"/>
                  </a:lnTo>
                  <a:lnTo>
                    <a:pt x="83" y="2411"/>
                  </a:lnTo>
                  <a:lnTo>
                    <a:pt x="115" y="2398"/>
                  </a:lnTo>
                  <a:lnTo>
                    <a:pt x="149" y="2394"/>
                  </a:lnTo>
                  <a:lnTo>
                    <a:pt x="195" y="2394"/>
                  </a:lnTo>
                  <a:lnTo>
                    <a:pt x="181" y="2319"/>
                  </a:lnTo>
                  <a:lnTo>
                    <a:pt x="173" y="2244"/>
                  </a:lnTo>
                  <a:lnTo>
                    <a:pt x="168" y="2165"/>
                  </a:lnTo>
                  <a:lnTo>
                    <a:pt x="173" y="2080"/>
                  </a:lnTo>
                  <a:lnTo>
                    <a:pt x="182" y="1997"/>
                  </a:lnTo>
                  <a:lnTo>
                    <a:pt x="199" y="1916"/>
                  </a:lnTo>
                  <a:lnTo>
                    <a:pt x="222" y="1839"/>
                  </a:lnTo>
                  <a:lnTo>
                    <a:pt x="250" y="1764"/>
                  </a:lnTo>
                  <a:lnTo>
                    <a:pt x="285" y="1694"/>
                  </a:lnTo>
                  <a:lnTo>
                    <a:pt x="322" y="1627"/>
                  </a:lnTo>
                  <a:lnTo>
                    <a:pt x="369" y="1564"/>
                  </a:lnTo>
                  <a:lnTo>
                    <a:pt x="418" y="1505"/>
                  </a:lnTo>
                  <a:lnTo>
                    <a:pt x="472" y="1452"/>
                  </a:lnTo>
                  <a:lnTo>
                    <a:pt x="530" y="1404"/>
                  </a:lnTo>
                  <a:lnTo>
                    <a:pt x="593" y="1362"/>
                  </a:lnTo>
                  <a:lnTo>
                    <a:pt x="530" y="1320"/>
                  </a:lnTo>
                  <a:lnTo>
                    <a:pt x="472" y="1272"/>
                  </a:lnTo>
                  <a:lnTo>
                    <a:pt x="418" y="1219"/>
                  </a:lnTo>
                  <a:lnTo>
                    <a:pt x="369" y="1160"/>
                  </a:lnTo>
                  <a:lnTo>
                    <a:pt x="322" y="1097"/>
                  </a:lnTo>
                  <a:lnTo>
                    <a:pt x="285" y="1030"/>
                  </a:lnTo>
                  <a:lnTo>
                    <a:pt x="250" y="960"/>
                  </a:lnTo>
                  <a:lnTo>
                    <a:pt x="222" y="886"/>
                  </a:lnTo>
                  <a:lnTo>
                    <a:pt x="199" y="808"/>
                  </a:lnTo>
                  <a:lnTo>
                    <a:pt x="182" y="727"/>
                  </a:lnTo>
                  <a:lnTo>
                    <a:pt x="173" y="644"/>
                  </a:lnTo>
                  <a:lnTo>
                    <a:pt x="168" y="559"/>
                  </a:lnTo>
                  <a:lnTo>
                    <a:pt x="173" y="479"/>
                  </a:lnTo>
                  <a:lnTo>
                    <a:pt x="181" y="402"/>
                  </a:lnTo>
                  <a:lnTo>
                    <a:pt x="195" y="326"/>
                  </a:lnTo>
                  <a:lnTo>
                    <a:pt x="149" y="326"/>
                  </a:lnTo>
                  <a:lnTo>
                    <a:pt x="115" y="322"/>
                  </a:lnTo>
                  <a:lnTo>
                    <a:pt x="83" y="309"/>
                  </a:lnTo>
                  <a:lnTo>
                    <a:pt x="55" y="290"/>
                  </a:lnTo>
                  <a:lnTo>
                    <a:pt x="32" y="265"/>
                  </a:lnTo>
                  <a:lnTo>
                    <a:pt x="14" y="234"/>
                  </a:lnTo>
                  <a:lnTo>
                    <a:pt x="3" y="200"/>
                  </a:lnTo>
                  <a:lnTo>
                    <a:pt x="0" y="162"/>
                  </a:lnTo>
                  <a:lnTo>
                    <a:pt x="3" y="124"/>
                  </a:lnTo>
                  <a:lnTo>
                    <a:pt x="14" y="91"/>
                  </a:lnTo>
                  <a:lnTo>
                    <a:pt x="32" y="60"/>
                  </a:lnTo>
                  <a:lnTo>
                    <a:pt x="55" y="35"/>
                  </a:lnTo>
                  <a:lnTo>
                    <a:pt x="83" y="15"/>
                  </a:lnTo>
                  <a:lnTo>
                    <a:pt x="115" y="4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76C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3600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grpSp>
          <p:nvGrpSpPr>
            <p:cNvPr id="49" name="Group 409"/>
            <p:cNvGrpSpPr>
              <a:grpSpLocks/>
            </p:cNvGrpSpPr>
            <p:nvPr/>
          </p:nvGrpSpPr>
          <p:grpSpPr bwMode="auto">
            <a:xfrm>
              <a:off x="4136" y="1954"/>
              <a:ext cx="128" cy="193"/>
              <a:chOff x="10106" y="2352"/>
              <a:chExt cx="928" cy="1390"/>
            </a:xfrm>
          </p:grpSpPr>
          <p:sp>
            <p:nvSpPr>
              <p:cNvPr id="50" name="Freeform 410"/>
              <p:cNvSpPr>
                <a:spLocks noEditPoints="1"/>
              </p:cNvSpPr>
              <p:nvPr/>
            </p:nvSpPr>
            <p:spPr bwMode="auto">
              <a:xfrm>
                <a:off x="10106" y="2352"/>
                <a:ext cx="928" cy="1390"/>
              </a:xfrm>
              <a:custGeom>
                <a:avLst/>
                <a:gdLst>
                  <a:gd name="T0" fmla="*/ 1 w 1854"/>
                  <a:gd name="T1" fmla="*/ 1 h 2780"/>
                  <a:gd name="T2" fmla="*/ 1 w 1854"/>
                  <a:gd name="T3" fmla="*/ 1 h 2780"/>
                  <a:gd name="T4" fmla="*/ 1 w 1854"/>
                  <a:gd name="T5" fmla="*/ 1 h 2780"/>
                  <a:gd name="T6" fmla="*/ 1 w 1854"/>
                  <a:gd name="T7" fmla="*/ 1 h 2780"/>
                  <a:gd name="T8" fmla="*/ 1 w 1854"/>
                  <a:gd name="T9" fmla="*/ 1 h 2780"/>
                  <a:gd name="T10" fmla="*/ 1 w 1854"/>
                  <a:gd name="T11" fmla="*/ 1 h 2780"/>
                  <a:gd name="T12" fmla="*/ 1 w 1854"/>
                  <a:gd name="T13" fmla="*/ 1 h 2780"/>
                  <a:gd name="T14" fmla="*/ 1 w 1854"/>
                  <a:gd name="T15" fmla="*/ 1 h 2780"/>
                  <a:gd name="T16" fmla="*/ 1 w 1854"/>
                  <a:gd name="T17" fmla="*/ 1 h 2780"/>
                  <a:gd name="T18" fmla="*/ 1 w 1854"/>
                  <a:gd name="T19" fmla="*/ 1 h 2780"/>
                  <a:gd name="T20" fmla="*/ 1 w 1854"/>
                  <a:gd name="T21" fmla="*/ 1 h 2780"/>
                  <a:gd name="T22" fmla="*/ 1 w 1854"/>
                  <a:gd name="T23" fmla="*/ 1 h 2780"/>
                  <a:gd name="T24" fmla="*/ 1 w 1854"/>
                  <a:gd name="T25" fmla="*/ 1 h 2780"/>
                  <a:gd name="T26" fmla="*/ 1 w 1854"/>
                  <a:gd name="T27" fmla="*/ 1 h 2780"/>
                  <a:gd name="T28" fmla="*/ 1 w 1854"/>
                  <a:gd name="T29" fmla="*/ 1 h 2780"/>
                  <a:gd name="T30" fmla="*/ 1 w 1854"/>
                  <a:gd name="T31" fmla="*/ 1 h 2780"/>
                  <a:gd name="T32" fmla="*/ 1 w 1854"/>
                  <a:gd name="T33" fmla="*/ 1 h 2780"/>
                  <a:gd name="T34" fmla="*/ 1 w 1854"/>
                  <a:gd name="T35" fmla="*/ 1 h 2780"/>
                  <a:gd name="T36" fmla="*/ 1 w 1854"/>
                  <a:gd name="T37" fmla="*/ 1 h 2780"/>
                  <a:gd name="T38" fmla="*/ 1 w 1854"/>
                  <a:gd name="T39" fmla="*/ 1 h 2780"/>
                  <a:gd name="T40" fmla="*/ 1 w 1854"/>
                  <a:gd name="T41" fmla="*/ 0 h 2780"/>
                  <a:gd name="T42" fmla="*/ 1 w 1854"/>
                  <a:gd name="T43" fmla="*/ 1 h 2780"/>
                  <a:gd name="T44" fmla="*/ 1 w 1854"/>
                  <a:gd name="T45" fmla="*/ 1 h 2780"/>
                  <a:gd name="T46" fmla="*/ 1 w 1854"/>
                  <a:gd name="T47" fmla="*/ 1 h 2780"/>
                  <a:gd name="T48" fmla="*/ 1 w 1854"/>
                  <a:gd name="T49" fmla="*/ 1 h 2780"/>
                  <a:gd name="T50" fmla="*/ 1 w 1854"/>
                  <a:gd name="T51" fmla="*/ 1 h 2780"/>
                  <a:gd name="T52" fmla="*/ 1 w 1854"/>
                  <a:gd name="T53" fmla="*/ 1 h 2780"/>
                  <a:gd name="T54" fmla="*/ 1 w 1854"/>
                  <a:gd name="T55" fmla="*/ 1 h 2780"/>
                  <a:gd name="T56" fmla="*/ 1 w 1854"/>
                  <a:gd name="T57" fmla="*/ 1 h 2780"/>
                  <a:gd name="T58" fmla="*/ 1 w 1854"/>
                  <a:gd name="T59" fmla="*/ 1 h 2780"/>
                  <a:gd name="T60" fmla="*/ 1 w 1854"/>
                  <a:gd name="T61" fmla="*/ 1 h 2780"/>
                  <a:gd name="T62" fmla="*/ 1 w 1854"/>
                  <a:gd name="T63" fmla="*/ 1 h 2780"/>
                  <a:gd name="T64" fmla="*/ 1 w 1854"/>
                  <a:gd name="T65" fmla="*/ 1 h 2780"/>
                  <a:gd name="T66" fmla="*/ 1 w 1854"/>
                  <a:gd name="T67" fmla="*/ 1 h 2780"/>
                  <a:gd name="T68" fmla="*/ 1 w 1854"/>
                  <a:gd name="T69" fmla="*/ 1 h 2780"/>
                  <a:gd name="T70" fmla="*/ 1 w 1854"/>
                  <a:gd name="T71" fmla="*/ 1 h 2780"/>
                  <a:gd name="T72" fmla="*/ 1 w 1854"/>
                  <a:gd name="T73" fmla="*/ 1 h 2780"/>
                  <a:gd name="T74" fmla="*/ 1 w 1854"/>
                  <a:gd name="T75" fmla="*/ 1 h 2780"/>
                  <a:gd name="T76" fmla="*/ 1 w 1854"/>
                  <a:gd name="T77" fmla="*/ 1 h 2780"/>
                  <a:gd name="T78" fmla="*/ 1 w 1854"/>
                  <a:gd name="T79" fmla="*/ 1 h 2780"/>
                  <a:gd name="T80" fmla="*/ 1 w 1854"/>
                  <a:gd name="T81" fmla="*/ 1 h 2780"/>
                  <a:gd name="T82" fmla="*/ 1 w 1854"/>
                  <a:gd name="T83" fmla="*/ 1 h 2780"/>
                  <a:gd name="T84" fmla="*/ 1 w 1854"/>
                  <a:gd name="T85" fmla="*/ 1 h 2780"/>
                  <a:gd name="T86" fmla="*/ 1 w 1854"/>
                  <a:gd name="T87" fmla="*/ 1 h 2780"/>
                  <a:gd name="T88" fmla="*/ 1 w 1854"/>
                  <a:gd name="T89" fmla="*/ 1 h 2780"/>
                  <a:gd name="T90" fmla="*/ 1 w 1854"/>
                  <a:gd name="T91" fmla="*/ 1 h 2780"/>
                  <a:gd name="T92" fmla="*/ 1 w 1854"/>
                  <a:gd name="T93" fmla="*/ 1 h 2780"/>
                  <a:gd name="T94" fmla="*/ 1 w 1854"/>
                  <a:gd name="T95" fmla="*/ 1 h 2780"/>
                  <a:gd name="T96" fmla="*/ 1 w 1854"/>
                  <a:gd name="T97" fmla="*/ 1 h 2780"/>
                  <a:gd name="T98" fmla="*/ 0 w 1854"/>
                  <a:gd name="T99" fmla="*/ 1 h 2780"/>
                  <a:gd name="T100" fmla="*/ 1 w 1854"/>
                  <a:gd name="T101" fmla="*/ 1 h 2780"/>
                  <a:gd name="T102" fmla="*/ 1 w 1854"/>
                  <a:gd name="T103" fmla="*/ 1 h 2780"/>
                  <a:gd name="T104" fmla="*/ 1 w 1854"/>
                  <a:gd name="T105" fmla="*/ 1 h 2780"/>
                  <a:gd name="T106" fmla="*/ 1 w 1854"/>
                  <a:gd name="T107" fmla="*/ 1 h 2780"/>
                  <a:gd name="T108" fmla="*/ 1 w 1854"/>
                  <a:gd name="T109" fmla="*/ 1 h 2780"/>
                  <a:gd name="T110" fmla="*/ 1 w 1854"/>
                  <a:gd name="T111" fmla="*/ 1 h 2780"/>
                  <a:gd name="T112" fmla="*/ 1 w 1854"/>
                  <a:gd name="T113" fmla="*/ 1 h 2780"/>
                  <a:gd name="T114" fmla="*/ 1 w 1854"/>
                  <a:gd name="T115" fmla="*/ 1 h 2780"/>
                  <a:gd name="T116" fmla="*/ 1 w 1854"/>
                  <a:gd name="T117" fmla="*/ 1 h 2780"/>
                  <a:gd name="T118" fmla="*/ 1 w 1854"/>
                  <a:gd name="T119" fmla="*/ 1 h 2780"/>
                  <a:gd name="T120" fmla="*/ 1 w 1854"/>
                  <a:gd name="T121" fmla="*/ 1 h 2780"/>
                  <a:gd name="T122" fmla="*/ 1 w 1854"/>
                  <a:gd name="T123" fmla="*/ 0 h 278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54"/>
                  <a:gd name="T187" fmla="*/ 0 h 2780"/>
                  <a:gd name="T188" fmla="*/ 1854 w 1854"/>
                  <a:gd name="T189" fmla="*/ 2780 h 278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54" h="2780">
                    <a:moveTo>
                      <a:pt x="927" y="229"/>
                    </a:moveTo>
                    <a:lnTo>
                      <a:pt x="871" y="230"/>
                    </a:lnTo>
                    <a:lnTo>
                      <a:pt x="818" y="239"/>
                    </a:lnTo>
                    <a:lnTo>
                      <a:pt x="768" y="250"/>
                    </a:lnTo>
                    <a:lnTo>
                      <a:pt x="720" y="267"/>
                    </a:lnTo>
                    <a:lnTo>
                      <a:pt x="675" y="286"/>
                    </a:lnTo>
                    <a:lnTo>
                      <a:pt x="634" y="310"/>
                    </a:lnTo>
                    <a:lnTo>
                      <a:pt x="597" y="335"/>
                    </a:lnTo>
                    <a:lnTo>
                      <a:pt x="564" y="365"/>
                    </a:lnTo>
                    <a:lnTo>
                      <a:pt x="539" y="391"/>
                    </a:lnTo>
                    <a:lnTo>
                      <a:pt x="518" y="420"/>
                    </a:lnTo>
                    <a:lnTo>
                      <a:pt x="500" y="450"/>
                    </a:lnTo>
                    <a:lnTo>
                      <a:pt x="483" y="490"/>
                    </a:lnTo>
                    <a:lnTo>
                      <a:pt x="472" y="532"/>
                    </a:lnTo>
                    <a:lnTo>
                      <a:pt x="467" y="577"/>
                    </a:lnTo>
                    <a:lnTo>
                      <a:pt x="467" y="1045"/>
                    </a:lnTo>
                    <a:lnTo>
                      <a:pt x="537" y="1010"/>
                    </a:lnTo>
                    <a:lnTo>
                      <a:pt x="610" y="979"/>
                    </a:lnTo>
                    <a:lnTo>
                      <a:pt x="685" y="955"/>
                    </a:lnTo>
                    <a:lnTo>
                      <a:pt x="763" y="939"/>
                    </a:lnTo>
                    <a:lnTo>
                      <a:pt x="844" y="927"/>
                    </a:lnTo>
                    <a:lnTo>
                      <a:pt x="927" y="923"/>
                    </a:lnTo>
                    <a:lnTo>
                      <a:pt x="1009" y="927"/>
                    </a:lnTo>
                    <a:lnTo>
                      <a:pt x="1090" y="939"/>
                    </a:lnTo>
                    <a:lnTo>
                      <a:pt x="1168" y="955"/>
                    </a:lnTo>
                    <a:lnTo>
                      <a:pt x="1244" y="979"/>
                    </a:lnTo>
                    <a:lnTo>
                      <a:pt x="1316" y="1010"/>
                    </a:lnTo>
                    <a:lnTo>
                      <a:pt x="1385" y="1045"/>
                    </a:lnTo>
                    <a:lnTo>
                      <a:pt x="1385" y="577"/>
                    </a:lnTo>
                    <a:lnTo>
                      <a:pt x="1382" y="532"/>
                    </a:lnTo>
                    <a:lnTo>
                      <a:pt x="1371" y="490"/>
                    </a:lnTo>
                    <a:lnTo>
                      <a:pt x="1354" y="450"/>
                    </a:lnTo>
                    <a:lnTo>
                      <a:pt x="1329" y="411"/>
                    </a:lnTo>
                    <a:lnTo>
                      <a:pt x="1298" y="373"/>
                    </a:lnTo>
                    <a:lnTo>
                      <a:pt x="1261" y="338"/>
                    </a:lnTo>
                    <a:lnTo>
                      <a:pt x="1216" y="307"/>
                    </a:lnTo>
                    <a:lnTo>
                      <a:pt x="1167" y="281"/>
                    </a:lnTo>
                    <a:lnTo>
                      <a:pt x="1113" y="258"/>
                    </a:lnTo>
                    <a:lnTo>
                      <a:pt x="1054" y="243"/>
                    </a:lnTo>
                    <a:lnTo>
                      <a:pt x="992" y="232"/>
                    </a:lnTo>
                    <a:lnTo>
                      <a:pt x="927" y="229"/>
                    </a:lnTo>
                    <a:close/>
                    <a:moveTo>
                      <a:pt x="927" y="0"/>
                    </a:moveTo>
                    <a:lnTo>
                      <a:pt x="1004" y="3"/>
                    </a:lnTo>
                    <a:lnTo>
                      <a:pt x="1078" y="14"/>
                    </a:lnTo>
                    <a:lnTo>
                      <a:pt x="1149" y="31"/>
                    </a:lnTo>
                    <a:lnTo>
                      <a:pt x="1217" y="53"/>
                    </a:lnTo>
                    <a:lnTo>
                      <a:pt x="1282" y="81"/>
                    </a:lnTo>
                    <a:lnTo>
                      <a:pt x="1342" y="116"/>
                    </a:lnTo>
                    <a:lnTo>
                      <a:pt x="1397" y="155"/>
                    </a:lnTo>
                    <a:lnTo>
                      <a:pt x="1449" y="200"/>
                    </a:lnTo>
                    <a:lnTo>
                      <a:pt x="1490" y="244"/>
                    </a:lnTo>
                    <a:lnTo>
                      <a:pt x="1526" y="292"/>
                    </a:lnTo>
                    <a:lnTo>
                      <a:pt x="1557" y="344"/>
                    </a:lnTo>
                    <a:lnTo>
                      <a:pt x="1580" y="398"/>
                    </a:lnTo>
                    <a:lnTo>
                      <a:pt x="1600" y="455"/>
                    </a:lnTo>
                    <a:lnTo>
                      <a:pt x="1611" y="515"/>
                    </a:lnTo>
                    <a:lnTo>
                      <a:pt x="1614" y="577"/>
                    </a:lnTo>
                    <a:lnTo>
                      <a:pt x="1614" y="1229"/>
                    </a:lnTo>
                    <a:lnTo>
                      <a:pt x="1667" y="1293"/>
                    </a:lnTo>
                    <a:lnTo>
                      <a:pt x="1714" y="1362"/>
                    </a:lnTo>
                    <a:lnTo>
                      <a:pt x="1756" y="1434"/>
                    </a:lnTo>
                    <a:lnTo>
                      <a:pt x="1790" y="1513"/>
                    </a:lnTo>
                    <a:lnTo>
                      <a:pt x="1818" y="1592"/>
                    </a:lnTo>
                    <a:lnTo>
                      <a:pt x="1837" y="1676"/>
                    </a:lnTo>
                    <a:lnTo>
                      <a:pt x="1850" y="1763"/>
                    </a:lnTo>
                    <a:lnTo>
                      <a:pt x="1854" y="1851"/>
                    </a:lnTo>
                    <a:lnTo>
                      <a:pt x="1850" y="1940"/>
                    </a:lnTo>
                    <a:lnTo>
                      <a:pt x="1837" y="2028"/>
                    </a:lnTo>
                    <a:lnTo>
                      <a:pt x="1818" y="2112"/>
                    </a:lnTo>
                    <a:lnTo>
                      <a:pt x="1790" y="2193"/>
                    </a:lnTo>
                    <a:lnTo>
                      <a:pt x="1755" y="2270"/>
                    </a:lnTo>
                    <a:lnTo>
                      <a:pt x="1713" y="2344"/>
                    </a:lnTo>
                    <a:lnTo>
                      <a:pt x="1666" y="2412"/>
                    </a:lnTo>
                    <a:lnTo>
                      <a:pt x="1611" y="2476"/>
                    </a:lnTo>
                    <a:lnTo>
                      <a:pt x="1552" y="2537"/>
                    </a:lnTo>
                    <a:lnTo>
                      <a:pt x="1488" y="2590"/>
                    </a:lnTo>
                    <a:lnTo>
                      <a:pt x="1418" y="2638"/>
                    </a:lnTo>
                    <a:lnTo>
                      <a:pt x="1346" y="2679"/>
                    </a:lnTo>
                    <a:lnTo>
                      <a:pt x="1268" y="2714"/>
                    </a:lnTo>
                    <a:lnTo>
                      <a:pt x="1187" y="2742"/>
                    </a:lnTo>
                    <a:lnTo>
                      <a:pt x="1103" y="2763"/>
                    </a:lnTo>
                    <a:lnTo>
                      <a:pt x="1016" y="2775"/>
                    </a:lnTo>
                    <a:lnTo>
                      <a:pt x="927" y="2780"/>
                    </a:lnTo>
                    <a:lnTo>
                      <a:pt x="837" y="2775"/>
                    </a:lnTo>
                    <a:lnTo>
                      <a:pt x="751" y="2763"/>
                    </a:lnTo>
                    <a:lnTo>
                      <a:pt x="666" y="2742"/>
                    </a:lnTo>
                    <a:lnTo>
                      <a:pt x="586" y="2714"/>
                    </a:lnTo>
                    <a:lnTo>
                      <a:pt x="508" y="2679"/>
                    </a:lnTo>
                    <a:lnTo>
                      <a:pt x="435" y="2638"/>
                    </a:lnTo>
                    <a:lnTo>
                      <a:pt x="365" y="2590"/>
                    </a:lnTo>
                    <a:lnTo>
                      <a:pt x="301" y="2537"/>
                    </a:lnTo>
                    <a:lnTo>
                      <a:pt x="243" y="2476"/>
                    </a:lnTo>
                    <a:lnTo>
                      <a:pt x="188" y="2412"/>
                    </a:lnTo>
                    <a:lnTo>
                      <a:pt x="141" y="2344"/>
                    </a:lnTo>
                    <a:lnTo>
                      <a:pt x="99" y="2270"/>
                    </a:lnTo>
                    <a:lnTo>
                      <a:pt x="64" y="2193"/>
                    </a:lnTo>
                    <a:lnTo>
                      <a:pt x="36" y="2112"/>
                    </a:lnTo>
                    <a:lnTo>
                      <a:pt x="16" y="2028"/>
                    </a:lnTo>
                    <a:lnTo>
                      <a:pt x="4" y="1940"/>
                    </a:lnTo>
                    <a:lnTo>
                      <a:pt x="0" y="1851"/>
                    </a:lnTo>
                    <a:lnTo>
                      <a:pt x="4" y="1763"/>
                    </a:lnTo>
                    <a:lnTo>
                      <a:pt x="16" y="1676"/>
                    </a:lnTo>
                    <a:lnTo>
                      <a:pt x="36" y="1592"/>
                    </a:lnTo>
                    <a:lnTo>
                      <a:pt x="64" y="1513"/>
                    </a:lnTo>
                    <a:lnTo>
                      <a:pt x="97" y="1434"/>
                    </a:lnTo>
                    <a:lnTo>
                      <a:pt x="139" y="1362"/>
                    </a:lnTo>
                    <a:lnTo>
                      <a:pt x="185" y="1293"/>
                    </a:lnTo>
                    <a:lnTo>
                      <a:pt x="238" y="1229"/>
                    </a:lnTo>
                    <a:lnTo>
                      <a:pt x="238" y="577"/>
                    </a:lnTo>
                    <a:lnTo>
                      <a:pt x="243" y="515"/>
                    </a:lnTo>
                    <a:lnTo>
                      <a:pt x="254" y="455"/>
                    </a:lnTo>
                    <a:lnTo>
                      <a:pt x="272" y="398"/>
                    </a:lnTo>
                    <a:lnTo>
                      <a:pt x="297" y="344"/>
                    </a:lnTo>
                    <a:lnTo>
                      <a:pt x="328" y="292"/>
                    </a:lnTo>
                    <a:lnTo>
                      <a:pt x="364" y="244"/>
                    </a:lnTo>
                    <a:lnTo>
                      <a:pt x="405" y="200"/>
                    </a:lnTo>
                    <a:lnTo>
                      <a:pt x="449" y="161"/>
                    </a:lnTo>
                    <a:lnTo>
                      <a:pt x="506" y="120"/>
                    </a:lnTo>
                    <a:lnTo>
                      <a:pt x="567" y="84"/>
                    </a:lnTo>
                    <a:lnTo>
                      <a:pt x="632" y="54"/>
                    </a:lnTo>
                    <a:lnTo>
                      <a:pt x="702" y="31"/>
                    </a:lnTo>
                    <a:lnTo>
                      <a:pt x="775" y="14"/>
                    </a:lnTo>
                    <a:lnTo>
                      <a:pt x="849" y="3"/>
                    </a:lnTo>
                    <a:lnTo>
                      <a:pt x="927" y="0"/>
                    </a:lnTo>
                    <a:close/>
                  </a:path>
                </a:pathLst>
              </a:custGeom>
              <a:solidFill>
                <a:srgbClr val="76C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36000" rIns="36000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51" name="Freeform 411"/>
              <p:cNvSpPr>
                <a:spLocks/>
              </p:cNvSpPr>
              <p:nvPr/>
            </p:nvSpPr>
            <p:spPr bwMode="auto">
              <a:xfrm>
                <a:off x="10460" y="3099"/>
                <a:ext cx="220" cy="357"/>
              </a:xfrm>
              <a:custGeom>
                <a:avLst/>
                <a:gdLst>
                  <a:gd name="T0" fmla="*/ 1 w 438"/>
                  <a:gd name="T1" fmla="*/ 0 h 713"/>
                  <a:gd name="T2" fmla="*/ 1 w 438"/>
                  <a:gd name="T3" fmla="*/ 1 h 713"/>
                  <a:gd name="T4" fmla="*/ 1 w 438"/>
                  <a:gd name="T5" fmla="*/ 1 h 713"/>
                  <a:gd name="T6" fmla="*/ 1 w 438"/>
                  <a:gd name="T7" fmla="*/ 1 h 713"/>
                  <a:gd name="T8" fmla="*/ 1 w 438"/>
                  <a:gd name="T9" fmla="*/ 1 h 713"/>
                  <a:gd name="T10" fmla="*/ 1 w 438"/>
                  <a:gd name="T11" fmla="*/ 1 h 713"/>
                  <a:gd name="T12" fmla="*/ 1 w 438"/>
                  <a:gd name="T13" fmla="*/ 1 h 713"/>
                  <a:gd name="T14" fmla="*/ 1 w 438"/>
                  <a:gd name="T15" fmla="*/ 1 h 713"/>
                  <a:gd name="T16" fmla="*/ 1 w 438"/>
                  <a:gd name="T17" fmla="*/ 1 h 713"/>
                  <a:gd name="T18" fmla="*/ 1 w 438"/>
                  <a:gd name="T19" fmla="*/ 1 h 713"/>
                  <a:gd name="T20" fmla="*/ 1 w 438"/>
                  <a:gd name="T21" fmla="*/ 1 h 713"/>
                  <a:gd name="T22" fmla="*/ 1 w 438"/>
                  <a:gd name="T23" fmla="*/ 1 h 713"/>
                  <a:gd name="T24" fmla="*/ 1 w 438"/>
                  <a:gd name="T25" fmla="*/ 1 h 713"/>
                  <a:gd name="T26" fmla="*/ 1 w 438"/>
                  <a:gd name="T27" fmla="*/ 1 h 713"/>
                  <a:gd name="T28" fmla="*/ 1 w 438"/>
                  <a:gd name="T29" fmla="*/ 1 h 713"/>
                  <a:gd name="T30" fmla="*/ 1 w 438"/>
                  <a:gd name="T31" fmla="*/ 1 h 713"/>
                  <a:gd name="T32" fmla="*/ 1 w 438"/>
                  <a:gd name="T33" fmla="*/ 1 h 713"/>
                  <a:gd name="T34" fmla="*/ 1 w 438"/>
                  <a:gd name="T35" fmla="*/ 1 h 713"/>
                  <a:gd name="T36" fmla="*/ 1 w 438"/>
                  <a:gd name="T37" fmla="*/ 1 h 713"/>
                  <a:gd name="T38" fmla="*/ 1 w 438"/>
                  <a:gd name="T39" fmla="*/ 1 h 713"/>
                  <a:gd name="T40" fmla="*/ 1 w 438"/>
                  <a:gd name="T41" fmla="*/ 1 h 713"/>
                  <a:gd name="T42" fmla="*/ 1 w 438"/>
                  <a:gd name="T43" fmla="*/ 1 h 713"/>
                  <a:gd name="T44" fmla="*/ 1 w 438"/>
                  <a:gd name="T45" fmla="*/ 1 h 713"/>
                  <a:gd name="T46" fmla="*/ 1 w 438"/>
                  <a:gd name="T47" fmla="*/ 1 h 713"/>
                  <a:gd name="T48" fmla="*/ 1 w 438"/>
                  <a:gd name="T49" fmla="*/ 1 h 713"/>
                  <a:gd name="T50" fmla="*/ 1 w 438"/>
                  <a:gd name="T51" fmla="*/ 1 h 713"/>
                  <a:gd name="T52" fmla="*/ 1 w 438"/>
                  <a:gd name="T53" fmla="*/ 1 h 713"/>
                  <a:gd name="T54" fmla="*/ 1 w 438"/>
                  <a:gd name="T55" fmla="*/ 1 h 713"/>
                  <a:gd name="T56" fmla="*/ 1 w 438"/>
                  <a:gd name="T57" fmla="*/ 1 h 713"/>
                  <a:gd name="T58" fmla="*/ 1 w 438"/>
                  <a:gd name="T59" fmla="*/ 1 h 713"/>
                  <a:gd name="T60" fmla="*/ 1 w 438"/>
                  <a:gd name="T61" fmla="*/ 1 h 713"/>
                  <a:gd name="T62" fmla="*/ 1 w 438"/>
                  <a:gd name="T63" fmla="*/ 1 h 713"/>
                  <a:gd name="T64" fmla="*/ 1 w 438"/>
                  <a:gd name="T65" fmla="*/ 1 h 713"/>
                  <a:gd name="T66" fmla="*/ 1 w 438"/>
                  <a:gd name="T67" fmla="*/ 1 h 713"/>
                  <a:gd name="T68" fmla="*/ 1 w 438"/>
                  <a:gd name="T69" fmla="*/ 1 h 713"/>
                  <a:gd name="T70" fmla="*/ 0 w 438"/>
                  <a:gd name="T71" fmla="*/ 1 h 713"/>
                  <a:gd name="T72" fmla="*/ 1 w 438"/>
                  <a:gd name="T73" fmla="*/ 1 h 713"/>
                  <a:gd name="T74" fmla="*/ 1 w 438"/>
                  <a:gd name="T75" fmla="*/ 1 h 713"/>
                  <a:gd name="T76" fmla="*/ 1 w 438"/>
                  <a:gd name="T77" fmla="*/ 1 h 713"/>
                  <a:gd name="T78" fmla="*/ 1 w 438"/>
                  <a:gd name="T79" fmla="*/ 1 h 713"/>
                  <a:gd name="T80" fmla="*/ 1 w 438"/>
                  <a:gd name="T81" fmla="*/ 1 h 713"/>
                  <a:gd name="T82" fmla="*/ 1 w 438"/>
                  <a:gd name="T83" fmla="*/ 1 h 713"/>
                  <a:gd name="T84" fmla="*/ 1 w 438"/>
                  <a:gd name="T85" fmla="*/ 1 h 713"/>
                  <a:gd name="T86" fmla="*/ 1 w 438"/>
                  <a:gd name="T87" fmla="*/ 1 h 713"/>
                  <a:gd name="T88" fmla="*/ 1 w 438"/>
                  <a:gd name="T89" fmla="*/ 0 h 71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38"/>
                  <a:gd name="T136" fmla="*/ 0 h 713"/>
                  <a:gd name="T137" fmla="*/ 438 w 438"/>
                  <a:gd name="T138" fmla="*/ 713 h 71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38" h="713">
                    <a:moveTo>
                      <a:pt x="219" y="0"/>
                    </a:moveTo>
                    <a:lnTo>
                      <a:pt x="258" y="2"/>
                    </a:lnTo>
                    <a:lnTo>
                      <a:pt x="296" y="13"/>
                    </a:lnTo>
                    <a:lnTo>
                      <a:pt x="329" y="29"/>
                    </a:lnTo>
                    <a:lnTo>
                      <a:pt x="360" y="51"/>
                    </a:lnTo>
                    <a:lnTo>
                      <a:pt x="386" y="78"/>
                    </a:lnTo>
                    <a:lnTo>
                      <a:pt x="407" y="107"/>
                    </a:lnTo>
                    <a:lnTo>
                      <a:pt x="424" y="142"/>
                    </a:lnTo>
                    <a:lnTo>
                      <a:pt x="434" y="178"/>
                    </a:lnTo>
                    <a:lnTo>
                      <a:pt x="438" y="219"/>
                    </a:lnTo>
                    <a:lnTo>
                      <a:pt x="434" y="259"/>
                    </a:lnTo>
                    <a:lnTo>
                      <a:pt x="423" y="298"/>
                    </a:lnTo>
                    <a:lnTo>
                      <a:pt x="406" y="333"/>
                    </a:lnTo>
                    <a:lnTo>
                      <a:pt x="382" y="364"/>
                    </a:lnTo>
                    <a:lnTo>
                      <a:pt x="354" y="391"/>
                    </a:lnTo>
                    <a:lnTo>
                      <a:pt x="321" y="412"/>
                    </a:lnTo>
                    <a:lnTo>
                      <a:pt x="321" y="611"/>
                    </a:lnTo>
                    <a:lnTo>
                      <a:pt x="318" y="638"/>
                    </a:lnTo>
                    <a:lnTo>
                      <a:pt x="307" y="663"/>
                    </a:lnTo>
                    <a:lnTo>
                      <a:pt x="291" y="684"/>
                    </a:lnTo>
                    <a:lnTo>
                      <a:pt x="270" y="699"/>
                    </a:lnTo>
                    <a:lnTo>
                      <a:pt x="245" y="709"/>
                    </a:lnTo>
                    <a:lnTo>
                      <a:pt x="219" y="713"/>
                    </a:lnTo>
                    <a:lnTo>
                      <a:pt x="191" y="709"/>
                    </a:lnTo>
                    <a:lnTo>
                      <a:pt x="167" y="699"/>
                    </a:lnTo>
                    <a:lnTo>
                      <a:pt x="146" y="684"/>
                    </a:lnTo>
                    <a:lnTo>
                      <a:pt x="131" y="663"/>
                    </a:lnTo>
                    <a:lnTo>
                      <a:pt x="120" y="638"/>
                    </a:lnTo>
                    <a:lnTo>
                      <a:pt x="117" y="611"/>
                    </a:lnTo>
                    <a:lnTo>
                      <a:pt x="117" y="412"/>
                    </a:lnTo>
                    <a:lnTo>
                      <a:pt x="83" y="391"/>
                    </a:lnTo>
                    <a:lnTo>
                      <a:pt x="55" y="364"/>
                    </a:lnTo>
                    <a:lnTo>
                      <a:pt x="32" y="333"/>
                    </a:lnTo>
                    <a:lnTo>
                      <a:pt x="15" y="298"/>
                    </a:lnTo>
                    <a:lnTo>
                      <a:pt x="4" y="259"/>
                    </a:lnTo>
                    <a:lnTo>
                      <a:pt x="0" y="219"/>
                    </a:lnTo>
                    <a:lnTo>
                      <a:pt x="4" y="178"/>
                    </a:lnTo>
                    <a:lnTo>
                      <a:pt x="14" y="142"/>
                    </a:lnTo>
                    <a:lnTo>
                      <a:pt x="29" y="107"/>
                    </a:lnTo>
                    <a:lnTo>
                      <a:pt x="51" y="78"/>
                    </a:lnTo>
                    <a:lnTo>
                      <a:pt x="78" y="51"/>
                    </a:lnTo>
                    <a:lnTo>
                      <a:pt x="108" y="29"/>
                    </a:lnTo>
                    <a:lnTo>
                      <a:pt x="142" y="13"/>
                    </a:lnTo>
                    <a:lnTo>
                      <a:pt x="180" y="2"/>
                    </a:lnTo>
                    <a:lnTo>
                      <a:pt x="219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</p:grpSp>
      </p:grpSp>
      <p:sp>
        <p:nvSpPr>
          <p:cNvPr id="67" name="Rectangle 137"/>
          <p:cNvSpPr>
            <a:spLocks noChangeArrowheads="1"/>
          </p:cNvSpPr>
          <p:nvPr/>
        </p:nvSpPr>
        <p:spPr bwMode="auto">
          <a:xfrm>
            <a:off x="200025" y="4417825"/>
            <a:ext cx="2281238" cy="2000438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4699DE"/>
            </a:solidFill>
            <a:miter lim="800000"/>
            <a:headEnd/>
            <a:tailEnd/>
          </a:ln>
        </p:spPr>
        <p:txBody>
          <a:bodyPr wrap="none" anchor="ctr"/>
          <a:lstStyle>
            <a:lvl1pPr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68" name="Text Box 142"/>
          <p:cNvSpPr txBox="1">
            <a:spLocks noChangeArrowheads="1"/>
          </p:cNvSpPr>
          <p:nvPr/>
        </p:nvSpPr>
        <p:spPr bwMode="auto">
          <a:xfrm>
            <a:off x="274638" y="4600580"/>
            <a:ext cx="2130425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검증된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방안</a:t>
            </a:r>
            <a:r>
              <a:rPr lang="en-US" altLang="ko-KR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절차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적용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설계</a:t>
            </a: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/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개발</a:t>
            </a: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/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검증 표준 템플릿 및 프로세스 제공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효율적인 데이터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조직 체계 수립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안정된 오픈을 위한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일정 수립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선행사례 적용으로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작업 효율성 제고 및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리스크 사전대응</a:t>
            </a:r>
          </a:p>
        </p:txBody>
      </p:sp>
      <p:sp>
        <p:nvSpPr>
          <p:cNvPr id="69" name="Rectangle 175"/>
          <p:cNvSpPr>
            <a:spLocks noChangeArrowheads="1"/>
          </p:cNvSpPr>
          <p:nvPr/>
        </p:nvSpPr>
        <p:spPr bwMode="auto">
          <a:xfrm>
            <a:off x="2606675" y="4418013"/>
            <a:ext cx="2281238" cy="2000250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4699DE"/>
            </a:solidFill>
            <a:miter lim="800000"/>
            <a:headEnd/>
            <a:tailEnd/>
          </a:ln>
        </p:spPr>
        <p:txBody>
          <a:bodyPr wrap="none" anchor="ctr"/>
          <a:lstStyle>
            <a:lvl1pPr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70" name="Text Box 176"/>
          <p:cNvSpPr txBox="1">
            <a:spLocks noChangeArrowheads="1"/>
          </p:cNvSpPr>
          <p:nvPr/>
        </p:nvSpPr>
        <p:spPr bwMode="auto">
          <a:xfrm>
            <a:off x="2681288" y="4600796"/>
            <a:ext cx="2130425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전문 인력을 이용한  데이터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진행의 효율성</a:t>
            </a: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안정성 제고</a:t>
            </a:r>
          </a:p>
          <a:p>
            <a:pPr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체계적인 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데이터 검증 체계 수립</a:t>
            </a:r>
          </a:p>
          <a:p>
            <a:pPr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충분한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리허설을 통한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안정성 제고</a:t>
            </a:r>
          </a:p>
          <a:p>
            <a:pPr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데이터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실시간 모니터링 체계 수립</a:t>
            </a:r>
          </a:p>
          <a:p>
            <a:pPr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비상 대응 체계 구성 </a:t>
            </a:r>
          </a:p>
        </p:txBody>
      </p:sp>
      <p:sp>
        <p:nvSpPr>
          <p:cNvPr id="71" name="Rectangle 182"/>
          <p:cNvSpPr>
            <a:spLocks noChangeArrowheads="1"/>
          </p:cNvSpPr>
          <p:nvPr/>
        </p:nvSpPr>
        <p:spPr bwMode="auto">
          <a:xfrm>
            <a:off x="5016500" y="4418013"/>
            <a:ext cx="2281238" cy="2000250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4699DE"/>
            </a:solidFill>
            <a:miter lim="800000"/>
            <a:headEnd/>
            <a:tailEnd/>
          </a:ln>
        </p:spPr>
        <p:txBody>
          <a:bodyPr wrap="none" anchor="ctr"/>
          <a:lstStyle>
            <a:lvl1pPr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72" name="Text Box 183"/>
          <p:cNvSpPr txBox="1">
            <a:spLocks noChangeArrowheads="1"/>
          </p:cNvSpPr>
          <p:nvPr/>
        </p:nvSpPr>
        <p:spPr bwMode="auto">
          <a:xfrm>
            <a:off x="5091113" y="4600796"/>
            <a:ext cx="2130425" cy="124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사전 정비 대상 선정 및 업무규칙 정의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데이터 분석 및 조치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테스트 시 데이터 오류로 인한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비효율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예방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시 발생하는 현행 데이터 오류로 인한 데이터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장애 요소 제거</a:t>
            </a:r>
          </a:p>
        </p:txBody>
      </p:sp>
      <p:sp>
        <p:nvSpPr>
          <p:cNvPr id="73" name="Rectangle 189"/>
          <p:cNvSpPr>
            <a:spLocks noChangeArrowheads="1"/>
          </p:cNvSpPr>
          <p:nvPr/>
        </p:nvSpPr>
        <p:spPr bwMode="auto">
          <a:xfrm>
            <a:off x="7424738" y="4418013"/>
            <a:ext cx="2281237" cy="2000250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4699DE"/>
            </a:solidFill>
            <a:miter lim="800000"/>
            <a:headEnd/>
            <a:tailEnd/>
          </a:ln>
        </p:spPr>
        <p:txBody>
          <a:bodyPr wrap="none" anchor="ctr"/>
          <a:lstStyle>
            <a:lvl1pPr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47637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47637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000" kern="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74" name="Text Box 190"/>
          <p:cNvSpPr txBox="1">
            <a:spLocks noChangeArrowheads="1"/>
          </p:cNvSpPr>
          <p:nvPr/>
        </p:nvSpPr>
        <p:spPr bwMode="auto">
          <a:xfrm>
            <a:off x="7499350" y="4600796"/>
            <a:ext cx="2130425" cy="124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선행 사례에서 검증된 도구 사용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단계별 </a:t>
            </a:r>
            <a:r>
              <a:rPr lang="ko-KR" altLang="en-US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행</a:t>
            </a:r>
            <a:r>
              <a:rPr lang="en-US" altLang="ko-KR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 </a:t>
            </a: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환경 구축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시스템 개발  일정 및  업무의  활용도에  따른 </a:t>
            </a:r>
            <a:r>
              <a:rPr lang="en-US" altLang="ko-KR" sz="1000" kern="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우선 순위 </a:t>
            </a: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결정</a:t>
            </a:r>
          </a:p>
          <a:p>
            <a:pPr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실제 관리 데이터 및 비정형 데이터 우선 순위 결정</a:t>
            </a:r>
          </a:p>
        </p:txBody>
      </p:sp>
      <p:sp>
        <p:nvSpPr>
          <p:cNvPr id="7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7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05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3305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2 </a:t>
            </a:r>
            <a:r>
              <a:rPr lang="ko-KR" altLang="en-US" dirty="0"/>
              <a:t>데이터 </a:t>
            </a:r>
            <a:r>
              <a:rPr lang="ko-KR" altLang="en-US" dirty="0" smtClean="0"/>
              <a:t>이행 </a:t>
            </a:r>
            <a:r>
              <a:rPr lang="ko-KR" altLang="en-US" dirty="0"/>
              <a:t>절차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성공적인 데이터 이행을 수행하기 위하여 체계적인 절차에 의해 이행을  진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절차는 크게 현황 분석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준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이행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검증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종료 및 안정화 단계로 이루어지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단계별로 일정에 맞춰 체계적으로 진행하여 데이터 이행을 성공적으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이행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절차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" name="AutoShape 98"/>
          <p:cNvSpPr>
            <a:spLocks noChangeArrowheads="1"/>
          </p:cNvSpPr>
          <p:nvPr/>
        </p:nvSpPr>
        <p:spPr bwMode="gray">
          <a:xfrm>
            <a:off x="265783" y="2083573"/>
            <a:ext cx="1925605" cy="715594"/>
          </a:xfrm>
          <a:prstGeom prst="homePlate">
            <a:avLst>
              <a:gd name="adj" fmla="val 19806"/>
            </a:avLst>
          </a:prstGeom>
          <a:solidFill>
            <a:srgbClr val="CCE0F0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dist="19049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현황 분석</a:t>
            </a:r>
            <a:endParaRPr kumimoji="0" lang="ko-KR" altLang="en-US" sz="13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" name="AutoShape 99"/>
          <p:cNvSpPr>
            <a:spLocks noChangeArrowheads="1"/>
          </p:cNvSpPr>
          <p:nvPr/>
        </p:nvSpPr>
        <p:spPr bwMode="gray">
          <a:xfrm>
            <a:off x="3986852" y="2083573"/>
            <a:ext cx="1925605" cy="715594"/>
          </a:xfrm>
          <a:prstGeom prst="chevron">
            <a:avLst>
              <a:gd name="adj" fmla="val 18695"/>
            </a:avLst>
          </a:prstGeom>
          <a:solidFill>
            <a:srgbClr val="8BB8DD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dist="19049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이행</a:t>
            </a:r>
            <a:endParaRPr kumimoji="0" lang="ko-KR" altLang="en-US" sz="13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" name="AutoShape 100"/>
          <p:cNvSpPr>
            <a:spLocks noChangeArrowheads="1"/>
          </p:cNvSpPr>
          <p:nvPr/>
        </p:nvSpPr>
        <p:spPr bwMode="gray">
          <a:xfrm>
            <a:off x="2127322" y="2083573"/>
            <a:ext cx="1925605" cy="715594"/>
          </a:xfrm>
          <a:prstGeom prst="chevron">
            <a:avLst>
              <a:gd name="adj" fmla="val 18729"/>
            </a:avLst>
          </a:prstGeom>
          <a:solidFill>
            <a:srgbClr val="A8CAE6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dist="19049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 준비</a:t>
            </a:r>
            <a:endParaRPr kumimoji="0" lang="ko-KR" altLang="en-US" sz="13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AutoShape 101"/>
          <p:cNvSpPr>
            <a:spLocks noChangeArrowheads="1"/>
          </p:cNvSpPr>
          <p:nvPr/>
        </p:nvSpPr>
        <p:spPr bwMode="gray">
          <a:xfrm>
            <a:off x="5848391" y="2083573"/>
            <a:ext cx="1925605" cy="715594"/>
          </a:xfrm>
          <a:prstGeom prst="chevron">
            <a:avLst>
              <a:gd name="adj" fmla="val 17803"/>
            </a:avLst>
          </a:prstGeom>
          <a:solidFill>
            <a:srgbClr val="5396CD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dist="19049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검증</a:t>
            </a:r>
            <a:endParaRPr kumimoji="0" lang="ko-KR" altLang="en-US" sz="13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8" name="AutoShape 101"/>
          <p:cNvSpPr>
            <a:spLocks noChangeArrowheads="1"/>
          </p:cNvSpPr>
          <p:nvPr/>
        </p:nvSpPr>
        <p:spPr bwMode="gray">
          <a:xfrm>
            <a:off x="7707921" y="2083573"/>
            <a:ext cx="1925605" cy="715594"/>
          </a:xfrm>
          <a:prstGeom prst="chevron">
            <a:avLst>
              <a:gd name="adj" fmla="val 17803"/>
            </a:avLst>
          </a:prstGeom>
          <a:solidFill>
            <a:srgbClr val="4F81BD">
              <a:lumMod val="75000"/>
            </a:srgbClr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dist="19049" dir="2700000" algn="ctr" rotWithShape="0">
              <a:srgbClr val="DDDDDD"/>
            </a:outerShdw>
          </a:effec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종료 및 안정화</a:t>
            </a:r>
            <a:endParaRPr kumimoji="0" lang="ko-KR" altLang="en-US" sz="13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AutoShape 252"/>
          <p:cNvSpPr>
            <a:spLocks noChangeArrowheads="1"/>
          </p:cNvSpPr>
          <p:nvPr/>
        </p:nvSpPr>
        <p:spPr bwMode="gray">
          <a:xfrm>
            <a:off x="272035" y="2895525"/>
            <a:ext cx="9361491" cy="3557010"/>
          </a:xfrm>
          <a:prstGeom prst="roundRect">
            <a:avLst>
              <a:gd name="adj" fmla="val 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882650" latinLnBrk="0"/>
            <a:endParaRPr lang="ko-KR" altLang="en-US" sz="1000" dirty="0"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itchFamily="18" charset="0"/>
            </a:endParaRPr>
          </a:p>
        </p:txBody>
      </p:sp>
      <p:sp>
        <p:nvSpPr>
          <p:cNvPr id="20" name="Line 135"/>
          <p:cNvSpPr>
            <a:spLocks noChangeShapeType="1"/>
          </p:cNvSpPr>
          <p:nvPr/>
        </p:nvSpPr>
        <p:spPr bwMode="auto">
          <a:xfrm>
            <a:off x="2127322" y="3014833"/>
            <a:ext cx="0" cy="3366867"/>
          </a:xfrm>
          <a:prstGeom prst="line">
            <a:avLst/>
          </a:prstGeom>
          <a:noFill/>
          <a:ln w="19050" cap="rnd">
            <a:solidFill>
              <a:srgbClr val="FFFFFF"/>
            </a:solidFill>
            <a:prstDash val="sysDot"/>
            <a:round/>
            <a:headEnd/>
            <a:tailEnd/>
          </a:ln>
          <a:effectLst>
            <a:outerShdw dist="17961" dir="2700000" algn="ctr" rotWithShape="0">
              <a:srgbClr val="FFFFFF">
                <a:gamma/>
                <a:shade val="60000"/>
                <a:invGamma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1" name="Line 135"/>
          <p:cNvSpPr>
            <a:spLocks noChangeShapeType="1"/>
          </p:cNvSpPr>
          <p:nvPr/>
        </p:nvSpPr>
        <p:spPr bwMode="auto">
          <a:xfrm>
            <a:off x="4007552" y="3014833"/>
            <a:ext cx="0" cy="3366867"/>
          </a:xfrm>
          <a:prstGeom prst="line">
            <a:avLst/>
          </a:prstGeom>
          <a:noFill/>
          <a:ln w="19050" cap="rnd">
            <a:solidFill>
              <a:srgbClr val="FFFFFF"/>
            </a:solidFill>
            <a:prstDash val="sysDot"/>
            <a:round/>
            <a:headEnd/>
            <a:tailEnd/>
          </a:ln>
          <a:effectLst>
            <a:outerShdw dist="17961" dir="2700000" algn="ctr" rotWithShape="0">
              <a:srgbClr val="FFFFFF">
                <a:gamma/>
                <a:shade val="60000"/>
                <a:invGamma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2" name="Line 135"/>
          <p:cNvSpPr>
            <a:spLocks noChangeShapeType="1"/>
          </p:cNvSpPr>
          <p:nvPr/>
        </p:nvSpPr>
        <p:spPr bwMode="auto">
          <a:xfrm>
            <a:off x="5848390" y="3014833"/>
            <a:ext cx="0" cy="3366867"/>
          </a:xfrm>
          <a:prstGeom prst="line">
            <a:avLst/>
          </a:prstGeom>
          <a:noFill/>
          <a:ln w="19050" cap="rnd">
            <a:solidFill>
              <a:srgbClr val="FFFFFF"/>
            </a:solidFill>
            <a:prstDash val="sysDot"/>
            <a:round/>
            <a:headEnd/>
            <a:tailEnd/>
          </a:ln>
          <a:effectLst>
            <a:outerShdw dist="17961" dir="2700000" algn="ctr" rotWithShape="0">
              <a:srgbClr val="FFFFFF">
                <a:gamma/>
                <a:shade val="60000"/>
                <a:invGamma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3" name="Line 135"/>
          <p:cNvSpPr>
            <a:spLocks noChangeShapeType="1"/>
          </p:cNvSpPr>
          <p:nvPr/>
        </p:nvSpPr>
        <p:spPr bwMode="auto">
          <a:xfrm>
            <a:off x="7727772" y="3014833"/>
            <a:ext cx="0" cy="3366867"/>
          </a:xfrm>
          <a:prstGeom prst="line">
            <a:avLst/>
          </a:prstGeom>
          <a:noFill/>
          <a:ln w="19050" cap="rnd">
            <a:solidFill>
              <a:srgbClr val="FFFFFF"/>
            </a:solidFill>
            <a:prstDash val="sysDot"/>
            <a:round/>
            <a:headEnd/>
            <a:tailEnd/>
          </a:ln>
          <a:effectLst>
            <a:outerShdw dist="17961" dir="2700000" algn="ctr" rotWithShape="0">
              <a:srgbClr val="FFFFFF">
                <a:gamma/>
                <a:shade val="60000"/>
                <a:invGamma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5" name="Text Box 142"/>
          <p:cNvSpPr txBox="1">
            <a:spLocks noChangeArrowheads="1"/>
          </p:cNvSpPr>
          <p:nvPr/>
        </p:nvSpPr>
        <p:spPr bwMode="auto">
          <a:xfrm>
            <a:off x="323628" y="3120640"/>
            <a:ext cx="1721610" cy="1990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고객의 요구사항 도출 및 파악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대상 업무시스템 현황파악 및 분석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대상 데이터의 특징 분석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(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용량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특성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구조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제약조건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수량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연관관계 등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)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시스템 별 파일시스템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사용률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인프라 구조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현행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시스템 비교분석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endParaRPr lang="ko-KR" altLang="en-US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26" name="Text Box 142"/>
          <p:cNvSpPr txBox="1">
            <a:spLocks noChangeArrowheads="1"/>
          </p:cNvSpPr>
          <p:nvPr/>
        </p:nvSpPr>
        <p:spPr bwMode="auto">
          <a:xfrm>
            <a:off x="2203009" y="3120640"/>
            <a:ext cx="1721610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현황분석 자료를 바탕으로 데이터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세부 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방안 수립</a:t>
            </a:r>
          </a:p>
          <a:p>
            <a:pPr eaLnBrk="1" latinLnBrk="0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고객과 협의를 통한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방안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최종 협의 및 일정 수립</a:t>
            </a:r>
          </a:p>
          <a:p>
            <a:pPr eaLnBrk="1" latinLnBrk="0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각 시스템 별 이행 방법에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따른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테스트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수행</a:t>
            </a:r>
          </a:p>
          <a:p>
            <a:pPr eaLnBrk="1" latinLnBrk="0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최종 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전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신규 시스템 이행 최적화 </a:t>
            </a:r>
            <a:r>
              <a:rPr lang="en-US" altLang="ko-KR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(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기본 파라미터 설정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)</a:t>
            </a:r>
          </a:p>
          <a:p>
            <a:pPr eaLnBrk="1" latinLnBrk="0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실제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전 최종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모의훈련 진행을 통한 </a:t>
            </a:r>
            <a:r>
              <a:rPr lang="en-US" altLang="ko-KR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RISK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제로화</a:t>
            </a:r>
            <a:endParaRPr lang="ko-KR" altLang="en-US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27" name="Text Box 142"/>
          <p:cNvSpPr txBox="1">
            <a:spLocks noChangeArrowheads="1"/>
          </p:cNvSpPr>
          <p:nvPr/>
        </p:nvSpPr>
        <p:spPr bwMode="auto">
          <a:xfrm>
            <a:off x="4082389" y="3120640"/>
            <a:ext cx="172161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D-Day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실제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시작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1~2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시간 전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주요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Checklist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최종 점검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단계별 진행사항 체크를 위한 중앙집중식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Time-Schedule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관리</a:t>
            </a:r>
            <a:endParaRPr lang="en-US" altLang="ko-KR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실제 최종 데이터 이행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endParaRPr lang="ko-KR" altLang="en-US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</p:txBody>
      </p:sp>
      <p:sp>
        <p:nvSpPr>
          <p:cNvPr id="28" name="Text Box 142"/>
          <p:cNvSpPr txBox="1">
            <a:spLocks noChangeArrowheads="1"/>
          </p:cNvSpPr>
          <p:nvPr/>
        </p:nvSpPr>
        <p:spPr bwMode="auto">
          <a:xfrm>
            <a:off x="5927276" y="3120640"/>
            <a:ext cx="1721610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데이터 정합성 검증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(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용량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Schema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구조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테이블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/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인덱스 건수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,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데이터 건수 등 비교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)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업무시스템</a:t>
            </a:r>
            <a:r>
              <a:rPr lang="en-US" altLang="ko-KR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(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화면</a:t>
            </a:r>
            <a:r>
              <a:rPr lang="en-US" altLang="ko-KR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)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을 통한 정합성 확인</a:t>
            </a:r>
            <a:endParaRPr lang="en-US" altLang="ko-KR" sz="100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  <a:p>
            <a:pPr marL="0" indent="0" eaLnBrk="1" hangingPunct="1">
              <a:lnSpc>
                <a:spcPct val="110000"/>
              </a:lnSpc>
              <a:buClr>
                <a:srgbClr val="969696"/>
              </a:buClr>
              <a:buSzPct val="80000"/>
            </a:pP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 </a:t>
            </a:r>
            <a:r>
              <a:rPr lang="en-US" altLang="ko-KR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  - </a:t>
            </a: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 조회 업무</a:t>
            </a:r>
            <a:endParaRPr lang="ko-KR" altLang="en-US" sz="10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anose="02020603050405020304" pitchFamily="18" charset="0"/>
            </a:endParaRP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기본적인 배치 프로그램 등 수행결과 확인</a:t>
            </a:r>
          </a:p>
        </p:txBody>
      </p:sp>
      <p:sp>
        <p:nvSpPr>
          <p:cNvPr id="29" name="Text Box 142"/>
          <p:cNvSpPr txBox="1">
            <a:spLocks noChangeArrowheads="1"/>
          </p:cNvSpPr>
          <p:nvPr/>
        </p:nvSpPr>
        <p:spPr bwMode="auto">
          <a:xfrm>
            <a:off x="7790963" y="3120640"/>
            <a:ext cx="1721610" cy="1163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2075" indent="-92075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이행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완료 및 서비스 오픈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서비스 오픈 후 </a:t>
            </a:r>
            <a:r>
              <a:rPr lang="en-US" altLang="ko-KR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Peak-Time </a:t>
            </a: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시점까지 지속적인 모니터링 지원</a:t>
            </a:r>
          </a:p>
          <a:p>
            <a:pPr eaLnBrk="1" hangingPunct="1">
              <a:lnSpc>
                <a:spcPct val="110000"/>
              </a:lnSpc>
              <a:spcBef>
                <a:spcPts val="600"/>
              </a:spcBef>
              <a:buClr>
                <a:srgbClr val="969696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10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anose="02020603050405020304" pitchFamily="18" charset="0"/>
              </a:rPr>
              <a:t>성능 저해요소 발견 시 튜닝가이드 제시 및 지원 </a:t>
            </a:r>
          </a:p>
        </p:txBody>
      </p:sp>
      <p:sp>
        <p:nvSpPr>
          <p:cNvPr id="30" name="TextBox 1"/>
          <p:cNvSpPr txBox="1">
            <a:spLocks noChangeArrowheads="1"/>
          </p:cNvSpPr>
          <p:nvPr/>
        </p:nvSpPr>
        <p:spPr bwMode="auto">
          <a:xfrm>
            <a:off x="6429164" y="6201308"/>
            <a:ext cx="321273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00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※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최종 이행 방식 및 절차는 고객사와 협의를 통하여 수행</a:t>
            </a:r>
            <a:endParaRPr lang="ko-KR" altLang="en-US" sz="100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06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76040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3 </a:t>
            </a:r>
            <a:r>
              <a:rPr lang="ko-KR" altLang="en-US" dirty="0"/>
              <a:t>데이터 </a:t>
            </a:r>
            <a:r>
              <a:rPr lang="ko-KR" altLang="en-US" dirty="0" smtClean="0"/>
              <a:t>이행을 </a:t>
            </a:r>
            <a:r>
              <a:rPr lang="ko-KR" altLang="en-US" dirty="0"/>
              <a:t>위한 매핑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확한 데이터의 전환 및 이행을 위하여 데이터 매핑정의서를 작성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위하여 시스템의 모델 정보 및 참조 자료가 필요하며 운영팀의 협조 및 현업 부서의 신속한 의사결정을 필요로 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매핑 정의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BF1F45FF-190E-4094-8403-7368494EFE9C}"/>
              </a:ext>
            </a:extLst>
          </p:cNvPr>
          <p:cNvGrpSpPr/>
          <p:nvPr/>
        </p:nvGrpSpPr>
        <p:grpSpPr>
          <a:xfrm>
            <a:off x="244028" y="2384471"/>
            <a:ext cx="6454251" cy="3776487"/>
            <a:chOff x="239395" y="2449453"/>
            <a:chExt cx="5865733" cy="3615278"/>
          </a:xfrm>
        </p:grpSpPr>
        <p:sp>
          <p:nvSpPr>
            <p:cNvPr id="32" name="양쪽 모서리가 둥근 사각형 521">
              <a:extLst>
                <a:ext uri="{FF2B5EF4-FFF2-40B4-BE49-F238E27FC236}">
                  <a16:creationId xmlns:a16="http://schemas.microsoft.com/office/drawing/2014/main" id="{DB045639-18F2-432A-86EB-363512154C6A}"/>
                </a:ext>
              </a:extLst>
            </p:cNvPr>
            <p:cNvSpPr/>
            <p:nvPr/>
          </p:nvSpPr>
          <p:spPr>
            <a:xfrm>
              <a:off x="239395" y="2449453"/>
              <a:ext cx="2872589" cy="17406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" name="양쪽 모서리가 둥근 사각형 521">
              <a:extLst>
                <a:ext uri="{FF2B5EF4-FFF2-40B4-BE49-F238E27FC236}">
                  <a16:creationId xmlns:a16="http://schemas.microsoft.com/office/drawing/2014/main" id="{7893F446-4D6C-4E40-8CCD-0405FB87689B}"/>
                </a:ext>
              </a:extLst>
            </p:cNvPr>
            <p:cNvSpPr/>
            <p:nvPr/>
          </p:nvSpPr>
          <p:spPr>
            <a:xfrm>
              <a:off x="3233234" y="2449453"/>
              <a:ext cx="2871894" cy="17406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4" name="양쪽 모서리가 둥근 사각형 521">
              <a:extLst>
                <a:ext uri="{FF2B5EF4-FFF2-40B4-BE49-F238E27FC236}">
                  <a16:creationId xmlns:a16="http://schemas.microsoft.com/office/drawing/2014/main" id="{063218CE-BC0B-4B22-B234-F2617594F2C1}"/>
                </a:ext>
              </a:extLst>
            </p:cNvPr>
            <p:cNvSpPr/>
            <p:nvPr/>
          </p:nvSpPr>
          <p:spPr>
            <a:xfrm>
              <a:off x="239395" y="2449485"/>
              <a:ext cx="2872589" cy="230491"/>
            </a:xfrm>
            <a:prstGeom prst="rect">
              <a:avLst/>
            </a:prstGeom>
            <a:solidFill>
              <a:srgbClr val="038CDC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상 코드 데이터</a:t>
              </a:r>
            </a:p>
          </p:txBody>
        </p:sp>
        <p:sp>
          <p:nvSpPr>
            <p:cNvPr id="35" name="양쪽 모서리가 둥근 사각형 521">
              <a:extLst>
                <a:ext uri="{FF2B5EF4-FFF2-40B4-BE49-F238E27FC236}">
                  <a16:creationId xmlns:a16="http://schemas.microsoft.com/office/drawing/2014/main" id="{D0A7E661-6438-4746-9F1D-02357AC41218}"/>
                </a:ext>
              </a:extLst>
            </p:cNvPr>
            <p:cNvSpPr/>
            <p:nvPr/>
          </p:nvSpPr>
          <p:spPr>
            <a:xfrm>
              <a:off x="3233234" y="2449485"/>
              <a:ext cx="2871894" cy="230491"/>
            </a:xfrm>
            <a:prstGeom prst="rect">
              <a:avLst/>
            </a:prstGeom>
            <a:solidFill>
              <a:srgbClr val="038CDC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데이터 </a:t>
              </a:r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분석 결과</a:t>
              </a:r>
            </a:p>
          </p:txBody>
        </p:sp>
        <p:sp>
          <p:nvSpPr>
            <p:cNvPr id="36" name="양쪽 모서리가 둥근 사각형 521">
              <a:extLst>
                <a:ext uri="{FF2B5EF4-FFF2-40B4-BE49-F238E27FC236}">
                  <a16:creationId xmlns:a16="http://schemas.microsoft.com/office/drawing/2014/main" id="{F2DC2794-F344-484C-A1A2-BA173E516074}"/>
                </a:ext>
              </a:extLst>
            </p:cNvPr>
            <p:cNvSpPr/>
            <p:nvPr/>
          </p:nvSpPr>
          <p:spPr>
            <a:xfrm>
              <a:off x="3233234" y="4324042"/>
              <a:ext cx="2871894" cy="17406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7" name="양쪽 모서리가 둥근 사각형 521">
              <a:extLst>
                <a:ext uri="{FF2B5EF4-FFF2-40B4-BE49-F238E27FC236}">
                  <a16:creationId xmlns:a16="http://schemas.microsoft.com/office/drawing/2014/main" id="{4A5E7292-506C-4733-BC84-BDBCE72D89BA}"/>
                </a:ext>
              </a:extLst>
            </p:cNvPr>
            <p:cNvSpPr/>
            <p:nvPr/>
          </p:nvSpPr>
          <p:spPr>
            <a:xfrm>
              <a:off x="239395" y="4324042"/>
              <a:ext cx="2872589" cy="17406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8" name="양쪽 모서리가 둥근 사각형 521">
              <a:extLst>
                <a:ext uri="{FF2B5EF4-FFF2-40B4-BE49-F238E27FC236}">
                  <a16:creationId xmlns:a16="http://schemas.microsoft.com/office/drawing/2014/main" id="{5472A88B-3BB3-413D-875B-6D03F2D1C18A}"/>
                </a:ext>
              </a:extLst>
            </p:cNvPr>
            <p:cNvSpPr/>
            <p:nvPr/>
          </p:nvSpPr>
          <p:spPr>
            <a:xfrm>
              <a:off x="239395" y="4324042"/>
              <a:ext cx="2872589" cy="230491"/>
            </a:xfrm>
            <a:prstGeom prst="rect">
              <a:avLst/>
            </a:prstGeom>
            <a:solidFill>
              <a:srgbClr val="038CDC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상 단위 업무 모델</a:t>
              </a:r>
              <a:r>
                <a:rPr lang="en-US" altLang="ko-KR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</a:t>
              </a:r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현행 시스템</a:t>
              </a:r>
              <a:r>
                <a:rPr lang="en-US" altLang="ko-KR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)</a:t>
              </a:r>
            </a:p>
          </p:txBody>
        </p:sp>
        <p:sp>
          <p:nvSpPr>
            <p:cNvPr id="46" name="양쪽 모서리가 둥근 사각형 521">
              <a:extLst>
                <a:ext uri="{FF2B5EF4-FFF2-40B4-BE49-F238E27FC236}">
                  <a16:creationId xmlns:a16="http://schemas.microsoft.com/office/drawing/2014/main" id="{53002E33-D71A-47B6-971E-B354D2D7601B}"/>
                </a:ext>
              </a:extLst>
            </p:cNvPr>
            <p:cNvSpPr/>
            <p:nvPr/>
          </p:nvSpPr>
          <p:spPr>
            <a:xfrm>
              <a:off x="3233234" y="4324042"/>
              <a:ext cx="2871894" cy="230491"/>
            </a:xfrm>
            <a:prstGeom prst="rect">
              <a:avLst/>
            </a:prstGeom>
            <a:solidFill>
              <a:srgbClr val="038CDC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매핑</a:t>
              </a:r>
              <a:r>
                <a:rPr lang="en-US" altLang="ko-KR" sz="1100" spc="-7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</a:t>
              </a:r>
              <a:r>
                <a:rPr lang="ko-KR" altLang="en-US" sz="1100" spc="-7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이행</a:t>
              </a:r>
              <a:r>
                <a:rPr lang="en-US" altLang="ko-KR" sz="1100" spc="-7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) </a:t>
              </a:r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정의서</a:t>
              </a: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29" name="그룹 2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3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이행 </a:t>
                </a:r>
                <a:r>
                  <a:rPr lang="en-US" altLang="ko-KR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Rule </a:t>
                </a:r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정의를 위한 매핑 방안</a:t>
                </a:r>
              </a:p>
            </p:txBody>
          </p:sp>
          <p:sp>
            <p:nvSpPr>
              <p:cNvPr id="3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0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159466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매핑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의서 도출</a:t>
            </a:r>
          </a:p>
        </p:txBody>
      </p:sp>
      <p:sp>
        <p:nvSpPr>
          <p:cNvPr id="21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185248" y="2839727"/>
            <a:ext cx="2390897" cy="512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중인 단위 업무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AS-IS)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 모델 분석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솔루션 코드 데이터 분석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합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ML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매핑 정의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작성</a:t>
            </a:r>
          </a:p>
        </p:txBody>
      </p:sp>
      <p:sp>
        <p:nvSpPr>
          <p:cNvPr id="22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9904" y="3992179"/>
            <a:ext cx="185948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매핑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의서 변경 관리</a:t>
            </a:r>
          </a:p>
        </p:txBody>
      </p:sp>
      <p:sp>
        <p:nvSpPr>
          <p:cNvPr id="23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187309" y="4276445"/>
            <a:ext cx="2388836" cy="48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ource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arget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 모델 변경에 따른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매핑 정의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데이트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변경 관리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한 별도의 협의체 구성</a:t>
            </a: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434" y="3749625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6" name="그림 25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143" y="3986600"/>
            <a:ext cx="318769" cy="318769"/>
          </a:xfrm>
          <a:prstGeom prst="rect">
            <a:avLst/>
          </a:prstGeom>
        </p:spPr>
      </p:pic>
      <p:grpSp>
        <p:nvGrpSpPr>
          <p:cNvPr id="16" name="그룹 15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17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18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47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6654" y="5224061"/>
            <a:ext cx="159466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매핑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의서 종류</a:t>
            </a:r>
          </a:p>
        </p:txBody>
      </p:sp>
      <p:sp>
        <p:nvSpPr>
          <p:cNvPr id="48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190511" y="5508327"/>
            <a:ext cx="2385634" cy="512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테이블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칼럼 매핑 정의서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매핑 방안</a:t>
            </a: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가적인 요건은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현업 부서와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협의</a:t>
            </a:r>
          </a:p>
        </p:txBody>
      </p:sp>
      <p:cxnSp>
        <p:nvCxnSpPr>
          <p:cNvPr id="49" name="직선 연결선 4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2184" y="4981507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0" name="그림 49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2669" y="5224672"/>
            <a:ext cx="320400" cy="320400"/>
          </a:xfrm>
          <a:prstGeom prst="rect">
            <a:avLst/>
          </a:prstGeom>
        </p:spPr>
      </p:pic>
      <p:sp>
        <p:nvSpPr>
          <p:cNvPr id="51" name="AutoShape 184"/>
          <p:cNvSpPr>
            <a:spLocks noChangeArrowheads="1"/>
          </p:cNvSpPr>
          <p:nvPr/>
        </p:nvSpPr>
        <p:spPr bwMode="auto">
          <a:xfrm>
            <a:off x="1554160" y="3980510"/>
            <a:ext cx="410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lvl="1" algn="ctr" defTabSz="849313" latinLnBrk="0">
              <a:spcAft>
                <a:spcPts val="300"/>
              </a:spcAft>
              <a:buClr>
                <a:srgbClr val="969696"/>
              </a:buClr>
              <a:buSzPct val="80000"/>
              <a:defRPr/>
            </a:pPr>
            <a:r>
              <a:rPr lang="ko-KR" altLang="en-US" sz="900" kern="0" dirty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각종코드</a:t>
            </a:r>
          </a:p>
        </p:txBody>
      </p:sp>
      <p:pic>
        <p:nvPicPr>
          <p:cNvPr id="52" name="Picture 79" descr="컴퓨터-앞-파랑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09" y="2785209"/>
            <a:ext cx="1341579" cy="103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116"/>
          <p:cNvSpPr>
            <a:spLocks noChangeArrowheads="1"/>
          </p:cNvSpPr>
          <p:nvPr/>
        </p:nvSpPr>
        <p:spPr bwMode="auto">
          <a:xfrm>
            <a:off x="1132444" y="2819313"/>
            <a:ext cx="1250543" cy="649467"/>
          </a:xfrm>
          <a:prstGeom prst="rect">
            <a:avLst/>
          </a:prstGeom>
          <a:solidFill>
            <a:srgbClr val="E3EFF9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7712" tIns="53857" rIns="107712" bIns="53857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</a:pPr>
            <a:endParaRPr lang="ko-KR" altLang="en-US" sz="9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pic>
        <p:nvPicPr>
          <p:cNvPr id="54" name="Picture 117" descr="점외자금결제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865" y="2834200"/>
            <a:ext cx="1171805" cy="305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118" descr="점외자금결제_조합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865" y="3154282"/>
            <a:ext cx="1171805" cy="294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3"/>
          <p:cNvPicPr preferRelativeResize="0"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6031" y="4720814"/>
            <a:ext cx="2456793" cy="1295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4"/>
          <p:cNvPicPr preferRelativeResize="0"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877144" y="4709470"/>
            <a:ext cx="2482234" cy="1295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6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67" name="Rectangle 153"/>
          <p:cNvSpPr>
            <a:spLocks noChangeArrowheads="1"/>
          </p:cNvSpPr>
          <p:nvPr/>
        </p:nvSpPr>
        <p:spPr bwMode="gray">
          <a:xfrm>
            <a:off x="4201484" y="2907572"/>
            <a:ext cx="2191676" cy="239473"/>
          </a:xfrm>
          <a:prstGeom prst="roundRect">
            <a:avLst>
              <a:gd name="adj" fmla="val 6667"/>
            </a:avLst>
          </a:prstGeom>
          <a:gradFill rotWithShape="0">
            <a:gsLst>
              <a:gs pos="0">
                <a:srgbClr val="ABDDFB"/>
              </a:gs>
              <a:gs pos="100000">
                <a:srgbClr val="1898E6"/>
              </a:gs>
            </a:gsLst>
            <a:lin ang="5400000" scaled="1"/>
          </a:gradFill>
          <a:ln w="9525" algn="ctr">
            <a:solidFill>
              <a:srgbClr val="0091EA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anose="02020603050405020304" pitchFamily="18" charset="0"/>
              </a:rPr>
              <a:t>데이터 요건 정의</a:t>
            </a:r>
            <a:endParaRPr kumimoji="0" lang="en-US" altLang="ko-KR" sz="1000" kern="0" dirty="0"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68" name="Rectangle 153"/>
          <p:cNvSpPr>
            <a:spLocks noChangeArrowheads="1"/>
          </p:cNvSpPr>
          <p:nvPr/>
        </p:nvSpPr>
        <p:spPr bwMode="gray">
          <a:xfrm>
            <a:off x="4201484" y="3297539"/>
            <a:ext cx="2191676" cy="239473"/>
          </a:xfrm>
          <a:prstGeom prst="roundRect">
            <a:avLst>
              <a:gd name="adj" fmla="val 6667"/>
            </a:avLst>
          </a:prstGeom>
          <a:gradFill rotWithShape="0">
            <a:gsLst>
              <a:gs pos="0">
                <a:srgbClr val="ABDDFB"/>
              </a:gs>
              <a:gs pos="100000">
                <a:srgbClr val="1898E6"/>
              </a:gs>
            </a:gsLst>
            <a:lin ang="5400000" scaled="1"/>
          </a:gradFill>
          <a:ln w="9525" algn="ctr">
            <a:solidFill>
              <a:srgbClr val="0091EA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anose="02020603050405020304" pitchFamily="18" charset="0"/>
              </a:rPr>
              <a:t>AS-IS </a:t>
            </a:r>
            <a:r>
              <a:rPr lang="ko-KR" altLang="en-US" sz="1000" kern="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anose="02020603050405020304" pitchFamily="18" charset="0"/>
              </a:rPr>
              <a:t>코드 데이터 비교</a:t>
            </a:r>
            <a:r>
              <a:rPr lang="en-US" altLang="ko-KR" sz="1000" kern="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anose="02020603050405020304" pitchFamily="18" charset="0"/>
              </a:rPr>
              <a:t>/</a:t>
            </a:r>
            <a:r>
              <a:rPr lang="ko-KR" altLang="en-US" sz="1000" kern="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anose="02020603050405020304" pitchFamily="18" charset="0"/>
              </a:rPr>
              <a:t>정제</a:t>
            </a:r>
            <a:endParaRPr kumimoji="0" lang="en-US" altLang="ko-KR" sz="1000" kern="0" dirty="0"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69" name="Rectangle 153"/>
          <p:cNvSpPr>
            <a:spLocks noChangeArrowheads="1"/>
          </p:cNvSpPr>
          <p:nvPr/>
        </p:nvSpPr>
        <p:spPr bwMode="gray">
          <a:xfrm>
            <a:off x="4201484" y="3693583"/>
            <a:ext cx="2191676" cy="239473"/>
          </a:xfrm>
          <a:prstGeom prst="roundRect">
            <a:avLst>
              <a:gd name="adj" fmla="val 6667"/>
            </a:avLst>
          </a:prstGeom>
          <a:gradFill rotWithShape="0">
            <a:gsLst>
              <a:gs pos="0">
                <a:srgbClr val="ABDDFB"/>
              </a:gs>
              <a:gs pos="100000">
                <a:srgbClr val="1898E6"/>
              </a:gs>
            </a:gsLst>
            <a:lin ang="5400000" scaled="1"/>
          </a:gradFill>
          <a:ln w="9525" algn="ctr">
            <a:solidFill>
              <a:srgbClr val="0091EA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kern="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anose="02020603050405020304" pitchFamily="18" charset="0"/>
              </a:rPr>
              <a:t>AS-IS vs. TO-BE GAP</a:t>
            </a:r>
            <a:r>
              <a:rPr lang="ko-KR" altLang="en-US" sz="1000" kern="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anose="02020603050405020304" pitchFamily="18" charset="0"/>
              </a:rPr>
              <a:t>분석</a:t>
            </a:r>
            <a:endParaRPr kumimoji="0" lang="en-US" altLang="ko-KR" sz="1000" kern="0" dirty="0"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2" name="U자형 화살표 1"/>
          <p:cNvSpPr/>
          <p:nvPr/>
        </p:nvSpPr>
        <p:spPr>
          <a:xfrm>
            <a:off x="3084512" y="3820912"/>
            <a:ext cx="860376" cy="732784"/>
          </a:xfrm>
          <a:prstGeom prst="uturnArrow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07</a:t>
            </a:fld>
            <a:endParaRPr dirty="0"/>
          </a:p>
        </p:txBody>
      </p:sp>
      <p:pic>
        <p:nvPicPr>
          <p:cNvPr id="58" name="Picture 227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164022" y="2742827"/>
            <a:ext cx="352136" cy="18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227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777151" y="4706792"/>
            <a:ext cx="352136" cy="18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227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058081" y="4698124"/>
            <a:ext cx="352136" cy="18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4056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4 </a:t>
            </a:r>
            <a:r>
              <a:rPr lang="ko-KR" altLang="en-US" dirty="0" smtClean="0"/>
              <a:t>최적의 데이터 이행 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이행은 고객사의 이행 방식을 준용하여 안정적으로 이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보보호 규정을 준수하고 업무 중단을  최소화하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성능 및 안정성을 확보하여 이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최적의 데이터 이행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방안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88" name="Group 3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969534"/>
              </p:ext>
            </p:extLst>
          </p:nvPr>
        </p:nvGraphicFramePr>
        <p:xfrm>
          <a:off x="265337" y="2082326"/>
          <a:ext cx="9361615" cy="4184121"/>
        </p:xfrm>
        <a:graphic>
          <a:graphicData uri="http://schemas.openxmlformats.org/drawingml/2006/table">
            <a:tbl>
              <a:tblPr/>
              <a:tblGrid>
                <a:gridCol w="5702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496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17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6726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1995" marR="71995" marT="18002" marB="18002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4C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데이터 이행 방안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1995" marR="71995" marT="18002" marB="18002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4C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고려사항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1995" marR="71995" marT="18002" marB="18002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4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3986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방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1995" marR="71995" marT="18002" marB="18002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gridSpan="2"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1995" marR="71995" marT="18002" marB="18002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3409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방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1995" marR="71995" marT="18002" marB="18002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gridSpan="2"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71995" marR="71995" marT="18002" marB="18002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85725" indent="-85725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1995" marR="71995" marT="18003" marB="18003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" name="그룹 35"/>
          <p:cNvGrpSpPr>
            <a:grpSpLocks/>
          </p:cNvGrpSpPr>
          <p:nvPr/>
        </p:nvGrpSpPr>
        <p:grpSpPr bwMode="auto">
          <a:xfrm>
            <a:off x="957614" y="4318078"/>
            <a:ext cx="8669338" cy="1948365"/>
            <a:chOff x="1366083" y="3123830"/>
            <a:chExt cx="5669708" cy="1307171"/>
          </a:xfrm>
        </p:grpSpPr>
        <p:grpSp>
          <p:nvGrpSpPr>
            <p:cNvPr id="90" name="그룹 36"/>
            <p:cNvGrpSpPr>
              <a:grpSpLocks/>
            </p:cNvGrpSpPr>
            <p:nvPr/>
          </p:nvGrpSpPr>
          <p:grpSpPr bwMode="auto">
            <a:xfrm>
              <a:off x="1366083" y="3123830"/>
              <a:ext cx="5669708" cy="1307171"/>
              <a:chOff x="1366083" y="2939570"/>
              <a:chExt cx="5669708" cy="1232358"/>
            </a:xfrm>
          </p:grpSpPr>
          <p:sp>
            <p:nvSpPr>
              <p:cNvPr id="92" name="Rectangle 101"/>
              <p:cNvSpPr>
                <a:spLocks noChangeArrowheads="1"/>
              </p:cNvSpPr>
              <p:nvPr/>
            </p:nvSpPr>
            <p:spPr bwMode="auto">
              <a:xfrm>
                <a:off x="1366083" y="2939570"/>
                <a:ext cx="5669708" cy="1187826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9525" algn="ctr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eaLnBrk="0" fontAlgn="auto" latinLnBrk="0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000" kern="0" dirty="0">
                  <a:solidFill>
                    <a:srgbClr val="1C1C1C"/>
                  </a:solidFill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93" name="Rectangle 101"/>
              <p:cNvSpPr>
                <a:spLocks noChangeArrowheads="1"/>
              </p:cNvSpPr>
              <p:nvPr/>
            </p:nvSpPr>
            <p:spPr bwMode="auto">
              <a:xfrm>
                <a:off x="5451471" y="2944735"/>
                <a:ext cx="1576015" cy="1227193"/>
              </a:xfrm>
              <a:prstGeom prst="rect">
                <a:avLst/>
              </a:prstGeom>
              <a:solidFill>
                <a:srgbClr val="FFFFFF">
                  <a:lumMod val="85000"/>
                  <a:alpha val="25000"/>
                </a:srgbClr>
              </a:solidFill>
              <a:ln w="9525" algn="ctr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algn="ctr" eaLnBrk="0" fontAlgn="auto" latinLnBrk="0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000" kern="0" dirty="0">
                  <a:solidFill>
                    <a:srgbClr val="1C1C1C"/>
                  </a:solidFill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</p:grpSp>
        <p:sp>
          <p:nvSpPr>
            <p:cNvPr id="91" name="TextBox 393"/>
            <p:cNvSpPr txBox="1">
              <a:spLocks noChangeArrowheads="1"/>
            </p:cNvSpPr>
            <p:nvPr/>
          </p:nvSpPr>
          <p:spPr bwMode="auto">
            <a:xfrm>
              <a:off x="5552520" y="3207963"/>
              <a:ext cx="1381680" cy="97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1042988" eaLnBrk="0" hangingPunct="0"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85725" indent="-85725" defTabSz="1042988" eaLnBrk="0" hangingPunct="0"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42988" eaLnBrk="0" hangingPunct="0"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42988" eaLnBrk="0" hangingPunct="0"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42988" eaLnBrk="0" hangingPunct="0"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429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429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429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429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11175" algn="l"/>
                  <a:tab pos="1022350" algn="l"/>
                  <a:tab pos="1536700" algn="l"/>
                  <a:tab pos="2047875" algn="l"/>
                  <a:tab pos="2559050" algn="l"/>
                  <a:tab pos="3071813" algn="l"/>
                  <a:tab pos="3582988" algn="l"/>
                  <a:tab pos="4095750" algn="l"/>
                  <a:tab pos="4608513" algn="l"/>
                  <a:tab pos="5119688" algn="l"/>
                  <a:tab pos="5632450" algn="l"/>
                  <a:tab pos="6656388" algn="l"/>
                  <a:tab pos="7169150" algn="l"/>
                  <a:tab pos="7680325" algn="l"/>
                  <a:tab pos="8191500" algn="l"/>
                  <a:tab pos="8704263" algn="l"/>
                  <a:tab pos="9217025" algn="l"/>
                  <a:tab pos="9728200" algn="l"/>
                  <a:tab pos="10240963" algn="l"/>
                  <a:tab pos="10752138" algn="l"/>
                  <a:tab pos="11264900" algn="l"/>
                  <a:tab pos="11777663" algn="l"/>
                  <a:tab pos="12288838" algn="l"/>
                  <a:tab pos="12801600" algn="l"/>
                  <a:tab pos="13312775" algn="l"/>
                  <a:tab pos="13823950" algn="l"/>
                  <a:tab pos="14338300" algn="l"/>
                  <a:tab pos="14849475" algn="l"/>
                  <a:tab pos="15360650" algn="l"/>
                  <a:tab pos="15873413" algn="l"/>
                  <a:tab pos="16384588" algn="l"/>
                </a:tabLs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lvl="1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BFBFBF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en-US" altLang="ko-KR" sz="10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endParaRPr>
            </a:p>
            <a:p>
              <a:pPr lvl="1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BFBFBF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SAM File 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생성</a:t>
              </a:r>
              <a:r>
                <a:rPr lang="en-US" altLang="ko-KR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 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스크립트 작성</a:t>
              </a:r>
              <a:endParaRPr lang="en-US" altLang="ko-KR" sz="1000" kern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endParaRPr>
            </a:p>
            <a:p>
              <a:pPr lvl="1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BFBFBF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en-US" altLang="ko-KR" sz="1000" kern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endParaRPr>
            </a:p>
            <a:p>
              <a:pPr lvl="1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BFBFBF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altLang="ko-KR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SQL*LOADER</a:t>
              </a:r>
              <a:r>
                <a:rPr lang="ko-KR" altLang="en-US" sz="10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로 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적재</a:t>
              </a:r>
              <a:endParaRPr lang="en-US" altLang="ko-KR" sz="1000" kern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endParaRPr>
            </a:p>
            <a:p>
              <a:pPr marL="0" lvl="1" indent="0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BFBFBF"/>
                </a:buClr>
                <a:buSzPct val="100000"/>
                <a:defRPr/>
              </a:pPr>
              <a:r>
                <a:rPr lang="en-US" altLang="ko-KR" sz="10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 </a:t>
              </a:r>
              <a:r>
                <a:rPr lang="en-US" altLang="ko-KR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 (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적재용 </a:t>
              </a:r>
              <a:r>
                <a:rPr lang="en-US" altLang="ko-KR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Control 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파일 작성</a:t>
              </a:r>
              <a:r>
                <a:rPr lang="en-US" altLang="ko-KR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)</a:t>
              </a:r>
            </a:p>
            <a:p>
              <a:pPr lvl="1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BFBFBF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en-US" altLang="ko-KR" sz="1000" kern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endParaRPr>
            </a:p>
            <a:p>
              <a:pPr lvl="1" fontAlgn="auto" latinLnBrk="0">
                <a:lnSpc>
                  <a:spcPct val="12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BFBFBF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ko-KR" altLang="en-US" sz="10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무중단 데이터 </a:t>
              </a:r>
              <a:r>
                <a:rPr lang="ko-KR" altLang="en-US" sz="10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이행 </a:t>
              </a:r>
              <a:r>
                <a:rPr lang="ko-KR" altLang="en-US" sz="10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rPr>
                <a:t>가능</a:t>
              </a:r>
            </a:p>
          </p:txBody>
        </p:sp>
      </p:grpSp>
      <p:sp>
        <p:nvSpPr>
          <p:cNvPr id="94" name="Rectangle 13"/>
          <p:cNvSpPr>
            <a:spLocks noChangeArrowheads="1"/>
          </p:cNvSpPr>
          <p:nvPr/>
        </p:nvSpPr>
        <p:spPr bwMode="auto">
          <a:xfrm>
            <a:off x="1400063" y="6042154"/>
            <a:ext cx="53526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  <a:scene3d>
              <a:camera prst="orthographicFront"/>
              <a:lightRig rig="threePt" dir="t"/>
            </a:scene3d>
            <a:flatTx/>
          </a:bodyPr>
          <a:lstStyle/>
          <a:p>
            <a:pPr marL="0" lvl="1" algn="ctr" defTabSz="1042988" eaLnBrk="0" latinLnBrk="0" hangingPunct="0">
              <a:lnSpc>
                <a:spcPts val="1200"/>
              </a:lnSpc>
              <a:spcBef>
                <a:spcPts val="300"/>
              </a:spcBef>
              <a:buClr>
                <a:prstClr val="black">
                  <a:lumMod val="65000"/>
                  <a:lumOff val="35000"/>
                </a:prstClr>
              </a:buClr>
              <a:buSzPct val="80000"/>
              <a:tabLst>
                <a:tab pos="5648325" algn="l"/>
              </a:tabLst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rPr>
              <a:t>양쪽 </a:t>
            </a:r>
            <a:r>
              <a:rPr lang="en-US" altLang="ko-KR" sz="8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rPr>
              <a:t>DB</a:t>
            </a:r>
            <a:r>
              <a:rPr lang="ko-KR" altLang="en-US" sz="8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rPr>
              <a:t> 접속하여 </a:t>
            </a:r>
            <a:r>
              <a:rPr lang="en-US" altLang="ko-KR" sz="8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rPr>
              <a:t>SQL </a:t>
            </a:r>
            <a:r>
              <a:rPr lang="ko-KR" altLang="en-US" sz="8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sym typeface="Monotype Sorts"/>
              </a:rPr>
              <a:t>쿼리로 이관</a:t>
            </a:r>
            <a:endParaRPr lang="en-US" altLang="ko-KR" sz="800" dirty="0"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sym typeface="Monotype Sorts"/>
            </a:endParaRPr>
          </a:p>
        </p:txBody>
      </p:sp>
      <p:pic>
        <p:nvPicPr>
          <p:cNvPr id="100" name="Picture 7" descr="D:\Documents and Settings\jp\바탕 화면\아이콘 준호대리님작업\png\9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3470" y="5306883"/>
            <a:ext cx="352370" cy="57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1" name="직선 연결선 100"/>
          <p:cNvCxnSpPr/>
          <p:nvPr/>
        </p:nvCxnSpPr>
        <p:spPr bwMode="auto">
          <a:xfrm>
            <a:off x="1163820" y="5983626"/>
            <a:ext cx="5773440" cy="0"/>
          </a:xfrm>
          <a:prstGeom prst="line">
            <a:avLst/>
          </a:prstGeom>
          <a:noFill/>
          <a:ln w="44450" cap="flat" cmpd="sng" algn="ctr">
            <a:gradFill>
              <a:gsLst>
                <a:gs pos="0">
                  <a:srgbClr val="FFFFFF">
                    <a:lumMod val="65000"/>
                  </a:srgbClr>
                </a:gs>
                <a:gs pos="50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5400000" scaled="0"/>
            </a:gra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109" name="Picture 11" descr="C:\Users\wslee\Desktop\2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1231" y="5418101"/>
            <a:ext cx="409486" cy="380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0" name="그룹 1"/>
          <p:cNvGrpSpPr>
            <a:grpSpLocks/>
          </p:cNvGrpSpPr>
          <p:nvPr/>
        </p:nvGrpSpPr>
        <p:grpSpPr bwMode="auto">
          <a:xfrm>
            <a:off x="957487" y="2382847"/>
            <a:ext cx="8656638" cy="1847850"/>
            <a:chOff x="1390814" y="6361108"/>
            <a:chExt cx="5644977" cy="1560416"/>
          </a:xfrm>
        </p:grpSpPr>
        <p:grpSp>
          <p:nvGrpSpPr>
            <p:cNvPr id="111" name="그룹 99"/>
            <p:cNvGrpSpPr>
              <a:grpSpLocks/>
            </p:cNvGrpSpPr>
            <p:nvPr/>
          </p:nvGrpSpPr>
          <p:grpSpPr bwMode="auto">
            <a:xfrm>
              <a:off x="1390814" y="6361108"/>
              <a:ext cx="5644977" cy="1560416"/>
              <a:chOff x="1390814" y="3129310"/>
              <a:chExt cx="5644977" cy="1301693"/>
            </a:xfrm>
          </p:grpSpPr>
          <p:grpSp>
            <p:nvGrpSpPr>
              <p:cNvPr id="131" name="그룹 100"/>
              <p:cNvGrpSpPr>
                <a:grpSpLocks/>
              </p:cNvGrpSpPr>
              <p:nvPr/>
            </p:nvGrpSpPr>
            <p:grpSpPr bwMode="auto">
              <a:xfrm>
                <a:off x="1390814" y="3129310"/>
                <a:ext cx="5644977" cy="1301693"/>
                <a:chOff x="1390814" y="2944735"/>
                <a:chExt cx="5644977" cy="1227193"/>
              </a:xfrm>
            </p:grpSpPr>
            <p:sp>
              <p:nvSpPr>
                <p:cNvPr id="133" name="Rectangle 101"/>
                <p:cNvSpPr>
                  <a:spLocks noChangeArrowheads="1"/>
                </p:cNvSpPr>
                <p:nvPr/>
              </p:nvSpPr>
              <p:spPr bwMode="auto">
                <a:xfrm>
                  <a:off x="1390814" y="2944735"/>
                  <a:ext cx="5644977" cy="1213658"/>
                </a:xfrm>
                <a:prstGeom prst="rect">
                  <a:avLst/>
                </a:prstGeom>
                <a:solidFill>
                  <a:srgbClr val="FFFFFF">
                    <a:lumMod val="95000"/>
                  </a:srgbClr>
                </a:solidFill>
                <a:ln w="9525" algn="ctr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wrap="none" anchor="ctr"/>
                <a:lstStyle/>
                <a:p>
                  <a:pPr algn="ctr" eaLnBrk="0" fontAlgn="auto" latinLnBrk="0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000" kern="0" dirty="0">
                    <a:solidFill>
                      <a:srgbClr val="1C1C1C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endParaRPr>
                </a:p>
              </p:txBody>
            </p:sp>
            <p:sp>
              <p:nvSpPr>
                <p:cNvPr id="134" name="Rectangle 101"/>
                <p:cNvSpPr>
                  <a:spLocks noChangeArrowheads="1"/>
                </p:cNvSpPr>
                <p:nvPr/>
              </p:nvSpPr>
              <p:spPr bwMode="auto">
                <a:xfrm>
                  <a:off x="5451926" y="2944735"/>
                  <a:ext cx="1575583" cy="1227193"/>
                </a:xfrm>
                <a:prstGeom prst="rect">
                  <a:avLst/>
                </a:prstGeom>
                <a:solidFill>
                  <a:srgbClr val="FFFFFF">
                    <a:lumMod val="85000"/>
                    <a:alpha val="25000"/>
                  </a:srgbClr>
                </a:solidFill>
                <a:ln w="9525" algn="ctr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wrap="none" anchor="ctr"/>
                <a:lstStyle/>
                <a:p>
                  <a:pPr algn="ctr" eaLnBrk="0" fontAlgn="auto" latinLnBrk="0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000" kern="0" dirty="0">
                    <a:solidFill>
                      <a:srgbClr val="1C1C1C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</a:endParaRPr>
                </a:p>
              </p:txBody>
            </p:sp>
          </p:grpSp>
          <p:sp>
            <p:nvSpPr>
              <p:cNvPr id="132" name="TextBox 393"/>
              <p:cNvSpPr txBox="1">
                <a:spLocks noChangeArrowheads="1"/>
              </p:cNvSpPr>
              <p:nvPr/>
            </p:nvSpPr>
            <p:spPr bwMode="auto">
              <a:xfrm>
                <a:off x="5552520" y="3207963"/>
                <a:ext cx="1381680" cy="5745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 defTabSz="1042988" eaLnBrk="0" hangingPunct="0"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85725" indent="-85725" defTabSz="1042988" eaLnBrk="0" hangingPunct="0"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defTabSz="1042988" eaLnBrk="0" hangingPunct="0"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defTabSz="1042988" eaLnBrk="0" hangingPunct="0"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defTabSz="1042988" eaLnBrk="0" hangingPunct="0"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defTabSz="10429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defTabSz="10429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defTabSz="10429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defTabSz="10429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11175" algn="l"/>
                    <a:tab pos="1022350" algn="l"/>
                    <a:tab pos="1536700" algn="l"/>
                    <a:tab pos="2047875" algn="l"/>
                    <a:tab pos="2559050" algn="l"/>
                    <a:tab pos="3071813" algn="l"/>
                    <a:tab pos="3582988" algn="l"/>
                    <a:tab pos="4095750" algn="l"/>
                    <a:tab pos="4608513" algn="l"/>
                    <a:tab pos="5119688" algn="l"/>
                    <a:tab pos="5632450" algn="l"/>
                    <a:tab pos="6656388" algn="l"/>
                    <a:tab pos="7169150" algn="l"/>
                    <a:tab pos="7680325" algn="l"/>
                    <a:tab pos="8191500" algn="l"/>
                    <a:tab pos="8704263" algn="l"/>
                    <a:tab pos="9217025" algn="l"/>
                    <a:tab pos="9728200" algn="l"/>
                    <a:tab pos="10240963" algn="l"/>
                    <a:tab pos="10752138" algn="l"/>
                    <a:tab pos="11264900" algn="l"/>
                    <a:tab pos="11777663" algn="l"/>
                    <a:tab pos="12288838" algn="l"/>
                    <a:tab pos="12801600" algn="l"/>
                    <a:tab pos="13312775" algn="l"/>
                    <a:tab pos="13823950" algn="l"/>
                    <a:tab pos="14338300" algn="l"/>
                    <a:tab pos="14849475" algn="l"/>
                    <a:tab pos="15360650" algn="l"/>
                    <a:tab pos="15873413" algn="l"/>
                    <a:tab pos="16384588" algn="l"/>
                  </a:tabLs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lvl="1" fontAlgn="auto" latinLnBrk="0">
                  <a:lnSpc>
                    <a:spcPct val="120000"/>
                  </a:lnSpc>
                  <a:spcBef>
                    <a:spcPts val="0"/>
                  </a:spcBef>
                  <a:spcAft>
                    <a:spcPts val="200"/>
                  </a:spcAft>
                  <a:buClr>
                    <a:srgbClr val="BFBFBF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endParaRPr lang="en-US" altLang="ko-KR" sz="10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endParaRPr>
              </a:p>
              <a:p>
                <a:pPr lvl="1" fontAlgn="auto" latinLnBrk="0">
                  <a:lnSpc>
                    <a:spcPct val="120000"/>
                  </a:lnSpc>
                  <a:spcBef>
                    <a:spcPts val="0"/>
                  </a:spcBef>
                  <a:spcAft>
                    <a:spcPts val="200"/>
                  </a:spcAft>
                  <a:buClr>
                    <a:srgbClr val="BFBFBF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ko-KR" altLang="en-US" sz="1000" kern="0" dirty="0" smtClean="0">
                    <a:solidFill>
                      <a:srgbClr val="333333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sym typeface="Monotype Sorts"/>
                  </a:rPr>
                  <a:t>현행시스템의 인프라를 활용하여 진행</a:t>
                </a:r>
                <a:endParaRPr lang="en-US" altLang="ko-KR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endParaRPr>
              </a:p>
              <a:p>
                <a:pPr lvl="1" fontAlgn="auto" latinLnBrk="0">
                  <a:lnSpc>
                    <a:spcPct val="120000"/>
                  </a:lnSpc>
                  <a:spcBef>
                    <a:spcPts val="0"/>
                  </a:spcBef>
                  <a:spcAft>
                    <a:spcPts val="200"/>
                  </a:spcAft>
                  <a:buClr>
                    <a:srgbClr val="BFBFBF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endParaRPr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endParaRPr>
              </a:p>
              <a:p>
                <a:pPr lvl="1" fontAlgn="auto" latinLnBrk="0">
                  <a:lnSpc>
                    <a:spcPct val="120000"/>
                  </a:lnSpc>
                  <a:spcBef>
                    <a:spcPts val="0"/>
                  </a:spcBef>
                  <a:spcAft>
                    <a:spcPts val="200"/>
                  </a:spcAft>
                  <a:buClr>
                    <a:srgbClr val="BFBFBF"/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ko-KR" altLang="en-US" sz="1000" kern="0" dirty="0" smtClean="0">
                    <a:solidFill>
                      <a:srgbClr val="333333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sym typeface="Monotype Sorts"/>
                  </a:rPr>
                  <a:t>무중단 </a:t>
                </a:r>
                <a:r>
                  <a:rPr lang="ko-KR" altLang="en-US" sz="1000" kern="0" dirty="0">
                    <a:solidFill>
                      <a:srgbClr val="333333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sym typeface="Monotype Sorts"/>
                  </a:rPr>
                  <a:t>데이터 </a:t>
                </a:r>
                <a:r>
                  <a:rPr lang="ko-KR" altLang="en-US" sz="1000" kern="0" dirty="0" smtClean="0">
                    <a:solidFill>
                      <a:srgbClr val="333333"/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sym typeface="Monotype Sorts"/>
                  </a:rPr>
                  <a:t>이행 가능</a:t>
                </a:r>
                <a:endParaRPr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sym typeface="Monotype Sorts"/>
                </a:endParaRPr>
              </a:p>
            </p:txBody>
          </p:sp>
        </p:grpSp>
        <p:grpSp>
          <p:nvGrpSpPr>
            <p:cNvPr id="112" name="그룹 108"/>
            <p:cNvGrpSpPr>
              <a:grpSpLocks/>
            </p:cNvGrpSpPr>
            <p:nvPr/>
          </p:nvGrpSpPr>
          <p:grpSpPr bwMode="auto">
            <a:xfrm>
              <a:off x="1452926" y="6791430"/>
              <a:ext cx="3919289" cy="916977"/>
              <a:chOff x="1452926" y="6878518"/>
              <a:chExt cx="3919288" cy="916978"/>
            </a:xfrm>
          </p:grpSpPr>
          <p:grpSp>
            <p:nvGrpSpPr>
              <p:cNvPr id="114" name="그룹 109"/>
              <p:cNvGrpSpPr>
                <a:grpSpLocks/>
              </p:cNvGrpSpPr>
              <p:nvPr/>
            </p:nvGrpSpPr>
            <p:grpSpPr bwMode="auto">
              <a:xfrm>
                <a:off x="4047151" y="6878518"/>
                <a:ext cx="1325063" cy="916978"/>
                <a:chOff x="4160215" y="6891218"/>
                <a:chExt cx="1325063" cy="916978"/>
              </a:xfrm>
            </p:grpSpPr>
            <p:pic>
              <p:nvPicPr>
                <p:cNvPr id="127" name="Picture 7" descr="D:\Documents and Settings\jp\바탕 화면\아이콘 준호대리님작업\png\96.png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18900" y="7253942"/>
                  <a:ext cx="284294" cy="55425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25" name="Rectangle 49" descr="그림23 사본"/>
                <p:cNvSpPr>
                  <a:spLocks noChangeArrowheads="1"/>
                </p:cNvSpPr>
                <p:nvPr/>
              </p:nvSpPr>
              <p:spPr bwMode="auto">
                <a:xfrm>
                  <a:off x="4160215" y="6891218"/>
                  <a:ext cx="1325063" cy="183657"/>
                </a:xfrm>
                <a:prstGeom prst="round2DiagRect">
                  <a:avLst/>
                </a:prstGeom>
                <a:solidFill>
                  <a:srgbClr val="22A8F0"/>
                </a:solidFill>
                <a:ln w="6350">
                  <a:solidFill>
                    <a:srgbClr val="8FABC7"/>
                  </a:solidFill>
                  <a:round/>
                  <a:headEnd/>
                  <a:tailEnd/>
                </a:ln>
                <a:effectLst>
                  <a:outerShdw blurRad="25400" dir="15840000" sy="23000" kx="-1200000" algn="bl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pPr algn="ctr" fontAlgn="auto" latinLnBrk="0">
                    <a:spcBef>
                      <a:spcPts val="0"/>
                    </a:spcBef>
                    <a:spcAft>
                      <a:spcPts val="0"/>
                    </a:spcAft>
                    <a:buSzPct val="80000"/>
                    <a:defRPr/>
                  </a:pPr>
                  <a:r>
                    <a:rPr kumimoji="0" lang="ko-KR" altLang="en-US" sz="1000" kern="0" dirty="0">
                      <a:solidFill>
                        <a:schemeClr val="bg1"/>
                      </a:solidFill>
                      <a:latin typeface="KoPub돋움체 Medium" panose="02020603020101020101" pitchFamily="18" charset="-127"/>
                      <a:ea typeface="KoPub돋움체 Medium" panose="02020603020101020101" pitchFamily="18" charset="-127"/>
                    </a:rPr>
                    <a:t>신규 </a:t>
                  </a:r>
                  <a:r>
                    <a:rPr kumimoji="0" lang="ko-KR" altLang="en-US" sz="1000" kern="0" dirty="0" smtClean="0">
                      <a:solidFill>
                        <a:schemeClr val="bg1"/>
                      </a:solidFill>
                      <a:latin typeface="KoPub돋움체 Medium" panose="02020603020101020101" pitchFamily="18" charset="-127"/>
                      <a:ea typeface="KoPub돋움체 Medium" panose="02020603020101020101" pitchFamily="18" charset="-127"/>
                    </a:rPr>
                    <a:t>시스템</a:t>
                  </a:r>
                  <a:endParaRPr kumimoji="0" lang="ko-KR" altLang="en-US" sz="1000" kern="0" dirty="0">
                    <a:solidFill>
                      <a:schemeClr val="bg1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</a:endParaRPr>
                </a:p>
              </p:txBody>
            </p:sp>
          </p:grpSp>
          <p:grpSp>
            <p:nvGrpSpPr>
              <p:cNvPr id="115" name="그룹 110"/>
              <p:cNvGrpSpPr>
                <a:grpSpLocks/>
              </p:cNvGrpSpPr>
              <p:nvPr/>
            </p:nvGrpSpPr>
            <p:grpSpPr bwMode="auto">
              <a:xfrm>
                <a:off x="1452926" y="6878518"/>
                <a:ext cx="1322993" cy="862132"/>
                <a:chOff x="1452926" y="6891218"/>
                <a:chExt cx="1322993" cy="862132"/>
              </a:xfrm>
            </p:grpSpPr>
            <p:pic>
              <p:nvPicPr>
                <p:cNvPr id="118" name="Picture 11" descr="C:\Users\wslee\Desktop\28.png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92484" y="7331224"/>
                  <a:ext cx="377594" cy="4221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7" name="Rectangle 48" descr="그림23 사본"/>
                <p:cNvSpPr>
                  <a:spLocks noChangeArrowheads="1"/>
                </p:cNvSpPr>
                <p:nvPr/>
              </p:nvSpPr>
              <p:spPr bwMode="auto">
                <a:xfrm>
                  <a:off x="1452926" y="6891218"/>
                  <a:ext cx="1322993" cy="183657"/>
                </a:xfrm>
                <a:prstGeom prst="round2DiagRect">
                  <a:avLst/>
                </a:prstGeom>
                <a:solidFill>
                  <a:srgbClr val="D3EDFD"/>
                </a:solidFill>
                <a:ln w="6350">
                  <a:solidFill>
                    <a:srgbClr val="FFFFFF">
                      <a:lumMod val="65000"/>
                    </a:srgbClr>
                  </a:solidFill>
                  <a:round/>
                  <a:headEnd/>
                  <a:tailEnd/>
                </a:ln>
                <a:effectLst>
                  <a:outerShdw blurRad="25400" dir="15840000" sy="23000" kx="-1200000" algn="bl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pPr algn="ctr" fontAlgn="auto" latinLnBrk="0">
                    <a:spcBef>
                      <a:spcPts val="0"/>
                    </a:spcBef>
                    <a:spcAft>
                      <a:spcPts val="0"/>
                    </a:spcAft>
                    <a:buSzPct val="80000"/>
                    <a:defRPr/>
                  </a:pPr>
                  <a:r>
                    <a:rPr kumimoji="0" lang="ko-KR" altLang="en-US" sz="1000" kern="0" dirty="0" smtClean="0"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  <a:t>현행 </a:t>
                  </a:r>
                  <a:r>
                    <a:rPr kumimoji="0" lang="ko-KR" altLang="en-US" sz="1000" kern="0" dirty="0"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</a:rPr>
                    <a:t>시스템</a:t>
                  </a:r>
                </a:p>
              </p:txBody>
            </p:sp>
          </p:grpSp>
        </p:grpSp>
      </p:grpSp>
      <p:sp>
        <p:nvSpPr>
          <p:cNvPr id="135" name="Rectangle 177"/>
          <p:cNvSpPr>
            <a:spLocks noChangeArrowheads="1"/>
          </p:cNvSpPr>
          <p:nvPr/>
        </p:nvSpPr>
        <p:spPr bwMode="auto">
          <a:xfrm>
            <a:off x="173456" y="6266509"/>
            <a:ext cx="6319838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>
                <a:alpha val="79999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Clr>
                <a:srgbClr val="808080"/>
              </a:buClr>
            </a:pPr>
            <a:r>
              <a:rPr lang="ko-KR" altLang="ko-KR" sz="1000" dirty="0">
                <a:solidFill>
                  <a:srgbClr val="595959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sym typeface="Monotype Sorts"/>
              </a:rPr>
              <a:t>※</a:t>
            </a:r>
            <a:r>
              <a:rPr lang="en-US" altLang="ko-KR" sz="1000" dirty="0">
                <a:solidFill>
                  <a:srgbClr val="595959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sym typeface="Monotype Sorts"/>
              </a:rPr>
              <a:t> </a:t>
            </a:r>
            <a:r>
              <a:rPr lang="ko-KR" altLang="en-US" sz="1000" dirty="0">
                <a:solidFill>
                  <a:srgbClr val="595959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sym typeface="Monotype Sorts"/>
              </a:rPr>
              <a:t>데이터별 최적의 데이터 </a:t>
            </a:r>
            <a:r>
              <a:rPr lang="ko-KR" altLang="en-US" sz="1000" dirty="0" smtClean="0">
                <a:solidFill>
                  <a:srgbClr val="595959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sym typeface="Monotype Sorts"/>
              </a:rPr>
              <a:t>이행 방안은 고객사 </a:t>
            </a:r>
            <a:r>
              <a:rPr lang="ko-KR" altLang="en-US" sz="1000" dirty="0">
                <a:solidFill>
                  <a:srgbClr val="595959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sym typeface="Monotype Sorts"/>
              </a:rPr>
              <a:t>담당자와 협의 후 선택하여 진행함</a:t>
            </a:r>
            <a:r>
              <a:rPr lang="en-US" altLang="ko-KR" sz="1000" dirty="0">
                <a:solidFill>
                  <a:srgbClr val="595959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sym typeface="Monotype Sorts"/>
              </a:rPr>
              <a:t>.</a:t>
            </a:r>
            <a:endParaRPr lang="ko-KR" altLang="ko-KR" sz="1000" dirty="0">
              <a:solidFill>
                <a:srgbClr val="595959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sym typeface="Monotype Sorts"/>
            </a:endParaRPr>
          </a:p>
        </p:txBody>
      </p:sp>
      <p:sp>
        <p:nvSpPr>
          <p:cNvPr id="144" name="Rectangle 49" descr="그림23 사본"/>
          <p:cNvSpPr>
            <a:spLocks noChangeArrowheads="1"/>
          </p:cNvSpPr>
          <p:nvPr/>
        </p:nvSpPr>
        <p:spPr bwMode="auto">
          <a:xfrm>
            <a:off x="5036037" y="4855594"/>
            <a:ext cx="2031999" cy="217487"/>
          </a:xfrm>
          <a:prstGeom prst="round2DiagRect">
            <a:avLst/>
          </a:prstGeom>
          <a:solidFill>
            <a:srgbClr val="22A8F0"/>
          </a:solidFill>
          <a:ln w="6350">
            <a:solidFill>
              <a:srgbClr val="8FABC7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pPr algn="ctr" latinLnBrk="0">
              <a:buSzPct val="80000"/>
              <a:defRPr/>
            </a:pPr>
            <a:r>
              <a:rPr lang="ko-KR" altLang="en-US" sz="1000" dirty="0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신규 </a:t>
            </a:r>
            <a:r>
              <a:rPr lang="ko-KR" altLang="en-US" sz="1000" dirty="0" smtClean="0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시스템</a:t>
            </a:r>
            <a:endParaRPr lang="ko-KR" altLang="en-US" sz="10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5" name="Rectangle 48" descr="그림23 사본"/>
          <p:cNvSpPr>
            <a:spLocks noChangeArrowheads="1"/>
          </p:cNvSpPr>
          <p:nvPr/>
        </p:nvSpPr>
        <p:spPr bwMode="auto">
          <a:xfrm>
            <a:off x="1057762" y="4855594"/>
            <a:ext cx="2376330" cy="217487"/>
          </a:xfrm>
          <a:prstGeom prst="round2DiagRect">
            <a:avLst/>
          </a:prstGeom>
          <a:solidFill>
            <a:srgbClr val="D3EDFD"/>
          </a:solidFill>
          <a:ln w="6350">
            <a:solidFill>
              <a:srgbClr val="FFFFFF">
                <a:lumMod val="65000"/>
              </a:srgbClr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kumimoji="0" lang="ko-KR" altLang="en-US" sz="1000" kern="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행 </a:t>
            </a:r>
            <a:r>
              <a:rPr kumimoji="0" lang="ko-KR" altLang="en-US" sz="1000" kern="0" dirty="0">
                <a:solidFill>
                  <a:prstClr val="black">
                    <a:lumMod val="95000"/>
                    <a:lumOff val="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스템</a:t>
            </a:r>
          </a:p>
        </p:txBody>
      </p:sp>
      <p:grpSp>
        <p:nvGrpSpPr>
          <p:cNvPr id="146" name="그룹 145"/>
          <p:cNvGrpSpPr/>
          <p:nvPr/>
        </p:nvGrpSpPr>
        <p:grpSpPr>
          <a:xfrm>
            <a:off x="1055883" y="2463647"/>
            <a:ext cx="1287187" cy="315449"/>
            <a:chOff x="-1636637" y="3800876"/>
            <a:chExt cx="1287187" cy="315449"/>
          </a:xfrm>
        </p:grpSpPr>
        <p:sp>
          <p:nvSpPr>
            <p:cNvPr id="147" name="AutoShape 196"/>
            <p:cNvSpPr>
              <a:spLocks noChangeArrowheads="1"/>
            </p:cNvSpPr>
            <p:nvPr/>
          </p:nvSpPr>
          <p:spPr bwMode="gray">
            <a:xfrm>
              <a:off x="-1636637" y="3864325"/>
              <a:ext cx="1224000" cy="252000"/>
            </a:xfrm>
            <a:prstGeom prst="roundRect">
              <a:avLst>
                <a:gd name="adj" fmla="val 1514"/>
              </a:avLst>
            </a:prstGeom>
            <a:solidFill>
              <a:srgbClr val="FFFFFF"/>
            </a:solidFill>
            <a:ln w="12700" algn="ctr">
              <a:solidFill>
                <a:srgbClr val="81CFFF"/>
              </a:solidFill>
              <a:round/>
              <a:headEnd/>
              <a:tailEnd/>
            </a:ln>
            <a:effectLst>
              <a:outerShdw dist="25400" dir="5400000" algn="ctr" rotWithShape="0">
                <a:srgbClr val="0077C0"/>
              </a:outerShdw>
            </a:effectLst>
          </p:spPr>
          <p:txBody>
            <a:bodyPr lIns="0" tIns="0" rIns="0" bIns="0" anchor="ctr"/>
            <a:lstStyle>
              <a:lvl1pPr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100" b="0" kern="0" dirty="0" smtClean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Solution</a:t>
              </a:r>
              <a:endParaRPr lang="ko-KR" altLang="en-US" sz="1100" b="0" kern="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48" name="AutoShape 197"/>
            <p:cNvSpPr>
              <a:spLocks noChangeArrowheads="1"/>
            </p:cNvSpPr>
            <p:nvPr/>
          </p:nvSpPr>
          <p:spPr bwMode="gray">
            <a:xfrm>
              <a:off x="-408188" y="3800876"/>
              <a:ext cx="58738" cy="60183"/>
            </a:xfrm>
            <a:prstGeom prst="roundRect">
              <a:avLst>
                <a:gd name="adj" fmla="val 1514"/>
              </a:avLst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900" b="0" kern="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149" name="그룹 148"/>
          <p:cNvGrpSpPr/>
          <p:nvPr/>
        </p:nvGrpSpPr>
        <p:grpSpPr>
          <a:xfrm>
            <a:off x="1055883" y="4395751"/>
            <a:ext cx="1287187" cy="315449"/>
            <a:chOff x="-1636637" y="3800876"/>
            <a:chExt cx="1287187" cy="315449"/>
          </a:xfrm>
        </p:grpSpPr>
        <p:sp>
          <p:nvSpPr>
            <p:cNvPr id="150" name="AutoShape 196"/>
            <p:cNvSpPr>
              <a:spLocks noChangeArrowheads="1"/>
            </p:cNvSpPr>
            <p:nvPr/>
          </p:nvSpPr>
          <p:spPr bwMode="gray">
            <a:xfrm>
              <a:off x="-1636637" y="3864325"/>
              <a:ext cx="1224000" cy="252000"/>
            </a:xfrm>
            <a:prstGeom prst="roundRect">
              <a:avLst>
                <a:gd name="adj" fmla="val 1514"/>
              </a:avLst>
            </a:prstGeom>
            <a:solidFill>
              <a:srgbClr val="FFFFFF"/>
            </a:solidFill>
            <a:ln w="12700" algn="ctr">
              <a:solidFill>
                <a:srgbClr val="81CFFF"/>
              </a:solidFill>
              <a:round/>
              <a:headEnd/>
              <a:tailEnd/>
            </a:ln>
            <a:effectLst>
              <a:outerShdw dist="25400" dir="5400000" algn="ctr" rotWithShape="0">
                <a:srgbClr val="0077C0"/>
              </a:outerShdw>
            </a:effectLst>
          </p:spPr>
          <p:txBody>
            <a:bodyPr lIns="0" tIns="0" rIns="0" bIns="0" anchor="ctr"/>
            <a:lstStyle>
              <a:lvl1pPr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7747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7747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100" b="0" kern="0" dirty="0" smtClean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SQL </a:t>
              </a:r>
              <a:r>
                <a:rPr lang="ko-KR" altLang="en-US" sz="1100" b="0" kern="0" dirty="0" smtClean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쿼리</a:t>
              </a:r>
              <a:endParaRPr lang="ko-KR" altLang="en-US" sz="1100" b="0" kern="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51" name="AutoShape 197"/>
            <p:cNvSpPr>
              <a:spLocks noChangeArrowheads="1"/>
            </p:cNvSpPr>
            <p:nvPr/>
          </p:nvSpPr>
          <p:spPr bwMode="gray">
            <a:xfrm>
              <a:off x="-408188" y="3800876"/>
              <a:ext cx="58738" cy="60183"/>
            </a:xfrm>
            <a:prstGeom prst="roundRect">
              <a:avLst>
                <a:gd name="adj" fmla="val 1514"/>
              </a:avLst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900" b="0" kern="0" dirty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pic>
        <p:nvPicPr>
          <p:cNvPr id="153" name="Picture 227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91862" y="2139584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8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08</a:t>
            </a:fld>
            <a:endParaRPr dirty="0"/>
          </a:p>
        </p:txBody>
      </p:sp>
      <p:sp>
        <p:nvSpPr>
          <p:cNvPr id="82" name="원통 81"/>
          <p:cNvSpPr/>
          <p:nvPr/>
        </p:nvSpPr>
        <p:spPr>
          <a:xfrm>
            <a:off x="2101457" y="3389549"/>
            <a:ext cx="566273" cy="404797"/>
          </a:xfrm>
          <a:prstGeom prst="can">
            <a:avLst/>
          </a:prstGeom>
          <a:solidFill>
            <a:srgbClr val="B2B2B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ource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</a:t>
            </a:r>
            <a:endParaRPr kumimoji="1" lang="ko-KR" altLang="en-US" sz="800" b="0" i="0" u="none" strike="noStrike" kern="1200" cap="none" spc="-50" normalizeH="0" baseline="0" noProof="0" dirty="0">
              <a:ln>
                <a:solidFill>
                  <a:srgbClr val="4F81BD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3" name="원통 82"/>
          <p:cNvSpPr/>
          <p:nvPr/>
        </p:nvSpPr>
        <p:spPr>
          <a:xfrm>
            <a:off x="1901223" y="5371281"/>
            <a:ext cx="566273" cy="404797"/>
          </a:xfrm>
          <a:prstGeom prst="can">
            <a:avLst/>
          </a:prstGeom>
          <a:solidFill>
            <a:srgbClr val="B2B2B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ource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</a:t>
            </a:r>
            <a:endParaRPr kumimoji="1" lang="ko-KR" altLang="en-US" sz="800" b="0" i="0" u="none" strike="noStrike" kern="1200" cap="none" spc="-50" normalizeH="0" baseline="0" noProof="0" dirty="0">
              <a:ln>
                <a:solidFill>
                  <a:srgbClr val="4F81BD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4" name="원통 83"/>
          <p:cNvSpPr/>
          <p:nvPr/>
        </p:nvSpPr>
        <p:spPr>
          <a:xfrm>
            <a:off x="5562872" y="3413492"/>
            <a:ext cx="566273" cy="404797"/>
          </a:xfrm>
          <a:prstGeom prst="can">
            <a:avLst/>
          </a:prstGeom>
          <a:solidFill>
            <a:srgbClr val="B2B2B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arget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</a:t>
            </a:r>
            <a:endParaRPr kumimoji="1" lang="ko-KR" altLang="en-US" sz="800" b="0" i="0" u="none" strike="noStrike" kern="1200" cap="none" spc="-50" normalizeH="0" baseline="0" noProof="0" dirty="0">
              <a:ln>
                <a:solidFill>
                  <a:srgbClr val="4F81BD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5" name="원통 84"/>
          <p:cNvSpPr/>
          <p:nvPr/>
        </p:nvSpPr>
        <p:spPr>
          <a:xfrm>
            <a:off x="5669549" y="5418031"/>
            <a:ext cx="566273" cy="404797"/>
          </a:xfrm>
          <a:prstGeom prst="can">
            <a:avLst/>
          </a:prstGeom>
          <a:solidFill>
            <a:srgbClr val="B2B2B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arget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0" i="0" u="none" strike="noStrike" kern="1200" cap="none" spc="-50" normalizeH="0" baseline="0" noProof="0" dirty="0" smtClean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</a:t>
            </a:r>
            <a:endParaRPr kumimoji="1" lang="ko-KR" altLang="en-US" sz="800" b="0" i="0" u="none" strike="noStrike" kern="1200" cap="none" spc="-50" normalizeH="0" baseline="0" noProof="0" dirty="0">
              <a:ln>
                <a:solidFill>
                  <a:srgbClr val="4F81BD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6" name="오른쪽 화살표 85"/>
          <p:cNvSpPr/>
          <p:nvPr/>
        </p:nvSpPr>
        <p:spPr bwMode="auto">
          <a:xfrm>
            <a:off x="3269426" y="3263671"/>
            <a:ext cx="1779648" cy="708477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000" dirty="0" smtClean="0">
                <a:solidFill>
                  <a:srgbClr val="4D4D4D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ETL</a:t>
            </a: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000" dirty="0" smtClean="0">
                <a:solidFill>
                  <a:srgbClr val="4D4D4D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Extract </a:t>
            </a:r>
            <a:r>
              <a:rPr lang="en-US" altLang="ko-KR" sz="1000" dirty="0">
                <a:solidFill>
                  <a:srgbClr val="4D4D4D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ransform Load)</a:t>
            </a:r>
            <a:endParaRPr lang="ko-KR" altLang="en-US" sz="1000" dirty="0">
              <a:solidFill>
                <a:srgbClr val="4D4D4D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87" name="오른쪽 화살표 86"/>
          <p:cNvSpPr/>
          <p:nvPr/>
        </p:nvSpPr>
        <p:spPr bwMode="auto">
          <a:xfrm>
            <a:off x="3287489" y="5120559"/>
            <a:ext cx="1761585" cy="677632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Insert ~ Select</a:t>
            </a: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1789" y="3130403"/>
            <a:ext cx="1007342" cy="21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9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5 </a:t>
            </a:r>
            <a:r>
              <a:rPr lang="ko-KR" altLang="en-US" dirty="0"/>
              <a:t>데이터 검증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검증은 계획된 데이터 검증 시나리오로 검증 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검증 모니터링 시스템 구현을 통하여 최상의 데이터 품질을 확보하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료의 추출에서부터 이행에 이르기까지 전체의 이행과정에서 자료의 누락이나 오류가 발생하지 않도록 철저히 검증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검증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3" name="직사각형 12"/>
          <p:cNvSpPr/>
          <p:nvPr/>
        </p:nvSpPr>
        <p:spPr bwMode="auto">
          <a:xfrm>
            <a:off x="227315" y="2060810"/>
            <a:ext cx="9491360" cy="1944269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lang="ko-KR" altLang="en-US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aphicFrame>
        <p:nvGraphicFramePr>
          <p:cNvPr id="14" name="Group 109"/>
          <p:cNvGraphicFramePr>
            <a:graphicFrameLocks noGrp="1"/>
          </p:cNvGraphicFramePr>
          <p:nvPr>
            <p:extLst/>
          </p:nvPr>
        </p:nvGraphicFramePr>
        <p:xfrm>
          <a:off x="250093" y="4149100"/>
          <a:ext cx="9419431" cy="2302979"/>
        </p:xfrm>
        <a:graphic>
          <a:graphicData uri="http://schemas.openxmlformats.org/drawingml/2006/table">
            <a:tbl>
              <a:tblPr/>
              <a:tblGrid>
                <a:gridCol w="1354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27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594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30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7974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검증 구분</a:t>
                      </a:r>
                    </a:p>
                  </a:txBody>
                  <a:tcPr marL="89993" marR="89993" marT="46799" marB="46799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검증데이터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검증 방법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담당자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427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Validation Check</a:t>
                      </a:r>
                    </a:p>
                  </a:txBody>
                  <a:tcPr marL="89993" marR="89993" marT="46799" marB="46799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체 테이블 및 컬럼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개발단계에서 작성한 검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Query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를 통한 전수데이터 검증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설계자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개발자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0497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ode Check</a:t>
                      </a:r>
                    </a:p>
                  </a:txBody>
                  <a:tcPr marL="89993" marR="89993" marT="46799" marB="46799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이블 별로 사전 정의된 코드와  건수 등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Fact Data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이블 별 검증시나리오에 의한 비계수 검증을 실시함으로써 중요 코드성 컬럼 등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Fact Data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에 대한 검증 실시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자동화 및 모니터링 시스템 구현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설계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개발자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4043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계수 검증</a:t>
                      </a:r>
                    </a:p>
                  </a:txBody>
                  <a:tcPr marL="89993" marR="89993" marT="46799" marB="46799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각 원장의 계수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각 원장의 금액계수 검증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자동화 및 모니터링 시스템 구현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설계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개발자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4043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건수 검증</a:t>
                      </a:r>
                    </a:p>
                  </a:txBody>
                  <a:tcPr marL="89993" marR="89993" marT="46799" marB="46799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이블 별 건수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추출건수와 적재건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Cross Check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자동화 및 모니터링 시스템 구현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개발자</a:t>
                      </a:r>
                    </a:p>
                  </a:txBody>
                  <a:tcPr marL="89993" marR="89993" marT="46799" marB="46799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사다리꼴 14"/>
          <p:cNvSpPr/>
          <p:nvPr/>
        </p:nvSpPr>
        <p:spPr bwMode="auto">
          <a:xfrm rot="16200000">
            <a:off x="1624267" y="2614718"/>
            <a:ext cx="1400886" cy="1080000"/>
          </a:xfrm>
          <a:prstGeom prst="trapezoid">
            <a:avLst>
              <a:gd name="adj" fmla="val 63806"/>
            </a:avLst>
          </a:prstGeom>
          <a:solidFill>
            <a:srgbClr val="FFFFFF">
              <a:lumMod val="85000"/>
            </a:srgbClr>
          </a:solidFill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lang="ko-KR" altLang="en-US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" name="사다리꼴 15"/>
          <p:cNvSpPr/>
          <p:nvPr/>
        </p:nvSpPr>
        <p:spPr bwMode="auto">
          <a:xfrm rot="5400000" flipH="1">
            <a:off x="6645410" y="2613561"/>
            <a:ext cx="1440000" cy="1080000"/>
          </a:xfrm>
          <a:prstGeom prst="trapezoid">
            <a:avLst>
              <a:gd name="adj" fmla="val 66667"/>
            </a:avLst>
          </a:prstGeom>
          <a:solidFill>
            <a:srgbClr val="FFFFFF">
              <a:lumMod val="85000"/>
            </a:srgbClr>
          </a:solidFill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lang="ko-KR" altLang="en-US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17" name="그림 16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340" y="2601060"/>
            <a:ext cx="1260000" cy="1260000"/>
          </a:xfrm>
          <a:prstGeom prst="rect">
            <a:avLst/>
          </a:prstGeom>
        </p:spPr>
      </p:pic>
      <p:sp>
        <p:nvSpPr>
          <p:cNvPr id="18" name="순서도: 대체 처리 17"/>
          <p:cNvSpPr/>
          <p:nvPr/>
        </p:nvSpPr>
        <p:spPr bwMode="auto">
          <a:xfrm>
            <a:off x="7383465" y="2276474"/>
            <a:ext cx="1260000" cy="288405"/>
          </a:xfrm>
          <a:prstGeom prst="flowChartAlternateProcess">
            <a:avLst/>
          </a:prstGeom>
          <a:solidFill>
            <a:srgbClr val="FFFFFF">
              <a:lumMod val="65000"/>
            </a:srgbClr>
          </a:solidFill>
          <a:ln w="63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ko-KR" altLang="en-US" sz="12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규 업무시스템</a:t>
            </a:r>
          </a:p>
        </p:txBody>
      </p:sp>
      <p:sp>
        <p:nvSpPr>
          <p:cNvPr id="19" name="순서도: 대체 처리 18"/>
          <p:cNvSpPr/>
          <p:nvPr/>
        </p:nvSpPr>
        <p:spPr bwMode="auto">
          <a:xfrm>
            <a:off x="2720690" y="2421058"/>
            <a:ext cx="4248590" cy="1440000"/>
          </a:xfrm>
          <a:prstGeom prst="flowChartAlternateProcess">
            <a:avLst/>
          </a:prstGeom>
          <a:solidFill>
            <a:srgbClr val="FFFFFF">
              <a:lumMod val="85000"/>
            </a:srgbClr>
          </a:solidFill>
          <a:ln w="6350" cap="flat" cmpd="sng" algn="ctr">
            <a:solidFill>
              <a:srgbClr val="FFFFFF">
                <a:lumMod val="85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lang="ko-KR" altLang="en-US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0" name="Rectangle 153"/>
          <p:cNvSpPr>
            <a:spLocks noChangeArrowheads="1"/>
          </p:cNvSpPr>
          <p:nvPr/>
        </p:nvSpPr>
        <p:spPr bwMode="gray">
          <a:xfrm>
            <a:off x="3224760" y="2696658"/>
            <a:ext cx="1458912" cy="376238"/>
          </a:xfrm>
          <a:prstGeom prst="roundRect">
            <a:avLst>
              <a:gd name="adj" fmla="val 6667"/>
            </a:avLst>
          </a:prstGeom>
          <a:gradFill rotWithShape="0">
            <a:gsLst>
              <a:gs pos="0">
                <a:srgbClr val="59B5ED"/>
              </a:gs>
              <a:gs pos="100000">
                <a:srgbClr val="1898E6"/>
              </a:gs>
            </a:gsLst>
            <a:lin ang="5400000" scaled="1"/>
          </a:gradFill>
          <a:ln w="9525" algn="ctr">
            <a:solidFill>
              <a:srgbClr val="0091EA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Validation Check</a:t>
            </a:r>
          </a:p>
        </p:txBody>
      </p:sp>
      <p:sp>
        <p:nvSpPr>
          <p:cNvPr id="21" name="Rectangle 153"/>
          <p:cNvSpPr>
            <a:spLocks noChangeArrowheads="1"/>
          </p:cNvSpPr>
          <p:nvPr/>
        </p:nvSpPr>
        <p:spPr bwMode="gray">
          <a:xfrm>
            <a:off x="5106741" y="2696658"/>
            <a:ext cx="1458912" cy="376238"/>
          </a:xfrm>
          <a:prstGeom prst="roundRect">
            <a:avLst>
              <a:gd name="adj" fmla="val 6667"/>
            </a:avLst>
          </a:prstGeom>
          <a:gradFill rotWithShape="0">
            <a:gsLst>
              <a:gs pos="0">
                <a:srgbClr val="59B5ED"/>
              </a:gs>
              <a:gs pos="100000">
                <a:srgbClr val="1898E6"/>
              </a:gs>
            </a:gsLst>
            <a:lin ang="5400000" scaled="1"/>
          </a:gradFill>
          <a:ln w="9525" algn="ctr">
            <a:solidFill>
              <a:srgbClr val="0091EA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Code Check</a:t>
            </a:r>
          </a:p>
        </p:txBody>
      </p:sp>
      <p:sp>
        <p:nvSpPr>
          <p:cNvPr id="22" name="Rectangle 153"/>
          <p:cNvSpPr>
            <a:spLocks noChangeArrowheads="1"/>
          </p:cNvSpPr>
          <p:nvPr/>
        </p:nvSpPr>
        <p:spPr bwMode="gray">
          <a:xfrm>
            <a:off x="3224760" y="3268792"/>
            <a:ext cx="1458912" cy="376238"/>
          </a:xfrm>
          <a:prstGeom prst="roundRect">
            <a:avLst>
              <a:gd name="adj" fmla="val 6667"/>
            </a:avLst>
          </a:prstGeom>
          <a:gradFill rotWithShape="0">
            <a:gsLst>
              <a:gs pos="0">
                <a:srgbClr val="59B5ED"/>
              </a:gs>
              <a:gs pos="100000">
                <a:srgbClr val="1898E6"/>
              </a:gs>
            </a:gsLst>
            <a:lin ang="5400000" scaled="1"/>
          </a:gradFill>
          <a:ln w="9525" algn="ctr">
            <a:solidFill>
              <a:srgbClr val="0091EA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계수 검증</a:t>
            </a:r>
          </a:p>
        </p:txBody>
      </p:sp>
      <p:sp>
        <p:nvSpPr>
          <p:cNvPr id="23" name="Rectangle 153"/>
          <p:cNvSpPr>
            <a:spLocks noChangeArrowheads="1"/>
          </p:cNvSpPr>
          <p:nvPr/>
        </p:nvSpPr>
        <p:spPr bwMode="gray">
          <a:xfrm>
            <a:off x="5106741" y="3268792"/>
            <a:ext cx="1458912" cy="376238"/>
          </a:xfrm>
          <a:prstGeom prst="roundRect">
            <a:avLst>
              <a:gd name="adj" fmla="val 6667"/>
            </a:avLst>
          </a:prstGeom>
          <a:gradFill rotWithShape="0">
            <a:gsLst>
              <a:gs pos="0">
                <a:srgbClr val="59B5ED"/>
              </a:gs>
              <a:gs pos="100000">
                <a:srgbClr val="1898E6"/>
              </a:gs>
            </a:gsLst>
            <a:lin ang="5400000" scaled="1"/>
          </a:gradFill>
          <a:ln w="9525" algn="ctr">
            <a:solidFill>
              <a:srgbClr val="0091EA"/>
            </a:solidFill>
            <a:round/>
            <a:headEnd/>
            <a:tailEnd/>
          </a:ln>
          <a:effectLst>
            <a:outerShdw blurRad="25400" dir="15840000" sy="23000" kx="-1200000" algn="bl" rotWithShape="0">
              <a:prstClr val="black">
                <a:alpha val="2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건수 검증</a:t>
            </a:r>
          </a:p>
        </p:txBody>
      </p:sp>
      <p:sp>
        <p:nvSpPr>
          <p:cNvPr id="25" name="직사각형 24"/>
          <p:cNvSpPr/>
          <p:nvPr/>
        </p:nvSpPr>
        <p:spPr bwMode="auto">
          <a:xfrm>
            <a:off x="1081707" y="3505522"/>
            <a:ext cx="1237769" cy="309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none" tIns="108000" anchor="ctr"/>
          <a:lstStyle/>
          <a:p>
            <a:pPr algn="ctr" latinLnBrk="0">
              <a:defRPr/>
            </a:pPr>
            <a:endParaRPr lang="en-US" altLang="ko-KR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직사각형 127"/>
          <p:cNvSpPr>
            <a:spLocks noChangeArrowheads="1"/>
          </p:cNvSpPr>
          <p:nvPr/>
        </p:nvSpPr>
        <p:spPr bwMode="auto">
          <a:xfrm>
            <a:off x="1081707" y="3586807"/>
            <a:ext cx="1222332" cy="188587"/>
          </a:xfrm>
          <a:prstGeom prst="rect">
            <a:avLst/>
          </a:prstGeom>
          <a:noFill/>
        </p:spPr>
        <p:txBody>
          <a:bodyPr wrap="none" tIns="108000" anchor="ctr">
            <a:scene3d>
              <a:camera prst="orthographicFront"/>
              <a:lightRig rig="threePt" dir="t"/>
            </a:scene3d>
            <a:sp3d extrusionH="12700" contourW="25400">
              <a:bevelT w="0"/>
              <a:contourClr>
                <a:schemeClr val="bg1"/>
              </a:contourClr>
            </a:sp3d>
          </a:bodyPr>
          <a:lstStyle/>
          <a:p>
            <a:pPr algn="ctr">
              <a:lnSpc>
                <a:spcPct val="80000"/>
              </a:lnSpc>
              <a:defRPr/>
            </a:pPr>
            <a:r>
              <a:rPr lang="en-US" altLang="ko-KR" sz="850" b="1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Monotype Sorts"/>
              </a:rPr>
              <a:t>Data Mart</a:t>
            </a:r>
            <a:endParaRPr lang="en-US" altLang="ko-KR" sz="850" b="1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Monotype Sorts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1081707" y="3237554"/>
            <a:ext cx="1237769" cy="309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none" tIns="108000" anchor="ctr"/>
          <a:lstStyle/>
          <a:p>
            <a:pPr algn="ctr" latinLnBrk="0">
              <a:defRPr/>
            </a:pPr>
            <a:endParaRPr lang="en-US" altLang="ko-KR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8" name="직사각형 127"/>
          <p:cNvSpPr>
            <a:spLocks noChangeArrowheads="1"/>
          </p:cNvSpPr>
          <p:nvPr/>
        </p:nvSpPr>
        <p:spPr bwMode="auto">
          <a:xfrm>
            <a:off x="1081771" y="3336247"/>
            <a:ext cx="1222332" cy="188587"/>
          </a:xfrm>
          <a:prstGeom prst="rect">
            <a:avLst/>
          </a:prstGeom>
          <a:noFill/>
        </p:spPr>
        <p:txBody>
          <a:bodyPr wrap="none" tIns="108000" anchor="ctr">
            <a:scene3d>
              <a:camera prst="orthographicFront"/>
              <a:lightRig rig="threePt" dir="t"/>
            </a:scene3d>
            <a:sp3d extrusionH="12700" contourW="25400">
              <a:bevelT w="0"/>
              <a:contourClr>
                <a:schemeClr val="bg1"/>
              </a:contourClr>
            </a:sp3d>
          </a:bodyPr>
          <a:lstStyle/>
          <a:p>
            <a:pPr algn="ctr">
              <a:lnSpc>
                <a:spcPct val="80000"/>
              </a:lnSpc>
              <a:defRPr/>
            </a:pPr>
            <a:r>
              <a:rPr lang="ko-KR" altLang="en-US" sz="850" b="1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Monotype Sorts"/>
              </a:rPr>
              <a:t>유관업무</a:t>
            </a:r>
            <a:endParaRPr lang="en-US" altLang="ko-KR" sz="850" b="1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Monotype Sorts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1081707" y="2956272"/>
            <a:ext cx="1237769" cy="309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none" tIns="108000" anchor="ctr"/>
          <a:lstStyle/>
          <a:p>
            <a:pPr algn="ctr" latinLnBrk="0">
              <a:defRPr/>
            </a:pPr>
            <a:endParaRPr lang="en-US" altLang="ko-KR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0" name="직사각형 127"/>
          <p:cNvSpPr>
            <a:spLocks noChangeArrowheads="1"/>
          </p:cNvSpPr>
          <p:nvPr/>
        </p:nvSpPr>
        <p:spPr bwMode="auto">
          <a:xfrm>
            <a:off x="1081707" y="3036712"/>
            <a:ext cx="1222332" cy="188587"/>
          </a:xfrm>
          <a:prstGeom prst="rect">
            <a:avLst/>
          </a:prstGeom>
          <a:noFill/>
        </p:spPr>
        <p:txBody>
          <a:bodyPr wrap="none" tIns="108000" anchor="ctr">
            <a:scene3d>
              <a:camera prst="orthographicFront"/>
              <a:lightRig rig="threePt" dir="t"/>
            </a:scene3d>
            <a:sp3d extrusionH="12700" contourW="25400">
              <a:bevelT w="0"/>
              <a:contourClr>
                <a:schemeClr val="bg1"/>
              </a:contourClr>
            </a:sp3d>
          </a:bodyPr>
          <a:lstStyle/>
          <a:p>
            <a:pPr algn="ctr">
              <a:lnSpc>
                <a:spcPct val="80000"/>
              </a:lnSpc>
              <a:defRPr/>
            </a:pPr>
            <a:r>
              <a:rPr lang="ko-KR" altLang="en-US" sz="850" b="1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Monotype Sorts"/>
              </a:rPr>
              <a:t>정보계</a:t>
            </a:r>
            <a:endParaRPr lang="en-US" altLang="ko-KR" sz="850" b="1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Monotype Sorts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1081707" y="2693632"/>
            <a:ext cx="1237769" cy="309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none" tIns="108000" anchor="ctr"/>
          <a:lstStyle/>
          <a:p>
            <a:pPr algn="ctr" latinLnBrk="0">
              <a:defRPr/>
            </a:pPr>
            <a:endParaRPr lang="en-US" altLang="ko-KR" sz="9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2" name="직사각형 127"/>
          <p:cNvSpPr>
            <a:spLocks noChangeArrowheads="1"/>
          </p:cNvSpPr>
          <p:nvPr/>
        </p:nvSpPr>
        <p:spPr bwMode="auto">
          <a:xfrm>
            <a:off x="1097144" y="2786983"/>
            <a:ext cx="1222332" cy="188587"/>
          </a:xfrm>
          <a:prstGeom prst="rect">
            <a:avLst/>
          </a:prstGeom>
          <a:noFill/>
        </p:spPr>
        <p:txBody>
          <a:bodyPr wrap="none" tIns="108000" anchor="ctr">
            <a:scene3d>
              <a:camera prst="orthographicFront"/>
              <a:lightRig rig="threePt" dir="t"/>
            </a:scene3d>
            <a:sp3d extrusionH="12700" contourW="25400">
              <a:bevelT w="0"/>
              <a:contourClr>
                <a:schemeClr val="bg1"/>
              </a:contourClr>
            </a:sp3d>
          </a:bodyPr>
          <a:lstStyle/>
          <a:p>
            <a:pPr algn="ctr">
              <a:lnSpc>
                <a:spcPct val="80000"/>
              </a:lnSpc>
              <a:defRPr/>
            </a:pPr>
            <a:r>
              <a:rPr lang="ko-KR" altLang="en-US" sz="850" b="1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Monotype Sorts"/>
              </a:rPr>
              <a:t>계정계</a:t>
            </a:r>
            <a:endParaRPr lang="en-US" altLang="ko-KR" sz="850" b="1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Monotype Sorts"/>
            </a:endParaRPr>
          </a:p>
        </p:txBody>
      </p:sp>
      <p:sp>
        <p:nvSpPr>
          <p:cNvPr id="33" name="순서도: 대체 처리 32"/>
          <p:cNvSpPr/>
          <p:nvPr/>
        </p:nvSpPr>
        <p:spPr bwMode="auto">
          <a:xfrm>
            <a:off x="1064460" y="2276475"/>
            <a:ext cx="1260000" cy="288405"/>
          </a:xfrm>
          <a:prstGeom prst="flowChartAlternateProcess">
            <a:avLst/>
          </a:prstGeom>
          <a:solidFill>
            <a:srgbClr val="FFFFFF">
              <a:lumMod val="65000"/>
            </a:srgbClr>
          </a:solidFill>
          <a:ln w="63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kumimoji="0" lang="ko-KR" altLang="en-US" sz="12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원천시스템</a:t>
            </a:r>
            <a:endParaRPr lang="ko-KR" altLang="en-US" sz="1200" kern="0" dirty="0" smtClean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pic>
        <p:nvPicPr>
          <p:cNvPr id="34" name="Picture 227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366069" y="4217410"/>
            <a:ext cx="352136" cy="18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09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46452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3 TO-BE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수립 </a:t>
            </a:r>
            <a:r>
              <a:rPr lang="en-US" altLang="ko-KR" dirty="0" smtClean="0"/>
              <a:t>(2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4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비대면 신규 계좌 개설 및 고객확인의무 재수행에 따른 비대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프로세스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5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비대면 고객확인 의무 이행 절차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8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0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1" name="Rectangle 21"/>
          <p:cNvSpPr>
            <a:spLocks noChangeArrowheads="1"/>
          </p:cNvSpPr>
          <p:nvPr/>
        </p:nvSpPr>
        <p:spPr bwMode="auto">
          <a:xfrm>
            <a:off x="1929942" y="2352026"/>
            <a:ext cx="1517531" cy="31264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비대면 고객확인의무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</a:b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(</a:t>
            </a:r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재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)</a:t>
            </a:r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수행 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Start</a:t>
            </a:r>
          </a:p>
        </p:txBody>
      </p:sp>
      <p:sp>
        <p:nvSpPr>
          <p:cNvPr id="22" name="Rectangle 29"/>
          <p:cNvSpPr>
            <a:spLocks noChangeArrowheads="1"/>
          </p:cNvSpPr>
          <p:nvPr/>
        </p:nvSpPr>
        <p:spPr bwMode="gray">
          <a:xfrm>
            <a:off x="3826024" y="2891505"/>
            <a:ext cx="1167332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요주의 대상 확인</a:t>
            </a:r>
          </a:p>
        </p:txBody>
      </p:sp>
      <p:sp>
        <p:nvSpPr>
          <p:cNvPr id="23" name="Rectangle 23"/>
          <p:cNvSpPr>
            <a:spLocks noChangeArrowheads="1"/>
          </p:cNvSpPr>
          <p:nvPr/>
        </p:nvSpPr>
        <p:spPr bwMode="gray">
          <a:xfrm>
            <a:off x="2105042" y="2906149"/>
            <a:ext cx="1167332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객공지의무</a:t>
            </a:r>
          </a:p>
        </p:txBody>
      </p:sp>
      <p:sp>
        <p:nvSpPr>
          <p:cNvPr id="25" name="순서도: 판단 36"/>
          <p:cNvSpPr>
            <a:spLocks noChangeArrowheads="1"/>
          </p:cNvSpPr>
          <p:nvPr/>
        </p:nvSpPr>
        <p:spPr bwMode="gray">
          <a:xfrm>
            <a:off x="3826024" y="3591730"/>
            <a:ext cx="1167332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거절대상 판단</a:t>
            </a:r>
          </a:p>
        </p:txBody>
      </p:sp>
      <p:sp>
        <p:nvSpPr>
          <p:cNvPr id="26" name="Rectangle 29"/>
          <p:cNvSpPr>
            <a:spLocks noChangeArrowheads="1"/>
          </p:cNvSpPr>
          <p:nvPr/>
        </p:nvSpPr>
        <p:spPr bwMode="gray">
          <a:xfrm>
            <a:off x="5368842" y="3607361"/>
            <a:ext cx="1268620" cy="31264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승인권자 승인 후 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거절</a:t>
            </a:r>
          </a:p>
        </p:txBody>
      </p:sp>
      <p:sp>
        <p:nvSpPr>
          <p:cNvPr id="27" name="Rectangle 23"/>
          <p:cNvSpPr>
            <a:spLocks noChangeArrowheads="1"/>
          </p:cNvSpPr>
          <p:nvPr/>
        </p:nvSpPr>
        <p:spPr bwMode="gray">
          <a:xfrm>
            <a:off x="2027219" y="3460273"/>
            <a:ext cx="1322975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객정보 확인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(</a:t>
            </a: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기존정보 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Display </a:t>
            </a: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등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)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8" name="Rectangle 29"/>
          <p:cNvSpPr>
            <a:spLocks noChangeArrowheads="1"/>
          </p:cNvSpPr>
          <p:nvPr/>
        </p:nvSpPr>
        <p:spPr bwMode="gray">
          <a:xfrm>
            <a:off x="3826024" y="4323217"/>
            <a:ext cx="1167332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객위험평가</a:t>
            </a:r>
          </a:p>
        </p:txBody>
      </p:sp>
      <p:sp>
        <p:nvSpPr>
          <p:cNvPr id="29" name="Rectangle 23"/>
          <p:cNvSpPr>
            <a:spLocks noChangeArrowheads="1"/>
          </p:cNvSpPr>
          <p:nvPr/>
        </p:nvSpPr>
        <p:spPr bwMode="gray">
          <a:xfrm>
            <a:off x="472897" y="4030028"/>
            <a:ext cx="1167332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변경 정보 입력</a:t>
            </a:r>
          </a:p>
        </p:txBody>
      </p:sp>
      <p:sp>
        <p:nvSpPr>
          <p:cNvPr id="30" name="순서도: 판단 170"/>
          <p:cNvSpPr>
            <a:spLocks noChangeArrowheads="1"/>
          </p:cNvSpPr>
          <p:nvPr/>
        </p:nvSpPr>
        <p:spPr bwMode="gray">
          <a:xfrm>
            <a:off x="2105042" y="4014396"/>
            <a:ext cx="1167332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변경 내역 존재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31" name="순서도: 판단 36"/>
          <p:cNvSpPr>
            <a:spLocks noChangeArrowheads="1"/>
          </p:cNvSpPr>
          <p:nvPr/>
        </p:nvSpPr>
        <p:spPr bwMode="gray">
          <a:xfrm>
            <a:off x="3826024" y="5023441"/>
            <a:ext cx="1167332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위험 고객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32" name="Rectangle 23"/>
          <p:cNvSpPr>
            <a:spLocks noChangeArrowheads="1"/>
          </p:cNvSpPr>
          <p:nvPr/>
        </p:nvSpPr>
        <p:spPr bwMode="gray">
          <a:xfrm>
            <a:off x="5368843" y="5039073"/>
            <a:ext cx="1268620" cy="312645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66438" tIns="99656" rIns="66438" bIns="99656" anchor="ctr"/>
          <a:lstStyle/>
          <a:p>
            <a:pPr algn="ctr">
              <a:defRPr/>
            </a:pPr>
            <a:r>
              <a:rPr lang="ko-KR" altLang="en-US" sz="900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추가정보 확인 및 </a:t>
            </a:r>
            <a:r>
              <a:rPr lang="en-US" altLang="ko-KR" sz="900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900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900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등록 </a:t>
            </a:r>
            <a:r>
              <a:rPr lang="en-US" altLang="ko-KR" sz="900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(EDD)</a:t>
            </a:r>
          </a:p>
        </p:txBody>
      </p:sp>
      <p:sp>
        <p:nvSpPr>
          <p:cNvPr id="33" name="Rectangle 23"/>
          <p:cNvSpPr>
            <a:spLocks noChangeArrowheads="1"/>
          </p:cNvSpPr>
          <p:nvPr/>
        </p:nvSpPr>
        <p:spPr bwMode="gray">
          <a:xfrm>
            <a:off x="472897" y="4615416"/>
            <a:ext cx="1167332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진위여부 확인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정보 입력</a:t>
            </a:r>
          </a:p>
        </p:txBody>
      </p:sp>
      <p:sp>
        <p:nvSpPr>
          <p:cNvPr id="34" name="순서도: 판단 170"/>
          <p:cNvSpPr>
            <a:spLocks noChangeArrowheads="1"/>
          </p:cNvSpPr>
          <p:nvPr/>
        </p:nvSpPr>
        <p:spPr bwMode="gray">
          <a:xfrm>
            <a:off x="2105042" y="4599784"/>
            <a:ext cx="1167332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진위 여부 확인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정보 존재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35" name="AutoShape 71"/>
          <p:cNvCxnSpPr>
            <a:cxnSpLocks noChangeShapeType="1"/>
            <a:stCxn id="72" idx="1"/>
            <a:endCxn id="75" idx="3"/>
          </p:cNvCxnSpPr>
          <p:nvPr/>
        </p:nvCxnSpPr>
        <p:spPr bwMode="auto">
          <a:xfrm flipH="1" flipV="1">
            <a:off x="1640229" y="5911244"/>
            <a:ext cx="464813" cy="3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AutoShape 105"/>
          <p:cNvCxnSpPr>
            <a:cxnSpLocks noChangeShapeType="1"/>
            <a:stCxn id="32" idx="2"/>
            <a:endCxn id="73" idx="0"/>
          </p:cNvCxnSpPr>
          <p:nvPr/>
        </p:nvCxnSpPr>
        <p:spPr bwMode="auto">
          <a:xfrm rot="5400000">
            <a:off x="5004820" y="4756589"/>
            <a:ext cx="403205" cy="1593463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AutoShape 71"/>
          <p:cNvCxnSpPr>
            <a:cxnSpLocks noChangeShapeType="1"/>
            <a:stCxn id="30" idx="2"/>
            <a:endCxn id="34" idx="0"/>
          </p:cNvCxnSpPr>
          <p:nvPr/>
        </p:nvCxnSpPr>
        <p:spPr bwMode="auto">
          <a:xfrm>
            <a:off x="2688707" y="4358305"/>
            <a:ext cx="0" cy="241479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8" name="AutoShape 71"/>
          <p:cNvCxnSpPr>
            <a:cxnSpLocks noChangeShapeType="1"/>
            <a:stCxn id="71" idx="2"/>
            <a:endCxn id="72" idx="0"/>
          </p:cNvCxnSpPr>
          <p:nvPr/>
        </p:nvCxnSpPr>
        <p:spPr bwMode="auto">
          <a:xfrm>
            <a:off x="2688707" y="5497815"/>
            <a:ext cx="0" cy="241479"/>
          </a:xfrm>
          <a:prstGeom prst="straightConnector1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" name="AutoShape 71"/>
          <p:cNvCxnSpPr>
            <a:cxnSpLocks noChangeShapeType="1"/>
            <a:stCxn id="34" idx="2"/>
            <a:endCxn id="71" idx="0"/>
          </p:cNvCxnSpPr>
          <p:nvPr/>
        </p:nvCxnSpPr>
        <p:spPr bwMode="auto">
          <a:xfrm>
            <a:off x="2688707" y="4943692"/>
            <a:ext cx="0" cy="241479"/>
          </a:xfrm>
          <a:prstGeom prst="straightConnector1">
            <a:avLst/>
          </a:prstGeom>
          <a:noFill/>
          <a:ln w="12700">
            <a:solidFill>
              <a:srgbClr val="808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" name="AutoShape 71"/>
          <p:cNvCxnSpPr>
            <a:cxnSpLocks noChangeShapeType="1"/>
            <a:stCxn id="34" idx="1"/>
            <a:endCxn id="33" idx="3"/>
          </p:cNvCxnSpPr>
          <p:nvPr/>
        </p:nvCxnSpPr>
        <p:spPr bwMode="auto">
          <a:xfrm flipH="1">
            <a:off x="1640229" y="4771739"/>
            <a:ext cx="464813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6" name="AutoShape 71"/>
          <p:cNvCxnSpPr>
            <a:cxnSpLocks noChangeShapeType="1"/>
            <a:stCxn id="30" idx="1"/>
            <a:endCxn id="29" idx="3"/>
          </p:cNvCxnSpPr>
          <p:nvPr/>
        </p:nvCxnSpPr>
        <p:spPr bwMode="auto">
          <a:xfrm flipH="1">
            <a:off x="1640229" y="4186351"/>
            <a:ext cx="464813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" name="AutoShape 71"/>
          <p:cNvCxnSpPr>
            <a:cxnSpLocks noChangeShapeType="1"/>
            <a:stCxn id="21" idx="2"/>
            <a:endCxn id="23" idx="0"/>
          </p:cNvCxnSpPr>
          <p:nvPr/>
        </p:nvCxnSpPr>
        <p:spPr bwMode="auto">
          <a:xfrm>
            <a:off x="2688707" y="2664669"/>
            <a:ext cx="0" cy="241479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AutoShape 71"/>
          <p:cNvCxnSpPr>
            <a:cxnSpLocks noChangeShapeType="1"/>
            <a:stCxn id="23" idx="2"/>
            <a:endCxn id="27" idx="0"/>
          </p:cNvCxnSpPr>
          <p:nvPr/>
        </p:nvCxnSpPr>
        <p:spPr bwMode="auto">
          <a:xfrm>
            <a:off x="2688707" y="3218793"/>
            <a:ext cx="0" cy="241479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AutoShape 71"/>
          <p:cNvCxnSpPr>
            <a:cxnSpLocks noChangeShapeType="1"/>
            <a:stCxn id="27" idx="2"/>
            <a:endCxn id="30" idx="0"/>
          </p:cNvCxnSpPr>
          <p:nvPr/>
        </p:nvCxnSpPr>
        <p:spPr bwMode="auto">
          <a:xfrm>
            <a:off x="2688707" y="3772916"/>
            <a:ext cx="0" cy="241479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0" name="AutoShape 105"/>
          <p:cNvCxnSpPr>
            <a:cxnSpLocks noChangeShapeType="1"/>
            <a:stCxn id="29" idx="2"/>
            <a:endCxn id="34" idx="0"/>
          </p:cNvCxnSpPr>
          <p:nvPr/>
        </p:nvCxnSpPr>
        <p:spPr bwMode="auto">
          <a:xfrm rot="16200000" flipH="1">
            <a:off x="1744080" y="3655155"/>
            <a:ext cx="257111" cy="1632145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1" name="AutoShape 105"/>
          <p:cNvCxnSpPr>
            <a:cxnSpLocks noChangeShapeType="1"/>
            <a:stCxn id="72" idx="3"/>
            <a:endCxn id="22" idx="1"/>
          </p:cNvCxnSpPr>
          <p:nvPr/>
        </p:nvCxnSpPr>
        <p:spPr bwMode="auto">
          <a:xfrm flipV="1">
            <a:off x="3272374" y="3047828"/>
            <a:ext cx="553651" cy="2863419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2" name="AutoShape 71"/>
          <p:cNvCxnSpPr>
            <a:cxnSpLocks noChangeShapeType="1"/>
            <a:stCxn id="22" idx="2"/>
            <a:endCxn id="25" idx="0"/>
          </p:cNvCxnSpPr>
          <p:nvPr/>
        </p:nvCxnSpPr>
        <p:spPr bwMode="auto">
          <a:xfrm>
            <a:off x="4409690" y="3204149"/>
            <a:ext cx="0" cy="38758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3" name="AutoShape 71"/>
          <p:cNvCxnSpPr>
            <a:cxnSpLocks noChangeShapeType="1"/>
            <a:stCxn id="25" idx="2"/>
            <a:endCxn id="28" idx="0"/>
          </p:cNvCxnSpPr>
          <p:nvPr/>
        </p:nvCxnSpPr>
        <p:spPr bwMode="auto">
          <a:xfrm>
            <a:off x="4409690" y="3935636"/>
            <a:ext cx="0" cy="38758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" name="AutoShape 71"/>
          <p:cNvCxnSpPr>
            <a:cxnSpLocks noChangeShapeType="1"/>
            <a:stCxn id="28" idx="2"/>
            <a:endCxn id="31" idx="0"/>
          </p:cNvCxnSpPr>
          <p:nvPr/>
        </p:nvCxnSpPr>
        <p:spPr bwMode="auto">
          <a:xfrm>
            <a:off x="4409690" y="4635860"/>
            <a:ext cx="0" cy="38758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AutoShape 71"/>
          <p:cNvCxnSpPr>
            <a:cxnSpLocks noChangeShapeType="1"/>
            <a:stCxn id="25" idx="3"/>
            <a:endCxn id="26" idx="1"/>
          </p:cNvCxnSpPr>
          <p:nvPr/>
        </p:nvCxnSpPr>
        <p:spPr bwMode="auto">
          <a:xfrm flipV="1">
            <a:off x="4993356" y="3763684"/>
            <a:ext cx="375487" cy="1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7" name="AutoShape 71"/>
          <p:cNvCxnSpPr>
            <a:cxnSpLocks noChangeShapeType="1"/>
            <a:stCxn id="31" idx="3"/>
            <a:endCxn id="32" idx="1"/>
          </p:cNvCxnSpPr>
          <p:nvPr/>
        </p:nvCxnSpPr>
        <p:spPr bwMode="auto">
          <a:xfrm>
            <a:off x="4993356" y="5195396"/>
            <a:ext cx="375487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AutoShape 71"/>
          <p:cNvCxnSpPr>
            <a:cxnSpLocks noChangeShapeType="1"/>
            <a:stCxn id="31" idx="2"/>
            <a:endCxn id="73" idx="0"/>
          </p:cNvCxnSpPr>
          <p:nvPr/>
        </p:nvCxnSpPr>
        <p:spPr bwMode="auto">
          <a:xfrm>
            <a:off x="4409690" y="5367347"/>
            <a:ext cx="0" cy="387577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AutoShape 71"/>
          <p:cNvCxnSpPr>
            <a:cxnSpLocks noChangeShapeType="1"/>
            <a:stCxn id="73" idx="3"/>
            <a:endCxn id="74" idx="1"/>
          </p:cNvCxnSpPr>
          <p:nvPr/>
        </p:nvCxnSpPr>
        <p:spPr bwMode="auto">
          <a:xfrm>
            <a:off x="4993356" y="5911245"/>
            <a:ext cx="375487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0" name="Text Box 48"/>
          <p:cNvSpPr txBox="1">
            <a:spLocks noChangeArrowheads="1"/>
          </p:cNvSpPr>
          <p:nvPr/>
        </p:nvSpPr>
        <p:spPr bwMode="auto">
          <a:xfrm>
            <a:off x="3227657" y="5935772"/>
            <a:ext cx="34673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Yes</a:t>
            </a:r>
          </a:p>
        </p:txBody>
      </p:sp>
      <p:sp>
        <p:nvSpPr>
          <p:cNvPr id="61" name="Text Box 49"/>
          <p:cNvSpPr txBox="1">
            <a:spLocks noChangeArrowheads="1"/>
          </p:cNvSpPr>
          <p:nvPr/>
        </p:nvSpPr>
        <p:spPr bwMode="auto">
          <a:xfrm>
            <a:off x="2696130" y="4314024"/>
            <a:ext cx="30345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No</a:t>
            </a:r>
          </a:p>
        </p:txBody>
      </p:sp>
      <p:sp>
        <p:nvSpPr>
          <p:cNvPr id="62" name="Text Box 49"/>
          <p:cNvSpPr txBox="1">
            <a:spLocks noChangeArrowheads="1"/>
          </p:cNvSpPr>
          <p:nvPr/>
        </p:nvSpPr>
        <p:spPr bwMode="auto">
          <a:xfrm>
            <a:off x="1714311" y="4781769"/>
            <a:ext cx="30345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No</a:t>
            </a:r>
          </a:p>
        </p:txBody>
      </p:sp>
      <p:sp>
        <p:nvSpPr>
          <p:cNvPr id="63" name="Text Box 49"/>
          <p:cNvSpPr txBox="1">
            <a:spLocks noChangeArrowheads="1"/>
          </p:cNvSpPr>
          <p:nvPr/>
        </p:nvSpPr>
        <p:spPr bwMode="auto">
          <a:xfrm>
            <a:off x="1714311" y="5682735"/>
            <a:ext cx="30345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No</a:t>
            </a:r>
          </a:p>
        </p:txBody>
      </p:sp>
      <p:sp>
        <p:nvSpPr>
          <p:cNvPr id="64" name="Text Box 49"/>
          <p:cNvSpPr txBox="1">
            <a:spLocks noChangeArrowheads="1"/>
          </p:cNvSpPr>
          <p:nvPr/>
        </p:nvSpPr>
        <p:spPr bwMode="auto">
          <a:xfrm>
            <a:off x="4088321" y="3967379"/>
            <a:ext cx="30345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No</a:t>
            </a:r>
          </a:p>
        </p:txBody>
      </p:sp>
      <p:sp>
        <p:nvSpPr>
          <p:cNvPr id="65" name="Text Box 49"/>
          <p:cNvSpPr txBox="1">
            <a:spLocks noChangeArrowheads="1"/>
          </p:cNvSpPr>
          <p:nvPr/>
        </p:nvSpPr>
        <p:spPr bwMode="auto">
          <a:xfrm>
            <a:off x="4082379" y="5348158"/>
            <a:ext cx="30345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No</a:t>
            </a:r>
          </a:p>
        </p:txBody>
      </p:sp>
      <p:sp>
        <p:nvSpPr>
          <p:cNvPr id="66" name="Text Box 48"/>
          <p:cNvSpPr txBox="1">
            <a:spLocks noChangeArrowheads="1"/>
          </p:cNvSpPr>
          <p:nvPr/>
        </p:nvSpPr>
        <p:spPr bwMode="auto">
          <a:xfrm>
            <a:off x="2697521" y="4896981"/>
            <a:ext cx="34673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Yes</a:t>
            </a:r>
          </a:p>
        </p:txBody>
      </p:sp>
      <p:sp>
        <p:nvSpPr>
          <p:cNvPr id="67" name="Text Box 48"/>
          <p:cNvSpPr txBox="1">
            <a:spLocks noChangeArrowheads="1"/>
          </p:cNvSpPr>
          <p:nvPr/>
        </p:nvSpPr>
        <p:spPr bwMode="auto">
          <a:xfrm>
            <a:off x="1692670" y="3957620"/>
            <a:ext cx="34673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Yes</a:t>
            </a:r>
          </a:p>
        </p:txBody>
      </p:sp>
      <p:sp>
        <p:nvSpPr>
          <p:cNvPr id="68" name="Text Box 48"/>
          <p:cNvSpPr txBox="1">
            <a:spLocks noChangeArrowheads="1"/>
          </p:cNvSpPr>
          <p:nvPr/>
        </p:nvSpPr>
        <p:spPr bwMode="auto">
          <a:xfrm>
            <a:off x="5004512" y="3569386"/>
            <a:ext cx="34673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Yes</a:t>
            </a:r>
          </a:p>
        </p:txBody>
      </p:sp>
      <p:sp>
        <p:nvSpPr>
          <p:cNvPr id="69" name="Text Box 48"/>
          <p:cNvSpPr txBox="1">
            <a:spLocks noChangeArrowheads="1"/>
          </p:cNvSpPr>
          <p:nvPr/>
        </p:nvSpPr>
        <p:spPr bwMode="auto">
          <a:xfrm>
            <a:off x="5004512" y="5010492"/>
            <a:ext cx="346730" cy="213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4376" tIns="42188" rIns="84376" bIns="42188">
            <a:spAutoFit/>
          </a:bodyPr>
          <a:lstStyle/>
          <a:p>
            <a:pPr algn="ctr" eaLnBrk="1" latinLnBrk="1" hangingPunct="1">
              <a:buFont typeface="Wingdings" pitchFamily="2" charset="2"/>
              <a:buNone/>
              <a:defRPr/>
            </a:pPr>
            <a:r>
              <a:rPr lang="en-US" altLang="ko-KR" sz="831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Yes</a:t>
            </a:r>
          </a:p>
        </p:txBody>
      </p:sp>
      <p:sp>
        <p:nvSpPr>
          <p:cNvPr id="70" name="설명선 2 78">
            <a:extLst>
              <a:ext uri="{FF2B5EF4-FFF2-40B4-BE49-F238E27FC236}">
                <a16:creationId xmlns:a16="http://schemas.microsoft.com/office/drawing/2014/main" id="{1923BBB6-5E20-4BFA-B813-D3A9527ACD85}"/>
              </a:ext>
            </a:extLst>
          </p:cNvPr>
          <p:cNvSpPr/>
          <p:nvPr/>
        </p:nvSpPr>
        <p:spPr bwMode="ltGray">
          <a:xfrm>
            <a:off x="5646320" y="3093113"/>
            <a:ext cx="1167332" cy="312645"/>
          </a:xfrm>
          <a:prstGeom prst="borderCallout2">
            <a:avLst>
              <a:gd name="adj1" fmla="val 161688"/>
              <a:gd name="adj2" fmla="val -15456"/>
              <a:gd name="adj3" fmla="val 68068"/>
              <a:gd name="adj4" fmla="val -11424"/>
              <a:gd name="adj5" fmla="val 69302"/>
              <a:gd name="adj6" fmla="val 22"/>
            </a:avLst>
          </a:prstGeom>
          <a:solidFill>
            <a:srgbClr val="FFFFFF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66438" tIns="99656" rIns="66438" bIns="99656" anchor="ctr"/>
          <a:lstStyle/>
          <a:p>
            <a:pPr algn="ctr"/>
            <a:r>
              <a:rPr lang="ko-KR" altLang="en-US" sz="900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거래 거절 시 </a:t>
            </a:r>
            <a:endParaRPr lang="en-US" altLang="ko-KR" sz="900" b="1" dirty="0" smtClean="0"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/>
            <a:r>
              <a:rPr lang="ko-KR" altLang="en-US" sz="900" b="1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계좌 </a:t>
            </a:r>
            <a:r>
              <a:rPr lang="ko-KR" altLang="en-US" sz="900" b="1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이용 불가</a:t>
            </a:r>
          </a:p>
        </p:txBody>
      </p:sp>
      <p:sp>
        <p:nvSpPr>
          <p:cNvPr id="71" name="Rectangle 29">
            <a:extLst>
              <a:ext uri="{FF2B5EF4-FFF2-40B4-BE49-F238E27FC236}">
                <a16:creationId xmlns:a16="http://schemas.microsoft.com/office/drawing/2014/main" id="{BB228824-9C66-4C8D-B285-B030817223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105042" y="5185170"/>
            <a:ext cx="1167332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진위여부 확인</a:t>
            </a:r>
          </a:p>
        </p:txBody>
      </p:sp>
      <p:sp>
        <p:nvSpPr>
          <p:cNvPr id="72" name="순서도: 판단 170"/>
          <p:cNvSpPr>
            <a:spLocks noChangeArrowheads="1"/>
          </p:cNvSpPr>
          <p:nvPr/>
        </p:nvSpPr>
        <p:spPr bwMode="gray">
          <a:xfrm>
            <a:off x="2105042" y="5739292"/>
            <a:ext cx="1167332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진위여부 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확인 성공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3" name="Rectangle 29"/>
          <p:cNvSpPr>
            <a:spLocks noChangeArrowheads="1"/>
          </p:cNvSpPr>
          <p:nvPr/>
        </p:nvSpPr>
        <p:spPr bwMode="gray">
          <a:xfrm>
            <a:off x="3826024" y="5754923"/>
            <a:ext cx="1167332" cy="312644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객확인의무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수행일자 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Update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4" name="Rectangle 21"/>
          <p:cNvSpPr>
            <a:spLocks noChangeArrowheads="1"/>
          </p:cNvSpPr>
          <p:nvPr/>
        </p:nvSpPr>
        <p:spPr bwMode="auto">
          <a:xfrm>
            <a:off x="5368843" y="5754923"/>
            <a:ext cx="1268620" cy="312644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비대면 고객확인의무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</a:b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(</a:t>
            </a:r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재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)</a:t>
            </a:r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수행 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End</a:t>
            </a:r>
          </a:p>
        </p:txBody>
      </p:sp>
      <p:sp>
        <p:nvSpPr>
          <p:cNvPr id="75" name="모서리가 둥근 직사각형 138">
            <a:extLst>
              <a:ext uri="{FF2B5EF4-FFF2-40B4-BE49-F238E27FC236}">
                <a16:creationId xmlns:a16="http://schemas.microsoft.com/office/drawing/2014/main" id="{0E15D17F-681D-4B20-9A7D-FD72F73B1574}"/>
              </a:ext>
            </a:extLst>
          </p:cNvPr>
          <p:cNvSpPr/>
          <p:nvPr/>
        </p:nvSpPr>
        <p:spPr bwMode="ltGray">
          <a:xfrm>
            <a:off x="472897" y="5754922"/>
            <a:ext cx="1167332" cy="312644"/>
          </a:xfrm>
          <a:prstGeom prst="round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진위여부 확인 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실패 등록</a:t>
            </a:r>
          </a:p>
        </p:txBody>
      </p:sp>
      <p:cxnSp>
        <p:nvCxnSpPr>
          <p:cNvPr id="76" name="AutoShape 105">
            <a:extLst>
              <a:ext uri="{FF2B5EF4-FFF2-40B4-BE49-F238E27FC236}">
                <a16:creationId xmlns:a16="http://schemas.microsoft.com/office/drawing/2014/main" id="{29CEC1B1-90B9-4644-8C08-782A2E5E9F9C}"/>
              </a:ext>
            </a:extLst>
          </p:cNvPr>
          <p:cNvCxnSpPr>
            <a:cxnSpLocks noChangeShapeType="1"/>
            <a:stCxn id="33" idx="2"/>
            <a:endCxn id="71" idx="0"/>
          </p:cNvCxnSpPr>
          <p:nvPr/>
        </p:nvCxnSpPr>
        <p:spPr bwMode="auto">
          <a:xfrm rot="16200000" flipH="1">
            <a:off x="1744081" y="4240542"/>
            <a:ext cx="257109" cy="1632145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1840" y="2073406"/>
            <a:ext cx="2717684" cy="4420800"/>
            <a:chOff x="6951840" y="1844822"/>
            <a:chExt cx="2717684" cy="4420090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81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비대면 고객확인 고려대상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82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85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10137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확인 대상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확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6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52936"/>
            <a:ext cx="225945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규계좌개설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자금융서비스 신청 등 고객확인의무 대상 업무 확인</a:t>
            </a:r>
          </a:p>
        </p:txBody>
      </p:sp>
      <p:pic>
        <p:nvPicPr>
          <p:cNvPr id="87" name="그림 86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cxnSp>
        <p:nvCxnSpPr>
          <p:cNvPr id="83" name="직선 연결선 82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33234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그룹 87"/>
          <p:cNvGrpSpPr/>
          <p:nvPr/>
        </p:nvGrpSpPr>
        <p:grpSpPr>
          <a:xfrm>
            <a:off x="7113487" y="3473194"/>
            <a:ext cx="2448025" cy="577877"/>
            <a:chOff x="7113487" y="3681028"/>
            <a:chExt cx="2448025" cy="577877"/>
          </a:xfrm>
        </p:grpSpPr>
        <p:sp>
          <p:nvSpPr>
            <p:cNvPr id="89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3686607"/>
              <a:ext cx="71942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적용매체 정의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0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951128"/>
              <a:ext cx="220126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인터넷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모바일 등 비대면 고객확인의무 대상 매체 정의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91" name="그림 90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13487" y="3681028"/>
              <a:ext cx="318769" cy="318769"/>
            </a:xfrm>
            <a:prstGeom prst="rect">
              <a:avLst/>
            </a:prstGeom>
          </p:spPr>
        </p:pic>
      </p:grpSp>
      <p:cxnSp>
        <p:nvCxnSpPr>
          <p:cNvPr id="102" name="직선 연결선 101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41593" y="4191923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03" name="그룹 102"/>
          <p:cNvGrpSpPr/>
          <p:nvPr/>
        </p:nvGrpSpPr>
        <p:grpSpPr>
          <a:xfrm>
            <a:off x="7360248" y="4338354"/>
            <a:ext cx="2201264" cy="1059610"/>
            <a:chOff x="7360248" y="3686607"/>
            <a:chExt cx="2201264" cy="1059610"/>
          </a:xfrm>
        </p:grpSpPr>
        <p:sp>
          <p:nvSpPr>
            <p:cNvPr id="104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3686607"/>
              <a:ext cx="13571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상고객 및 신원확인 방법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05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951128"/>
              <a:ext cx="2201264" cy="795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계좌개설 등 실명확인 대상 업무에 대해서는 금융위원회 가이드 라인에 따라 개인 내국인에 대해 신원확인 방법 정의</a:t>
              </a:r>
              <a:endPara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카드 발급 등 실명확인 비대상 업무에 대한 대상 고객별 신원확인 방법 정의 필요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107" name="그룹 106"/>
          <p:cNvGrpSpPr/>
          <p:nvPr/>
        </p:nvGrpSpPr>
        <p:grpSpPr>
          <a:xfrm>
            <a:off x="7356019" y="5685247"/>
            <a:ext cx="2201264" cy="572298"/>
            <a:chOff x="7360248" y="3686607"/>
            <a:chExt cx="2201264" cy="572298"/>
          </a:xfrm>
        </p:grpSpPr>
        <p:sp>
          <p:nvSpPr>
            <p:cNvPr id="108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3686607"/>
              <a:ext cx="63767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재 이행 방법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09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951128"/>
              <a:ext cx="220126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확인의무 재 이행 도래 고객에 대한 신원확인 및 검증 범위 정의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cxnSp>
        <p:nvCxnSpPr>
          <p:cNvPr id="111" name="직선 연결선 110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41593" y="5538816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14" name="그림 113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9258" y="4329640"/>
            <a:ext cx="320400" cy="320400"/>
          </a:xfrm>
          <a:prstGeom prst="rect">
            <a:avLst/>
          </a:prstGeom>
        </p:spPr>
      </p:pic>
      <p:pic>
        <p:nvPicPr>
          <p:cNvPr id="115" name="그림 114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7627" y="5676532"/>
            <a:ext cx="320400" cy="320400"/>
          </a:xfrm>
          <a:prstGeom prst="rect">
            <a:avLst/>
          </a:prstGeom>
        </p:spPr>
      </p:pic>
      <p:sp>
        <p:nvSpPr>
          <p:cNvPr id="9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9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92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564053" y="206538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5594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5 </a:t>
            </a:r>
            <a:r>
              <a:rPr lang="ko-KR" altLang="en-US" dirty="0"/>
              <a:t>데이터 검증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2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이행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low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서 각 작업 단계별로 추출 및 적재 데이터 정합성 검증을 수행하여 완벽한 이행이 되도록 진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이행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단계별 검증 방법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35" name="Group 66"/>
          <p:cNvGraphicFramePr>
            <a:graphicFrameLocks noGrp="1"/>
          </p:cNvGraphicFramePr>
          <p:nvPr>
            <p:extLst/>
          </p:nvPr>
        </p:nvGraphicFramePr>
        <p:xfrm>
          <a:off x="247851" y="2168861"/>
          <a:ext cx="9421673" cy="4284474"/>
        </p:xfrm>
        <a:graphic>
          <a:graphicData uri="http://schemas.openxmlformats.org/drawingml/2006/table">
            <a:tbl>
              <a:tblPr/>
              <a:tblGrid>
                <a:gridCol w="9991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9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5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676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1184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4000" marR="54000" marT="18000" marB="18000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검증 시점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목적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검증 방법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2829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추출 검증</a:t>
                      </a:r>
                    </a:p>
                  </a:txBody>
                  <a:tcPr marL="90000" marR="54000" marT="18000" marB="18000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Sourc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시스템에서 데이터 추출 후 검증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시스템에서 추출된 데이터의 정확성 확인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후 이행 결과에 대한 정합성 판단 기준으로 활용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대상 데이터에 대하여 각 테이블 별 건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총 금액 등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Measur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값을 기준으로 검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Repor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를 작성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성된 검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Repor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의 정확성은 최초 파일 추출 시 확인하며 이후 별도의 검증작업은 없음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961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전송 검증</a:t>
                      </a:r>
                    </a:p>
                  </a:txBody>
                  <a:tcPr marL="90000" marR="54000" marT="18000" marB="18000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이행 서버로 전송 완료 후 검증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전송 시 데이터 유실 확인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송 전 데이터 사이즈와 전송 후 데이터 사이즈 비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송 완료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Check Fil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을 통한 전송 완료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단계에서 수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단계에서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Log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또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Check Fil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만 검증 수행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61517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변환 검증</a:t>
                      </a:r>
                    </a:p>
                  </a:txBody>
                  <a:tcPr marL="90000" marR="54000" marT="18000" marB="18000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코드값 변환 후 검증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ETL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을 이용해 데이터 적재를 수행하고 그에 따른 데이터 유실 및 변질 여부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Fil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추출 방식이 아닌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에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taging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으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Data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직접 적재 시 추출 검증과 전송 검증은 생략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의 건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금액과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taging DB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적재 건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금액을 비교 검증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Fil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추출 방식인 경우 추출 검증에서 작성한 검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Repor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를 활용하여 검증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 Sampl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레코드에 의해 각 항목의 코드변환 정당성 여부 검증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요건정의서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요건에 근거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보고서를 작성하여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rge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보고서와 비교할 수 있도록 준비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스트 단계에서 수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실제 이행 단계에서는 정상종료 여부로 확인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2593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적재 검증</a:t>
                      </a:r>
                    </a:p>
                  </a:txBody>
                  <a:tcPr marL="90000" marR="54000" marT="18000" marB="18000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Targe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 테이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</a:b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에 대한 데이터 검증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이행이 완료되었다 하더라도 데이터 이행 과정에서 수행한 검증작업은 단순 매핑 결과에 대한 총량 검증 역할 밖에 할 수 없음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따라서 이후 추가 검증과정을 통하여 데이터 이행의 정합성을 검증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 Sampl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레코드의 모든 컬럼과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rget DB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의 해당 컬럼을 비교 검증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rge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테이블 상호간의 논리적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물리적인 관계의 정합성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말을 통한 거래 검증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특정 목적을 위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ampl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조회 및 상세 검증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86390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통합 검증</a:t>
                      </a:r>
                    </a:p>
                  </a:txBody>
                  <a:tcPr marL="90000" marR="54000" marT="18000" marB="18000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매핑 후 검증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</a:b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타겟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SAM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또는 타겟 테이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)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매핑정의서에 정의된 내용이 이행프로그램에 정확히 반영하였는지 확인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매핑정의서의 오류 확인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오류데이터를 분석하여 사전정비 또는 이행규칙 오류 수정 반영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매핑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In/Ou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ampl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레코드의 각 항목에 대해 이행규칙 기준 검증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요건정의서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rge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요건에 근거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rge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보고서를 작성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ourc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보고서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rge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검증보고서의 비교 검증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프로그램 및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Eye check)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실제 이행 단계에서는 정상종료 여부로 확인</a:t>
                      </a:r>
                    </a:p>
                  </a:txBody>
                  <a:tcPr marL="54000" marR="54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6" name="AutoShape 174"/>
          <p:cNvSpPr>
            <a:spLocks noChangeArrowheads="1"/>
          </p:cNvSpPr>
          <p:nvPr/>
        </p:nvSpPr>
        <p:spPr bwMode="gray">
          <a:xfrm>
            <a:off x="341990" y="2681708"/>
            <a:ext cx="144463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92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1" kern="0" dirty="0">
                <a:solidFill>
                  <a:srgbClr val="FFFFFF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37" name="AutoShape 174"/>
          <p:cNvSpPr>
            <a:spLocks noChangeArrowheads="1"/>
          </p:cNvSpPr>
          <p:nvPr/>
        </p:nvSpPr>
        <p:spPr bwMode="gray">
          <a:xfrm>
            <a:off x="341990" y="3300708"/>
            <a:ext cx="144463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92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1" kern="0" dirty="0">
                <a:solidFill>
                  <a:srgbClr val="FFFFFF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38" name="AutoShape 174"/>
          <p:cNvSpPr>
            <a:spLocks noChangeArrowheads="1"/>
          </p:cNvSpPr>
          <p:nvPr/>
        </p:nvSpPr>
        <p:spPr bwMode="gray">
          <a:xfrm>
            <a:off x="341990" y="4100200"/>
            <a:ext cx="144463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92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1" kern="0" dirty="0">
                <a:solidFill>
                  <a:srgbClr val="FFFFFF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46" name="AutoShape 174"/>
          <p:cNvSpPr>
            <a:spLocks noChangeArrowheads="1"/>
          </p:cNvSpPr>
          <p:nvPr/>
        </p:nvSpPr>
        <p:spPr bwMode="gray">
          <a:xfrm>
            <a:off x="341990" y="5065400"/>
            <a:ext cx="144463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92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1" kern="0" dirty="0">
                <a:solidFill>
                  <a:srgbClr val="FFFFFF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47" name="AutoShape 174"/>
          <p:cNvSpPr>
            <a:spLocks noChangeArrowheads="1"/>
          </p:cNvSpPr>
          <p:nvPr/>
        </p:nvSpPr>
        <p:spPr bwMode="gray">
          <a:xfrm>
            <a:off x="341990" y="5929000"/>
            <a:ext cx="144463" cy="144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9EF6"/>
              </a:gs>
              <a:gs pos="100000">
                <a:srgbClr val="00669E"/>
              </a:gs>
            </a:gsLst>
            <a:lin ang="5400000" scaled="1"/>
          </a:gradFill>
          <a:ln w="9525" algn="ctr">
            <a:solidFill>
              <a:srgbClr val="00517E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14192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1" kern="0" dirty="0">
                <a:solidFill>
                  <a:srgbClr val="FFFFFF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5</a:t>
            </a:r>
          </a:p>
        </p:txBody>
      </p:sp>
      <p:pic>
        <p:nvPicPr>
          <p:cNvPr id="48" name="Picture 227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92518" y="2175616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2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54018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5 </a:t>
            </a:r>
            <a:r>
              <a:rPr lang="ko-KR" altLang="en-US" dirty="0"/>
              <a:t>데이터 검증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3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0450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품질 측정 기준을 수립하고 데이터의 중요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어플리케이션 영향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의 시급성을 고려하여 품질 측정 대상을 정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이행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단계별 검증 방법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23" name="Group 351"/>
          <p:cNvGraphicFramePr>
            <a:graphicFrameLocks noGrp="1"/>
          </p:cNvGraphicFramePr>
          <p:nvPr>
            <p:extLst/>
          </p:nvPr>
        </p:nvGraphicFramePr>
        <p:xfrm>
          <a:off x="254000" y="2322825"/>
          <a:ext cx="9361487" cy="4130508"/>
        </p:xfrm>
        <a:graphic>
          <a:graphicData uri="http://schemas.openxmlformats.org/drawingml/2006/table">
            <a:tbl>
              <a:tblPr/>
              <a:tblGrid>
                <a:gridCol w="1059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16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76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031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401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설명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상세구분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상세내용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22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완전성</a:t>
                      </a:r>
                    </a:p>
                  </a:txBody>
                  <a:tcPr marL="53999" marR="53999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값이 채워져 있음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독 완전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컬럼 값이 항상 존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Not Null)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2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건 완전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건에 따라 컬럼 값이 존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Not Null)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4227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유효성</a:t>
                      </a:r>
                    </a:p>
                  </a:txBody>
                  <a:tcPr marL="53999" marR="53999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값이 업무규칙에 만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범위 유효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컬럼 값이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Rang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내에 존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42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날짜 유효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유효한 날짜 값을 가져야 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42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포맷 유효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포맷에 맞게 값이 존재하여야 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42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코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유효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코드에 정의된 값을 가져야 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4227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일관성</a:t>
                      </a:r>
                    </a:p>
                  </a:txBody>
                  <a:tcPr marL="53999" marR="53999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값이 다른 데이터와 모순되지 않음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참조 무결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다른 테이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PK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와 같은 도메인 속성을 가질 때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null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거나 존재하는 값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42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컬럼간 일관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동일 테이블 또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개 이상의 테이블 간의 컬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값이 모순되지 않아야 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42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동 일관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가 이동되는 경우 잘못 변형되는 데이터가 있는지를 평가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422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유일성</a:t>
                      </a:r>
                    </a:p>
                  </a:txBody>
                  <a:tcPr marL="53999" marR="53999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해당 데이터는 유일해야 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독 유일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일 컬럼에 대해서 데이터 값의 중복여부를 점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42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복합 유일성</a:t>
                      </a: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복수의 컬럼 값 조합으로 구성된 데이터 값의 중복여부를 점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53999" marR="53999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25" name="Picture 227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56514" y="2315769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254000" y="2114900"/>
            <a:ext cx="1476554" cy="169277"/>
            <a:chOff x="307914" y="1927833"/>
            <a:chExt cx="1476554" cy="169277"/>
          </a:xfrm>
        </p:grpSpPr>
        <p:sp>
          <p:nvSpPr>
            <p:cNvPr id="19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1259960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품질 측정 기준</a:t>
              </a:r>
            </a:p>
          </p:txBody>
        </p:sp>
        <p:grpSp>
          <p:nvGrpSpPr>
            <p:cNvPr id="26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27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29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  <p:sp>
              <p:nvSpPr>
                <p:cNvPr id="30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</p:grpSp>
          <p:sp>
            <p:nvSpPr>
              <p:cNvPr id="28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/>
              </a:p>
            </p:txBody>
          </p:sp>
        </p:grpSp>
      </p:grpSp>
      <p:sp>
        <p:nvSpPr>
          <p:cNvPr id="2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3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1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019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5 </a:t>
            </a:r>
            <a:r>
              <a:rPr lang="ko-KR" altLang="en-US" dirty="0"/>
              <a:t>데이터 검증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4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식별된 원천 시스템 오류 데이터는 해당 시스템에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leans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을 우선 검토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원천시스템에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leans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작업 불가 시에는 데이터 이행 변환을 통하여 데이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leans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작업을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오류 처리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프로세스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20" name="Picture 136" descr="소프트웨어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288" y="5193196"/>
            <a:ext cx="2101850" cy="1243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8" name="Group 134"/>
          <p:cNvGraphicFramePr>
            <a:graphicFrameLocks noGrp="1"/>
          </p:cNvGraphicFramePr>
          <p:nvPr>
            <p:extLst/>
          </p:nvPr>
        </p:nvGraphicFramePr>
        <p:xfrm>
          <a:off x="5060951" y="2349498"/>
          <a:ext cx="4608574" cy="4137956"/>
        </p:xfrm>
        <a:graphic>
          <a:graphicData uri="http://schemas.openxmlformats.org/drawingml/2006/table">
            <a:tbl>
              <a:tblPr/>
              <a:tblGrid>
                <a:gridCol w="10426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65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66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원천 데이터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오류 패턴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정제 방안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350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원천 데이터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행 오류</a:t>
                      </a: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오너십이 있는 현업 업무 담당자가 오류내역을 확인하고 작업요청서를 통해 운영팀으로 수정 요청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817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변경적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프로그램 오류</a:t>
                      </a: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변경적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프로그램을 수정 조치하여 오류 데이터 추가 발생 방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오류 데이터에 대한 수정 조치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889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원천시스템 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치 불가 데이터</a:t>
                      </a: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원천시스템 정제불가에 따른 이행 매핑 변환 정제 수행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정제 규칙이 없고 오류를 무시해도 될 시 정제 불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간주하고 정제불가 사유와 함께 별도 등록하여 관리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07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행 시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정제 불가</a:t>
                      </a: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현업 업무 담당자가 오류 내역과 데이트를 확인한 후 정제 불가 목록에 추가하고 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 개발 담당자는 정제 불가 목록을 참조하여 이행 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043033"/>
                  </a:ext>
                </a:extLst>
              </a:tr>
            </a:tbl>
          </a:graphicData>
        </a:graphic>
      </p:graphicFrame>
      <p:sp>
        <p:nvSpPr>
          <p:cNvPr id="81" name="AutoShape 151"/>
          <p:cNvSpPr>
            <a:spLocks noChangeArrowheads="1"/>
          </p:cNvSpPr>
          <p:nvPr/>
        </p:nvSpPr>
        <p:spPr bwMode="gray">
          <a:xfrm>
            <a:off x="3836988" y="2349500"/>
            <a:ext cx="1008063" cy="277813"/>
          </a:xfrm>
          <a:prstGeom prst="roundRect">
            <a:avLst>
              <a:gd name="adj" fmla="val 19528"/>
            </a:avLst>
          </a:prstGeom>
          <a:gradFill rotWithShape="1">
            <a:gsLst>
              <a:gs pos="0">
                <a:srgbClr val="B7E4FF"/>
              </a:gs>
              <a:gs pos="100000">
                <a:srgbClr val="81C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itchFamily="18" charset="0"/>
            </a:endParaRPr>
          </a:p>
        </p:txBody>
      </p:sp>
      <p:sp>
        <p:nvSpPr>
          <p:cNvPr id="82" name="Rectangle 152"/>
          <p:cNvSpPr>
            <a:spLocks noChangeArrowheads="1"/>
          </p:cNvSpPr>
          <p:nvPr/>
        </p:nvSpPr>
        <p:spPr bwMode="gray">
          <a:xfrm>
            <a:off x="4160005" y="2386306"/>
            <a:ext cx="37029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ko-KR" sz="1100" kern="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rPr>
              <a:t>개발팀</a:t>
            </a:r>
          </a:p>
        </p:txBody>
      </p:sp>
      <p:sp>
        <p:nvSpPr>
          <p:cNvPr id="83" name="Rectangle 153"/>
          <p:cNvSpPr>
            <a:spLocks noChangeArrowheads="1"/>
          </p:cNvSpPr>
          <p:nvPr/>
        </p:nvSpPr>
        <p:spPr bwMode="gray">
          <a:xfrm>
            <a:off x="3836988" y="2598738"/>
            <a:ext cx="1008063" cy="3925888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itchFamily="18" charset="0"/>
            </a:endParaRPr>
          </a:p>
        </p:txBody>
      </p:sp>
      <p:sp>
        <p:nvSpPr>
          <p:cNvPr id="77" name="AutoShape 151"/>
          <p:cNvSpPr>
            <a:spLocks noChangeArrowheads="1"/>
          </p:cNvSpPr>
          <p:nvPr/>
        </p:nvSpPr>
        <p:spPr bwMode="gray">
          <a:xfrm>
            <a:off x="2740025" y="2349500"/>
            <a:ext cx="1008063" cy="277813"/>
          </a:xfrm>
          <a:prstGeom prst="roundRect">
            <a:avLst>
              <a:gd name="adj" fmla="val 19528"/>
            </a:avLst>
          </a:prstGeom>
          <a:gradFill rotWithShape="1">
            <a:gsLst>
              <a:gs pos="0">
                <a:srgbClr val="B7E4FF"/>
              </a:gs>
              <a:gs pos="100000">
                <a:srgbClr val="81C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itchFamily="18" charset="0"/>
            </a:endParaRPr>
          </a:p>
        </p:txBody>
      </p:sp>
      <p:sp>
        <p:nvSpPr>
          <p:cNvPr id="79" name="Rectangle 152"/>
          <p:cNvSpPr>
            <a:spLocks noChangeArrowheads="1"/>
          </p:cNvSpPr>
          <p:nvPr/>
        </p:nvSpPr>
        <p:spPr bwMode="gray">
          <a:xfrm>
            <a:off x="2937545" y="2386306"/>
            <a:ext cx="61715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ko-KR" sz="1100" kern="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rPr>
              <a:t>운영담당자</a:t>
            </a:r>
          </a:p>
        </p:txBody>
      </p:sp>
      <p:sp>
        <p:nvSpPr>
          <p:cNvPr id="80" name="Rectangle 153"/>
          <p:cNvSpPr>
            <a:spLocks noChangeArrowheads="1"/>
          </p:cNvSpPr>
          <p:nvPr/>
        </p:nvSpPr>
        <p:spPr bwMode="gray">
          <a:xfrm>
            <a:off x="2740025" y="2598738"/>
            <a:ext cx="1008063" cy="3925888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itchFamily="18" charset="0"/>
            </a:endParaRPr>
          </a:p>
        </p:txBody>
      </p:sp>
      <p:sp>
        <p:nvSpPr>
          <p:cNvPr id="74" name="AutoShape 151"/>
          <p:cNvSpPr>
            <a:spLocks noChangeArrowheads="1"/>
          </p:cNvSpPr>
          <p:nvPr/>
        </p:nvSpPr>
        <p:spPr bwMode="gray">
          <a:xfrm>
            <a:off x="1643063" y="2349500"/>
            <a:ext cx="1006475" cy="277813"/>
          </a:xfrm>
          <a:prstGeom prst="roundRect">
            <a:avLst>
              <a:gd name="adj" fmla="val 19528"/>
            </a:avLst>
          </a:prstGeom>
          <a:gradFill rotWithShape="1">
            <a:gsLst>
              <a:gs pos="0">
                <a:srgbClr val="B7E4FF"/>
              </a:gs>
              <a:gs pos="100000">
                <a:srgbClr val="81C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itchFamily="18" charset="0"/>
            </a:endParaRPr>
          </a:p>
        </p:txBody>
      </p:sp>
      <p:sp>
        <p:nvSpPr>
          <p:cNvPr id="75" name="Rectangle 152"/>
          <p:cNvSpPr>
            <a:spLocks noChangeArrowheads="1"/>
          </p:cNvSpPr>
          <p:nvPr/>
        </p:nvSpPr>
        <p:spPr bwMode="gray">
          <a:xfrm>
            <a:off x="1899238" y="2386013"/>
            <a:ext cx="499971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ko-KR" sz="1100" kern="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rPr>
              <a:t>현업</a:t>
            </a:r>
            <a:r>
              <a:rPr kumimoji="0" lang="ko-KR" altLang="en-US" sz="1100" kern="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rPr>
              <a:t>부서</a:t>
            </a:r>
            <a:endParaRPr kumimoji="0" lang="ko-KR" altLang="ko-KR" sz="1100" kern="0" dirty="0"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</a:endParaRPr>
          </a:p>
        </p:txBody>
      </p:sp>
      <p:sp>
        <p:nvSpPr>
          <p:cNvPr id="76" name="Rectangle 153"/>
          <p:cNvSpPr>
            <a:spLocks noChangeArrowheads="1"/>
          </p:cNvSpPr>
          <p:nvPr/>
        </p:nvSpPr>
        <p:spPr bwMode="gray">
          <a:xfrm>
            <a:off x="1643063" y="2598738"/>
            <a:ext cx="1006475" cy="3925888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4D4D4D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Times New Roman" pitchFamily="18" charset="0"/>
            </a:endParaRPr>
          </a:p>
        </p:txBody>
      </p:sp>
      <p:sp>
        <p:nvSpPr>
          <p:cNvPr id="34" name="AutoShape 16" descr="어두운 하향 대각선"/>
          <p:cNvSpPr>
            <a:spLocks noChangeArrowheads="1"/>
          </p:cNvSpPr>
          <p:nvPr/>
        </p:nvSpPr>
        <p:spPr bwMode="auto">
          <a:xfrm>
            <a:off x="238915" y="3311525"/>
            <a:ext cx="1100488" cy="612775"/>
          </a:xfrm>
          <a:prstGeom prst="flowChartDecision">
            <a:avLst/>
          </a:prstGeom>
          <a:solidFill>
            <a:srgbClr val="7C8E9C"/>
          </a:solidFill>
          <a:ln>
            <a:noFill/>
          </a:ln>
          <a:extLst/>
        </p:spPr>
        <p:txBody>
          <a:bodyPr wrap="none"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원천 </a:t>
            </a: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데이터</a:t>
            </a:r>
            <a:endParaRPr kumimoji="0" lang="en-US" altLang="ko-KR" sz="900" kern="0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  <a:sym typeface="Monotype Sorts" pitchFamily="2" charset="2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오류</a:t>
            </a:r>
          </a:p>
        </p:txBody>
      </p:sp>
      <p:sp>
        <p:nvSpPr>
          <p:cNvPr id="49" name="AutoShape 30" descr="엠보싱 작은상자(Gray_Ver)"/>
          <p:cNvSpPr>
            <a:spLocks noChangeArrowheads="1"/>
          </p:cNvSpPr>
          <p:nvPr/>
        </p:nvSpPr>
        <p:spPr bwMode="gray">
          <a:xfrm>
            <a:off x="1775427" y="3368675"/>
            <a:ext cx="741847" cy="498475"/>
          </a:xfrm>
          <a:prstGeom prst="rect">
            <a:avLst/>
          </a:prstGeom>
          <a:solidFill>
            <a:srgbClr val="C5C5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데이터 수정</a:t>
            </a:r>
          </a:p>
        </p:txBody>
      </p:sp>
      <p:cxnSp>
        <p:nvCxnSpPr>
          <p:cNvPr id="50" name="AutoShape 26"/>
          <p:cNvCxnSpPr>
            <a:cxnSpLocks noChangeShapeType="1"/>
            <a:stCxn id="34" idx="3"/>
            <a:endCxn id="49" idx="1"/>
          </p:cNvCxnSpPr>
          <p:nvPr/>
        </p:nvCxnSpPr>
        <p:spPr bwMode="auto">
          <a:xfrm>
            <a:off x="1300513" y="3617913"/>
            <a:ext cx="474913" cy="0"/>
          </a:xfrm>
          <a:prstGeom prst="straightConnector1">
            <a:avLst/>
          </a:prstGeom>
          <a:noFill/>
          <a:ln w="9525" algn="ctr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" name="AutoShape 16" descr="어두운 하향 대각선"/>
          <p:cNvSpPr>
            <a:spLocks noChangeArrowheads="1"/>
          </p:cNvSpPr>
          <p:nvPr/>
        </p:nvSpPr>
        <p:spPr bwMode="auto">
          <a:xfrm>
            <a:off x="238915" y="4140200"/>
            <a:ext cx="1100488" cy="609600"/>
          </a:xfrm>
          <a:prstGeom prst="flowChartDecision">
            <a:avLst/>
          </a:prstGeom>
          <a:solidFill>
            <a:srgbClr val="7C8E9C"/>
          </a:solidFill>
          <a:ln>
            <a:noFill/>
          </a:ln>
          <a:extLst/>
        </p:spPr>
        <p:txBody>
          <a:bodyPr wrap="none"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변경적재</a:t>
            </a:r>
            <a:endParaRPr kumimoji="0" lang="en-US" altLang="ko-KR" sz="900" kern="0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  <a:sym typeface="Monotype Sorts" pitchFamily="2" charset="2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프로그램</a:t>
            </a:r>
            <a:endParaRPr kumimoji="0" lang="en-US" altLang="ko-KR" sz="900" kern="0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  <a:sym typeface="Monotype Sorts" pitchFamily="2" charset="2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오류</a:t>
            </a:r>
          </a:p>
        </p:txBody>
      </p:sp>
      <p:sp>
        <p:nvSpPr>
          <p:cNvPr id="52" name="AutoShape 16" descr="어두운 하향 대각선"/>
          <p:cNvSpPr>
            <a:spLocks noChangeArrowheads="1"/>
          </p:cNvSpPr>
          <p:nvPr/>
        </p:nvSpPr>
        <p:spPr bwMode="auto">
          <a:xfrm>
            <a:off x="238915" y="4965700"/>
            <a:ext cx="1100488" cy="612775"/>
          </a:xfrm>
          <a:prstGeom prst="flowChartDecision">
            <a:avLst/>
          </a:prstGeom>
          <a:solidFill>
            <a:srgbClr val="7C8E9C"/>
          </a:solidFill>
          <a:ln>
            <a:noFill/>
          </a:ln>
          <a:extLst/>
        </p:spPr>
        <p:txBody>
          <a:bodyPr wrap="none"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원천시스템</a:t>
            </a:r>
            <a:endParaRPr kumimoji="0" lang="en-US" altLang="ko-KR" sz="900" kern="0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  <a:sym typeface="Monotype Sorts" pitchFamily="2" charset="2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조치 불가</a:t>
            </a:r>
          </a:p>
        </p:txBody>
      </p:sp>
      <p:cxnSp>
        <p:nvCxnSpPr>
          <p:cNvPr id="53" name="AutoShape 26"/>
          <p:cNvCxnSpPr>
            <a:cxnSpLocks noChangeShapeType="1"/>
            <a:stCxn id="51" idx="3"/>
            <a:endCxn id="54" idx="1"/>
          </p:cNvCxnSpPr>
          <p:nvPr/>
        </p:nvCxnSpPr>
        <p:spPr bwMode="auto">
          <a:xfrm>
            <a:off x="1300513" y="4445000"/>
            <a:ext cx="1572126" cy="0"/>
          </a:xfrm>
          <a:prstGeom prst="straightConnector1">
            <a:avLst/>
          </a:prstGeom>
          <a:noFill/>
          <a:ln w="9525" algn="ctr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4" name="AutoShape 30" descr="엠보싱 작은상자(Gray_Ver)"/>
          <p:cNvSpPr>
            <a:spLocks noChangeArrowheads="1"/>
          </p:cNvSpPr>
          <p:nvPr/>
        </p:nvSpPr>
        <p:spPr bwMode="gray">
          <a:xfrm>
            <a:off x="2872640" y="4195763"/>
            <a:ext cx="741847" cy="498475"/>
          </a:xfrm>
          <a:prstGeom prst="rect">
            <a:avLst/>
          </a:prstGeom>
          <a:solidFill>
            <a:srgbClr val="C5C5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프로그램 수정 </a:t>
            </a:r>
            <a:r>
              <a:rPr kumimoji="0" lang="en-US" altLang="ko-KR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&amp; </a:t>
            </a: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데이터 수정</a:t>
            </a:r>
            <a:endParaRPr kumimoji="0" lang="en-US" altLang="ko-KR" sz="900" kern="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55" name="AutoShape 30" descr="엠보싱 작은상자(Gray_Ver)"/>
          <p:cNvSpPr>
            <a:spLocks noChangeArrowheads="1"/>
          </p:cNvSpPr>
          <p:nvPr/>
        </p:nvSpPr>
        <p:spPr bwMode="gray">
          <a:xfrm>
            <a:off x="3969853" y="5022850"/>
            <a:ext cx="741847" cy="498475"/>
          </a:xfrm>
          <a:prstGeom prst="rect">
            <a:avLst/>
          </a:prstGeom>
          <a:solidFill>
            <a:srgbClr val="C5C5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이행 시 정제</a:t>
            </a:r>
            <a:endParaRPr kumimoji="0" lang="en-US" altLang="ko-KR" sz="900" kern="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cxnSp>
        <p:nvCxnSpPr>
          <p:cNvPr id="56" name="AutoShape 26"/>
          <p:cNvCxnSpPr>
            <a:cxnSpLocks noChangeShapeType="1"/>
            <a:stCxn id="52" idx="3"/>
            <a:endCxn id="55" idx="1"/>
          </p:cNvCxnSpPr>
          <p:nvPr/>
        </p:nvCxnSpPr>
        <p:spPr bwMode="auto">
          <a:xfrm>
            <a:off x="1300513" y="5272088"/>
            <a:ext cx="2669339" cy="0"/>
          </a:xfrm>
          <a:prstGeom prst="straightConnector1">
            <a:avLst/>
          </a:prstGeom>
          <a:noFill/>
          <a:ln w="9525" algn="ctr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7" name="AutoShape 16" descr="어두운 하향 대각선"/>
          <p:cNvSpPr>
            <a:spLocks noChangeArrowheads="1"/>
          </p:cNvSpPr>
          <p:nvPr/>
        </p:nvSpPr>
        <p:spPr bwMode="auto">
          <a:xfrm>
            <a:off x="238915" y="5795963"/>
            <a:ext cx="1100488" cy="612775"/>
          </a:xfrm>
          <a:prstGeom prst="flowChartDecision">
            <a:avLst/>
          </a:prstGeom>
          <a:solidFill>
            <a:srgbClr val="7C8E9C"/>
          </a:solidFill>
          <a:ln>
            <a:noFill/>
          </a:ln>
          <a:extLst/>
        </p:spPr>
        <p:txBody>
          <a:bodyPr wrap="none"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이행 시</a:t>
            </a:r>
            <a:endParaRPr kumimoji="0" lang="en-US" altLang="ko-KR" sz="900" kern="0" dirty="0">
              <a:solidFill>
                <a:srgbClr val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itchFamily="18" charset="0"/>
              <a:sym typeface="Monotype Sorts" pitchFamily="2" charset="2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  <a:sym typeface="Monotype Sorts" pitchFamily="2" charset="2"/>
              </a:rPr>
              <a:t>정제 불가</a:t>
            </a:r>
          </a:p>
        </p:txBody>
      </p:sp>
      <p:cxnSp>
        <p:nvCxnSpPr>
          <p:cNvPr id="58" name="AutoShape 26"/>
          <p:cNvCxnSpPr>
            <a:cxnSpLocks noChangeShapeType="1"/>
            <a:stCxn id="57" idx="3"/>
            <a:endCxn id="59" idx="1"/>
          </p:cNvCxnSpPr>
          <p:nvPr/>
        </p:nvCxnSpPr>
        <p:spPr bwMode="auto">
          <a:xfrm>
            <a:off x="1300513" y="6102350"/>
            <a:ext cx="474913" cy="0"/>
          </a:xfrm>
          <a:prstGeom prst="straightConnector1">
            <a:avLst/>
          </a:prstGeom>
          <a:noFill/>
          <a:ln w="9525" algn="ctr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AutoShape 30" descr="엠보싱 작은상자(Gray_Ver)"/>
          <p:cNvSpPr>
            <a:spLocks noChangeArrowheads="1"/>
          </p:cNvSpPr>
          <p:nvPr/>
        </p:nvSpPr>
        <p:spPr bwMode="gray">
          <a:xfrm>
            <a:off x="1775427" y="5853113"/>
            <a:ext cx="741847" cy="498475"/>
          </a:xfrm>
          <a:prstGeom prst="rect">
            <a:avLst/>
          </a:prstGeom>
          <a:solidFill>
            <a:srgbClr val="C5C5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정제불가</a:t>
            </a:r>
            <a:endParaRPr kumimoji="0" lang="en-US" altLang="ko-KR" sz="900" kern="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최종확인</a:t>
            </a:r>
            <a:endParaRPr kumimoji="0" lang="en-US" altLang="ko-KR" sz="900" kern="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61" name="AutoShape 30" descr="엠보싱 작은상자(Gray_Ver)"/>
          <p:cNvSpPr>
            <a:spLocks noChangeArrowheads="1"/>
          </p:cNvSpPr>
          <p:nvPr/>
        </p:nvSpPr>
        <p:spPr bwMode="gray">
          <a:xfrm>
            <a:off x="3969853" y="5853113"/>
            <a:ext cx="741847" cy="498475"/>
          </a:xfrm>
          <a:prstGeom prst="rect">
            <a:avLst/>
          </a:prstGeom>
          <a:solidFill>
            <a:srgbClr val="C5C5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정제불가</a:t>
            </a:r>
            <a:endParaRPr kumimoji="0" lang="en-US" altLang="ko-KR" sz="900" kern="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목록관리</a:t>
            </a:r>
            <a:endParaRPr kumimoji="0" lang="en-US" altLang="ko-KR" sz="900" kern="0" dirty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cxnSp>
        <p:nvCxnSpPr>
          <p:cNvPr id="62" name="AutoShape 26"/>
          <p:cNvCxnSpPr>
            <a:cxnSpLocks noChangeShapeType="1"/>
            <a:stCxn id="59" idx="3"/>
            <a:endCxn id="61" idx="1"/>
          </p:cNvCxnSpPr>
          <p:nvPr/>
        </p:nvCxnSpPr>
        <p:spPr bwMode="auto">
          <a:xfrm>
            <a:off x="2517274" y="6102350"/>
            <a:ext cx="1452579" cy="0"/>
          </a:xfrm>
          <a:prstGeom prst="straightConnector1">
            <a:avLst/>
          </a:prstGeom>
          <a:noFill/>
          <a:ln w="9525" algn="ctr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63" name="Group 188"/>
          <p:cNvGrpSpPr>
            <a:grpSpLocks/>
          </p:cNvGrpSpPr>
          <p:nvPr/>
        </p:nvGrpSpPr>
        <p:grpSpPr bwMode="auto">
          <a:xfrm>
            <a:off x="306058" y="2276872"/>
            <a:ext cx="1026795" cy="541338"/>
            <a:chOff x="257" y="1592"/>
            <a:chExt cx="627" cy="341"/>
          </a:xfrm>
        </p:grpSpPr>
        <p:sp>
          <p:nvSpPr>
            <p:cNvPr id="68" name="AutoShape 184"/>
            <p:cNvSpPr>
              <a:spLocks noChangeArrowheads="1"/>
            </p:cNvSpPr>
            <p:nvPr/>
          </p:nvSpPr>
          <p:spPr bwMode="gray">
            <a:xfrm>
              <a:off x="257" y="1637"/>
              <a:ext cx="589" cy="296"/>
            </a:xfrm>
            <a:prstGeom prst="roundRect">
              <a:avLst>
                <a:gd name="adj" fmla="val 1514"/>
              </a:avLst>
            </a:prstGeom>
            <a:solidFill>
              <a:srgbClr val="FFFFFF"/>
            </a:solidFill>
            <a:ln w="12700" algn="ctr">
              <a:solidFill>
                <a:srgbClr val="0074C3"/>
              </a:solidFill>
              <a:round/>
              <a:headEnd/>
              <a:tailEnd/>
            </a:ln>
            <a:effectLst>
              <a:outerShdw dist="25400" dir="5400000" algn="ctr" rotWithShape="0">
                <a:srgbClr val="0077C0"/>
              </a:outerShdw>
            </a:effectLst>
          </p:spPr>
          <p:txBody>
            <a:bodyPr lIns="0" tIns="0" rIns="0" bIns="0" anchor="ctr"/>
            <a:lstStyle/>
            <a:p>
              <a:pPr algn="ctr" defTabSz="774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itchFamily="18" charset="0"/>
                </a:rPr>
                <a:t>원천 데이터 </a:t>
              </a:r>
            </a:p>
            <a:p>
              <a:pPr algn="ctr" defTabSz="774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itchFamily="18" charset="0"/>
                </a:rPr>
                <a:t>오류 </a:t>
              </a:r>
              <a:r>
                <a:rPr kumimoji="0" lang="ko-KR" altLang="en-US" sz="1000" kern="0" dirty="0" smtClean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itchFamily="18" charset="0"/>
                </a:rPr>
                <a:t>유형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itchFamily="18" charset="0"/>
              </a:endParaRPr>
            </a:p>
          </p:txBody>
        </p:sp>
        <p:sp>
          <p:nvSpPr>
            <p:cNvPr id="69" name="AutoShape 185"/>
            <p:cNvSpPr>
              <a:spLocks noChangeArrowheads="1"/>
            </p:cNvSpPr>
            <p:nvPr/>
          </p:nvSpPr>
          <p:spPr bwMode="gray">
            <a:xfrm>
              <a:off x="839" y="1592"/>
              <a:ext cx="45" cy="45"/>
            </a:xfrm>
            <a:prstGeom prst="roundRect">
              <a:avLst>
                <a:gd name="adj" fmla="val 1514"/>
              </a:avLst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77470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100" kern="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itchFamily="50" charset="-127"/>
              </a:endParaRPr>
            </a:p>
          </p:txBody>
        </p:sp>
      </p:grpSp>
      <p:pic>
        <p:nvPicPr>
          <p:cNvPr id="84" name="Picture 227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92650" y="2323717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5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254000" y="2143969"/>
            <a:ext cx="1313048" cy="169277"/>
            <a:chOff x="307914" y="1927833"/>
            <a:chExt cx="1313048" cy="169277"/>
          </a:xfrm>
        </p:grpSpPr>
        <p:sp>
          <p:nvSpPr>
            <p:cNvPr id="86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109645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정제 흐름도</a:t>
              </a:r>
            </a:p>
          </p:txBody>
        </p:sp>
        <p:grpSp>
          <p:nvGrpSpPr>
            <p:cNvPr id="87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88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90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000" dirty="0">
                    <a:latin typeface="나눔스퀘어 Bold" panose="020B0600000101010101" pitchFamily="50" charset="-127"/>
                    <a:ea typeface="나눔스퀘어 Bold" panose="020B0600000101010101" pitchFamily="50" charset="-127"/>
                  </a:endParaRPr>
                </a:p>
              </p:txBody>
            </p:sp>
            <p:sp>
              <p:nvSpPr>
                <p:cNvPr id="91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000" dirty="0">
                    <a:latin typeface="나눔스퀘어 Bold" panose="020B0600000101010101" pitchFamily="50" charset="-127"/>
                    <a:ea typeface="나눔스퀘어 Bold" panose="020B0600000101010101" pitchFamily="50" charset="-127"/>
                  </a:endParaRPr>
                </a:p>
              </p:txBody>
            </p:sp>
          </p:grpSp>
          <p:sp>
            <p:nvSpPr>
              <p:cNvPr id="89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000" dirty="0"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</p:grpSp>
      <p:grpSp>
        <p:nvGrpSpPr>
          <p:cNvPr id="92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5055869" y="2143969"/>
            <a:ext cx="1099849" cy="153888"/>
            <a:chOff x="307914" y="1927833"/>
            <a:chExt cx="1099849" cy="153888"/>
          </a:xfrm>
        </p:grpSpPr>
        <p:sp>
          <p:nvSpPr>
            <p:cNvPr id="93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88325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defTabSz="893763">
                <a:spcBef>
                  <a:spcPct val="50000"/>
                </a:spcBef>
                <a:defRPr kumimoji="1" sz="1000">
                  <a:solidFill>
                    <a:srgbClr val="4D4D4D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defRPr>
              </a:lvl1pPr>
              <a:lvl2pPr marL="725488" indent="-279400" defTabSz="893763"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dirty="0"/>
                <a:t>데이터 정제 방안</a:t>
              </a:r>
            </a:p>
          </p:txBody>
        </p:sp>
        <p:grpSp>
          <p:nvGrpSpPr>
            <p:cNvPr id="94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95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97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000" dirty="0">
                    <a:latin typeface="나눔스퀘어 Bold" panose="020B0600000101010101" pitchFamily="50" charset="-127"/>
                    <a:ea typeface="나눔스퀘어 Bold" panose="020B0600000101010101" pitchFamily="50" charset="-127"/>
                  </a:endParaRPr>
                </a:p>
              </p:txBody>
            </p:sp>
            <p:sp>
              <p:nvSpPr>
                <p:cNvPr id="98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000" dirty="0">
                    <a:latin typeface="나눔스퀘어 Bold" panose="020B0600000101010101" pitchFamily="50" charset="-127"/>
                    <a:ea typeface="나눔스퀘어 Bold" panose="020B0600000101010101" pitchFamily="50" charset="-127"/>
                  </a:endParaRPr>
                </a:p>
              </p:txBody>
            </p:sp>
          </p:grpSp>
          <p:sp>
            <p:nvSpPr>
              <p:cNvPr id="96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000" dirty="0">
                  <a:latin typeface="나눔스퀘어 Bold" panose="020B0600000101010101" pitchFamily="50" charset="-127"/>
                  <a:ea typeface="나눔스퀘어 Bold" panose="020B0600000101010101" pitchFamily="50" charset="-127"/>
                </a:endParaRPr>
              </a:p>
            </p:txBody>
          </p:sp>
        </p:grpSp>
      </p:grpSp>
      <p:sp>
        <p:nvSpPr>
          <p:cNvPr id="9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0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0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2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3656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.6 </a:t>
            </a:r>
            <a:r>
              <a:rPr lang="ko-KR" altLang="en-US" dirty="0"/>
              <a:t>데이터 </a:t>
            </a:r>
            <a:r>
              <a:rPr lang="ko-KR" altLang="en-US" dirty="0" smtClean="0"/>
              <a:t>이행 시 개인정보 보안성 확보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1125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이행 시 개인정보를 보호하기 위해서 추출 프로그램 수행에 대한 권한 관리 및 수행 이력 모니터링을 강화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이행 시 추출 프로그램 관리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9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0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0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 </a:t>
            </a:r>
          </a:p>
        </p:txBody>
      </p:sp>
      <p:sp>
        <p:nvSpPr>
          <p:cNvPr id="82" name="Rectangle 2"/>
          <p:cNvSpPr>
            <a:spLocks noChangeArrowheads="1"/>
          </p:cNvSpPr>
          <p:nvPr/>
        </p:nvSpPr>
        <p:spPr bwMode="auto">
          <a:xfrm>
            <a:off x="4305300" y="2547764"/>
            <a:ext cx="5111750" cy="2261262"/>
          </a:xfrm>
          <a:prstGeom prst="rect">
            <a:avLst/>
          </a:prstGeom>
          <a:solidFill>
            <a:srgbClr val="F0F0F0"/>
          </a:solidFill>
          <a:ln w="12700">
            <a:solidFill>
              <a:srgbClr val="D7D3CD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3" name="Rectangle 3"/>
          <p:cNvSpPr>
            <a:spLocks noChangeArrowheads="1"/>
          </p:cNvSpPr>
          <p:nvPr/>
        </p:nvSpPr>
        <p:spPr bwMode="auto">
          <a:xfrm>
            <a:off x="5457825" y="3074814"/>
            <a:ext cx="863600" cy="1524285"/>
          </a:xfrm>
          <a:prstGeom prst="rect">
            <a:avLst/>
          </a:prstGeom>
          <a:solidFill>
            <a:srgbClr val="CFD6DB"/>
          </a:solidFill>
          <a:ln w="158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endParaRPr kumimoji="1" lang="ko-KR" altLang="ko-KR" sz="8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4" name="AutoShape 5"/>
          <p:cNvSpPr>
            <a:spLocks noChangeArrowheads="1"/>
          </p:cNvSpPr>
          <p:nvPr/>
        </p:nvSpPr>
        <p:spPr bwMode="auto">
          <a:xfrm>
            <a:off x="560388" y="2204864"/>
            <a:ext cx="2901566" cy="280560"/>
          </a:xfrm>
          <a:prstGeom prst="homePlate">
            <a:avLst>
              <a:gd name="adj" fmla="val 51075"/>
            </a:avLst>
          </a:prstGeom>
          <a:gradFill rotWithShape="1">
            <a:gsLst>
              <a:gs pos="0">
                <a:srgbClr val="ABDDFB">
                  <a:alpha val="80000"/>
                </a:srgbClr>
              </a:gs>
              <a:gs pos="100000">
                <a:srgbClr val="79C9FB"/>
              </a:gs>
            </a:gsLst>
            <a:lin ang="0" scaled="1"/>
          </a:gradFill>
          <a:ln w="9525" algn="ctr">
            <a:solidFill>
              <a:srgbClr val="C0C0C0"/>
            </a:solidFill>
            <a:prstDash val="sysDot"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1440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추출</a:t>
            </a:r>
          </a:p>
        </p:txBody>
      </p:sp>
      <p:sp>
        <p:nvSpPr>
          <p:cNvPr id="85" name="AutoShape 6"/>
          <p:cNvSpPr>
            <a:spLocks noChangeArrowheads="1"/>
          </p:cNvSpPr>
          <p:nvPr/>
        </p:nvSpPr>
        <p:spPr bwMode="auto">
          <a:xfrm>
            <a:off x="3461954" y="2204864"/>
            <a:ext cx="1346583" cy="280559"/>
          </a:xfrm>
          <a:prstGeom prst="chevron">
            <a:avLst>
              <a:gd name="adj" fmla="val 43196"/>
            </a:avLst>
          </a:prstGeom>
          <a:gradFill rotWithShape="1">
            <a:gsLst>
              <a:gs pos="0">
                <a:srgbClr val="79C9F9"/>
              </a:gs>
              <a:gs pos="100000">
                <a:srgbClr val="22A8F0"/>
              </a:gs>
            </a:gsLst>
            <a:lin ang="0" scaled="1"/>
          </a:gradFill>
          <a:ln w="9525" algn="ctr">
            <a:solidFill>
              <a:srgbClr val="C0C0C0"/>
            </a:solidFill>
            <a:prstDash val="sysDot"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1440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전송</a:t>
            </a:r>
          </a:p>
        </p:txBody>
      </p:sp>
      <p:sp>
        <p:nvSpPr>
          <p:cNvPr id="86" name="AutoShape 7"/>
          <p:cNvSpPr>
            <a:spLocks noChangeArrowheads="1"/>
          </p:cNvSpPr>
          <p:nvPr/>
        </p:nvSpPr>
        <p:spPr bwMode="auto">
          <a:xfrm>
            <a:off x="4808538" y="2204864"/>
            <a:ext cx="1839912" cy="280560"/>
          </a:xfrm>
          <a:prstGeom prst="chevron">
            <a:avLst>
              <a:gd name="adj" fmla="val 39978"/>
            </a:avLst>
          </a:prstGeom>
          <a:gradFill rotWithShape="1">
            <a:gsLst>
              <a:gs pos="0">
                <a:srgbClr val="22A8F0"/>
              </a:gs>
              <a:gs pos="100000">
                <a:srgbClr val="038CDC"/>
              </a:gs>
            </a:gsLst>
            <a:lin ang="0" scaled="1"/>
          </a:gradFill>
          <a:ln w="9525" algn="ctr">
            <a:solidFill>
              <a:srgbClr val="C0C0C0"/>
            </a:solidFill>
            <a:prstDash val="sysDot"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1440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Staging DB </a:t>
            </a:r>
            <a:r>
              <a:rPr kumimoji="1" lang="ko-KR" altLang="en-US" sz="10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적재</a:t>
            </a:r>
          </a:p>
        </p:txBody>
      </p:sp>
      <p:sp>
        <p:nvSpPr>
          <p:cNvPr id="87" name="AutoShape 8"/>
          <p:cNvSpPr>
            <a:spLocks noChangeArrowheads="1"/>
          </p:cNvSpPr>
          <p:nvPr/>
        </p:nvSpPr>
        <p:spPr bwMode="auto">
          <a:xfrm>
            <a:off x="6648450" y="2204864"/>
            <a:ext cx="2744788" cy="280560"/>
          </a:xfrm>
          <a:prstGeom prst="chevron">
            <a:avLst>
              <a:gd name="adj" fmla="val 41630"/>
            </a:avLst>
          </a:prstGeom>
          <a:gradFill rotWithShape="1">
            <a:gsLst>
              <a:gs pos="0">
                <a:srgbClr val="038CDC"/>
              </a:gs>
              <a:gs pos="100000">
                <a:srgbClr val="0074C3"/>
              </a:gs>
            </a:gsLst>
            <a:lin ang="0" scaled="1"/>
          </a:gradFill>
          <a:ln w="9525" algn="ctr">
            <a:solidFill>
              <a:srgbClr val="C0C0C0"/>
            </a:solidFill>
            <a:prstDash val="sysDot"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1440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매핑 및 적재</a:t>
            </a:r>
          </a:p>
        </p:txBody>
      </p:sp>
      <p:sp>
        <p:nvSpPr>
          <p:cNvPr id="88" name="Rectangle 9"/>
          <p:cNvSpPr>
            <a:spLocks noChangeArrowheads="1"/>
          </p:cNvSpPr>
          <p:nvPr/>
        </p:nvSpPr>
        <p:spPr bwMode="auto">
          <a:xfrm>
            <a:off x="560388" y="2547764"/>
            <a:ext cx="3600450" cy="2261262"/>
          </a:xfrm>
          <a:prstGeom prst="rect">
            <a:avLst/>
          </a:prstGeom>
          <a:solidFill>
            <a:srgbClr val="F0F0F0"/>
          </a:solidFill>
          <a:ln w="12700">
            <a:solidFill>
              <a:srgbClr val="D7D3CD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endParaRPr kumimoji="1" lang="ko-KR" altLang="ko-KR" sz="1000" dirty="0" smtClean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9" name="AutoShape 10"/>
          <p:cNvSpPr>
            <a:spLocks noChangeArrowheads="1"/>
          </p:cNvSpPr>
          <p:nvPr/>
        </p:nvSpPr>
        <p:spPr bwMode="auto">
          <a:xfrm>
            <a:off x="703263" y="3193876"/>
            <a:ext cx="577850" cy="504825"/>
          </a:xfrm>
          <a:prstGeom prst="flowChartMagneticDisk">
            <a:avLst/>
          </a:prstGeom>
          <a:solidFill>
            <a:srgbClr val="99A7B1"/>
          </a:solidFill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Source</a:t>
            </a:r>
            <a:endParaRPr kumimoji="1" lang="ko-KR" altLang="en-US" sz="900" dirty="0" smtClean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90" name="AutoShape 11"/>
          <p:cNvSpPr>
            <a:spLocks noChangeArrowheads="1"/>
          </p:cNvSpPr>
          <p:nvPr/>
        </p:nvSpPr>
        <p:spPr bwMode="auto">
          <a:xfrm>
            <a:off x="8626475" y="3823642"/>
            <a:ext cx="719138" cy="647700"/>
          </a:xfrm>
          <a:prstGeom prst="flowChartMagneticDisk">
            <a:avLst/>
          </a:prstGeom>
          <a:solidFill>
            <a:srgbClr val="99A7B1"/>
          </a:solidFill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arget</a:t>
            </a:r>
          </a:p>
        </p:txBody>
      </p:sp>
      <p:cxnSp>
        <p:nvCxnSpPr>
          <p:cNvPr id="91" name="AutoShape 12"/>
          <p:cNvCxnSpPr>
            <a:cxnSpLocks noChangeShapeType="1"/>
            <a:stCxn id="109" idx="4"/>
            <a:endCxn id="104" idx="1"/>
          </p:cNvCxnSpPr>
          <p:nvPr/>
        </p:nvCxnSpPr>
        <p:spPr bwMode="auto">
          <a:xfrm>
            <a:off x="1282700" y="4218929"/>
            <a:ext cx="4295775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3333CC"/>
            </a:solidFill>
            <a:miter lim="800000"/>
            <a:headEnd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AutoShape 13"/>
          <p:cNvCxnSpPr>
            <a:cxnSpLocks noChangeShapeType="1"/>
            <a:stCxn id="104" idx="3"/>
          </p:cNvCxnSpPr>
          <p:nvPr/>
        </p:nvCxnSpPr>
        <p:spPr bwMode="auto">
          <a:xfrm flipV="1">
            <a:off x="6123517" y="3838724"/>
            <a:ext cx="1294871" cy="3809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3333CC"/>
            </a:solidFill>
            <a:miter lim="800000"/>
            <a:headEnd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3" name="Text Box 14"/>
          <p:cNvSpPr txBox="1">
            <a:spLocks noChangeArrowheads="1"/>
          </p:cNvSpPr>
          <p:nvPr/>
        </p:nvSpPr>
        <p:spPr bwMode="auto">
          <a:xfrm>
            <a:off x="8471669" y="2708095"/>
            <a:ext cx="5857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3333C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O-BE</a:t>
            </a:r>
          </a:p>
        </p:txBody>
      </p:sp>
      <p:sp>
        <p:nvSpPr>
          <p:cNvPr id="94" name="Rectangle 15"/>
          <p:cNvSpPr>
            <a:spLocks noChangeArrowheads="1"/>
          </p:cNvSpPr>
          <p:nvPr/>
        </p:nvSpPr>
        <p:spPr bwMode="auto">
          <a:xfrm>
            <a:off x="7418388" y="3698702"/>
            <a:ext cx="719137" cy="900397"/>
          </a:xfrm>
          <a:prstGeom prst="rect">
            <a:avLst/>
          </a:prstGeom>
          <a:solidFill>
            <a:srgbClr val="CFD6DB"/>
          </a:solidFill>
          <a:ln w="158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매핑 및</a:t>
            </a: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적재</a:t>
            </a:r>
          </a:p>
        </p:txBody>
      </p:sp>
      <p:cxnSp>
        <p:nvCxnSpPr>
          <p:cNvPr id="95" name="AutoShape 16"/>
          <p:cNvCxnSpPr>
            <a:cxnSpLocks noChangeShapeType="1"/>
            <a:endCxn id="90" idx="2"/>
          </p:cNvCxnSpPr>
          <p:nvPr/>
        </p:nvCxnSpPr>
        <p:spPr bwMode="auto">
          <a:xfrm>
            <a:off x="8137525" y="3838724"/>
            <a:ext cx="488950" cy="30876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333399"/>
            </a:solidFill>
            <a:miter lim="800000"/>
            <a:headEnd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6" name="AutoShape 17"/>
          <p:cNvCxnSpPr>
            <a:cxnSpLocks noChangeShapeType="1"/>
            <a:stCxn id="103" idx="4"/>
            <a:endCxn id="94" idx="0"/>
          </p:cNvCxnSpPr>
          <p:nvPr/>
        </p:nvCxnSpPr>
        <p:spPr bwMode="auto">
          <a:xfrm>
            <a:off x="6180138" y="3447877"/>
            <a:ext cx="1597819" cy="250825"/>
          </a:xfrm>
          <a:prstGeom prst="bentConnector2">
            <a:avLst/>
          </a:prstGeom>
          <a:noFill/>
          <a:ln w="9525">
            <a:solidFill>
              <a:srgbClr val="3333CC"/>
            </a:solidFill>
            <a:miter lim="800000"/>
            <a:headEnd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Text Box 18"/>
          <p:cNvSpPr txBox="1">
            <a:spLocks noChangeArrowheads="1"/>
          </p:cNvSpPr>
          <p:nvPr/>
        </p:nvSpPr>
        <p:spPr bwMode="auto">
          <a:xfrm>
            <a:off x="1362435" y="2708095"/>
            <a:ext cx="5302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3333C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S-IS</a:t>
            </a:r>
          </a:p>
        </p:txBody>
      </p:sp>
      <p:sp>
        <p:nvSpPr>
          <p:cNvPr id="98" name="Text Box 19"/>
          <p:cNvSpPr txBox="1">
            <a:spLocks noChangeArrowheads="1"/>
          </p:cNvSpPr>
          <p:nvPr/>
        </p:nvSpPr>
        <p:spPr bwMode="auto">
          <a:xfrm>
            <a:off x="1748644" y="3260551"/>
            <a:ext cx="67358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9E97B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B to DB</a:t>
            </a:r>
          </a:p>
        </p:txBody>
      </p:sp>
      <p:sp>
        <p:nvSpPr>
          <p:cNvPr id="103" name="AutoShape 21"/>
          <p:cNvSpPr>
            <a:spLocks noChangeArrowheads="1"/>
          </p:cNvSpPr>
          <p:nvPr/>
        </p:nvSpPr>
        <p:spPr bwMode="auto">
          <a:xfrm>
            <a:off x="5602288" y="3195464"/>
            <a:ext cx="577850" cy="504825"/>
          </a:xfrm>
          <a:prstGeom prst="flowChartMagneticDisk">
            <a:avLst/>
          </a:prstGeom>
          <a:solidFill>
            <a:srgbClr val="FFFF99"/>
          </a:solidFill>
          <a:ln w="12700">
            <a:solidFill>
              <a:srgbClr val="3333CC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aging</a:t>
            </a: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B</a:t>
            </a:r>
          </a:p>
        </p:txBody>
      </p:sp>
      <p:sp>
        <p:nvSpPr>
          <p:cNvPr id="104" name="AutoShape 22"/>
          <p:cNvSpPr>
            <a:spLocks noChangeArrowheads="1"/>
          </p:cNvSpPr>
          <p:nvPr/>
        </p:nvSpPr>
        <p:spPr bwMode="auto">
          <a:xfrm>
            <a:off x="5578475" y="4039542"/>
            <a:ext cx="654050" cy="360362"/>
          </a:xfrm>
          <a:prstGeom prst="flowChartOnlineStorage">
            <a:avLst/>
          </a:prstGeom>
          <a:solidFill>
            <a:srgbClr val="FFFF9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전송</a:t>
            </a: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파일</a:t>
            </a:r>
          </a:p>
        </p:txBody>
      </p:sp>
      <p:sp>
        <p:nvSpPr>
          <p:cNvPr id="105" name="Text Box 23"/>
          <p:cNvSpPr txBox="1">
            <a:spLocks noChangeArrowheads="1"/>
          </p:cNvSpPr>
          <p:nvPr/>
        </p:nvSpPr>
        <p:spPr bwMode="auto">
          <a:xfrm>
            <a:off x="5473700" y="2852774"/>
            <a:ext cx="8579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9E97B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전환작업소스</a:t>
            </a:r>
          </a:p>
        </p:txBody>
      </p:sp>
      <p:cxnSp>
        <p:nvCxnSpPr>
          <p:cNvPr id="106" name="AutoShape 24"/>
          <p:cNvCxnSpPr>
            <a:cxnSpLocks noChangeShapeType="1"/>
            <a:stCxn id="89" idx="4"/>
            <a:endCxn id="103" idx="2"/>
          </p:cNvCxnSpPr>
          <p:nvPr/>
        </p:nvCxnSpPr>
        <p:spPr bwMode="auto">
          <a:xfrm>
            <a:off x="1281113" y="3446289"/>
            <a:ext cx="4321175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3366FF"/>
            </a:solidFill>
            <a:miter lim="800000"/>
            <a:headEnd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07" name="Rectangle 25"/>
          <p:cNvSpPr>
            <a:spLocks noChangeArrowheads="1"/>
          </p:cNvSpPr>
          <p:nvPr/>
        </p:nvSpPr>
        <p:spPr bwMode="auto">
          <a:xfrm>
            <a:off x="3728864" y="3266901"/>
            <a:ext cx="989013" cy="360363"/>
          </a:xfrm>
          <a:prstGeom prst="rect">
            <a:avLst/>
          </a:prstGeom>
          <a:solidFill>
            <a:srgbClr val="005E9E"/>
          </a:solidFill>
          <a:ln w="222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추출 프로그램</a:t>
            </a: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DB Copy)</a:t>
            </a:r>
          </a:p>
        </p:txBody>
      </p:sp>
      <p:sp>
        <p:nvSpPr>
          <p:cNvPr id="108" name="Rectangle 26"/>
          <p:cNvSpPr>
            <a:spLocks noChangeArrowheads="1"/>
          </p:cNvSpPr>
          <p:nvPr/>
        </p:nvSpPr>
        <p:spPr bwMode="auto">
          <a:xfrm>
            <a:off x="3728864" y="4039542"/>
            <a:ext cx="989013" cy="360362"/>
          </a:xfrm>
          <a:prstGeom prst="rect">
            <a:avLst/>
          </a:prstGeom>
          <a:solidFill>
            <a:srgbClr val="005E9E"/>
          </a:solidFill>
          <a:ln w="222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900" dirty="0" smtClean="0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추출 프로그램</a:t>
            </a:r>
          </a:p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Unload)</a:t>
            </a:r>
          </a:p>
        </p:txBody>
      </p:sp>
      <p:sp>
        <p:nvSpPr>
          <p:cNvPr id="109" name="AutoShape 27"/>
          <p:cNvSpPr>
            <a:spLocks noChangeArrowheads="1"/>
          </p:cNvSpPr>
          <p:nvPr/>
        </p:nvSpPr>
        <p:spPr bwMode="auto">
          <a:xfrm>
            <a:off x="704850" y="3966517"/>
            <a:ext cx="577850" cy="504825"/>
          </a:xfrm>
          <a:prstGeom prst="flowChartMagneticDisk">
            <a:avLst/>
          </a:prstGeom>
          <a:solidFill>
            <a:srgbClr val="99A7B1"/>
          </a:solidFill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Source</a:t>
            </a:r>
            <a:endParaRPr kumimoji="1" lang="ko-KR" altLang="en-US" sz="900" dirty="0" smtClean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12" name="Text Box 30"/>
          <p:cNvSpPr txBox="1">
            <a:spLocks noChangeArrowheads="1"/>
          </p:cNvSpPr>
          <p:nvPr/>
        </p:nvSpPr>
        <p:spPr bwMode="auto">
          <a:xfrm>
            <a:off x="1748644" y="4025254"/>
            <a:ext cx="69762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9E97B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B to File</a:t>
            </a:r>
          </a:p>
        </p:txBody>
      </p:sp>
      <p:sp>
        <p:nvSpPr>
          <p:cNvPr id="113" name="Text Box 31"/>
          <p:cNvSpPr txBox="1">
            <a:spLocks noChangeArrowheads="1"/>
          </p:cNvSpPr>
          <p:nvPr/>
        </p:nvSpPr>
        <p:spPr bwMode="auto">
          <a:xfrm>
            <a:off x="1839132" y="5550584"/>
            <a:ext cx="10438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9E97B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전환 담당자 수행</a:t>
            </a:r>
            <a:endParaRPr lang="en-US" altLang="ko-KR" sz="1000" dirty="0" smtClean="0">
              <a:solidFill>
                <a:srgbClr val="000000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48" name="AutoShape 251"/>
          <p:cNvSpPr>
            <a:spLocks noChangeArrowheads="1"/>
          </p:cNvSpPr>
          <p:nvPr/>
        </p:nvSpPr>
        <p:spPr bwMode="auto">
          <a:xfrm rot="13814632" flipH="1">
            <a:off x="2528389" y="3348389"/>
            <a:ext cx="382929" cy="2399142"/>
          </a:xfrm>
          <a:prstGeom prst="downArrow">
            <a:avLst>
              <a:gd name="adj1" fmla="val 52843"/>
              <a:gd name="adj2" fmla="val 49158"/>
            </a:avLst>
          </a:prstGeom>
          <a:solidFill>
            <a:srgbClr val="FFFFFF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49" name="Picture 48" descr="일반인_회의-파랑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592" y="5456688"/>
            <a:ext cx="558540" cy="492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직사각형 57">
            <a:extLst>
              <a:ext uri="{FF2B5EF4-FFF2-40B4-BE49-F238E27FC236}">
                <a16:creationId xmlns:a16="http://schemas.microsoft.com/office/drawing/2014/main" id="{4832A5FE-031B-485A-A309-BE2A0750944F}"/>
              </a:ext>
            </a:extLst>
          </p:cNvPr>
          <p:cNvSpPr/>
          <p:nvPr/>
        </p:nvSpPr>
        <p:spPr>
          <a:xfrm>
            <a:off x="3836876" y="5337213"/>
            <a:ext cx="5556362" cy="1152128"/>
          </a:xfrm>
          <a:prstGeom prst="rect">
            <a:avLst/>
          </a:prstGeom>
          <a:solidFill>
            <a:srgbClr val="ECF7FE"/>
          </a:solidFill>
          <a:ln w="1270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9" name="양쪽 모서리가 둥근 사각형 517">
            <a:extLst>
              <a:ext uri="{FF2B5EF4-FFF2-40B4-BE49-F238E27FC236}">
                <a16:creationId xmlns:a16="http://schemas.microsoft.com/office/drawing/2014/main" id="{3E3D28BE-959C-480B-8AD1-3B8A1BB208AE}"/>
              </a:ext>
            </a:extLst>
          </p:cNvPr>
          <p:cNvSpPr/>
          <p:nvPr/>
        </p:nvSpPr>
        <p:spPr>
          <a:xfrm>
            <a:off x="3835168" y="5053990"/>
            <a:ext cx="5571870" cy="299934"/>
          </a:xfrm>
          <a:prstGeom prst="rect">
            <a:avLst/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/>
            <a:r>
              <a:rPr lang="ko-KR" altLang="en-US" sz="12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인정보 보안</a:t>
            </a:r>
            <a:endParaRPr lang="ko-KR" altLang="en-US" sz="12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60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3657" y="5594507"/>
            <a:ext cx="251671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부산은행 이행 담당자의 접근 가능 영역에서 수행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61" name="그림 6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6896" y="5594507"/>
            <a:ext cx="318769" cy="318769"/>
          </a:xfrm>
          <a:prstGeom prst="rect">
            <a:avLst/>
          </a:prstGeom>
        </p:spPr>
      </p:pic>
      <p:pic>
        <p:nvPicPr>
          <p:cNvPr id="62" name="그림 6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6896" y="6048595"/>
            <a:ext cx="318769" cy="318769"/>
          </a:xfrm>
          <a:prstGeom prst="rect">
            <a:avLst/>
          </a:prstGeom>
        </p:spPr>
      </p:pic>
      <p:sp>
        <p:nvSpPr>
          <p:cNvPr id="64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3656" y="6038702"/>
            <a:ext cx="466409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B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접속 모니터링 및 접속 이력 확인 등으로 비인가자의 접속 여부 확인으로 개인정보 보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1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50" name="Picture 239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162754" y="2416242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725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3.1 </a:t>
            </a:r>
            <a:r>
              <a:rPr lang="ko-KR" altLang="en-US" dirty="0"/>
              <a:t>성공적인 본 이행을 위한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1/3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3209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본 이행 의사결정은 이행시점까지 진행된 「시스템 완성도」 와 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「이행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준비 완성도」 를 분석하여 판단 후 진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본 이행 여부의 의사결정 기준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3" name="Group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999032"/>
              </p:ext>
            </p:extLst>
          </p:nvPr>
        </p:nvGraphicFramePr>
        <p:xfrm>
          <a:off x="236475" y="2089773"/>
          <a:ext cx="9361040" cy="4325657"/>
        </p:xfrm>
        <a:graphic>
          <a:graphicData uri="http://schemas.openxmlformats.org/drawingml/2006/table">
            <a:tbl>
              <a:tblPr/>
              <a:tblGrid>
                <a:gridCol w="17731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3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442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5797">
                <a:tc grid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7" marR="72007" marT="35941" marB="35941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세부기준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7" marR="72007" marT="35941" marB="35941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7961">
                <a:tc row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시스템 완성도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72007" marR="72007" marT="35941" marB="35941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기능 기준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72007" marR="72007" marT="35941" marB="35941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85725" indent="-85725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환 데이터 정합성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보고서 정합성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자금세탁방지시스템 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외부 인터페이스 연결 기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배치 프로그램 동작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7" marR="72007" marT="35941" marB="35941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203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비기능 기준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72007" marR="72007" marT="35941" marB="35941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85725" indent="-85725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배치 프로그램 수행 시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화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보고서 응답 시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S/W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중화 동작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백업 유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장애 복구 소요 시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스템 안정성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7" marR="72007" marT="35941" marB="35941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1547">
                <a:tc grid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</a:rPr>
                        <a:t>이행 준비 완성도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</a:endParaRPr>
                    </a:p>
                  </a:txBody>
                  <a:tcPr marL="72007" marR="72007" marT="35941" marB="35941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85725" indent="-85725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 계획 수립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사용자 교육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장애복구 계획 수립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 후 안정화 계획 수립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인수 및 운영 담당자 결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기존 업무 영향도 최소화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사 형상관리 등록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7" marR="72007" marT="35941" marB="35941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4" name="Picture 68" descr="비지니스-회의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5268" y="4905164"/>
            <a:ext cx="2089150" cy="139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3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이행 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8691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3.1 </a:t>
            </a:r>
            <a:r>
              <a:rPr lang="ko-KR" altLang="en-US" dirty="0"/>
              <a:t>성공적인 본 이행을 위한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2/3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과거 다수의 이행 경험을 토대로 축적된 사전준비 항목에 대한 체크 리스트를 보유하고 있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본 이행 수행 전에 이러한 체크 리스트를 활용하여 직관적이고 누락 없는 점검 항목을 확인하여 작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본 이행 체크 리스트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5" name="Group 45"/>
          <p:cNvGraphicFramePr>
            <a:graphicFrameLocks noGrp="1"/>
          </p:cNvGraphicFramePr>
          <p:nvPr>
            <p:extLst/>
          </p:nvPr>
        </p:nvGraphicFramePr>
        <p:xfrm>
          <a:off x="236476" y="2089493"/>
          <a:ext cx="4716524" cy="4317242"/>
        </p:xfrm>
        <a:graphic>
          <a:graphicData uri="http://schemas.openxmlformats.org/drawingml/2006/table">
            <a:tbl>
              <a:tblPr/>
              <a:tblGrid>
                <a:gridCol w="1383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28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3053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23" marR="72023" marT="36009" marB="36009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점검 항목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23" marR="72023" marT="36009" marB="36009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4131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대기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3" marR="72023" marT="36009" marB="36009" anchor="ctr" horzOverflow="overflow">
                    <a:lnL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현업부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협력업체 대기상황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통합 이행팀 대기 상황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23" marR="72023" marT="36009" marB="36009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7501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운영시스템 점검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3" marR="72023" marT="36009" marB="36009" anchor="ctr" horzOverflow="overflow">
                    <a:lnL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시스템 운영환경 점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O/S, DBMS, WAS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기동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torag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여유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시스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configuration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DB Spac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여유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접속권한 설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SO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메뉴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사용자권한 설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23" marR="72023" marT="36009" marB="36009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26549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AP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3" marR="72023" marT="36009" marB="36009" anchor="ctr" horzOverflow="overflow">
                    <a:lnL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사용자 인수 테스트 결과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결함조치 완료 여부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ource Cod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이행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최종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ourc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점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ource Cod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점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Source Cod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내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Tes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문 제거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불필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Logging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제거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23" marR="72023" marT="36009" marB="36009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008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데이터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3" marR="72023" marT="36009" marB="36009" anchor="ctr" horzOverflow="overflow">
                    <a:lnL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배치 작업 스케줄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작업 결과 확인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Data Conversion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2020603020101020101" pitchFamily="18" charset="-127"/>
                        <a:ea typeface="KoPub돋움체 Light" panose="02020603020101020101" pitchFamily="18" charset="-127"/>
                      </a:endParaRPr>
                    </a:p>
                  </a:txBody>
                  <a:tcPr marL="72023" marR="72023" marT="36009" marB="36009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289" y="2257917"/>
            <a:ext cx="4418686" cy="4195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그룹 16"/>
          <p:cNvGrpSpPr/>
          <p:nvPr/>
        </p:nvGrpSpPr>
        <p:grpSpPr>
          <a:xfrm>
            <a:off x="5313050" y="2090738"/>
            <a:ext cx="1569472" cy="188600"/>
            <a:chOff x="307903" y="2251498"/>
            <a:chExt cx="1569472" cy="188600"/>
          </a:xfrm>
        </p:grpSpPr>
        <p:sp>
          <p:nvSpPr>
            <p:cNvPr id="18" name="Text Box 358" descr="도식1"/>
            <p:cNvSpPr>
              <a:spLocks noChangeArrowheads="1"/>
            </p:cNvSpPr>
            <p:nvPr/>
          </p:nvSpPr>
          <p:spPr bwMode="auto">
            <a:xfrm>
              <a:off x="307903" y="2251498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9" name="Rt40" descr="도식1"/>
            <p:cNvSpPr>
              <a:spLocks noChangeArrowheads="1"/>
            </p:cNvSpPr>
            <p:nvPr/>
          </p:nvSpPr>
          <p:spPr bwMode="auto">
            <a:xfrm>
              <a:off x="756811" y="2270677"/>
              <a:ext cx="671659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1000" spc="-15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이행 체크리스트</a:t>
              </a:r>
            </a:p>
          </p:txBody>
        </p:sp>
      </p:grpSp>
      <p:pic>
        <p:nvPicPr>
          <p:cNvPr id="20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639965" y="215234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91916" y="2226355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2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3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이행 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5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4054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3.1 </a:t>
            </a:r>
            <a:r>
              <a:rPr lang="ko-KR" altLang="en-US" dirty="0"/>
              <a:t>성공적인 본 이행을 위한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3/3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시나리오는 이행 과정 중 수행되는 모든 작업을 빠짐없이 체크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작업 내용과 작업시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작업 서버 및 담당자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확인자 등의 항목으로 구성하여 작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가 보유한 풍부한 과거 이행 시나리오를 기반으로 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적화된 이행 시나리오를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본 이행 시나리오 작성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25008" y="2073678"/>
            <a:ext cx="4619625" cy="437965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grpSp>
        <p:nvGrpSpPr>
          <p:cNvPr id="23" name="Group 88"/>
          <p:cNvGrpSpPr>
            <a:grpSpLocks/>
          </p:cNvGrpSpPr>
          <p:nvPr/>
        </p:nvGrpSpPr>
        <p:grpSpPr bwMode="auto">
          <a:xfrm>
            <a:off x="252921" y="2060848"/>
            <a:ext cx="4664075" cy="4392488"/>
            <a:chOff x="126" y="1303"/>
            <a:chExt cx="2938" cy="2807"/>
          </a:xfrm>
        </p:grpSpPr>
        <p:sp>
          <p:nvSpPr>
            <p:cNvPr id="25" name="Rectangle 84"/>
            <p:cNvSpPr>
              <a:spLocks noChangeArrowheads="1"/>
            </p:cNvSpPr>
            <p:nvPr/>
          </p:nvSpPr>
          <p:spPr bwMode="auto">
            <a:xfrm>
              <a:off x="130" y="1457"/>
              <a:ext cx="2929" cy="2653"/>
            </a:xfrm>
            <a:prstGeom prst="rect">
              <a:avLst/>
            </a:prstGeom>
            <a:noFill/>
            <a:ln w="9525" algn="ctr">
              <a:solidFill>
                <a:srgbClr val="3A99D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ko-KR" altLang="en-US" b="1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26" name="Picture 85" descr="도형-진파랑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" y="1303"/>
              <a:ext cx="2938" cy="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Rectangle 86"/>
            <p:cNvSpPr>
              <a:spLocks noChangeArrowheads="1"/>
            </p:cNvSpPr>
            <p:nvPr/>
          </p:nvSpPr>
          <p:spPr bwMode="auto">
            <a:xfrm>
              <a:off x="1171" y="1329"/>
              <a:ext cx="848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ko-KR" altLang="ko-KR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이행 시나리오 작성 항목</a:t>
              </a:r>
            </a:p>
          </p:txBody>
        </p:sp>
      </p:grpSp>
      <p:graphicFrame>
        <p:nvGraphicFramePr>
          <p:cNvPr id="28" name="Group 214"/>
          <p:cNvGraphicFramePr>
            <a:graphicFrameLocks noGrp="1"/>
          </p:cNvGraphicFramePr>
          <p:nvPr>
            <p:extLst/>
          </p:nvPr>
        </p:nvGraphicFramePr>
        <p:xfrm>
          <a:off x="365634" y="2462485"/>
          <a:ext cx="4479925" cy="3922075"/>
        </p:xfrm>
        <a:graphic>
          <a:graphicData uri="http://schemas.openxmlformats.org/drawingml/2006/table">
            <a:tbl>
              <a:tblPr/>
              <a:tblGrid>
                <a:gridCol w="7508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53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37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4424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항목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설명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비고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714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작업시간</a:t>
                      </a: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시 수행되는 작업의 시작시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완료시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소요시간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분단위 상세 시간 기술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소요시간은 작업 수행시간의 최대 허용 시간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516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작업 대상</a:t>
                      </a: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업이 수행되는 환경 및 서버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5725" indent="-85725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424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작업 내용</a:t>
                      </a: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수행되는 작업의 내용을 기술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5725" indent="-85725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61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담당자</a:t>
                      </a: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업을 수행하는 인원의 소속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성명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SK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수행 담당자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516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확인자</a:t>
                      </a: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담당자가 수행한 작업의 내용을 점검하는 인원의 소속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성명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SK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종료 확인자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516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확인 방법</a:t>
                      </a: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업의 정상 종료를 확인하는 방법 기술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5725" indent="-85725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516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오류 조치 방법</a:t>
                      </a:r>
                    </a:p>
                  </a:txBody>
                  <a:tcPr marL="72008" marR="72008" marT="36010" marB="3601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업의 수행 중 오류가 발생했을 경우 조치 방법 기술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해당 작업 관련 유지보수 전문 인력에 대한 연락처 기술</a:t>
                      </a:r>
                    </a:p>
                  </a:txBody>
                  <a:tcPr marL="72008" marR="72008" marT="36010" marB="3601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9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55465" y="2163402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2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3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이행 방안 </a:t>
            </a: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477617" y="248292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6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5546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3.2 </a:t>
            </a:r>
            <a:r>
              <a:rPr lang="ko-KR" altLang="en-US" dirty="0"/>
              <a:t>비상계획 대응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1/2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목표 시간 내에 이행이 차질 없이 완료되기 위해서는 이행 중 발생할 수 있는 예외 상황에 대한 대응 방안 및 절차가 필요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안사는 이행 중 발생할 수 있는 위험요소에 대한 비상계획을 수립하고 예외 상황에 대응하여 차질 없이 이행을 완료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비상 계획 수립 목적 및 범위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3" name="Group 2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884922"/>
              </p:ext>
            </p:extLst>
          </p:nvPr>
        </p:nvGraphicFramePr>
        <p:xfrm>
          <a:off x="366713" y="2448963"/>
          <a:ext cx="4333875" cy="3910966"/>
        </p:xfrm>
        <a:graphic>
          <a:graphicData uri="http://schemas.openxmlformats.org/drawingml/2006/table">
            <a:tbl>
              <a:tblPr/>
              <a:tblGrid>
                <a:gridCol w="492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71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00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4392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항목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5" marR="72005" marT="35996" marB="35996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설명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5" marR="72005" marT="35996" marB="35996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비고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05" marR="72005" marT="35996" marB="35996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9953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목적</a:t>
                      </a:r>
                    </a:p>
                  </a:txBody>
                  <a:tcPr marL="72005" marR="72005" marT="35996" marB="35996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4138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4138" marR="0" lvl="0" indent="-84138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자금세탁방지시스템 이행과정에서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발생 가능한 다양한 리스크에 대한 대응방안을 마련함으로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비상상황 발생 시 신속하며 효과적인 대처를 통하여 시스템의 안정적인 가동 및 서비스의 연속성을 유지</a:t>
                      </a:r>
                    </a:p>
                  </a:txBody>
                  <a:tcPr marL="72005" marR="72005" marT="35996" marB="35996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5" marR="72005" marT="35996" marB="35996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1381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범위</a:t>
                      </a:r>
                    </a:p>
                  </a:txBody>
                  <a:tcPr marL="72005" marR="72005" marT="35996" marB="35996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4138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4138" marR="0" lvl="0" indent="-84138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자금세탁방지시스템 이행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선언 후부터 오픈 전까지 주요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sk</a:t>
                      </a:r>
                    </a:p>
                    <a:p>
                      <a:pPr marL="84138" marR="0" lvl="0" indent="-84138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자금세탁방지시스템 오픈 후 당일 주요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Task</a:t>
                      </a:r>
                    </a:p>
                    <a:p>
                      <a:pPr marL="84138" marR="0" lvl="0" indent="-84138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자금세탁방지시스템 이행 불가에 따른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Roll Back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또는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Fall Back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상황</a:t>
                      </a:r>
                    </a:p>
                  </a:txBody>
                  <a:tcPr marL="72005" marR="72005" marT="35996" marB="35996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 불가에 따른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Roll Back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또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Fall Back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상황이 발생하는 경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객사 전체 영역에 대한 협의가 필요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05" marR="72005" marT="35996" marB="35996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4" name="Group 3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33147"/>
              </p:ext>
            </p:extLst>
          </p:nvPr>
        </p:nvGraphicFramePr>
        <p:xfrm>
          <a:off x="5199063" y="2444201"/>
          <a:ext cx="4371975" cy="3937127"/>
        </p:xfrm>
        <a:graphic>
          <a:graphicData uri="http://schemas.openxmlformats.org/drawingml/2006/table">
            <a:tbl>
              <a:tblPr/>
              <a:tblGrid>
                <a:gridCol w="4381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4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92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6589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항목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14" marR="72014" marT="36008" marB="36008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비상 상황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14" marR="72014" marT="36008" marB="36008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비상 상황 상세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14" marR="72014" marT="36008" marB="36008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20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사전</a:t>
                      </a:r>
                      <a:b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행</a:t>
                      </a:r>
                    </a:p>
                  </a:txBody>
                  <a:tcPr marL="0" marR="0" marT="17998" marB="17998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 가부</a:t>
                      </a:r>
                      <a:b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판단 기준 미달</a:t>
                      </a:r>
                    </a:p>
                  </a:txBody>
                  <a:tcPr marL="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9207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92075" algn="l"/>
                        </a:tabLs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>
                          <a:tab pos="92075" algn="l"/>
                        </a:tabLst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스템 품질 목표치 미달</a:t>
                      </a:r>
                      <a:b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오류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치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성능목표 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52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이행 관련 사항 목표치 미달</a:t>
                      </a:r>
                      <a:b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</a:b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검증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589">
                <a:tc rowSpan="9"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이행</a:t>
                      </a:r>
                    </a:p>
                  </a:txBody>
                  <a:tcPr marL="0" marR="0" marT="17998" marB="17998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시 각종 장애 발생</a:t>
                      </a:r>
                    </a:p>
                  </a:txBody>
                  <a:tcPr marL="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N/W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장애로 인한 장시간 작업 불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8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서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DB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및 미들웨어 장애로 업무팀 작업 불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52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검증 결과 중대한 오류 발생</a:t>
                      </a:r>
                    </a:p>
                  </a:txBody>
                  <a:tcPr marL="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전환 후 계수 데이터 검증 결과 중대한 오류 발생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52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indent="-9207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전환 후 비계수 데이터 검증 결과 중대한 오류 발생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146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이행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목표시간 초과</a:t>
                      </a:r>
                    </a:p>
                  </a:txBody>
                  <a:tcPr marL="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전환 목표 시간을 초과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31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데이터 점검시간 초과</a:t>
                      </a:r>
                    </a:p>
                  </a:txBody>
                  <a:tcPr marL="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환 데이터 점검 목표 시간을 초과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65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배치 및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CC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업 오류 발생</a:t>
                      </a:r>
                    </a:p>
                  </a:txBody>
                  <a:tcPr marL="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작업 자동화 도구에 의한 정기작업 수행 불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52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indent="-9207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배치 및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CC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프로그램 오류로 인한 데이터 정합성 오류 발생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52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9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온라인 점검 결과 오류</a:t>
                      </a:r>
                    </a:p>
                  </a:txBody>
                  <a:tcPr marL="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기본 거래 불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6000" marR="0" marT="17998" marB="17998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6" name="Rectangle 119"/>
          <p:cNvSpPr>
            <a:spLocks noChangeArrowheads="1"/>
          </p:cNvSpPr>
          <p:nvPr/>
        </p:nvSpPr>
        <p:spPr bwMode="auto">
          <a:xfrm>
            <a:off x="5031358" y="2312988"/>
            <a:ext cx="4638166" cy="4140349"/>
          </a:xfrm>
          <a:prstGeom prst="rect">
            <a:avLst/>
          </a:prstGeom>
          <a:noFill/>
          <a:ln w="9525" algn="ctr">
            <a:solidFill>
              <a:srgbClr val="3A99D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b="1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17" name="Picture 120" descr="도형-진파랑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008" y="2068513"/>
            <a:ext cx="465241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21"/>
          <p:cNvSpPr>
            <a:spLocks noChangeArrowheads="1"/>
          </p:cNvSpPr>
          <p:nvPr/>
        </p:nvSpPr>
        <p:spPr bwMode="auto">
          <a:xfrm>
            <a:off x="6753225" y="2109788"/>
            <a:ext cx="1236663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ko-KR" sz="11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시 비상 상황 유형</a:t>
            </a:r>
          </a:p>
        </p:txBody>
      </p:sp>
      <p:sp>
        <p:nvSpPr>
          <p:cNvPr id="20" name="Rectangle 123"/>
          <p:cNvSpPr>
            <a:spLocks noChangeArrowheads="1"/>
          </p:cNvSpPr>
          <p:nvPr/>
        </p:nvSpPr>
        <p:spPr bwMode="auto">
          <a:xfrm>
            <a:off x="259271" y="2312989"/>
            <a:ext cx="4649788" cy="4140348"/>
          </a:xfrm>
          <a:prstGeom prst="rect">
            <a:avLst/>
          </a:prstGeom>
          <a:noFill/>
          <a:ln w="9525" algn="ctr">
            <a:solidFill>
              <a:srgbClr val="3A99D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endParaRPr lang="ko-KR" altLang="en-US" b="1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21" name="Picture 124" descr="도형-진파랑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921" y="2068513"/>
            <a:ext cx="466407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125"/>
          <p:cNvSpPr>
            <a:spLocks noChangeArrowheads="1"/>
          </p:cNvSpPr>
          <p:nvPr/>
        </p:nvSpPr>
        <p:spPr bwMode="auto">
          <a:xfrm>
            <a:off x="2181225" y="2109788"/>
            <a:ext cx="700088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ko-KR" sz="11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목적 및 범위</a:t>
            </a:r>
          </a:p>
        </p:txBody>
      </p:sp>
      <p:pic>
        <p:nvPicPr>
          <p:cNvPr id="23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91916" y="242350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2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3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이행 방안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7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521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76" y="836712"/>
            <a:ext cx="9433048" cy="200055"/>
          </a:xfrm>
        </p:spPr>
        <p:txBody>
          <a:bodyPr/>
          <a:lstStyle/>
          <a:p>
            <a:r>
              <a:rPr lang="en-US" altLang="ko-KR" dirty="0" smtClean="0"/>
              <a:t>4.3.2 </a:t>
            </a:r>
            <a:r>
              <a:rPr lang="ko-KR" altLang="en-US" dirty="0"/>
              <a:t>비상계획 대응 </a:t>
            </a:r>
            <a:r>
              <a:rPr lang="ko-KR" altLang="en-US" dirty="0" smtClean="0"/>
              <a:t>방안 </a:t>
            </a:r>
            <a:r>
              <a:rPr lang="en-US" altLang="ko-KR" dirty="0" smtClean="0"/>
              <a:t>(2/2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비상계획 수립 시 첫 단계는 이행에 영향을 줄 수 있다고 예상되는 부문별 위험요소를 정의하여 리스트를 작성하는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작업입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H/W, S/W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인적 위험요소에 대한 항목이 도출되면 이행 팀과 고객사 담당자 간의 긴밀한 협의 하에 각각의 위험요소에 대한 </a:t>
            </a:r>
            <a:r>
              <a:rPr lang="ko-KR" altLang="en-US" sz="1100" dirty="0" err="1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응안을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마련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비상 계획 </a:t>
              </a:r>
              <a:r>
                <a:rPr lang="ko-KR" altLang="en-US" sz="1100" dirty="0" err="1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수립절차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26" name="Picture 237" descr="1권 1-12-3 주요 사업분야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4868863"/>
            <a:ext cx="4273550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Group 105"/>
          <p:cNvGrpSpPr>
            <a:grpSpLocks/>
          </p:cNvGrpSpPr>
          <p:nvPr/>
        </p:nvGrpSpPr>
        <p:grpSpPr bwMode="auto">
          <a:xfrm>
            <a:off x="1187451" y="2222500"/>
            <a:ext cx="179388" cy="174625"/>
            <a:chOff x="10747" y="2191"/>
            <a:chExt cx="984" cy="958"/>
          </a:xfrm>
        </p:grpSpPr>
        <p:sp>
          <p:nvSpPr>
            <p:cNvPr id="53" name="Freeform 106"/>
            <p:cNvSpPr>
              <a:spLocks noEditPoints="1"/>
            </p:cNvSpPr>
            <p:nvPr/>
          </p:nvSpPr>
          <p:spPr bwMode="auto">
            <a:xfrm>
              <a:off x="11104" y="2191"/>
              <a:ext cx="627" cy="613"/>
            </a:xfrm>
            <a:custGeom>
              <a:avLst/>
              <a:gdLst>
                <a:gd name="T0" fmla="*/ 0 w 2508"/>
                <a:gd name="T1" fmla="*/ 0 h 2449"/>
                <a:gd name="T2" fmla="*/ 0 w 2508"/>
                <a:gd name="T3" fmla="*/ 0 h 2449"/>
                <a:gd name="T4" fmla="*/ 0 w 2508"/>
                <a:gd name="T5" fmla="*/ 0 h 2449"/>
                <a:gd name="T6" fmla="*/ 0 w 2508"/>
                <a:gd name="T7" fmla="*/ 0 h 2449"/>
                <a:gd name="T8" fmla="*/ 0 w 2508"/>
                <a:gd name="T9" fmla="*/ 0 h 2449"/>
                <a:gd name="T10" fmla="*/ 0 w 2508"/>
                <a:gd name="T11" fmla="*/ 0 h 2449"/>
                <a:gd name="T12" fmla="*/ 0 w 2508"/>
                <a:gd name="T13" fmla="*/ 0 h 2449"/>
                <a:gd name="T14" fmla="*/ 0 w 2508"/>
                <a:gd name="T15" fmla="*/ 0 h 2449"/>
                <a:gd name="T16" fmla="*/ 0 w 2508"/>
                <a:gd name="T17" fmla="*/ 0 h 2449"/>
                <a:gd name="T18" fmla="*/ 0 w 2508"/>
                <a:gd name="T19" fmla="*/ 0 h 2449"/>
                <a:gd name="T20" fmla="*/ 0 w 2508"/>
                <a:gd name="T21" fmla="*/ 0 h 2449"/>
                <a:gd name="T22" fmla="*/ 0 w 2508"/>
                <a:gd name="T23" fmla="*/ 0 h 2449"/>
                <a:gd name="T24" fmla="*/ 0 w 2508"/>
                <a:gd name="T25" fmla="*/ 0 h 2449"/>
                <a:gd name="T26" fmla="*/ 0 w 2508"/>
                <a:gd name="T27" fmla="*/ 0 h 2449"/>
                <a:gd name="T28" fmla="*/ 0 w 2508"/>
                <a:gd name="T29" fmla="*/ 0 h 2449"/>
                <a:gd name="T30" fmla="*/ 0 w 2508"/>
                <a:gd name="T31" fmla="*/ 0 h 2449"/>
                <a:gd name="T32" fmla="*/ 0 w 2508"/>
                <a:gd name="T33" fmla="*/ 0 h 2449"/>
                <a:gd name="T34" fmla="*/ 0 w 2508"/>
                <a:gd name="T35" fmla="*/ 0 h 2449"/>
                <a:gd name="T36" fmla="*/ 0 w 2508"/>
                <a:gd name="T37" fmla="*/ 0 h 2449"/>
                <a:gd name="T38" fmla="*/ 0 w 2508"/>
                <a:gd name="T39" fmla="*/ 0 h 2449"/>
                <a:gd name="T40" fmla="*/ 0 w 2508"/>
                <a:gd name="T41" fmla="*/ 0 h 2449"/>
                <a:gd name="T42" fmla="*/ 0 w 2508"/>
                <a:gd name="T43" fmla="*/ 0 h 2449"/>
                <a:gd name="T44" fmla="*/ 0 w 2508"/>
                <a:gd name="T45" fmla="*/ 0 h 2449"/>
                <a:gd name="T46" fmla="*/ 0 w 2508"/>
                <a:gd name="T47" fmla="*/ 0 h 2449"/>
                <a:gd name="T48" fmla="*/ 0 w 2508"/>
                <a:gd name="T49" fmla="*/ 0 h 2449"/>
                <a:gd name="T50" fmla="*/ 0 w 2508"/>
                <a:gd name="T51" fmla="*/ 0 h 2449"/>
                <a:gd name="T52" fmla="*/ 0 w 2508"/>
                <a:gd name="T53" fmla="*/ 0 h 2449"/>
                <a:gd name="T54" fmla="*/ 0 w 2508"/>
                <a:gd name="T55" fmla="*/ 0 h 2449"/>
                <a:gd name="T56" fmla="*/ 0 w 2508"/>
                <a:gd name="T57" fmla="*/ 0 h 2449"/>
                <a:gd name="T58" fmla="*/ 0 w 2508"/>
                <a:gd name="T59" fmla="*/ 0 h 2449"/>
                <a:gd name="T60" fmla="*/ 0 w 2508"/>
                <a:gd name="T61" fmla="*/ 0 h 2449"/>
                <a:gd name="T62" fmla="*/ 0 w 2508"/>
                <a:gd name="T63" fmla="*/ 0 h 2449"/>
                <a:gd name="T64" fmla="*/ 0 w 2508"/>
                <a:gd name="T65" fmla="*/ 0 h 2449"/>
                <a:gd name="T66" fmla="*/ 0 w 2508"/>
                <a:gd name="T67" fmla="*/ 0 h 2449"/>
                <a:gd name="T68" fmla="*/ 0 w 2508"/>
                <a:gd name="T69" fmla="*/ 0 h 2449"/>
                <a:gd name="T70" fmla="*/ 0 w 2508"/>
                <a:gd name="T71" fmla="*/ 0 h 2449"/>
                <a:gd name="T72" fmla="*/ 0 w 2508"/>
                <a:gd name="T73" fmla="*/ 0 h 2449"/>
                <a:gd name="T74" fmla="*/ 0 w 2508"/>
                <a:gd name="T75" fmla="*/ 0 h 2449"/>
                <a:gd name="T76" fmla="*/ 0 w 2508"/>
                <a:gd name="T77" fmla="*/ 0 h 2449"/>
                <a:gd name="T78" fmla="*/ 0 w 2508"/>
                <a:gd name="T79" fmla="*/ 0 h 2449"/>
                <a:gd name="T80" fmla="*/ 0 w 2508"/>
                <a:gd name="T81" fmla="*/ 0 h 2449"/>
                <a:gd name="T82" fmla="*/ 0 w 2508"/>
                <a:gd name="T83" fmla="*/ 0 h 2449"/>
                <a:gd name="T84" fmla="*/ 0 w 2508"/>
                <a:gd name="T85" fmla="*/ 0 h 2449"/>
                <a:gd name="T86" fmla="*/ 0 w 2508"/>
                <a:gd name="T87" fmla="*/ 0 h 2449"/>
                <a:gd name="T88" fmla="*/ 0 w 2508"/>
                <a:gd name="T89" fmla="*/ 0 h 2449"/>
                <a:gd name="T90" fmla="*/ 0 w 2508"/>
                <a:gd name="T91" fmla="*/ 0 h 2449"/>
                <a:gd name="T92" fmla="*/ 0 w 2508"/>
                <a:gd name="T93" fmla="*/ 0 h 2449"/>
                <a:gd name="T94" fmla="*/ 0 w 2508"/>
                <a:gd name="T95" fmla="*/ 0 h 2449"/>
                <a:gd name="T96" fmla="*/ 0 w 2508"/>
                <a:gd name="T97" fmla="*/ 0 h 2449"/>
                <a:gd name="T98" fmla="*/ 0 w 2508"/>
                <a:gd name="T99" fmla="*/ 0 h 2449"/>
                <a:gd name="T100" fmla="*/ 0 w 2508"/>
                <a:gd name="T101" fmla="*/ 0 h 2449"/>
                <a:gd name="T102" fmla="*/ 0 w 2508"/>
                <a:gd name="T103" fmla="*/ 0 h 2449"/>
                <a:gd name="T104" fmla="*/ 0 w 2508"/>
                <a:gd name="T105" fmla="*/ 0 h 2449"/>
                <a:gd name="T106" fmla="*/ 0 w 2508"/>
                <a:gd name="T107" fmla="*/ 0 h 2449"/>
                <a:gd name="T108" fmla="*/ 0 w 2508"/>
                <a:gd name="T109" fmla="*/ 0 h 2449"/>
                <a:gd name="T110" fmla="*/ 0 w 2508"/>
                <a:gd name="T111" fmla="*/ 0 h 244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08"/>
                <a:gd name="T169" fmla="*/ 0 h 2449"/>
                <a:gd name="T170" fmla="*/ 2508 w 2508"/>
                <a:gd name="T171" fmla="*/ 2449 h 244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08" h="2449">
                  <a:moveTo>
                    <a:pt x="1219" y="371"/>
                  </a:moveTo>
                  <a:lnTo>
                    <a:pt x="1148" y="377"/>
                  </a:lnTo>
                  <a:lnTo>
                    <a:pt x="1078" y="388"/>
                  </a:lnTo>
                  <a:lnTo>
                    <a:pt x="1010" y="405"/>
                  </a:lnTo>
                  <a:lnTo>
                    <a:pt x="942" y="427"/>
                  </a:lnTo>
                  <a:lnTo>
                    <a:pt x="876" y="454"/>
                  </a:lnTo>
                  <a:lnTo>
                    <a:pt x="811" y="488"/>
                  </a:lnTo>
                  <a:lnTo>
                    <a:pt x="750" y="526"/>
                  </a:lnTo>
                  <a:lnTo>
                    <a:pt x="691" y="571"/>
                  </a:lnTo>
                  <a:lnTo>
                    <a:pt x="636" y="620"/>
                  </a:lnTo>
                  <a:lnTo>
                    <a:pt x="585" y="675"/>
                  </a:lnTo>
                  <a:lnTo>
                    <a:pt x="540" y="732"/>
                  </a:lnTo>
                  <a:lnTo>
                    <a:pt x="500" y="792"/>
                  </a:lnTo>
                  <a:lnTo>
                    <a:pt x="466" y="855"/>
                  </a:lnTo>
                  <a:lnTo>
                    <a:pt x="437" y="920"/>
                  </a:lnTo>
                  <a:lnTo>
                    <a:pt x="415" y="986"/>
                  </a:lnTo>
                  <a:lnTo>
                    <a:pt x="398" y="1053"/>
                  </a:lnTo>
                  <a:lnTo>
                    <a:pt x="387" y="1122"/>
                  </a:lnTo>
                  <a:lnTo>
                    <a:pt x="381" y="1190"/>
                  </a:lnTo>
                  <a:lnTo>
                    <a:pt x="381" y="1259"/>
                  </a:lnTo>
                  <a:lnTo>
                    <a:pt x="387" y="1327"/>
                  </a:lnTo>
                  <a:lnTo>
                    <a:pt x="398" y="1396"/>
                  </a:lnTo>
                  <a:lnTo>
                    <a:pt x="415" y="1463"/>
                  </a:lnTo>
                  <a:lnTo>
                    <a:pt x="437" y="1529"/>
                  </a:lnTo>
                  <a:lnTo>
                    <a:pt x="466" y="1594"/>
                  </a:lnTo>
                  <a:lnTo>
                    <a:pt x="500" y="1657"/>
                  </a:lnTo>
                  <a:lnTo>
                    <a:pt x="540" y="1717"/>
                  </a:lnTo>
                  <a:lnTo>
                    <a:pt x="585" y="1774"/>
                  </a:lnTo>
                  <a:lnTo>
                    <a:pt x="636" y="1829"/>
                  </a:lnTo>
                  <a:lnTo>
                    <a:pt x="691" y="1878"/>
                  </a:lnTo>
                  <a:lnTo>
                    <a:pt x="750" y="1923"/>
                  </a:lnTo>
                  <a:lnTo>
                    <a:pt x="811" y="1961"/>
                  </a:lnTo>
                  <a:lnTo>
                    <a:pt x="876" y="1995"/>
                  </a:lnTo>
                  <a:lnTo>
                    <a:pt x="942" y="2022"/>
                  </a:lnTo>
                  <a:lnTo>
                    <a:pt x="1010" y="2044"/>
                  </a:lnTo>
                  <a:lnTo>
                    <a:pt x="1078" y="2061"/>
                  </a:lnTo>
                  <a:lnTo>
                    <a:pt x="1148" y="2072"/>
                  </a:lnTo>
                  <a:lnTo>
                    <a:pt x="1219" y="2078"/>
                  </a:lnTo>
                  <a:lnTo>
                    <a:pt x="1289" y="2078"/>
                  </a:lnTo>
                  <a:lnTo>
                    <a:pt x="1360" y="2072"/>
                  </a:lnTo>
                  <a:lnTo>
                    <a:pt x="1429" y="2061"/>
                  </a:lnTo>
                  <a:lnTo>
                    <a:pt x="1498" y="2044"/>
                  </a:lnTo>
                  <a:lnTo>
                    <a:pt x="1566" y="2022"/>
                  </a:lnTo>
                  <a:lnTo>
                    <a:pt x="1633" y="1995"/>
                  </a:lnTo>
                  <a:lnTo>
                    <a:pt x="1696" y="1961"/>
                  </a:lnTo>
                  <a:lnTo>
                    <a:pt x="1758" y="1923"/>
                  </a:lnTo>
                  <a:lnTo>
                    <a:pt x="1817" y="1878"/>
                  </a:lnTo>
                  <a:lnTo>
                    <a:pt x="1872" y="1829"/>
                  </a:lnTo>
                  <a:lnTo>
                    <a:pt x="1922" y="1774"/>
                  </a:lnTo>
                  <a:lnTo>
                    <a:pt x="1968" y="1717"/>
                  </a:lnTo>
                  <a:lnTo>
                    <a:pt x="2008" y="1657"/>
                  </a:lnTo>
                  <a:lnTo>
                    <a:pt x="2041" y="1594"/>
                  </a:lnTo>
                  <a:lnTo>
                    <a:pt x="2070" y="1529"/>
                  </a:lnTo>
                  <a:lnTo>
                    <a:pt x="2093" y="1463"/>
                  </a:lnTo>
                  <a:lnTo>
                    <a:pt x="2110" y="1396"/>
                  </a:lnTo>
                  <a:lnTo>
                    <a:pt x="2121" y="1327"/>
                  </a:lnTo>
                  <a:lnTo>
                    <a:pt x="2127" y="1259"/>
                  </a:lnTo>
                  <a:lnTo>
                    <a:pt x="2127" y="1190"/>
                  </a:lnTo>
                  <a:lnTo>
                    <a:pt x="2121" y="1122"/>
                  </a:lnTo>
                  <a:lnTo>
                    <a:pt x="2110" y="1053"/>
                  </a:lnTo>
                  <a:lnTo>
                    <a:pt x="2093" y="986"/>
                  </a:lnTo>
                  <a:lnTo>
                    <a:pt x="2070" y="920"/>
                  </a:lnTo>
                  <a:lnTo>
                    <a:pt x="2041" y="855"/>
                  </a:lnTo>
                  <a:lnTo>
                    <a:pt x="2008" y="792"/>
                  </a:lnTo>
                  <a:lnTo>
                    <a:pt x="1968" y="732"/>
                  </a:lnTo>
                  <a:lnTo>
                    <a:pt x="1922" y="675"/>
                  </a:lnTo>
                  <a:lnTo>
                    <a:pt x="1872" y="620"/>
                  </a:lnTo>
                  <a:lnTo>
                    <a:pt x="1817" y="571"/>
                  </a:lnTo>
                  <a:lnTo>
                    <a:pt x="1758" y="526"/>
                  </a:lnTo>
                  <a:lnTo>
                    <a:pt x="1696" y="488"/>
                  </a:lnTo>
                  <a:lnTo>
                    <a:pt x="1633" y="454"/>
                  </a:lnTo>
                  <a:lnTo>
                    <a:pt x="1566" y="427"/>
                  </a:lnTo>
                  <a:lnTo>
                    <a:pt x="1498" y="405"/>
                  </a:lnTo>
                  <a:lnTo>
                    <a:pt x="1429" y="388"/>
                  </a:lnTo>
                  <a:lnTo>
                    <a:pt x="1360" y="377"/>
                  </a:lnTo>
                  <a:lnTo>
                    <a:pt x="1289" y="371"/>
                  </a:lnTo>
                  <a:lnTo>
                    <a:pt x="1219" y="371"/>
                  </a:lnTo>
                  <a:close/>
                  <a:moveTo>
                    <a:pt x="1212" y="0"/>
                  </a:moveTo>
                  <a:lnTo>
                    <a:pt x="1296" y="0"/>
                  </a:lnTo>
                  <a:lnTo>
                    <a:pt x="1379" y="4"/>
                  </a:lnTo>
                  <a:lnTo>
                    <a:pt x="1463" y="15"/>
                  </a:lnTo>
                  <a:lnTo>
                    <a:pt x="1545" y="32"/>
                  </a:lnTo>
                  <a:lnTo>
                    <a:pt x="1627" y="54"/>
                  </a:lnTo>
                  <a:lnTo>
                    <a:pt x="1706" y="80"/>
                  </a:lnTo>
                  <a:lnTo>
                    <a:pt x="1784" y="113"/>
                  </a:lnTo>
                  <a:lnTo>
                    <a:pt x="1861" y="151"/>
                  </a:lnTo>
                  <a:lnTo>
                    <a:pt x="1936" y="194"/>
                  </a:lnTo>
                  <a:lnTo>
                    <a:pt x="2007" y="244"/>
                  </a:lnTo>
                  <a:lnTo>
                    <a:pt x="2075" y="298"/>
                  </a:lnTo>
                  <a:lnTo>
                    <a:pt x="2141" y="358"/>
                  </a:lnTo>
                  <a:lnTo>
                    <a:pt x="2203" y="422"/>
                  </a:lnTo>
                  <a:lnTo>
                    <a:pt x="2258" y="489"/>
                  </a:lnTo>
                  <a:lnTo>
                    <a:pt x="2308" y="559"/>
                  </a:lnTo>
                  <a:lnTo>
                    <a:pt x="2353" y="631"/>
                  </a:lnTo>
                  <a:lnTo>
                    <a:pt x="2391" y="706"/>
                  </a:lnTo>
                  <a:lnTo>
                    <a:pt x="2425" y="783"/>
                  </a:lnTo>
                  <a:lnTo>
                    <a:pt x="2453" y="861"/>
                  </a:lnTo>
                  <a:lnTo>
                    <a:pt x="2474" y="940"/>
                  </a:lnTo>
                  <a:lnTo>
                    <a:pt x="2491" y="1021"/>
                  </a:lnTo>
                  <a:lnTo>
                    <a:pt x="2502" y="1102"/>
                  </a:lnTo>
                  <a:lnTo>
                    <a:pt x="2508" y="1183"/>
                  </a:lnTo>
                  <a:lnTo>
                    <a:pt x="2508" y="1266"/>
                  </a:lnTo>
                  <a:lnTo>
                    <a:pt x="2502" y="1347"/>
                  </a:lnTo>
                  <a:lnTo>
                    <a:pt x="2491" y="1428"/>
                  </a:lnTo>
                  <a:lnTo>
                    <a:pt x="2474" y="1509"/>
                  </a:lnTo>
                  <a:lnTo>
                    <a:pt x="2453" y="1588"/>
                  </a:lnTo>
                  <a:lnTo>
                    <a:pt x="2425" y="1666"/>
                  </a:lnTo>
                  <a:lnTo>
                    <a:pt x="2391" y="1743"/>
                  </a:lnTo>
                  <a:lnTo>
                    <a:pt x="2353" y="1818"/>
                  </a:lnTo>
                  <a:lnTo>
                    <a:pt x="2308" y="1890"/>
                  </a:lnTo>
                  <a:lnTo>
                    <a:pt x="2258" y="1960"/>
                  </a:lnTo>
                  <a:lnTo>
                    <a:pt x="2203" y="2027"/>
                  </a:lnTo>
                  <a:lnTo>
                    <a:pt x="2141" y="2091"/>
                  </a:lnTo>
                  <a:lnTo>
                    <a:pt x="2075" y="2151"/>
                  </a:lnTo>
                  <a:lnTo>
                    <a:pt x="2007" y="2205"/>
                  </a:lnTo>
                  <a:lnTo>
                    <a:pt x="1936" y="2255"/>
                  </a:lnTo>
                  <a:lnTo>
                    <a:pt x="1861" y="2298"/>
                  </a:lnTo>
                  <a:lnTo>
                    <a:pt x="1784" y="2336"/>
                  </a:lnTo>
                  <a:lnTo>
                    <a:pt x="1706" y="2369"/>
                  </a:lnTo>
                  <a:lnTo>
                    <a:pt x="1627" y="2395"/>
                  </a:lnTo>
                  <a:lnTo>
                    <a:pt x="1545" y="2417"/>
                  </a:lnTo>
                  <a:lnTo>
                    <a:pt x="1463" y="2434"/>
                  </a:lnTo>
                  <a:lnTo>
                    <a:pt x="1379" y="2445"/>
                  </a:lnTo>
                  <a:lnTo>
                    <a:pt x="1296" y="2449"/>
                  </a:lnTo>
                  <a:lnTo>
                    <a:pt x="1212" y="2449"/>
                  </a:lnTo>
                  <a:lnTo>
                    <a:pt x="1129" y="2445"/>
                  </a:lnTo>
                  <a:lnTo>
                    <a:pt x="1046" y="2434"/>
                  </a:lnTo>
                  <a:lnTo>
                    <a:pt x="963" y="2417"/>
                  </a:lnTo>
                  <a:lnTo>
                    <a:pt x="881" y="2395"/>
                  </a:lnTo>
                  <a:lnTo>
                    <a:pt x="802" y="2369"/>
                  </a:lnTo>
                  <a:lnTo>
                    <a:pt x="724" y="2336"/>
                  </a:lnTo>
                  <a:lnTo>
                    <a:pt x="647" y="2298"/>
                  </a:lnTo>
                  <a:lnTo>
                    <a:pt x="573" y="2255"/>
                  </a:lnTo>
                  <a:lnTo>
                    <a:pt x="501" y="2205"/>
                  </a:lnTo>
                  <a:lnTo>
                    <a:pt x="433" y="2151"/>
                  </a:lnTo>
                  <a:lnTo>
                    <a:pt x="366" y="2091"/>
                  </a:lnTo>
                  <a:lnTo>
                    <a:pt x="306" y="2027"/>
                  </a:lnTo>
                  <a:lnTo>
                    <a:pt x="250" y="1960"/>
                  </a:lnTo>
                  <a:lnTo>
                    <a:pt x="200" y="1890"/>
                  </a:lnTo>
                  <a:lnTo>
                    <a:pt x="156" y="1818"/>
                  </a:lnTo>
                  <a:lnTo>
                    <a:pt x="116" y="1743"/>
                  </a:lnTo>
                  <a:lnTo>
                    <a:pt x="84" y="1666"/>
                  </a:lnTo>
                  <a:lnTo>
                    <a:pt x="56" y="1588"/>
                  </a:lnTo>
                  <a:lnTo>
                    <a:pt x="33" y="1509"/>
                  </a:lnTo>
                  <a:lnTo>
                    <a:pt x="17" y="1428"/>
                  </a:lnTo>
                  <a:lnTo>
                    <a:pt x="6" y="1348"/>
                  </a:lnTo>
                  <a:lnTo>
                    <a:pt x="0" y="1266"/>
                  </a:lnTo>
                  <a:lnTo>
                    <a:pt x="0" y="1184"/>
                  </a:lnTo>
                  <a:lnTo>
                    <a:pt x="6" y="1102"/>
                  </a:lnTo>
                  <a:lnTo>
                    <a:pt x="17" y="1021"/>
                  </a:lnTo>
                  <a:lnTo>
                    <a:pt x="33" y="940"/>
                  </a:lnTo>
                  <a:lnTo>
                    <a:pt x="56" y="861"/>
                  </a:lnTo>
                  <a:lnTo>
                    <a:pt x="84" y="783"/>
                  </a:lnTo>
                  <a:lnTo>
                    <a:pt x="116" y="706"/>
                  </a:lnTo>
                  <a:lnTo>
                    <a:pt x="156" y="631"/>
                  </a:lnTo>
                  <a:lnTo>
                    <a:pt x="200" y="559"/>
                  </a:lnTo>
                  <a:lnTo>
                    <a:pt x="250" y="489"/>
                  </a:lnTo>
                  <a:lnTo>
                    <a:pt x="306" y="422"/>
                  </a:lnTo>
                  <a:lnTo>
                    <a:pt x="366" y="358"/>
                  </a:lnTo>
                  <a:lnTo>
                    <a:pt x="433" y="298"/>
                  </a:lnTo>
                  <a:lnTo>
                    <a:pt x="501" y="244"/>
                  </a:lnTo>
                  <a:lnTo>
                    <a:pt x="573" y="194"/>
                  </a:lnTo>
                  <a:lnTo>
                    <a:pt x="647" y="151"/>
                  </a:lnTo>
                  <a:lnTo>
                    <a:pt x="724" y="113"/>
                  </a:lnTo>
                  <a:lnTo>
                    <a:pt x="802" y="80"/>
                  </a:lnTo>
                  <a:lnTo>
                    <a:pt x="881" y="54"/>
                  </a:lnTo>
                  <a:lnTo>
                    <a:pt x="963" y="32"/>
                  </a:lnTo>
                  <a:lnTo>
                    <a:pt x="1046" y="15"/>
                  </a:lnTo>
                  <a:lnTo>
                    <a:pt x="1129" y="4"/>
                  </a:lnTo>
                  <a:lnTo>
                    <a:pt x="1212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ysClr val="windowText" lastClr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54" name="Freeform 107"/>
            <p:cNvSpPr>
              <a:spLocks/>
            </p:cNvSpPr>
            <p:nvPr/>
          </p:nvSpPr>
          <p:spPr bwMode="auto">
            <a:xfrm>
              <a:off x="11062" y="2732"/>
              <a:ext cx="112" cy="109"/>
            </a:xfrm>
            <a:custGeom>
              <a:avLst/>
              <a:gdLst>
                <a:gd name="T0" fmla="*/ 0 w 449"/>
                <a:gd name="T1" fmla="*/ 0 h 438"/>
                <a:gd name="T2" fmla="*/ 0 w 449"/>
                <a:gd name="T3" fmla="*/ 0 h 438"/>
                <a:gd name="T4" fmla="*/ 0 w 449"/>
                <a:gd name="T5" fmla="*/ 0 h 438"/>
                <a:gd name="T6" fmla="*/ 0 w 449"/>
                <a:gd name="T7" fmla="*/ 0 h 438"/>
                <a:gd name="T8" fmla="*/ 0 w 449"/>
                <a:gd name="T9" fmla="*/ 0 h 438"/>
                <a:gd name="T10" fmla="*/ 0 w 449"/>
                <a:gd name="T11" fmla="*/ 0 h 438"/>
                <a:gd name="T12" fmla="*/ 0 w 449"/>
                <a:gd name="T13" fmla="*/ 0 h 438"/>
                <a:gd name="T14" fmla="*/ 0 w 449"/>
                <a:gd name="T15" fmla="*/ 0 h 438"/>
                <a:gd name="T16" fmla="*/ 0 w 449"/>
                <a:gd name="T17" fmla="*/ 0 h 438"/>
                <a:gd name="T18" fmla="*/ 0 w 449"/>
                <a:gd name="T19" fmla="*/ 0 h 438"/>
                <a:gd name="T20" fmla="*/ 0 w 449"/>
                <a:gd name="T21" fmla="*/ 0 h 438"/>
                <a:gd name="T22" fmla="*/ 0 w 449"/>
                <a:gd name="T23" fmla="*/ 0 h 438"/>
                <a:gd name="T24" fmla="*/ 0 w 449"/>
                <a:gd name="T25" fmla="*/ 0 h 438"/>
                <a:gd name="T26" fmla="*/ 0 w 449"/>
                <a:gd name="T27" fmla="*/ 0 h 438"/>
                <a:gd name="T28" fmla="*/ 0 w 449"/>
                <a:gd name="T29" fmla="*/ 0 h 438"/>
                <a:gd name="T30" fmla="*/ 0 w 449"/>
                <a:gd name="T31" fmla="*/ 0 h 438"/>
                <a:gd name="T32" fmla="*/ 0 w 449"/>
                <a:gd name="T33" fmla="*/ 0 h 438"/>
                <a:gd name="T34" fmla="*/ 0 w 449"/>
                <a:gd name="T35" fmla="*/ 0 h 438"/>
                <a:gd name="T36" fmla="*/ 0 w 449"/>
                <a:gd name="T37" fmla="*/ 0 h 438"/>
                <a:gd name="T38" fmla="*/ 0 w 449"/>
                <a:gd name="T39" fmla="*/ 0 h 438"/>
                <a:gd name="T40" fmla="*/ 0 w 449"/>
                <a:gd name="T41" fmla="*/ 0 h 438"/>
                <a:gd name="T42" fmla="*/ 0 w 449"/>
                <a:gd name="T43" fmla="*/ 0 h 438"/>
                <a:gd name="T44" fmla="*/ 0 w 449"/>
                <a:gd name="T45" fmla="*/ 0 h 438"/>
                <a:gd name="T46" fmla="*/ 0 w 449"/>
                <a:gd name="T47" fmla="*/ 0 h 43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9"/>
                <a:gd name="T73" fmla="*/ 0 h 438"/>
                <a:gd name="T74" fmla="*/ 449 w 449"/>
                <a:gd name="T75" fmla="*/ 438 h 43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9" h="438">
                  <a:moveTo>
                    <a:pt x="194" y="0"/>
                  </a:moveTo>
                  <a:lnTo>
                    <a:pt x="232" y="2"/>
                  </a:lnTo>
                  <a:lnTo>
                    <a:pt x="271" y="11"/>
                  </a:lnTo>
                  <a:lnTo>
                    <a:pt x="308" y="25"/>
                  </a:lnTo>
                  <a:lnTo>
                    <a:pt x="342" y="45"/>
                  </a:lnTo>
                  <a:lnTo>
                    <a:pt x="374" y="72"/>
                  </a:lnTo>
                  <a:lnTo>
                    <a:pt x="401" y="103"/>
                  </a:lnTo>
                  <a:lnTo>
                    <a:pt x="421" y="137"/>
                  </a:lnTo>
                  <a:lnTo>
                    <a:pt x="437" y="173"/>
                  </a:lnTo>
                  <a:lnTo>
                    <a:pt x="445" y="210"/>
                  </a:lnTo>
                  <a:lnTo>
                    <a:pt x="449" y="249"/>
                  </a:lnTo>
                  <a:lnTo>
                    <a:pt x="445" y="287"/>
                  </a:lnTo>
                  <a:lnTo>
                    <a:pt x="437" y="324"/>
                  </a:lnTo>
                  <a:lnTo>
                    <a:pt x="421" y="361"/>
                  </a:lnTo>
                  <a:lnTo>
                    <a:pt x="401" y="394"/>
                  </a:lnTo>
                  <a:lnTo>
                    <a:pt x="374" y="425"/>
                  </a:lnTo>
                  <a:lnTo>
                    <a:pt x="361" y="438"/>
                  </a:lnTo>
                  <a:lnTo>
                    <a:pt x="0" y="85"/>
                  </a:lnTo>
                  <a:lnTo>
                    <a:pt x="13" y="72"/>
                  </a:lnTo>
                  <a:lnTo>
                    <a:pt x="45" y="45"/>
                  </a:lnTo>
                  <a:lnTo>
                    <a:pt x="80" y="25"/>
                  </a:lnTo>
                  <a:lnTo>
                    <a:pt x="116" y="11"/>
                  </a:lnTo>
                  <a:lnTo>
                    <a:pt x="154" y="2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ysClr val="windowText" lastClr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55" name="Freeform 108"/>
            <p:cNvSpPr>
              <a:spLocks/>
            </p:cNvSpPr>
            <p:nvPr/>
          </p:nvSpPr>
          <p:spPr bwMode="auto">
            <a:xfrm>
              <a:off x="10747" y="2782"/>
              <a:ext cx="376" cy="367"/>
            </a:xfrm>
            <a:custGeom>
              <a:avLst/>
              <a:gdLst>
                <a:gd name="T0" fmla="*/ 0 w 1504"/>
                <a:gd name="T1" fmla="*/ 0 h 1470"/>
                <a:gd name="T2" fmla="*/ 0 w 1504"/>
                <a:gd name="T3" fmla="*/ 0 h 1470"/>
                <a:gd name="T4" fmla="*/ 0 w 1504"/>
                <a:gd name="T5" fmla="*/ 0 h 1470"/>
                <a:gd name="T6" fmla="*/ 0 w 1504"/>
                <a:gd name="T7" fmla="*/ 0 h 1470"/>
                <a:gd name="T8" fmla="*/ 0 w 1504"/>
                <a:gd name="T9" fmla="*/ 0 h 1470"/>
                <a:gd name="T10" fmla="*/ 0 w 1504"/>
                <a:gd name="T11" fmla="*/ 0 h 1470"/>
                <a:gd name="T12" fmla="*/ 0 w 1504"/>
                <a:gd name="T13" fmla="*/ 0 h 1470"/>
                <a:gd name="T14" fmla="*/ 0 w 1504"/>
                <a:gd name="T15" fmla="*/ 0 h 1470"/>
                <a:gd name="T16" fmla="*/ 0 w 1504"/>
                <a:gd name="T17" fmla="*/ 0 h 1470"/>
                <a:gd name="T18" fmla="*/ 0 w 1504"/>
                <a:gd name="T19" fmla="*/ 0 h 1470"/>
                <a:gd name="T20" fmla="*/ 0 w 1504"/>
                <a:gd name="T21" fmla="*/ 0 h 1470"/>
                <a:gd name="T22" fmla="*/ 0 w 1504"/>
                <a:gd name="T23" fmla="*/ 0 h 1470"/>
                <a:gd name="T24" fmla="*/ 0 w 1504"/>
                <a:gd name="T25" fmla="*/ 0 h 1470"/>
                <a:gd name="T26" fmla="*/ 0 w 1504"/>
                <a:gd name="T27" fmla="*/ 0 h 1470"/>
                <a:gd name="T28" fmla="*/ 0 w 1504"/>
                <a:gd name="T29" fmla="*/ 0 h 1470"/>
                <a:gd name="T30" fmla="*/ 0 w 1504"/>
                <a:gd name="T31" fmla="*/ 0 h 1470"/>
                <a:gd name="T32" fmla="*/ 0 w 1504"/>
                <a:gd name="T33" fmla="*/ 0 h 1470"/>
                <a:gd name="T34" fmla="*/ 0 w 1504"/>
                <a:gd name="T35" fmla="*/ 0 h 1470"/>
                <a:gd name="T36" fmla="*/ 0 w 1504"/>
                <a:gd name="T37" fmla="*/ 0 h 1470"/>
                <a:gd name="T38" fmla="*/ 0 w 1504"/>
                <a:gd name="T39" fmla="*/ 0 h 1470"/>
                <a:gd name="T40" fmla="*/ 0 w 1504"/>
                <a:gd name="T41" fmla="*/ 0 h 1470"/>
                <a:gd name="T42" fmla="*/ 0 w 1504"/>
                <a:gd name="T43" fmla="*/ 0 h 1470"/>
                <a:gd name="T44" fmla="*/ 0 w 1504"/>
                <a:gd name="T45" fmla="*/ 0 h 1470"/>
                <a:gd name="T46" fmla="*/ 0 w 1504"/>
                <a:gd name="T47" fmla="*/ 0 h 1470"/>
                <a:gd name="T48" fmla="*/ 0 w 1504"/>
                <a:gd name="T49" fmla="*/ 0 h 1470"/>
                <a:gd name="T50" fmla="*/ 0 w 1504"/>
                <a:gd name="T51" fmla="*/ 0 h 14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04"/>
                <a:gd name="T79" fmla="*/ 0 h 1470"/>
                <a:gd name="T80" fmla="*/ 1504 w 1504"/>
                <a:gd name="T81" fmla="*/ 1470 h 14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04" h="1470">
                  <a:moveTo>
                    <a:pt x="1144" y="0"/>
                  </a:moveTo>
                  <a:lnTo>
                    <a:pt x="1504" y="353"/>
                  </a:lnTo>
                  <a:lnTo>
                    <a:pt x="435" y="1397"/>
                  </a:lnTo>
                  <a:lnTo>
                    <a:pt x="404" y="1423"/>
                  </a:lnTo>
                  <a:lnTo>
                    <a:pt x="369" y="1444"/>
                  </a:lnTo>
                  <a:lnTo>
                    <a:pt x="333" y="1458"/>
                  </a:lnTo>
                  <a:lnTo>
                    <a:pt x="295" y="1466"/>
                  </a:lnTo>
                  <a:lnTo>
                    <a:pt x="256" y="1470"/>
                  </a:lnTo>
                  <a:lnTo>
                    <a:pt x="255" y="1470"/>
                  </a:lnTo>
                  <a:lnTo>
                    <a:pt x="216" y="1466"/>
                  </a:lnTo>
                  <a:lnTo>
                    <a:pt x="178" y="1458"/>
                  </a:lnTo>
                  <a:lnTo>
                    <a:pt x="141" y="1444"/>
                  </a:lnTo>
                  <a:lnTo>
                    <a:pt x="107" y="1423"/>
                  </a:lnTo>
                  <a:lnTo>
                    <a:pt x="75" y="1397"/>
                  </a:lnTo>
                  <a:lnTo>
                    <a:pt x="48" y="1365"/>
                  </a:lnTo>
                  <a:lnTo>
                    <a:pt x="26" y="1332"/>
                  </a:lnTo>
                  <a:lnTo>
                    <a:pt x="12" y="1296"/>
                  </a:lnTo>
                  <a:lnTo>
                    <a:pt x="2" y="1258"/>
                  </a:lnTo>
                  <a:lnTo>
                    <a:pt x="0" y="1220"/>
                  </a:lnTo>
                  <a:lnTo>
                    <a:pt x="2" y="1183"/>
                  </a:lnTo>
                  <a:lnTo>
                    <a:pt x="12" y="1145"/>
                  </a:lnTo>
                  <a:lnTo>
                    <a:pt x="26" y="1109"/>
                  </a:lnTo>
                  <a:lnTo>
                    <a:pt x="48" y="1076"/>
                  </a:lnTo>
                  <a:lnTo>
                    <a:pt x="75" y="1044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ysClr val="windowText" lastClr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28" name="Rectangle 141"/>
          <p:cNvSpPr>
            <a:spLocks noChangeArrowheads="1"/>
          </p:cNvSpPr>
          <p:nvPr/>
        </p:nvSpPr>
        <p:spPr bwMode="auto">
          <a:xfrm>
            <a:off x="803276" y="2422525"/>
            <a:ext cx="2447925" cy="1698625"/>
          </a:xfrm>
          <a:prstGeom prst="rect">
            <a:avLst/>
          </a:prstGeom>
          <a:gradFill rotWithShape="1">
            <a:gsLst>
              <a:gs pos="0">
                <a:srgbClr val="EEEEEE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29" name="Rectangle 143"/>
          <p:cNvSpPr>
            <a:spLocks noChangeArrowheads="1"/>
          </p:cNvSpPr>
          <p:nvPr/>
        </p:nvSpPr>
        <p:spPr bwMode="auto">
          <a:xfrm>
            <a:off x="803276" y="2414588"/>
            <a:ext cx="2447925" cy="11113"/>
          </a:xfrm>
          <a:prstGeom prst="rect">
            <a:avLst/>
          </a:prstGeom>
          <a:solidFill>
            <a:srgbClr val="31B9A2"/>
          </a:solidFill>
          <a:ln w="6350" algn="ctr">
            <a:solidFill>
              <a:srgbClr val="2FB0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FFFFFF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30" name="Rectangle 144"/>
          <p:cNvSpPr>
            <a:spLocks noChangeArrowheads="1"/>
          </p:cNvSpPr>
          <p:nvPr/>
        </p:nvSpPr>
        <p:spPr bwMode="auto">
          <a:xfrm>
            <a:off x="803276" y="2133600"/>
            <a:ext cx="2447925" cy="7938"/>
          </a:xfrm>
          <a:prstGeom prst="rect">
            <a:avLst/>
          </a:prstGeom>
          <a:solidFill>
            <a:srgbClr val="2FB0FF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FFFFFF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 Unicode MS" panose="020B0604020202020204" pitchFamily="50" charset="-127"/>
            </a:endParaRPr>
          </a:p>
        </p:txBody>
      </p:sp>
      <p:sp>
        <p:nvSpPr>
          <p:cNvPr id="31" name="Rectangle 145"/>
          <p:cNvSpPr>
            <a:spLocks noChangeArrowheads="1"/>
          </p:cNvSpPr>
          <p:nvPr/>
        </p:nvSpPr>
        <p:spPr bwMode="gray">
          <a:xfrm>
            <a:off x="1495426" y="2190750"/>
            <a:ext cx="1063625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비상계획</a:t>
            </a:r>
            <a:r>
              <a:rPr lang="ko-KR" altLang="en-US" sz="1100" b="1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수립 방법</a:t>
            </a:r>
          </a:p>
        </p:txBody>
      </p:sp>
      <p:pic>
        <p:nvPicPr>
          <p:cNvPr id="32" name="Picture 113" descr="헤드-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50" r="51729" b="21053"/>
          <a:stretch>
            <a:fillRect/>
          </a:stretch>
        </p:blipFill>
        <p:spPr bwMode="auto">
          <a:xfrm flipH="1">
            <a:off x="3296816" y="3360738"/>
            <a:ext cx="641350" cy="21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AutoShape 114" descr="5차전산센터ob-10"/>
          <p:cNvSpPr>
            <a:spLocks noChangeArrowheads="1"/>
          </p:cNvSpPr>
          <p:nvPr/>
        </p:nvSpPr>
        <p:spPr bwMode="auto">
          <a:xfrm>
            <a:off x="996951" y="2608263"/>
            <a:ext cx="2060575" cy="622300"/>
          </a:xfrm>
          <a:prstGeom prst="roundRect">
            <a:avLst>
              <a:gd name="adj" fmla="val 5764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6350" algn="ctr">
            <a:solidFill>
              <a:srgbClr val="CDD1CF"/>
            </a:solidFill>
            <a:round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>
            <a:lvl1pPr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비상 대응 조직 구성 확정</a:t>
            </a:r>
          </a:p>
        </p:txBody>
      </p:sp>
      <p:sp>
        <p:nvSpPr>
          <p:cNvPr id="34" name="AutoShape 115" descr="5차전산센터ob-10"/>
          <p:cNvSpPr>
            <a:spLocks noChangeArrowheads="1"/>
          </p:cNvSpPr>
          <p:nvPr/>
        </p:nvSpPr>
        <p:spPr bwMode="auto">
          <a:xfrm>
            <a:off x="996951" y="3514725"/>
            <a:ext cx="2060575" cy="622300"/>
          </a:xfrm>
          <a:prstGeom prst="roundRect">
            <a:avLst>
              <a:gd name="adj" fmla="val 5764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6350" algn="ctr">
            <a:solidFill>
              <a:srgbClr val="CDD1CF"/>
            </a:solidFill>
            <a:round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>
            <a:lvl1pPr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행 부문별 현황 파악</a:t>
            </a:r>
          </a:p>
        </p:txBody>
      </p:sp>
      <p:sp>
        <p:nvSpPr>
          <p:cNvPr id="51" name="AutoShape 117" descr="5차전산센터ob-10"/>
          <p:cNvSpPr>
            <a:spLocks noChangeArrowheads="1"/>
          </p:cNvSpPr>
          <p:nvPr/>
        </p:nvSpPr>
        <p:spPr bwMode="auto">
          <a:xfrm>
            <a:off x="996951" y="4421188"/>
            <a:ext cx="2060575" cy="622300"/>
          </a:xfrm>
          <a:prstGeom prst="roundRect">
            <a:avLst>
              <a:gd name="adj" fmla="val 5764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6350" algn="ctr">
            <a:solidFill>
              <a:srgbClr val="CDD1CF"/>
            </a:solidFill>
            <a:round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>
            <a:lvl1pPr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행 부문별 예상</a:t>
            </a:r>
            <a:r>
              <a:rPr lang="en-US" altLang="ko-KR" sz="10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/>
            </a:r>
            <a:br>
              <a:rPr lang="en-US" altLang="ko-KR" sz="10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ko-KR" altLang="en-US" sz="10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위험 요소 파악</a:t>
            </a:r>
          </a:p>
        </p:txBody>
      </p:sp>
      <p:sp>
        <p:nvSpPr>
          <p:cNvPr id="52" name="AutoShape 118" descr="5차전산센터ob-10"/>
          <p:cNvSpPr>
            <a:spLocks noChangeArrowheads="1"/>
          </p:cNvSpPr>
          <p:nvPr/>
        </p:nvSpPr>
        <p:spPr bwMode="auto">
          <a:xfrm>
            <a:off x="996951" y="5327651"/>
            <a:ext cx="2060575" cy="622300"/>
          </a:xfrm>
          <a:prstGeom prst="roundRect">
            <a:avLst>
              <a:gd name="adj" fmla="val 5764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6350" algn="ctr">
            <a:solidFill>
              <a:srgbClr val="CDD1CF"/>
            </a:solidFill>
            <a:round/>
            <a:headEnd/>
            <a:tailEnd/>
          </a:ln>
          <a:effectLst>
            <a:outerShdw dist="12700" dir="5400000" algn="ctr" rotWithShape="0">
              <a:srgbClr val="E4E8E6"/>
            </a:outerShdw>
          </a:effectLst>
        </p:spPr>
        <p:txBody>
          <a:bodyPr lIns="0" tIns="0" rIns="0" bIns="0" anchor="ctr"/>
          <a:lstStyle>
            <a:lvl1pPr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774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774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0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위험 요소별 대응 방안 도출</a:t>
            </a:r>
          </a:p>
        </p:txBody>
      </p:sp>
      <p:sp>
        <p:nvSpPr>
          <p:cNvPr id="36" name="Oval 311"/>
          <p:cNvSpPr>
            <a:spLocks noChangeArrowheads="1"/>
          </p:cNvSpPr>
          <p:nvPr/>
        </p:nvSpPr>
        <p:spPr bwMode="auto">
          <a:xfrm rot="5400000">
            <a:off x="1962150" y="3306763"/>
            <a:ext cx="130175" cy="130175"/>
          </a:xfrm>
          <a:prstGeom prst="ellipse">
            <a:avLst/>
          </a:prstGeom>
          <a:solidFill>
            <a:srgbClr val="6DC7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7" name="Freeform 312"/>
          <p:cNvSpPr>
            <a:spLocks/>
          </p:cNvSpPr>
          <p:nvPr/>
        </p:nvSpPr>
        <p:spPr bwMode="auto">
          <a:xfrm rot="5400000">
            <a:off x="1987550" y="3336925"/>
            <a:ext cx="79375" cy="85725"/>
          </a:xfrm>
          <a:custGeom>
            <a:avLst/>
            <a:gdLst>
              <a:gd name="T0" fmla="*/ 0 w 2932"/>
              <a:gd name="T1" fmla="*/ 0 h 3263"/>
              <a:gd name="T2" fmla="*/ 0 w 2932"/>
              <a:gd name="T3" fmla="*/ 0 h 3263"/>
              <a:gd name="T4" fmla="*/ 0 w 2932"/>
              <a:gd name="T5" fmla="*/ 0 h 3263"/>
              <a:gd name="T6" fmla="*/ 0 w 2932"/>
              <a:gd name="T7" fmla="*/ 0 h 3263"/>
              <a:gd name="T8" fmla="*/ 0 w 2932"/>
              <a:gd name="T9" fmla="*/ 0 h 3263"/>
              <a:gd name="T10" fmla="*/ 0 w 2932"/>
              <a:gd name="T11" fmla="*/ 0 h 3263"/>
              <a:gd name="T12" fmla="*/ 0 w 2932"/>
              <a:gd name="T13" fmla="*/ 0 h 326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932"/>
              <a:gd name="T22" fmla="*/ 0 h 3263"/>
              <a:gd name="T23" fmla="*/ 2932 w 2932"/>
              <a:gd name="T24" fmla="*/ 3263 h 326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932" h="3263">
                <a:moveTo>
                  <a:pt x="0" y="0"/>
                </a:moveTo>
                <a:lnTo>
                  <a:pt x="1301" y="0"/>
                </a:lnTo>
                <a:lnTo>
                  <a:pt x="2932" y="1631"/>
                </a:lnTo>
                <a:lnTo>
                  <a:pt x="1301" y="3263"/>
                </a:lnTo>
                <a:lnTo>
                  <a:pt x="0" y="3263"/>
                </a:lnTo>
                <a:lnTo>
                  <a:pt x="1631" y="1631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lIns="0" tIns="0" rIns="0" bIns="0" anchor="b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ysClr val="windowText" lastClr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38" name="Group 121"/>
          <p:cNvGrpSpPr>
            <a:grpSpLocks/>
          </p:cNvGrpSpPr>
          <p:nvPr/>
        </p:nvGrpSpPr>
        <p:grpSpPr bwMode="auto">
          <a:xfrm>
            <a:off x="1962151" y="4214813"/>
            <a:ext cx="130175" cy="130175"/>
            <a:chOff x="1236" y="2668"/>
            <a:chExt cx="82" cy="82"/>
          </a:xfrm>
        </p:grpSpPr>
        <p:sp>
          <p:nvSpPr>
            <p:cNvPr id="49" name="Oval 311"/>
            <p:cNvSpPr>
              <a:spLocks noChangeArrowheads="1"/>
            </p:cNvSpPr>
            <p:nvPr/>
          </p:nvSpPr>
          <p:spPr bwMode="auto">
            <a:xfrm rot="5400000">
              <a:off x="1236" y="2668"/>
              <a:ext cx="82" cy="82"/>
            </a:xfrm>
            <a:prstGeom prst="ellipse">
              <a:avLst/>
            </a:prstGeom>
            <a:solidFill>
              <a:srgbClr val="6DC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b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50" name="Freeform 312"/>
            <p:cNvSpPr>
              <a:spLocks/>
            </p:cNvSpPr>
            <p:nvPr/>
          </p:nvSpPr>
          <p:spPr bwMode="auto">
            <a:xfrm rot="5400000">
              <a:off x="1252" y="2687"/>
              <a:ext cx="50" cy="54"/>
            </a:xfrm>
            <a:custGeom>
              <a:avLst/>
              <a:gdLst>
                <a:gd name="T0" fmla="*/ 0 w 2932"/>
                <a:gd name="T1" fmla="*/ 0 h 3263"/>
                <a:gd name="T2" fmla="*/ 0 w 2932"/>
                <a:gd name="T3" fmla="*/ 0 h 3263"/>
                <a:gd name="T4" fmla="*/ 0 w 2932"/>
                <a:gd name="T5" fmla="*/ 0 h 3263"/>
                <a:gd name="T6" fmla="*/ 0 w 2932"/>
                <a:gd name="T7" fmla="*/ 0 h 3263"/>
                <a:gd name="T8" fmla="*/ 0 w 2932"/>
                <a:gd name="T9" fmla="*/ 0 h 3263"/>
                <a:gd name="T10" fmla="*/ 0 w 2932"/>
                <a:gd name="T11" fmla="*/ 0 h 3263"/>
                <a:gd name="T12" fmla="*/ 0 w 2932"/>
                <a:gd name="T13" fmla="*/ 0 h 32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32"/>
                <a:gd name="T22" fmla="*/ 0 h 3263"/>
                <a:gd name="T23" fmla="*/ 2932 w 2932"/>
                <a:gd name="T24" fmla="*/ 3263 h 32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32" h="3263">
                  <a:moveTo>
                    <a:pt x="0" y="0"/>
                  </a:moveTo>
                  <a:lnTo>
                    <a:pt x="1301" y="0"/>
                  </a:lnTo>
                  <a:lnTo>
                    <a:pt x="2932" y="1631"/>
                  </a:lnTo>
                  <a:lnTo>
                    <a:pt x="1301" y="3263"/>
                  </a:lnTo>
                  <a:lnTo>
                    <a:pt x="0" y="3263"/>
                  </a:lnTo>
                  <a:lnTo>
                    <a:pt x="1631" y="16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lIns="0" tIns="0" rIns="0" bIns="0" anchor="b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ysClr val="windowText" lastClr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46" name="Group 124"/>
          <p:cNvGrpSpPr>
            <a:grpSpLocks/>
          </p:cNvGrpSpPr>
          <p:nvPr/>
        </p:nvGrpSpPr>
        <p:grpSpPr bwMode="auto">
          <a:xfrm>
            <a:off x="1962151" y="5121275"/>
            <a:ext cx="130175" cy="130175"/>
            <a:chOff x="1236" y="2668"/>
            <a:chExt cx="82" cy="82"/>
          </a:xfrm>
        </p:grpSpPr>
        <p:sp>
          <p:nvSpPr>
            <p:cNvPr id="47" name="Oval 311"/>
            <p:cNvSpPr>
              <a:spLocks noChangeArrowheads="1"/>
            </p:cNvSpPr>
            <p:nvPr/>
          </p:nvSpPr>
          <p:spPr bwMode="auto">
            <a:xfrm rot="5400000">
              <a:off x="1236" y="2668"/>
              <a:ext cx="82" cy="82"/>
            </a:xfrm>
            <a:prstGeom prst="ellipse">
              <a:avLst/>
            </a:prstGeom>
            <a:solidFill>
              <a:srgbClr val="6DC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b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8" name="Freeform 312"/>
            <p:cNvSpPr>
              <a:spLocks/>
            </p:cNvSpPr>
            <p:nvPr/>
          </p:nvSpPr>
          <p:spPr bwMode="auto">
            <a:xfrm rot="5400000">
              <a:off x="1252" y="2687"/>
              <a:ext cx="50" cy="54"/>
            </a:xfrm>
            <a:custGeom>
              <a:avLst/>
              <a:gdLst>
                <a:gd name="T0" fmla="*/ 0 w 2932"/>
                <a:gd name="T1" fmla="*/ 0 h 3263"/>
                <a:gd name="T2" fmla="*/ 0 w 2932"/>
                <a:gd name="T3" fmla="*/ 0 h 3263"/>
                <a:gd name="T4" fmla="*/ 0 w 2932"/>
                <a:gd name="T5" fmla="*/ 0 h 3263"/>
                <a:gd name="T6" fmla="*/ 0 w 2932"/>
                <a:gd name="T7" fmla="*/ 0 h 3263"/>
                <a:gd name="T8" fmla="*/ 0 w 2932"/>
                <a:gd name="T9" fmla="*/ 0 h 3263"/>
                <a:gd name="T10" fmla="*/ 0 w 2932"/>
                <a:gd name="T11" fmla="*/ 0 h 3263"/>
                <a:gd name="T12" fmla="*/ 0 w 2932"/>
                <a:gd name="T13" fmla="*/ 0 h 32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32"/>
                <a:gd name="T22" fmla="*/ 0 h 3263"/>
                <a:gd name="T23" fmla="*/ 2932 w 2932"/>
                <a:gd name="T24" fmla="*/ 3263 h 32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32" h="3263">
                  <a:moveTo>
                    <a:pt x="0" y="0"/>
                  </a:moveTo>
                  <a:lnTo>
                    <a:pt x="1301" y="0"/>
                  </a:lnTo>
                  <a:lnTo>
                    <a:pt x="2932" y="1631"/>
                  </a:lnTo>
                  <a:lnTo>
                    <a:pt x="1301" y="3263"/>
                  </a:lnTo>
                  <a:lnTo>
                    <a:pt x="0" y="3263"/>
                  </a:lnTo>
                  <a:lnTo>
                    <a:pt x="1631" y="16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lIns="0" tIns="0" rIns="0" bIns="0" anchor="b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ysClr val="windowText" lastClr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aphicFrame>
        <p:nvGraphicFramePr>
          <p:cNvPr id="56" name="Group 2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7778658"/>
              </p:ext>
            </p:extLst>
          </p:nvPr>
        </p:nvGraphicFramePr>
        <p:xfrm>
          <a:off x="4089401" y="2092961"/>
          <a:ext cx="5580123" cy="3645851"/>
        </p:xfrm>
        <a:graphic>
          <a:graphicData uri="http://schemas.openxmlformats.org/drawingml/2006/table">
            <a:tbl>
              <a:tblPr/>
              <a:tblGrid>
                <a:gridCol w="971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9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7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3558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부문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확인 주체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예상 위험요소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7799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/W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사 인프라 담당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서버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스토리지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네트워크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원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4234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/W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발팀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사 시스템 운영담당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O/S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서버 보안 프로그램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DBMS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접속 설정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프로그램 배포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인터페이스 연동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프로그램 실행 스케줄러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환 데이터의 정합성 이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60260"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인적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사 인프라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담당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사 시스템 운영담당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사 이행 총괄</a:t>
                      </a: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indent="-85725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행 작업 과정의 실수 및 누락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부문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계별 의사소통 부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상황 인지 오류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상황 전파 지연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상황 조치 방안 도출 지연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상황 조치 작업 지연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비상 연락망 인력 누락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수작업 입력 값 기입 오류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72026" marR="72026" marT="35940" marB="35940" anchor="ctr" horzOverflow="overflow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4089400" y="5819775"/>
            <a:ext cx="5580124" cy="650875"/>
            <a:chOff x="4089400" y="5819775"/>
            <a:chExt cx="5651500" cy="722313"/>
          </a:xfrm>
        </p:grpSpPr>
        <p:pic>
          <p:nvPicPr>
            <p:cNvPr id="60" name="Picture 177" descr="도형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9400" y="5819775"/>
              <a:ext cx="4586288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178" descr="도형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018"/>
            <a:stretch>
              <a:fillRect/>
            </a:stretch>
          </p:blipFill>
          <p:spPr bwMode="auto">
            <a:xfrm>
              <a:off x="4089400" y="6386513"/>
              <a:ext cx="4586288" cy="15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179" descr="도형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510" b="28070"/>
            <a:stretch>
              <a:fillRect/>
            </a:stretch>
          </p:blipFill>
          <p:spPr bwMode="auto">
            <a:xfrm>
              <a:off x="4089400" y="6016625"/>
              <a:ext cx="4586288" cy="42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3" name="Group 180"/>
            <p:cNvGrpSpPr>
              <a:grpSpLocks/>
            </p:cNvGrpSpPr>
            <p:nvPr/>
          </p:nvGrpSpPr>
          <p:grpSpPr bwMode="auto">
            <a:xfrm>
              <a:off x="4164013" y="5895975"/>
              <a:ext cx="561975" cy="577850"/>
              <a:chOff x="291" y="5549"/>
              <a:chExt cx="354" cy="364"/>
            </a:xfrm>
          </p:grpSpPr>
          <p:sp>
            <p:nvSpPr>
              <p:cNvPr id="67" name="Rectangle 181" descr="넓은 상향 대각선"/>
              <p:cNvSpPr>
                <a:spLocks noChangeArrowheads="1"/>
              </p:cNvSpPr>
              <p:nvPr/>
            </p:nvSpPr>
            <p:spPr bwMode="auto">
              <a:xfrm>
                <a:off x="291" y="5549"/>
                <a:ext cx="354" cy="341"/>
              </a:xfrm>
              <a:prstGeom prst="rect">
                <a:avLst/>
              </a:prstGeom>
              <a:pattFill prst="wdUpDiag">
                <a:fgClr>
                  <a:srgbClr val="BEE9FE"/>
                </a:fgClr>
                <a:bgClr>
                  <a:srgbClr val="FFFFFF"/>
                </a:bgClr>
              </a:patt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54000" tIns="25200" rIns="54000" bIns="25200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9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grpSp>
            <p:nvGrpSpPr>
              <p:cNvPr id="68" name="Group 182"/>
              <p:cNvGrpSpPr>
                <a:grpSpLocks/>
              </p:cNvGrpSpPr>
              <p:nvPr/>
            </p:nvGrpSpPr>
            <p:grpSpPr bwMode="auto">
              <a:xfrm>
                <a:off x="305" y="5701"/>
                <a:ext cx="145" cy="212"/>
                <a:chOff x="6645" y="1147"/>
                <a:chExt cx="284" cy="414"/>
              </a:xfrm>
            </p:grpSpPr>
            <p:sp>
              <p:nvSpPr>
                <p:cNvPr id="72" name="Freeform 183"/>
                <p:cNvSpPr>
                  <a:spLocks/>
                </p:cNvSpPr>
                <p:nvPr/>
              </p:nvSpPr>
              <p:spPr bwMode="auto">
                <a:xfrm>
                  <a:off x="6741" y="1476"/>
                  <a:ext cx="92" cy="21"/>
                </a:xfrm>
                <a:custGeom>
                  <a:avLst/>
                  <a:gdLst>
                    <a:gd name="T0" fmla="*/ 0 w 732"/>
                    <a:gd name="T1" fmla="*/ 0 h 168"/>
                    <a:gd name="T2" fmla="*/ 0 w 732"/>
                    <a:gd name="T3" fmla="*/ 0 h 168"/>
                    <a:gd name="T4" fmla="*/ 0 w 732"/>
                    <a:gd name="T5" fmla="*/ 0 h 168"/>
                    <a:gd name="T6" fmla="*/ 0 w 732"/>
                    <a:gd name="T7" fmla="*/ 0 h 168"/>
                    <a:gd name="T8" fmla="*/ 0 w 732"/>
                    <a:gd name="T9" fmla="*/ 0 h 168"/>
                    <a:gd name="T10" fmla="*/ 0 w 732"/>
                    <a:gd name="T11" fmla="*/ 0 h 168"/>
                    <a:gd name="T12" fmla="*/ 0 w 732"/>
                    <a:gd name="T13" fmla="*/ 0 h 168"/>
                    <a:gd name="T14" fmla="*/ 0 w 732"/>
                    <a:gd name="T15" fmla="*/ 0 h 168"/>
                    <a:gd name="T16" fmla="*/ 0 w 732"/>
                    <a:gd name="T17" fmla="*/ 0 h 168"/>
                    <a:gd name="T18" fmla="*/ 0 w 732"/>
                    <a:gd name="T19" fmla="*/ 0 h 168"/>
                    <a:gd name="T20" fmla="*/ 0 w 732"/>
                    <a:gd name="T21" fmla="*/ 0 h 168"/>
                    <a:gd name="T22" fmla="*/ 0 w 732"/>
                    <a:gd name="T23" fmla="*/ 0 h 168"/>
                    <a:gd name="T24" fmla="*/ 0 w 732"/>
                    <a:gd name="T25" fmla="*/ 0 h 168"/>
                    <a:gd name="T26" fmla="*/ 0 w 732"/>
                    <a:gd name="T27" fmla="*/ 0 h 168"/>
                    <a:gd name="T28" fmla="*/ 0 w 732"/>
                    <a:gd name="T29" fmla="*/ 0 h 168"/>
                    <a:gd name="T30" fmla="*/ 0 w 732"/>
                    <a:gd name="T31" fmla="*/ 0 h 168"/>
                    <a:gd name="T32" fmla="*/ 0 w 732"/>
                    <a:gd name="T33" fmla="*/ 0 h 168"/>
                    <a:gd name="T34" fmla="*/ 0 w 732"/>
                    <a:gd name="T35" fmla="*/ 0 h 168"/>
                    <a:gd name="T36" fmla="*/ 0 w 732"/>
                    <a:gd name="T37" fmla="*/ 0 h 168"/>
                    <a:gd name="T38" fmla="*/ 0 w 732"/>
                    <a:gd name="T39" fmla="*/ 0 h 168"/>
                    <a:gd name="T40" fmla="*/ 0 w 732"/>
                    <a:gd name="T41" fmla="*/ 0 h 168"/>
                    <a:gd name="T42" fmla="*/ 0 w 732"/>
                    <a:gd name="T43" fmla="*/ 0 h 168"/>
                    <a:gd name="T44" fmla="*/ 0 w 732"/>
                    <a:gd name="T45" fmla="*/ 0 h 168"/>
                    <a:gd name="T46" fmla="*/ 0 w 732"/>
                    <a:gd name="T47" fmla="*/ 0 h 168"/>
                    <a:gd name="T48" fmla="*/ 0 w 732"/>
                    <a:gd name="T49" fmla="*/ 0 h 168"/>
                    <a:gd name="T50" fmla="*/ 0 w 732"/>
                    <a:gd name="T51" fmla="*/ 0 h 168"/>
                    <a:gd name="T52" fmla="*/ 0 w 732"/>
                    <a:gd name="T53" fmla="*/ 0 h 168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732"/>
                    <a:gd name="T82" fmla="*/ 0 h 168"/>
                    <a:gd name="T83" fmla="*/ 732 w 732"/>
                    <a:gd name="T84" fmla="*/ 168 h 168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732" h="168">
                      <a:moveTo>
                        <a:pt x="83" y="0"/>
                      </a:moveTo>
                      <a:lnTo>
                        <a:pt x="648" y="0"/>
                      </a:lnTo>
                      <a:lnTo>
                        <a:pt x="671" y="3"/>
                      </a:lnTo>
                      <a:lnTo>
                        <a:pt x="691" y="11"/>
                      </a:lnTo>
                      <a:lnTo>
                        <a:pt x="708" y="24"/>
                      </a:lnTo>
                      <a:lnTo>
                        <a:pt x="721" y="42"/>
                      </a:lnTo>
                      <a:lnTo>
                        <a:pt x="729" y="62"/>
                      </a:lnTo>
                      <a:lnTo>
                        <a:pt x="732" y="84"/>
                      </a:lnTo>
                      <a:lnTo>
                        <a:pt x="729" y="106"/>
                      </a:lnTo>
                      <a:lnTo>
                        <a:pt x="721" y="126"/>
                      </a:lnTo>
                      <a:lnTo>
                        <a:pt x="708" y="143"/>
                      </a:lnTo>
                      <a:lnTo>
                        <a:pt x="691" y="157"/>
                      </a:lnTo>
                      <a:lnTo>
                        <a:pt x="671" y="165"/>
                      </a:lnTo>
                      <a:lnTo>
                        <a:pt x="648" y="168"/>
                      </a:lnTo>
                      <a:lnTo>
                        <a:pt x="83" y="168"/>
                      </a:lnTo>
                      <a:lnTo>
                        <a:pt x="60" y="165"/>
                      </a:lnTo>
                      <a:lnTo>
                        <a:pt x="41" y="157"/>
                      </a:lnTo>
                      <a:lnTo>
                        <a:pt x="24" y="143"/>
                      </a:lnTo>
                      <a:lnTo>
                        <a:pt x="11" y="126"/>
                      </a:lnTo>
                      <a:lnTo>
                        <a:pt x="2" y="106"/>
                      </a:lnTo>
                      <a:lnTo>
                        <a:pt x="0" y="84"/>
                      </a:lnTo>
                      <a:lnTo>
                        <a:pt x="2" y="62"/>
                      </a:lnTo>
                      <a:lnTo>
                        <a:pt x="11" y="42"/>
                      </a:lnTo>
                      <a:lnTo>
                        <a:pt x="24" y="24"/>
                      </a:lnTo>
                      <a:lnTo>
                        <a:pt x="41" y="11"/>
                      </a:lnTo>
                      <a:lnTo>
                        <a:pt x="60" y="3"/>
                      </a:lnTo>
                      <a:lnTo>
                        <a:pt x="83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72C6E8"/>
                    </a:gs>
                    <a:gs pos="100000">
                      <a:srgbClr val="219DD1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sz="900" dirty="0"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73" name="Freeform 184"/>
                <p:cNvSpPr>
                  <a:spLocks/>
                </p:cNvSpPr>
                <p:nvPr/>
              </p:nvSpPr>
              <p:spPr bwMode="auto">
                <a:xfrm>
                  <a:off x="6741" y="1508"/>
                  <a:ext cx="92" cy="21"/>
                </a:xfrm>
                <a:custGeom>
                  <a:avLst/>
                  <a:gdLst>
                    <a:gd name="T0" fmla="*/ 0 w 732"/>
                    <a:gd name="T1" fmla="*/ 0 h 168"/>
                    <a:gd name="T2" fmla="*/ 0 w 732"/>
                    <a:gd name="T3" fmla="*/ 0 h 168"/>
                    <a:gd name="T4" fmla="*/ 0 w 732"/>
                    <a:gd name="T5" fmla="*/ 0 h 168"/>
                    <a:gd name="T6" fmla="*/ 0 w 732"/>
                    <a:gd name="T7" fmla="*/ 0 h 168"/>
                    <a:gd name="T8" fmla="*/ 0 w 732"/>
                    <a:gd name="T9" fmla="*/ 0 h 168"/>
                    <a:gd name="T10" fmla="*/ 0 w 732"/>
                    <a:gd name="T11" fmla="*/ 0 h 168"/>
                    <a:gd name="T12" fmla="*/ 0 w 732"/>
                    <a:gd name="T13" fmla="*/ 0 h 168"/>
                    <a:gd name="T14" fmla="*/ 0 w 732"/>
                    <a:gd name="T15" fmla="*/ 0 h 168"/>
                    <a:gd name="T16" fmla="*/ 0 w 732"/>
                    <a:gd name="T17" fmla="*/ 0 h 168"/>
                    <a:gd name="T18" fmla="*/ 0 w 732"/>
                    <a:gd name="T19" fmla="*/ 0 h 168"/>
                    <a:gd name="T20" fmla="*/ 0 w 732"/>
                    <a:gd name="T21" fmla="*/ 0 h 168"/>
                    <a:gd name="T22" fmla="*/ 0 w 732"/>
                    <a:gd name="T23" fmla="*/ 0 h 168"/>
                    <a:gd name="T24" fmla="*/ 0 w 732"/>
                    <a:gd name="T25" fmla="*/ 0 h 168"/>
                    <a:gd name="T26" fmla="*/ 0 w 732"/>
                    <a:gd name="T27" fmla="*/ 0 h 168"/>
                    <a:gd name="T28" fmla="*/ 0 w 732"/>
                    <a:gd name="T29" fmla="*/ 0 h 168"/>
                    <a:gd name="T30" fmla="*/ 0 w 732"/>
                    <a:gd name="T31" fmla="*/ 0 h 168"/>
                    <a:gd name="T32" fmla="*/ 0 w 732"/>
                    <a:gd name="T33" fmla="*/ 0 h 168"/>
                    <a:gd name="T34" fmla="*/ 0 w 732"/>
                    <a:gd name="T35" fmla="*/ 0 h 168"/>
                    <a:gd name="T36" fmla="*/ 0 w 732"/>
                    <a:gd name="T37" fmla="*/ 0 h 168"/>
                    <a:gd name="T38" fmla="*/ 0 w 732"/>
                    <a:gd name="T39" fmla="*/ 0 h 168"/>
                    <a:gd name="T40" fmla="*/ 0 w 732"/>
                    <a:gd name="T41" fmla="*/ 0 h 168"/>
                    <a:gd name="T42" fmla="*/ 0 w 732"/>
                    <a:gd name="T43" fmla="*/ 0 h 168"/>
                    <a:gd name="T44" fmla="*/ 0 w 732"/>
                    <a:gd name="T45" fmla="*/ 0 h 168"/>
                    <a:gd name="T46" fmla="*/ 0 w 732"/>
                    <a:gd name="T47" fmla="*/ 0 h 168"/>
                    <a:gd name="T48" fmla="*/ 0 w 732"/>
                    <a:gd name="T49" fmla="*/ 0 h 168"/>
                    <a:gd name="T50" fmla="*/ 0 w 732"/>
                    <a:gd name="T51" fmla="*/ 0 h 168"/>
                    <a:gd name="T52" fmla="*/ 0 w 732"/>
                    <a:gd name="T53" fmla="*/ 0 h 168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732"/>
                    <a:gd name="T82" fmla="*/ 0 h 168"/>
                    <a:gd name="T83" fmla="*/ 732 w 732"/>
                    <a:gd name="T84" fmla="*/ 168 h 168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732" h="168">
                      <a:moveTo>
                        <a:pt x="83" y="0"/>
                      </a:moveTo>
                      <a:lnTo>
                        <a:pt x="648" y="0"/>
                      </a:lnTo>
                      <a:lnTo>
                        <a:pt x="671" y="3"/>
                      </a:lnTo>
                      <a:lnTo>
                        <a:pt x="691" y="12"/>
                      </a:lnTo>
                      <a:lnTo>
                        <a:pt x="708" y="25"/>
                      </a:lnTo>
                      <a:lnTo>
                        <a:pt x="721" y="42"/>
                      </a:lnTo>
                      <a:lnTo>
                        <a:pt x="729" y="62"/>
                      </a:lnTo>
                      <a:lnTo>
                        <a:pt x="732" y="84"/>
                      </a:lnTo>
                      <a:lnTo>
                        <a:pt x="729" y="106"/>
                      </a:lnTo>
                      <a:lnTo>
                        <a:pt x="721" y="125"/>
                      </a:lnTo>
                      <a:lnTo>
                        <a:pt x="708" y="143"/>
                      </a:lnTo>
                      <a:lnTo>
                        <a:pt x="691" y="156"/>
                      </a:lnTo>
                      <a:lnTo>
                        <a:pt x="671" y="165"/>
                      </a:lnTo>
                      <a:lnTo>
                        <a:pt x="648" y="168"/>
                      </a:lnTo>
                      <a:lnTo>
                        <a:pt x="83" y="168"/>
                      </a:lnTo>
                      <a:lnTo>
                        <a:pt x="60" y="165"/>
                      </a:lnTo>
                      <a:lnTo>
                        <a:pt x="41" y="156"/>
                      </a:lnTo>
                      <a:lnTo>
                        <a:pt x="24" y="143"/>
                      </a:lnTo>
                      <a:lnTo>
                        <a:pt x="11" y="125"/>
                      </a:lnTo>
                      <a:lnTo>
                        <a:pt x="2" y="106"/>
                      </a:lnTo>
                      <a:lnTo>
                        <a:pt x="0" y="84"/>
                      </a:lnTo>
                      <a:lnTo>
                        <a:pt x="2" y="62"/>
                      </a:lnTo>
                      <a:lnTo>
                        <a:pt x="11" y="42"/>
                      </a:lnTo>
                      <a:lnTo>
                        <a:pt x="24" y="25"/>
                      </a:lnTo>
                      <a:lnTo>
                        <a:pt x="41" y="12"/>
                      </a:lnTo>
                      <a:lnTo>
                        <a:pt x="60" y="3"/>
                      </a:lnTo>
                      <a:lnTo>
                        <a:pt x="83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72C6E8"/>
                    </a:gs>
                    <a:gs pos="100000">
                      <a:srgbClr val="219DD1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sz="900" dirty="0"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74" name="Freeform 185"/>
                <p:cNvSpPr>
                  <a:spLocks/>
                </p:cNvSpPr>
                <p:nvPr/>
              </p:nvSpPr>
              <p:spPr bwMode="auto">
                <a:xfrm>
                  <a:off x="6741" y="1540"/>
                  <a:ext cx="92" cy="21"/>
                </a:xfrm>
                <a:custGeom>
                  <a:avLst/>
                  <a:gdLst>
                    <a:gd name="T0" fmla="*/ 0 w 732"/>
                    <a:gd name="T1" fmla="*/ 0 h 167"/>
                    <a:gd name="T2" fmla="*/ 0 w 732"/>
                    <a:gd name="T3" fmla="*/ 0 h 167"/>
                    <a:gd name="T4" fmla="*/ 0 w 732"/>
                    <a:gd name="T5" fmla="*/ 0 h 167"/>
                    <a:gd name="T6" fmla="*/ 0 w 732"/>
                    <a:gd name="T7" fmla="*/ 0 h 167"/>
                    <a:gd name="T8" fmla="*/ 0 w 732"/>
                    <a:gd name="T9" fmla="*/ 0 h 167"/>
                    <a:gd name="T10" fmla="*/ 0 w 732"/>
                    <a:gd name="T11" fmla="*/ 0 h 167"/>
                    <a:gd name="T12" fmla="*/ 0 w 732"/>
                    <a:gd name="T13" fmla="*/ 0 h 167"/>
                    <a:gd name="T14" fmla="*/ 0 w 732"/>
                    <a:gd name="T15" fmla="*/ 0 h 167"/>
                    <a:gd name="T16" fmla="*/ 0 w 732"/>
                    <a:gd name="T17" fmla="*/ 0 h 167"/>
                    <a:gd name="T18" fmla="*/ 0 w 732"/>
                    <a:gd name="T19" fmla="*/ 0 h 167"/>
                    <a:gd name="T20" fmla="*/ 0 w 732"/>
                    <a:gd name="T21" fmla="*/ 0 h 167"/>
                    <a:gd name="T22" fmla="*/ 0 w 732"/>
                    <a:gd name="T23" fmla="*/ 0 h 167"/>
                    <a:gd name="T24" fmla="*/ 0 w 732"/>
                    <a:gd name="T25" fmla="*/ 0 h 167"/>
                    <a:gd name="T26" fmla="*/ 0 w 732"/>
                    <a:gd name="T27" fmla="*/ 0 h 167"/>
                    <a:gd name="T28" fmla="*/ 0 w 732"/>
                    <a:gd name="T29" fmla="*/ 0 h 167"/>
                    <a:gd name="T30" fmla="*/ 0 w 732"/>
                    <a:gd name="T31" fmla="*/ 0 h 167"/>
                    <a:gd name="T32" fmla="*/ 0 w 732"/>
                    <a:gd name="T33" fmla="*/ 0 h 167"/>
                    <a:gd name="T34" fmla="*/ 0 w 732"/>
                    <a:gd name="T35" fmla="*/ 0 h 167"/>
                    <a:gd name="T36" fmla="*/ 0 w 732"/>
                    <a:gd name="T37" fmla="*/ 0 h 167"/>
                    <a:gd name="T38" fmla="*/ 0 w 732"/>
                    <a:gd name="T39" fmla="*/ 0 h 167"/>
                    <a:gd name="T40" fmla="*/ 0 w 732"/>
                    <a:gd name="T41" fmla="*/ 0 h 167"/>
                    <a:gd name="T42" fmla="*/ 0 w 732"/>
                    <a:gd name="T43" fmla="*/ 0 h 167"/>
                    <a:gd name="T44" fmla="*/ 0 w 732"/>
                    <a:gd name="T45" fmla="*/ 0 h 167"/>
                    <a:gd name="T46" fmla="*/ 0 w 732"/>
                    <a:gd name="T47" fmla="*/ 0 h 167"/>
                    <a:gd name="T48" fmla="*/ 0 w 732"/>
                    <a:gd name="T49" fmla="*/ 0 h 167"/>
                    <a:gd name="T50" fmla="*/ 0 w 732"/>
                    <a:gd name="T51" fmla="*/ 0 h 167"/>
                    <a:gd name="T52" fmla="*/ 0 w 732"/>
                    <a:gd name="T53" fmla="*/ 0 h 167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732"/>
                    <a:gd name="T82" fmla="*/ 0 h 167"/>
                    <a:gd name="T83" fmla="*/ 732 w 732"/>
                    <a:gd name="T84" fmla="*/ 167 h 167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732" h="167">
                      <a:moveTo>
                        <a:pt x="83" y="0"/>
                      </a:moveTo>
                      <a:lnTo>
                        <a:pt x="648" y="0"/>
                      </a:lnTo>
                      <a:lnTo>
                        <a:pt x="671" y="3"/>
                      </a:lnTo>
                      <a:lnTo>
                        <a:pt x="691" y="11"/>
                      </a:lnTo>
                      <a:lnTo>
                        <a:pt x="708" y="24"/>
                      </a:lnTo>
                      <a:lnTo>
                        <a:pt x="721" y="41"/>
                      </a:lnTo>
                      <a:lnTo>
                        <a:pt x="729" y="61"/>
                      </a:lnTo>
                      <a:lnTo>
                        <a:pt x="732" y="83"/>
                      </a:lnTo>
                      <a:lnTo>
                        <a:pt x="729" y="105"/>
                      </a:lnTo>
                      <a:lnTo>
                        <a:pt x="721" y="126"/>
                      </a:lnTo>
                      <a:lnTo>
                        <a:pt x="708" y="143"/>
                      </a:lnTo>
                      <a:lnTo>
                        <a:pt x="691" y="156"/>
                      </a:lnTo>
                      <a:lnTo>
                        <a:pt x="671" y="164"/>
                      </a:lnTo>
                      <a:lnTo>
                        <a:pt x="648" y="167"/>
                      </a:lnTo>
                      <a:lnTo>
                        <a:pt x="83" y="167"/>
                      </a:lnTo>
                      <a:lnTo>
                        <a:pt x="60" y="164"/>
                      </a:lnTo>
                      <a:lnTo>
                        <a:pt x="41" y="156"/>
                      </a:lnTo>
                      <a:lnTo>
                        <a:pt x="24" y="143"/>
                      </a:lnTo>
                      <a:lnTo>
                        <a:pt x="11" y="126"/>
                      </a:lnTo>
                      <a:lnTo>
                        <a:pt x="2" y="105"/>
                      </a:lnTo>
                      <a:lnTo>
                        <a:pt x="0" y="83"/>
                      </a:lnTo>
                      <a:lnTo>
                        <a:pt x="2" y="61"/>
                      </a:lnTo>
                      <a:lnTo>
                        <a:pt x="11" y="41"/>
                      </a:lnTo>
                      <a:lnTo>
                        <a:pt x="24" y="24"/>
                      </a:lnTo>
                      <a:lnTo>
                        <a:pt x="41" y="11"/>
                      </a:lnTo>
                      <a:lnTo>
                        <a:pt x="60" y="3"/>
                      </a:lnTo>
                      <a:lnTo>
                        <a:pt x="83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72C6E8"/>
                    </a:gs>
                    <a:gs pos="100000">
                      <a:srgbClr val="219DD1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sz="900" dirty="0"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75" name="Freeform 186"/>
                <p:cNvSpPr>
                  <a:spLocks/>
                </p:cNvSpPr>
                <p:nvPr/>
              </p:nvSpPr>
              <p:spPr bwMode="auto">
                <a:xfrm>
                  <a:off x="6761" y="1295"/>
                  <a:ext cx="52" cy="118"/>
                </a:xfrm>
                <a:custGeom>
                  <a:avLst/>
                  <a:gdLst>
                    <a:gd name="T0" fmla="*/ 0 w 420"/>
                    <a:gd name="T1" fmla="*/ 0 h 940"/>
                    <a:gd name="T2" fmla="*/ 0 w 420"/>
                    <a:gd name="T3" fmla="*/ 0 h 940"/>
                    <a:gd name="T4" fmla="*/ 0 w 420"/>
                    <a:gd name="T5" fmla="*/ 0 h 940"/>
                    <a:gd name="T6" fmla="*/ 0 w 420"/>
                    <a:gd name="T7" fmla="*/ 0 h 940"/>
                    <a:gd name="T8" fmla="*/ 0 w 420"/>
                    <a:gd name="T9" fmla="*/ 0 h 940"/>
                    <a:gd name="T10" fmla="*/ 0 w 420"/>
                    <a:gd name="T11" fmla="*/ 0 h 940"/>
                    <a:gd name="T12" fmla="*/ 0 w 420"/>
                    <a:gd name="T13" fmla="*/ 0 h 940"/>
                    <a:gd name="T14" fmla="*/ 0 w 420"/>
                    <a:gd name="T15" fmla="*/ 0 h 940"/>
                    <a:gd name="T16" fmla="*/ 0 w 420"/>
                    <a:gd name="T17" fmla="*/ 0 h 940"/>
                    <a:gd name="T18" fmla="*/ 0 w 420"/>
                    <a:gd name="T19" fmla="*/ 0 h 940"/>
                    <a:gd name="T20" fmla="*/ 0 w 420"/>
                    <a:gd name="T21" fmla="*/ 0 h 940"/>
                    <a:gd name="T22" fmla="*/ 0 w 420"/>
                    <a:gd name="T23" fmla="*/ 0 h 940"/>
                    <a:gd name="T24" fmla="*/ 0 w 420"/>
                    <a:gd name="T25" fmla="*/ 0 h 940"/>
                    <a:gd name="T26" fmla="*/ 0 w 420"/>
                    <a:gd name="T27" fmla="*/ 0 h 940"/>
                    <a:gd name="T28" fmla="*/ 0 w 420"/>
                    <a:gd name="T29" fmla="*/ 0 h 940"/>
                    <a:gd name="T30" fmla="*/ 0 w 420"/>
                    <a:gd name="T31" fmla="*/ 0 h 940"/>
                    <a:gd name="T32" fmla="*/ 0 w 420"/>
                    <a:gd name="T33" fmla="*/ 0 h 940"/>
                    <a:gd name="T34" fmla="*/ 0 w 420"/>
                    <a:gd name="T35" fmla="*/ 0 h 940"/>
                    <a:gd name="T36" fmla="*/ 0 w 420"/>
                    <a:gd name="T37" fmla="*/ 0 h 940"/>
                    <a:gd name="T38" fmla="*/ 0 w 420"/>
                    <a:gd name="T39" fmla="*/ 0 h 940"/>
                    <a:gd name="T40" fmla="*/ 0 w 420"/>
                    <a:gd name="T41" fmla="*/ 0 h 940"/>
                    <a:gd name="T42" fmla="*/ 0 w 420"/>
                    <a:gd name="T43" fmla="*/ 0 h 940"/>
                    <a:gd name="T44" fmla="*/ 0 w 420"/>
                    <a:gd name="T45" fmla="*/ 0 h 940"/>
                    <a:gd name="T46" fmla="*/ 0 w 420"/>
                    <a:gd name="T47" fmla="*/ 0 h 940"/>
                    <a:gd name="T48" fmla="*/ 0 w 420"/>
                    <a:gd name="T49" fmla="*/ 0 h 940"/>
                    <a:gd name="T50" fmla="*/ 0 w 420"/>
                    <a:gd name="T51" fmla="*/ 0 h 940"/>
                    <a:gd name="T52" fmla="*/ 0 w 420"/>
                    <a:gd name="T53" fmla="*/ 0 h 940"/>
                    <a:gd name="T54" fmla="*/ 0 w 420"/>
                    <a:gd name="T55" fmla="*/ 0 h 940"/>
                    <a:gd name="T56" fmla="*/ 0 w 420"/>
                    <a:gd name="T57" fmla="*/ 0 h 940"/>
                    <a:gd name="T58" fmla="*/ 0 w 420"/>
                    <a:gd name="T59" fmla="*/ 0 h 940"/>
                    <a:gd name="T60" fmla="*/ 0 w 420"/>
                    <a:gd name="T61" fmla="*/ 0 h 940"/>
                    <a:gd name="T62" fmla="*/ 0 w 420"/>
                    <a:gd name="T63" fmla="*/ 0 h 940"/>
                    <a:gd name="T64" fmla="*/ 0 w 420"/>
                    <a:gd name="T65" fmla="*/ 0 h 940"/>
                    <a:gd name="T66" fmla="*/ 0 w 420"/>
                    <a:gd name="T67" fmla="*/ 0 h 940"/>
                    <a:gd name="T68" fmla="*/ 0 w 420"/>
                    <a:gd name="T69" fmla="*/ 0 h 940"/>
                    <a:gd name="T70" fmla="*/ 0 w 420"/>
                    <a:gd name="T71" fmla="*/ 0 h 940"/>
                    <a:gd name="T72" fmla="*/ 0 w 420"/>
                    <a:gd name="T73" fmla="*/ 0 h 940"/>
                    <a:gd name="T74" fmla="*/ 0 w 420"/>
                    <a:gd name="T75" fmla="*/ 0 h 94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20"/>
                    <a:gd name="T115" fmla="*/ 0 h 940"/>
                    <a:gd name="T116" fmla="*/ 420 w 420"/>
                    <a:gd name="T117" fmla="*/ 940 h 94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20" h="940">
                      <a:moveTo>
                        <a:pt x="0" y="0"/>
                      </a:moveTo>
                      <a:lnTo>
                        <a:pt x="420" y="0"/>
                      </a:lnTo>
                      <a:lnTo>
                        <a:pt x="415" y="24"/>
                      </a:lnTo>
                      <a:lnTo>
                        <a:pt x="409" y="54"/>
                      </a:lnTo>
                      <a:lnTo>
                        <a:pt x="400" y="89"/>
                      </a:lnTo>
                      <a:lnTo>
                        <a:pt x="391" y="128"/>
                      </a:lnTo>
                      <a:lnTo>
                        <a:pt x="381" y="172"/>
                      </a:lnTo>
                      <a:lnTo>
                        <a:pt x="371" y="220"/>
                      </a:lnTo>
                      <a:lnTo>
                        <a:pt x="359" y="270"/>
                      </a:lnTo>
                      <a:lnTo>
                        <a:pt x="347" y="325"/>
                      </a:lnTo>
                      <a:lnTo>
                        <a:pt x="335" y="382"/>
                      </a:lnTo>
                      <a:lnTo>
                        <a:pt x="322" y="441"/>
                      </a:lnTo>
                      <a:lnTo>
                        <a:pt x="308" y="501"/>
                      </a:lnTo>
                      <a:lnTo>
                        <a:pt x="295" y="564"/>
                      </a:lnTo>
                      <a:lnTo>
                        <a:pt x="280" y="626"/>
                      </a:lnTo>
                      <a:lnTo>
                        <a:pt x="265" y="690"/>
                      </a:lnTo>
                      <a:lnTo>
                        <a:pt x="251" y="753"/>
                      </a:lnTo>
                      <a:lnTo>
                        <a:pt x="237" y="817"/>
                      </a:lnTo>
                      <a:lnTo>
                        <a:pt x="224" y="878"/>
                      </a:lnTo>
                      <a:lnTo>
                        <a:pt x="210" y="940"/>
                      </a:lnTo>
                      <a:lnTo>
                        <a:pt x="197" y="878"/>
                      </a:lnTo>
                      <a:lnTo>
                        <a:pt x="183" y="817"/>
                      </a:lnTo>
                      <a:lnTo>
                        <a:pt x="168" y="753"/>
                      </a:lnTo>
                      <a:lnTo>
                        <a:pt x="154" y="690"/>
                      </a:lnTo>
                      <a:lnTo>
                        <a:pt x="140" y="626"/>
                      </a:lnTo>
                      <a:lnTo>
                        <a:pt x="126" y="564"/>
                      </a:lnTo>
                      <a:lnTo>
                        <a:pt x="112" y="501"/>
                      </a:lnTo>
                      <a:lnTo>
                        <a:pt x="99" y="441"/>
                      </a:lnTo>
                      <a:lnTo>
                        <a:pt x="85" y="382"/>
                      </a:lnTo>
                      <a:lnTo>
                        <a:pt x="73" y="325"/>
                      </a:lnTo>
                      <a:lnTo>
                        <a:pt x="61" y="270"/>
                      </a:lnTo>
                      <a:lnTo>
                        <a:pt x="49" y="220"/>
                      </a:lnTo>
                      <a:lnTo>
                        <a:pt x="38" y="172"/>
                      </a:lnTo>
                      <a:lnTo>
                        <a:pt x="28" y="128"/>
                      </a:lnTo>
                      <a:lnTo>
                        <a:pt x="19" y="89"/>
                      </a:lnTo>
                      <a:lnTo>
                        <a:pt x="12" y="54"/>
                      </a:lnTo>
                      <a:lnTo>
                        <a:pt x="5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72C6E8"/>
                    </a:gs>
                    <a:gs pos="100000">
                      <a:srgbClr val="219DD1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sz="900" dirty="0"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76" name="Freeform 187"/>
                <p:cNvSpPr>
                  <a:spLocks/>
                </p:cNvSpPr>
                <p:nvPr/>
              </p:nvSpPr>
              <p:spPr bwMode="auto">
                <a:xfrm>
                  <a:off x="6645" y="1147"/>
                  <a:ext cx="284" cy="313"/>
                </a:xfrm>
                <a:custGeom>
                  <a:avLst/>
                  <a:gdLst>
                    <a:gd name="T0" fmla="*/ 0 w 2275"/>
                    <a:gd name="T1" fmla="*/ 0 h 2508"/>
                    <a:gd name="T2" fmla="*/ 0 w 2275"/>
                    <a:gd name="T3" fmla="*/ 0 h 2508"/>
                    <a:gd name="T4" fmla="*/ 0 w 2275"/>
                    <a:gd name="T5" fmla="*/ 0 h 2508"/>
                    <a:gd name="T6" fmla="*/ 0 w 2275"/>
                    <a:gd name="T7" fmla="*/ 0 h 2508"/>
                    <a:gd name="T8" fmla="*/ 0 w 2275"/>
                    <a:gd name="T9" fmla="*/ 0 h 2508"/>
                    <a:gd name="T10" fmla="*/ 0 w 2275"/>
                    <a:gd name="T11" fmla="*/ 0 h 2508"/>
                    <a:gd name="T12" fmla="*/ 0 w 2275"/>
                    <a:gd name="T13" fmla="*/ 0 h 2508"/>
                    <a:gd name="T14" fmla="*/ 0 w 2275"/>
                    <a:gd name="T15" fmla="*/ 0 h 2508"/>
                    <a:gd name="T16" fmla="*/ 0 w 2275"/>
                    <a:gd name="T17" fmla="*/ 0 h 2508"/>
                    <a:gd name="T18" fmla="*/ 0 w 2275"/>
                    <a:gd name="T19" fmla="*/ 0 h 2508"/>
                    <a:gd name="T20" fmla="*/ 0 w 2275"/>
                    <a:gd name="T21" fmla="*/ 0 h 2508"/>
                    <a:gd name="T22" fmla="*/ 0 w 2275"/>
                    <a:gd name="T23" fmla="*/ 0 h 2508"/>
                    <a:gd name="T24" fmla="*/ 0 w 2275"/>
                    <a:gd name="T25" fmla="*/ 0 h 2508"/>
                    <a:gd name="T26" fmla="*/ 0 w 2275"/>
                    <a:gd name="T27" fmla="*/ 0 h 2508"/>
                    <a:gd name="T28" fmla="*/ 0 w 2275"/>
                    <a:gd name="T29" fmla="*/ 0 h 2508"/>
                    <a:gd name="T30" fmla="*/ 0 w 2275"/>
                    <a:gd name="T31" fmla="*/ 0 h 2508"/>
                    <a:gd name="T32" fmla="*/ 0 w 2275"/>
                    <a:gd name="T33" fmla="*/ 0 h 2508"/>
                    <a:gd name="T34" fmla="*/ 0 w 2275"/>
                    <a:gd name="T35" fmla="*/ 0 h 2508"/>
                    <a:gd name="T36" fmla="*/ 0 w 2275"/>
                    <a:gd name="T37" fmla="*/ 0 h 2508"/>
                    <a:gd name="T38" fmla="*/ 0 w 2275"/>
                    <a:gd name="T39" fmla="*/ 0 h 2508"/>
                    <a:gd name="T40" fmla="*/ 0 w 2275"/>
                    <a:gd name="T41" fmla="*/ 0 h 2508"/>
                    <a:gd name="T42" fmla="*/ 0 w 2275"/>
                    <a:gd name="T43" fmla="*/ 0 h 2508"/>
                    <a:gd name="T44" fmla="*/ 0 w 2275"/>
                    <a:gd name="T45" fmla="*/ 0 h 2508"/>
                    <a:gd name="T46" fmla="*/ 0 w 2275"/>
                    <a:gd name="T47" fmla="*/ 0 h 2508"/>
                    <a:gd name="T48" fmla="*/ 0 w 2275"/>
                    <a:gd name="T49" fmla="*/ 0 h 2508"/>
                    <a:gd name="T50" fmla="*/ 0 w 2275"/>
                    <a:gd name="T51" fmla="*/ 0 h 2508"/>
                    <a:gd name="T52" fmla="*/ 0 w 2275"/>
                    <a:gd name="T53" fmla="*/ 0 h 2508"/>
                    <a:gd name="T54" fmla="*/ 0 w 2275"/>
                    <a:gd name="T55" fmla="*/ 0 h 2508"/>
                    <a:gd name="T56" fmla="*/ 0 w 2275"/>
                    <a:gd name="T57" fmla="*/ 0 h 2508"/>
                    <a:gd name="T58" fmla="*/ 0 w 2275"/>
                    <a:gd name="T59" fmla="*/ 0 h 2508"/>
                    <a:gd name="T60" fmla="*/ 0 w 2275"/>
                    <a:gd name="T61" fmla="*/ 0 h 2508"/>
                    <a:gd name="T62" fmla="*/ 0 w 2275"/>
                    <a:gd name="T63" fmla="*/ 0 h 2508"/>
                    <a:gd name="T64" fmla="*/ 0 w 2275"/>
                    <a:gd name="T65" fmla="*/ 0 h 2508"/>
                    <a:gd name="T66" fmla="*/ 0 w 2275"/>
                    <a:gd name="T67" fmla="*/ 0 h 2508"/>
                    <a:gd name="T68" fmla="*/ 0 w 2275"/>
                    <a:gd name="T69" fmla="*/ 0 h 2508"/>
                    <a:gd name="T70" fmla="*/ 0 w 2275"/>
                    <a:gd name="T71" fmla="*/ 0 h 2508"/>
                    <a:gd name="T72" fmla="*/ 0 w 2275"/>
                    <a:gd name="T73" fmla="*/ 0 h 2508"/>
                    <a:gd name="T74" fmla="*/ 0 w 2275"/>
                    <a:gd name="T75" fmla="*/ 0 h 2508"/>
                    <a:gd name="T76" fmla="*/ 0 w 2275"/>
                    <a:gd name="T77" fmla="*/ 0 h 2508"/>
                    <a:gd name="T78" fmla="*/ 0 w 2275"/>
                    <a:gd name="T79" fmla="*/ 0 h 2508"/>
                    <a:gd name="T80" fmla="*/ 0 w 2275"/>
                    <a:gd name="T81" fmla="*/ 0 h 2508"/>
                    <a:gd name="T82" fmla="*/ 0 w 2275"/>
                    <a:gd name="T83" fmla="*/ 0 h 2508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275"/>
                    <a:gd name="T127" fmla="*/ 0 h 2508"/>
                    <a:gd name="T128" fmla="*/ 2275 w 2275"/>
                    <a:gd name="T129" fmla="*/ 2508 h 2508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275" h="2508">
                      <a:moveTo>
                        <a:pt x="1137" y="0"/>
                      </a:moveTo>
                      <a:lnTo>
                        <a:pt x="1222" y="3"/>
                      </a:lnTo>
                      <a:lnTo>
                        <a:pt x="1305" y="12"/>
                      </a:lnTo>
                      <a:lnTo>
                        <a:pt x="1386" y="27"/>
                      </a:lnTo>
                      <a:lnTo>
                        <a:pt x="1466" y="48"/>
                      </a:lnTo>
                      <a:lnTo>
                        <a:pt x="1542" y="74"/>
                      </a:lnTo>
                      <a:lnTo>
                        <a:pt x="1617" y="105"/>
                      </a:lnTo>
                      <a:lnTo>
                        <a:pt x="1688" y="141"/>
                      </a:lnTo>
                      <a:lnTo>
                        <a:pt x="1756" y="183"/>
                      </a:lnTo>
                      <a:lnTo>
                        <a:pt x="1822" y="229"/>
                      </a:lnTo>
                      <a:lnTo>
                        <a:pt x="1883" y="278"/>
                      </a:lnTo>
                      <a:lnTo>
                        <a:pt x="1942" y="333"/>
                      </a:lnTo>
                      <a:lnTo>
                        <a:pt x="1995" y="390"/>
                      </a:lnTo>
                      <a:lnTo>
                        <a:pt x="2046" y="453"/>
                      </a:lnTo>
                      <a:lnTo>
                        <a:pt x="2091" y="517"/>
                      </a:lnTo>
                      <a:lnTo>
                        <a:pt x="2133" y="586"/>
                      </a:lnTo>
                      <a:lnTo>
                        <a:pt x="2169" y="658"/>
                      </a:lnTo>
                      <a:lnTo>
                        <a:pt x="2200" y="731"/>
                      </a:lnTo>
                      <a:lnTo>
                        <a:pt x="2226" y="808"/>
                      </a:lnTo>
                      <a:lnTo>
                        <a:pt x="2248" y="888"/>
                      </a:lnTo>
                      <a:lnTo>
                        <a:pt x="2263" y="968"/>
                      </a:lnTo>
                      <a:lnTo>
                        <a:pt x="2272" y="1052"/>
                      </a:lnTo>
                      <a:lnTo>
                        <a:pt x="2275" y="1137"/>
                      </a:lnTo>
                      <a:lnTo>
                        <a:pt x="2272" y="1221"/>
                      </a:lnTo>
                      <a:lnTo>
                        <a:pt x="2263" y="1305"/>
                      </a:lnTo>
                      <a:lnTo>
                        <a:pt x="2248" y="1387"/>
                      </a:lnTo>
                      <a:lnTo>
                        <a:pt x="2226" y="1466"/>
                      </a:lnTo>
                      <a:lnTo>
                        <a:pt x="2200" y="1543"/>
                      </a:lnTo>
                      <a:lnTo>
                        <a:pt x="2168" y="1618"/>
                      </a:lnTo>
                      <a:lnTo>
                        <a:pt x="2132" y="1689"/>
                      </a:lnTo>
                      <a:lnTo>
                        <a:pt x="2090" y="1758"/>
                      </a:lnTo>
                      <a:lnTo>
                        <a:pt x="2044" y="1822"/>
                      </a:lnTo>
                      <a:lnTo>
                        <a:pt x="1993" y="1885"/>
                      </a:lnTo>
                      <a:lnTo>
                        <a:pt x="1939" y="1942"/>
                      </a:lnTo>
                      <a:lnTo>
                        <a:pt x="1880" y="1997"/>
                      </a:lnTo>
                      <a:lnTo>
                        <a:pt x="1818" y="2046"/>
                      </a:lnTo>
                      <a:lnTo>
                        <a:pt x="1752" y="2092"/>
                      </a:lnTo>
                      <a:lnTo>
                        <a:pt x="1684" y="2133"/>
                      </a:lnTo>
                      <a:lnTo>
                        <a:pt x="1612" y="2169"/>
                      </a:lnTo>
                      <a:lnTo>
                        <a:pt x="1466" y="2508"/>
                      </a:lnTo>
                      <a:lnTo>
                        <a:pt x="1221" y="2508"/>
                      </a:lnTo>
                      <a:lnTo>
                        <a:pt x="1552" y="1021"/>
                      </a:lnTo>
                      <a:lnTo>
                        <a:pt x="715" y="1021"/>
                      </a:lnTo>
                      <a:lnTo>
                        <a:pt x="1047" y="2508"/>
                      </a:lnTo>
                      <a:lnTo>
                        <a:pt x="808" y="2508"/>
                      </a:lnTo>
                      <a:lnTo>
                        <a:pt x="663" y="2169"/>
                      </a:lnTo>
                      <a:lnTo>
                        <a:pt x="591" y="2133"/>
                      </a:lnTo>
                      <a:lnTo>
                        <a:pt x="522" y="2092"/>
                      </a:lnTo>
                      <a:lnTo>
                        <a:pt x="456" y="2046"/>
                      </a:lnTo>
                      <a:lnTo>
                        <a:pt x="394" y="1997"/>
                      </a:lnTo>
                      <a:lnTo>
                        <a:pt x="336" y="1942"/>
                      </a:lnTo>
                      <a:lnTo>
                        <a:pt x="281" y="1884"/>
                      </a:lnTo>
                      <a:lnTo>
                        <a:pt x="231" y="1822"/>
                      </a:lnTo>
                      <a:lnTo>
                        <a:pt x="185" y="1758"/>
                      </a:lnTo>
                      <a:lnTo>
                        <a:pt x="143" y="1689"/>
                      </a:lnTo>
                      <a:lnTo>
                        <a:pt x="106" y="1618"/>
                      </a:lnTo>
                      <a:lnTo>
                        <a:pt x="75" y="1543"/>
                      </a:lnTo>
                      <a:lnTo>
                        <a:pt x="48" y="1466"/>
                      </a:lnTo>
                      <a:lnTo>
                        <a:pt x="27" y="1387"/>
                      </a:lnTo>
                      <a:lnTo>
                        <a:pt x="12" y="1305"/>
                      </a:lnTo>
                      <a:lnTo>
                        <a:pt x="3" y="1221"/>
                      </a:lnTo>
                      <a:lnTo>
                        <a:pt x="0" y="1137"/>
                      </a:lnTo>
                      <a:lnTo>
                        <a:pt x="3" y="1052"/>
                      </a:lnTo>
                      <a:lnTo>
                        <a:pt x="12" y="968"/>
                      </a:lnTo>
                      <a:lnTo>
                        <a:pt x="27" y="888"/>
                      </a:lnTo>
                      <a:lnTo>
                        <a:pt x="47" y="808"/>
                      </a:lnTo>
                      <a:lnTo>
                        <a:pt x="74" y="731"/>
                      </a:lnTo>
                      <a:lnTo>
                        <a:pt x="106" y="658"/>
                      </a:lnTo>
                      <a:lnTo>
                        <a:pt x="142" y="586"/>
                      </a:lnTo>
                      <a:lnTo>
                        <a:pt x="183" y="517"/>
                      </a:lnTo>
                      <a:lnTo>
                        <a:pt x="229" y="453"/>
                      </a:lnTo>
                      <a:lnTo>
                        <a:pt x="278" y="390"/>
                      </a:lnTo>
                      <a:lnTo>
                        <a:pt x="333" y="333"/>
                      </a:lnTo>
                      <a:lnTo>
                        <a:pt x="391" y="278"/>
                      </a:lnTo>
                      <a:lnTo>
                        <a:pt x="453" y="229"/>
                      </a:lnTo>
                      <a:lnTo>
                        <a:pt x="517" y="183"/>
                      </a:lnTo>
                      <a:lnTo>
                        <a:pt x="586" y="141"/>
                      </a:lnTo>
                      <a:lnTo>
                        <a:pt x="658" y="105"/>
                      </a:lnTo>
                      <a:lnTo>
                        <a:pt x="731" y="74"/>
                      </a:lnTo>
                      <a:lnTo>
                        <a:pt x="809" y="48"/>
                      </a:lnTo>
                      <a:lnTo>
                        <a:pt x="888" y="27"/>
                      </a:lnTo>
                      <a:lnTo>
                        <a:pt x="969" y="12"/>
                      </a:lnTo>
                      <a:lnTo>
                        <a:pt x="1052" y="3"/>
                      </a:lnTo>
                      <a:lnTo>
                        <a:pt x="1137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72C6E8"/>
                    </a:gs>
                    <a:gs pos="100000">
                      <a:srgbClr val="219DD1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ko-KR" altLang="en-US" sz="900" dirty="0"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</p:grpSp>
          <p:grpSp>
            <p:nvGrpSpPr>
              <p:cNvPr id="69" name="Group 188"/>
              <p:cNvGrpSpPr>
                <a:grpSpLocks/>
              </p:cNvGrpSpPr>
              <p:nvPr/>
            </p:nvGrpSpPr>
            <p:grpSpPr bwMode="auto">
              <a:xfrm>
                <a:off x="343" y="5586"/>
                <a:ext cx="268" cy="188"/>
                <a:chOff x="343" y="5586"/>
                <a:chExt cx="268" cy="188"/>
              </a:xfrm>
            </p:grpSpPr>
            <p:sp>
              <p:nvSpPr>
                <p:cNvPr id="70" name="Rectangle 189"/>
                <p:cNvSpPr>
                  <a:spLocks noChangeArrowheads="1"/>
                </p:cNvSpPr>
                <p:nvPr/>
              </p:nvSpPr>
              <p:spPr bwMode="auto">
                <a:xfrm>
                  <a:off x="343" y="5586"/>
                  <a:ext cx="127" cy="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1pPr>
                  <a:lvl2pPr marL="742950" indent="-28575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2pPr>
                  <a:lvl3pPr marL="1143000" indent="-22860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3pPr>
                  <a:lvl4pPr marL="1600200" indent="-22860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4pPr>
                  <a:lvl5pPr marL="2057400" indent="-22860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5pPr>
                  <a:lvl6pPr marL="25146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6pPr>
                  <a:lvl7pPr marL="29718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7pPr>
                  <a:lvl8pPr marL="34290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8pPr>
                  <a:lvl9pPr marL="38862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9pPr>
                </a:lstStyle>
                <a:p>
                  <a:pPr algn="ctr" eaLnBrk="1" hangingPunct="1">
                    <a:buClr>
                      <a:srgbClr val="000000"/>
                    </a:buClr>
                    <a:buSzPct val="80000"/>
                  </a:pPr>
                  <a:r>
                    <a:rPr lang="ko-KR" altLang="en-US" sz="900" dirty="0">
                      <a:solidFill>
                        <a:srgbClr val="000000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기대</a:t>
                  </a:r>
                </a:p>
              </p:txBody>
            </p:sp>
            <p:sp>
              <p:nvSpPr>
                <p:cNvPr id="71" name="Rectangle 190"/>
                <p:cNvSpPr>
                  <a:spLocks noChangeArrowheads="1"/>
                </p:cNvSpPr>
                <p:nvPr/>
              </p:nvSpPr>
              <p:spPr bwMode="auto">
                <a:xfrm>
                  <a:off x="484" y="5687"/>
                  <a:ext cx="127" cy="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1pPr>
                  <a:lvl2pPr marL="742950" indent="-28575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2pPr>
                  <a:lvl3pPr marL="1143000" indent="-22860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3pPr>
                  <a:lvl4pPr marL="1600200" indent="-22860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4pPr>
                  <a:lvl5pPr marL="2057400" indent="-228600" defTabSz="1398588" eaLnBrk="0" hangingPunct="0"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5pPr>
                  <a:lvl6pPr marL="25146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6pPr>
                  <a:lvl7pPr marL="29718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7pPr>
                  <a:lvl8pPr marL="34290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8pPr>
                  <a:lvl9pPr marL="3886200" indent="-228600" algn="ctr" defTabSz="13985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맑은 고딕" panose="020B0503020000020004" pitchFamily="50" charset="-127"/>
                      <a:ea typeface="굴림" panose="020B0600000101010101" pitchFamily="50" charset="-127"/>
                    </a:defRPr>
                  </a:lvl9pPr>
                </a:lstStyle>
                <a:p>
                  <a:pPr algn="ctr" eaLnBrk="1" hangingPunct="1">
                    <a:buClr>
                      <a:srgbClr val="000000"/>
                    </a:buClr>
                    <a:buSzPct val="80000"/>
                  </a:pPr>
                  <a:r>
                    <a:rPr lang="ko-KR" altLang="en-US" sz="900" dirty="0">
                      <a:solidFill>
                        <a:srgbClr val="000000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효과</a:t>
                  </a:r>
                </a:p>
              </p:txBody>
            </p:sp>
          </p:grpSp>
        </p:grpSp>
        <p:pic>
          <p:nvPicPr>
            <p:cNvPr id="64" name="Picture 194" descr="도형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734"/>
            <a:stretch>
              <a:fillRect/>
            </a:stretch>
          </p:blipFill>
          <p:spPr bwMode="auto">
            <a:xfrm>
              <a:off x="6105525" y="5819775"/>
              <a:ext cx="363537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Picture 195" descr="도형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734" t="57018"/>
            <a:stretch>
              <a:fillRect/>
            </a:stretch>
          </p:blipFill>
          <p:spPr bwMode="auto">
            <a:xfrm>
              <a:off x="6105525" y="6386513"/>
              <a:ext cx="3635375" cy="15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196" descr="도형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734" t="47510" b="28070"/>
            <a:stretch>
              <a:fillRect/>
            </a:stretch>
          </p:blipFill>
          <p:spPr bwMode="auto">
            <a:xfrm>
              <a:off x="6105525" y="6016625"/>
              <a:ext cx="3635375" cy="42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9" name="Rectangle 8"/>
            <p:cNvSpPr>
              <a:spLocks noChangeArrowheads="1"/>
            </p:cNvSpPr>
            <p:nvPr/>
          </p:nvSpPr>
          <p:spPr bwMode="auto">
            <a:xfrm>
              <a:off x="4824413" y="5991225"/>
              <a:ext cx="4160838" cy="355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88900" indent="-88900" defTabSz="849313">
                <a:spcBef>
                  <a:spcPct val="20000"/>
                </a:spcBef>
                <a:buClr>
                  <a:srgbClr val="969696"/>
                </a:buClr>
                <a:buSzPct val="80000"/>
                <a:buFont typeface="Wingdings" pitchFamily="2" charset="2"/>
                <a:buChar char="§"/>
                <a:tabLst>
                  <a:tab pos="715963" algn="l"/>
                </a:tabLst>
                <a:defRPr/>
              </a:pPr>
              <a:r>
                <a:rPr lang="ko-KR" altLang="en-US" sz="105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예상 위험 요소에 대한 체크 리스트 활용</a:t>
              </a:r>
            </a:p>
            <a:p>
              <a:pPr marL="88900" indent="-88900" defTabSz="849313">
                <a:spcBef>
                  <a:spcPct val="20000"/>
                </a:spcBef>
                <a:buClr>
                  <a:srgbClr val="969696"/>
                </a:buClr>
                <a:buSzPct val="80000"/>
                <a:buFont typeface="Wingdings" pitchFamily="2" charset="2"/>
                <a:buChar char="§"/>
                <a:tabLst>
                  <a:tab pos="715963" algn="l"/>
                </a:tabLst>
                <a:defRPr/>
              </a:pPr>
              <a:r>
                <a:rPr lang="ko-KR" altLang="en-US" sz="105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예상 위험 요소 점검 과정에서 실제 위험 조기 발견 및 사전 조치</a:t>
              </a:r>
            </a:p>
          </p:txBody>
        </p:sp>
      </p:grpSp>
      <p:sp>
        <p:nvSpPr>
          <p:cNvPr id="5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3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이행 방안 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8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5862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3.3 </a:t>
            </a:r>
            <a:r>
              <a:rPr lang="ko-KR" altLang="en-US" dirty="0"/>
              <a:t>이행 조직 및 </a:t>
            </a:r>
            <a:r>
              <a:rPr lang="en-US" altLang="ko-KR" dirty="0"/>
              <a:t>R&amp;R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이행 전담 조직인 통합이행팀을 구성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컨설팅과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유기적인 의사소통을 유지하여 안정성 높은 이행을 추진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이행 조직 및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&amp;R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14" name="Picture 147" descr="소프트웨어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300" y="5338763"/>
            <a:ext cx="1658938" cy="113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8" descr="비지니스-회의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875" y="5462588"/>
            <a:ext cx="1479550" cy="98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0" name="Group 244"/>
          <p:cNvGraphicFramePr>
            <a:graphicFrameLocks/>
          </p:cNvGraphicFramePr>
          <p:nvPr>
            <p:extLst/>
          </p:nvPr>
        </p:nvGraphicFramePr>
        <p:xfrm>
          <a:off x="290450" y="4656138"/>
          <a:ext cx="9332973" cy="1764913"/>
        </p:xfrm>
        <a:graphic>
          <a:graphicData uri="http://schemas.openxmlformats.org/drawingml/2006/table">
            <a:tbl>
              <a:tblPr/>
              <a:tblGrid>
                <a:gridCol w="673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4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47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47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6479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71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조직명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통합이행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Part</a:t>
                      </a:r>
                      <a:endParaRPr kumimoji="1" lang="ko-KR" altLang="en-US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charset="0"/>
                      </a:endParaRP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업무개발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Part</a:t>
                      </a:r>
                      <a:endParaRPr kumimoji="1" lang="ko-KR" altLang="en-US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charset="0"/>
                      </a:endParaRP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인프라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Part</a:t>
                      </a:r>
                      <a:endParaRPr kumimoji="1" lang="ko-KR" altLang="en-US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charset="0"/>
                      </a:endParaRP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데이터 이행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charset="0"/>
                        </a:rPr>
                        <a:t>Part</a:t>
                      </a:r>
                      <a:endParaRPr kumimoji="1" lang="ko-KR" altLang="en-US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charset="0"/>
                      </a:endParaRP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584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254000" algn="l"/>
                          <a:tab pos="508000" algn="l"/>
                          <a:tab pos="762000" algn="l"/>
                          <a:tab pos="1016000" algn="l"/>
                          <a:tab pos="1270000" algn="l"/>
                        </a:tabLst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Arial" charset="0"/>
                        </a:rPr>
                        <a:t>역할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전체 이행 총괄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pitchFamily="50" charset="-127"/>
                      </a:endParaRP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의사소통체계 수립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이행시나리오 작성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전체적인 지휘 및 통제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응용프로그램 최종 버전 관리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이행된  응용프로그램 점검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연계시스템 연동 일정 관리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이행 후 가동 점검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H/W, S/W 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환경구성 점검 및 튜닝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시스템 이행 단계별 점검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장애대책 수립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대외기관 연결 상태 확인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협력업체 지원일정 관리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사전 이행 및 전환데이터 관리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데이터 전환 시나리오 확정</a:t>
                      </a:r>
                    </a:p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데이터 전환 및 검증</a:t>
                      </a: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pitchFamily="50" charset="-127"/>
                      </a:endParaRP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9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254000" algn="l"/>
                          <a:tab pos="508000" algn="l"/>
                          <a:tab pos="762000" algn="l"/>
                          <a:tab pos="1016000" algn="l"/>
                          <a:tab pos="1270000" algn="l"/>
                        </a:tabLst>
                      </a:pP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Arial" charset="0"/>
                        </a:rPr>
                        <a:t>비고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전체 이행 지휘 및 통제</a:t>
                      </a: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굴림" pitchFamily="50" charset="-127"/>
                      </a:endParaRP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응용프로그램 정합성 확보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시스템 중단시간 최소화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98425" marR="0" lvl="0" indent="-984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69696"/>
                        </a:buClr>
                        <a:buSzPct val="8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굴림" pitchFamily="50" charset="-127"/>
                        </a:rPr>
                        <a:t>목표 시간내 완료</a:t>
                      </a:r>
                    </a:p>
                  </a:txBody>
                  <a:tcPr marL="36000" marR="36000" marT="35989" marB="35989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3" name="Rectangle 584"/>
          <p:cNvSpPr>
            <a:spLocks noChangeArrowheads="1"/>
          </p:cNvSpPr>
          <p:nvPr/>
        </p:nvSpPr>
        <p:spPr bwMode="auto">
          <a:xfrm>
            <a:off x="298111" y="2810710"/>
            <a:ext cx="5410973" cy="1620180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E2E7EA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en-US" sz="12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itchFamily="18" charset="0"/>
            </a:endParaRPr>
          </a:p>
        </p:txBody>
      </p:sp>
      <p:grpSp>
        <p:nvGrpSpPr>
          <p:cNvPr id="81" name="그룹 80"/>
          <p:cNvGrpSpPr/>
          <p:nvPr/>
        </p:nvGrpSpPr>
        <p:grpSpPr>
          <a:xfrm>
            <a:off x="1748644" y="3475453"/>
            <a:ext cx="1212155" cy="828092"/>
            <a:chOff x="2683039" y="3432174"/>
            <a:chExt cx="2119777" cy="1004889"/>
          </a:xfrm>
        </p:grpSpPr>
        <p:sp>
          <p:nvSpPr>
            <p:cNvPr id="59" name="Rectangle 598"/>
            <p:cNvSpPr>
              <a:spLocks noChangeArrowheads="1"/>
            </p:cNvSpPr>
            <p:nvPr/>
          </p:nvSpPr>
          <p:spPr bwMode="auto">
            <a:xfrm>
              <a:off x="2683039" y="3432174"/>
              <a:ext cx="2119777" cy="1004889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endParaRPr>
            </a:p>
          </p:txBody>
        </p:sp>
        <p:sp>
          <p:nvSpPr>
            <p:cNvPr id="60" name="Rectangle 598"/>
            <p:cNvSpPr>
              <a:spLocks noChangeArrowheads="1"/>
            </p:cNvSpPr>
            <p:nvPr/>
          </p:nvSpPr>
          <p:spPr bwMode="auto">
            <a:xfrm>
              <a:off x="2683039" y="3432174"/>
              <a:ext cx="2119777" cy="327024"/>
            </a:xfrm>
            <a:prstGeom prst="rect">
              <a:avLst/>
            </a:prstGeom>
            <a:solidFill>
              <a:srgbClr val="CCE0F0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업무개발 </a:t>
              </a:r>
              <a:r>
                <a:rPr kumimoji="0" lang="en-US" altLang="ko-KR" sz="1000" kern="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Part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endParaRPr>
            </a:p>
          </p:txBody>
        </p:sp>
        <p:sp>
          <p:nvSpPr>
            <p:cNvPr id="35" name="Rectangle 599"/>
            <p:cNvSpPr>
              <a:spLocks noChangeArrowheads="1"/>
            </p:cNvSpPr>
            <p:nvPr/>
          </p:nvSpPr>
          <p:spPr bwMode="auto">
            <a:xfrm>
              <a:off x="2770840" y="3849688"/>
              <a:ext cx="1944174" cy="33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업무 분석</a:t>
              </a:r>
              <a:r>
                <a:rPr kumimoji="0" lang="en-US" altLang="ko-KR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kumimoji="0"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설계자</a:t>
              </a:r>
            </a:p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업무 개발자</a:t>
              </a: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3044788" y="3475453"/>
            <a:ext cx="1212155" cy="828092"/>
            <a:chOff x="5075628" y="3432174"/>
            <a:chExt cx="2119777" cy="1004889"/>
          </a:xfrm>
        </p:grpSpPr>
        <p:sp>
          <p:nvSpPr>
            <p:cNvPr id="57" name="Rectangle 591"/>
            <p:cNvSpPr>
              <a:spLocks noChangeArrowheads="1"/>
            </p:cNvSpPr>
            <p:nvPr/>
          </p:nvSpPr>
          <p:spPr bwMode="auto">
            <a:xfrm>
              <a:off x="5075628" y="3432174"/>
              <a:ext cx="2119777" cy="1004889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endParaRPr>
            </a:p>
          </p:txBody>
        </p:sp>
        <p:sp>
          <p:nvSpPr>
            <p:cNvPr id="58" name="Rectangle 591"/>
            <p:cNvSpPr>
              <a:spLocks noChangeArrowheads="1"/>
            </p:cNvSpPr>
            <p:nvPr/>
          </p:nvSpPr>
          <p:spPr bwMode="auto">
            <a:xfrm>
              <a:off x="5075628" y="3432174"/>
              <a:ext cx="2119777" cy="327024"/>
            </a:xfrm>
            <a:prstGeom prst="rect">
              <a:avLst/>
            </a:prstGeom>
            <a:solidFill>
              <a:srgbClr val="CCE0F0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인프라 </a:t>
              </a:r>
              <a:r>
                <a:rPr kumimoji="0" lang="en-US" altLang="ko-KR" sz="1000" kern="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Part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endParaRPr>
            </a:p>
          </p:txBody>
        </p:sp>
        <p:sp>
          <p:nvSpPr>
            <p:cNvPr id="37" name="Rectangle 592"/>
            <p:cNvSpPr>
              <a:spLocks noChangeArrowheads="1"/>
            </p:cNvSpPr>
            <p:nvPr/>
          </p:nvSpPr>
          <p:spPr bwMode="auto">
            <a:xfrm>
              <a:off x="5163428" y="3849688"/>
              <a:ext cx="1944175" cy="4046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en-US" altLang="ko-KR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H/W, S/W </a:t>
              </a:r>
              <a:r>
                <a:rPr kumimoji="0"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담당자</a:t>
              </a:r>
            </a:p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en-US" altLang="ko-KR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A </a:t>
              </a:r>
              <a:r>
                <a:rPr kumimoji="0"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담당자</a:t>
              </a: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4340932" y="3475453"/>
            <a:ext cx="1212155" cy="828092"/>
            <a:chOff x="7468218" y="3432174"/>
            <a:chExt cx="2119777" cy="1004889"/>
          </a:xfrm>
        </p:grpSpPr>
        <p:sp>
          <p:nvSpPr>
            <p:cNvPr id="55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1004889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endParaRPr>
            </a:p>
          </p:txBody>
        </p:sp>
        <p:sp>
          <p:nvSpPr>
            <p:cNvPr id="56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327024"/>
            </a:xfrm>
            <a:prstGeom prst="rect">
              <a:avLst/>
            </a:prstGeom>
            <a:solidFill>
              <a:srgbClr val="CCE0F0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데이터 이행 </a:t>
              </a:r>
              <a:r>
                <a:rPr kumimoji="0" lang="en-US" altLang="ko-KR" sz="1000" kern="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Part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endParaRPr>
            </a:p>
          </p:txBody>
        </p:sp>
        <p:sp>
          <p:nvSpPr>
            <p:cNvPr id="46" name="Rectangle 599"/>
            <p:cNvSpPr>
              <a:spLocks noChangeArrowheads="1"/>
            </p:cNvSpPr>
            <p:nvPr/>
          </p:nvSpPr>
          <p:spPr bwMode="auto">
            <a:xfrm>
              <a:off x="7556020" y="3849688"/>
              <a:ext cx="1944174" cy="153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데이터 </a:t>
              </a:r>
              <a:r>
                <a:rPr kumimoji="0"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이행 </a:t>
              </a:r>
              <a:r>
                <a:rPr kumimoji="0" lang="ko-KR" altLang="en-US" sz="1000" kern="0" dirty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담당자</a:t>
              </a:r>
            </a:p>
          </p:txBody>
        </p:sp>
      </p:grpSp>
      <p:grpSp>
        <p:nvGrpSpPr>
          <p:cNvPr id="80" name="그룹 79"/>
          <p:cNvGrpSpPr/>
          <p:nvPr/>
        </p:nvGrpSpPr>
        <p:grpSpPr>
          <a:xfrm>
            <a:off x="416751" y="3475453"/>
            <a:ext cx="1216879" cy="828092"/>
            <a:chOff x="290451" y="3432174"/>
            <a:chExt cx="2119777" cy="1004889"/>
          </a:xfrm>
        </p:grpSpPr>
        <p:sp>
          <p:nvSpPr>
            <p:cNvPr id="53" name="Rectangle 591"/>
            <p:cNvSpPr>
              <a:spLocks noChangeArrowheads="1"/>
            </p:cNvSpPr>
            <p:nvPr/>
          </p:nvSpPr>
          <p:spPr bwMode="auto">
            <a:xfrm>
              <a:off x="290451" y="3432174"/>
              <a:ext cx="2119777" cy="1004889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endParaRPr>
            </a:p>
          </p:txBody>
        </p:sp>
        <p:sp>
          <p:nvSpPr>
            <p:cNvPr id="54" name="Rectangle 591"/>
            <p:cNvSpPr>
              <a:spLocks noChangeArrowheads="1"/>
            </p:cNvSpPr>
            <p:nvPr/>
          </p:nvSpPr>
          <p:spPr bwMode="auto">
            <a:xfrm>
              <a:off x="290451" y="3432174"/>
              <a:ext cx="2119777" cy="327024"/>
            </a:xfrm>
            <a:prstGeom prst="rect">
              <a:avLst/>
            </a:prstGeom>
            <a:solidFill>
              <a:srgbClr val="CCE0F0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이행관리 </a:t>
              </a:r>
              <a:r>
                <a:rPr kumimoji="0" lang="en-US" altLang="ko-KR" sz="1000" kern="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Part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endParaRPr>
            </a:p>
          </p:txBody>
        </p:sp>
        <p:sp>
          <p:nvSpPr>
            <p:cNvPr id="48" name="Rectangle 592"/>
            <p:cNvSpPr>
              <a:spLocks noChangeArrowheads="1"/>
            </p:cNvSpPr>
            <p:nvPr/>
          </p:nvSpPr>
          <p:spPr bwMode="auto">
            <a:xfrm>
              <a:off x="378251" y="3849688"/>
              <a:ext cx="1944175" cy="33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이행 총괄 관리자</a:t>
              </a:r>
            </a:p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이행 관리 및 지원</a:t>
              </a:r>
              <a:endParaRPr kumimoji="0" lang="ko-KR" altLang="en-US" sz="10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cxnSp>
        <p:nvCxnSpPr>
          <p:cNvPr id="52" name="꺾인 연결선 91"/>
          <p:cNvCxnSpPr>
            <a:cxnSpLocks noChangeShapeType="1"/>
            <a:stCxn id="56" idx="0"/>
            <a:endCxn id="54" idx="0"/>
          </p:cNvCxnSpPr>
          <p:nvPr/>
        </p:nvCxnSpPr>
        <p:spPr bwMode="auto">
          <a:xfrm rot="16200000" flipV="1">
            <a:off x="2986101" y="1514543"/>
            <a:ext cx="12700" cy="3921819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6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3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이행 방안 </a:t>
            </a:r>
          </a:p>
        </p:txBody>
      </p:sp>
      <p:cxnSp>
        <p:nvCxnSpPr>
          <p:cNvPr id="102" name="꺾인 연결선 91"/>
          <p:cNvCxnSpPr>
            <a:cxnSpLocks noChangeShapeType="1"/>
            <a:stCxn id="133" idx="3"/>
            <a:endCxn id="33" idx="3"/>
          </p:cNvCxnSpPr>
          <p:nvPr/>
        </p:nvCxnSpPr>
        <p:spPr bwMode="auto">
          <a:xfrm rot="16200000" flipV="1">
            <a:off x="5368895" y="445413"/>
            <a:ext cx="12700" cy="4730594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5" name="직선 연결선 124"/>
          <p:cNvCxnSpPr/>
          <p:nvPr/>
        </p:nvCxnSpPr>
        <p:spPr>
          <a:xfrm flipH="1">
            <a:off x="2360712" y="3259789"/>
            <a:ext cx="2767" cy="21566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직선 연결선 127"/>
          <p:cNvCxnSpPr/>
          <p:nvPr/>
        </p:nvCxnSpPr>
        <p:spPr>
          <a:xfrm flipH="1">
            <a:off x="3656856" y="3259789"/>
            <a:ext cx="2767" cy="21566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344488" y="2843354"/>
            <a:ext cx="9174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통합 이행팀</a:t>
            </a:r>
            <a:endParaRPr lang="ko-KR" altLang="en-US" sz="11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33" name="Rectangle 584"/>
          <p:cNvSpPr>
            <a:spLocks noChangeArrowheads="1"/>
          </p:cNvSpPr>
          <p:nvPr/>
        </p:nvSpPr>
        <p:spPr bwMode="auto">
          <a:xfrm>
            <a:off x="5844960" y="2810710"/>
            <a:ext cx="3778464" cy="1620180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E2E7EA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en-US" sz="12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itchFamily="18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5880532" y="2843354"/>
            <a:ext cx="7734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컨설팅</a:t>
            </a:r>
            <a:endParaRPr lang="ko-KR" altLang="en-US" sz="11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cxnSp>
        <p:nvCxnSpPr>
          <p:cNvPr id="144" name="직선 연결선 143"/>
          <p:cNvCxnSpPr/>
          <p:nvPr/>
        </p:nvCxnSpPr>
        <p:spPr>
          <a:xfrm flipH="1">
            <a:off x="5011352" y="2385245"/>
            <a:ext cx="2767" cy="21566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그룹 145"/>
          <p:cNvGrpSpPr/>
          <p:nvPr/>
        </p:nvGrpSpPr>
        <p:grpSpPr>
          <a:xfrm>
            <a:off x="5961112" y="3481803"/>
            <a:ext cx="1094077" cy="828092"/>
            <a:chOff x="7468218" y="3432174"/>
            <a:chExt cx="2119777" cy="1004889"/>
          </a:xfrm>
        </p:grpSpPr>
        <p:sp>
          <p:nvSpPr>
            <p:cNvPr id="147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1004889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endParaRPr>
            </a:p>
          </p:txBody>
        </p:sp>
        <p:sp>
          <p:nvSpPr>
            <p:cNvPr id="148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327024"/>
            </a:xfrm>
            <a:prstGeom prst="rect">
              <a:avLst/>
            </a:prstGeom>
            <a:solidFill>
              <a:srgbClr val="CCE0F0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00" kern="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위험평가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endParaRPr>
            </a:p>
          </p:txBody>
        </p:sp>
        <p:sp>
          <p:nvSpPr>
            <p:cNvPr id="149" name="Rectangle 599"/>
            <p:cNvSpPr>
              <a:spLocks noChangeArrowheads="1"/>
            </p:cNvSpPr>
            <p:nvPr/>
          </p:nvSpPr>
          <p:spPr bwMode="auto">
            <a:xfrm>
              <a:off x="7556020" y="3849688"/>
              <a:ext cx="1944173" cy="4046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평가 모델러</a:t>
              </a:r>
              <a:endParaRPr kumimoji="0" lang="en-US" altLang="ko-KR" sz="10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지표산출 담당자</a:t>
              </a:r>
              <a:endParaRPr kumimoji="0" lang="ko-KR" altLang="en-US" sz="10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150" name="그룹 149"/>
          <p:cNvGrpSpPr/>
          <p:nvPr/>
        </p:nvGrpSpPr>
        <p:grpSpPr>
          <a:xfrm>
            <a:off x="7185248" y="3476969"/>
            <a:ext cx="1094077" cy="828092"/>
            <a:chOff x="7468218" y="3432174"/>
            <a:chExt cx="2119777" cy="1004889"/>
          </a:xfrm>
        </p:grpSpPr>
        <p:sp>
          <p:nvSpPr>
            <p:cNvPr id="151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1004889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endParaRPr>
            </a:p>
          </p:txBody>
        </p:sp>
        <p:sp>
          <p:nvSpPr>
            <p:cNvPr id="152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327024"/>
            </a:xfrm>
            <a:prstGeom prst="rect">
              <a:avLst/>
            </a:prstGeom>
            <a:solidFill>
              <a:srgbClr val="CCE0F0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kern="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AML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endParaRPr>
            </a:p>
          </p:txBody>
        </p:sp>
        <p:sp>
          <p:nvSpPr>
            <p:cNvPr id="153" name="Rectangle 599"/>
            <p:cNvSpPr>
              <a:spLocks noChangeArrowheads="1"/>
            </p:cNvSpPr>
            <p:nvPr/>
          </p:nvSpPr>
          <p:spPr bwMode="auto">
            <a:xfrm>
              <a:off x="7556020" y="3849688"/>
              <a:ext cx="1944173" cy="4046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확인 담당자</a:t>
              </a:r>
              <a:endParaRPr kumimoji="0" lang="en-US" altLang="ko-KR" sz="10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모니터링 담당자</a:t>
              </a:r>
              <a:endParaRPr kumimoji="0" lang="ko-KR" altLang="en-US" sz="10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32" name="Rectangle 580"/>
          <p:cNvSpPr>
            <a:spLocks noChangeArrowheads="1"/>
          </p:cNvSpPr>
          <p:nvPr/>
        </p:nvSpPr>
        <p:spPr bwMode="auto">
          <a:xfrm>
            <a:off x="3957749" y="2076509"/>
            <a:ext cx="2111375" cy="327024"/>
          </a:xfrm>
          <a:prstGeom prst="snip2DiagRect">
            <a:avLst/>
          </a:prstGeom>
          <a:gradFill flip="none" rotWithShape="1">
            <a:gsLst>
              <a:gs pos="19000">
                <a:srgbClr val="5396CD"/>
              </a:gs>
              <a:gs pos="6000">
                <a:srgbClr val="367FBC"/>
              </a:gs>
            </a:gsLst>
            <a:lin ang="16200000" scaled="1"/>
            <a:tileRect/>
          </a:gradFill>
          <a:ln w="12700" cap="flat" cmpd="sng" algn="ctr">
            <a:noFill/>
            <a:prstDash val="solid"/>
          </a:ln>
          <a:effectLst/>
        </p:spPr>
        <p:txBody>
          <a:bodyPr lIns="0" tIns="0" rIns="0" bIns="0" anchor="ctr"/>
          <a:lstStyle/>
          <a:p>
            <a:pPr algn="ctr" defTabSz="882650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rPr>
              <a:t>프로젝트관리자</a:t>
            </a:r>
            <a:r>
              <a:rPr kumimoji="0" lang="en-US" altLang="ko-KR" sz="12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rPr>
              <a:t>(PM)</a:t>
            </a:r>
            <a:endParaRPr kumimoji="0" lang="ko-KR" altLang="en-US" sz="12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itchFamily="18" charset="0"/>
            </a:endParaRPr>
          </a:p>
        </p:txBody>
      </p:sp>
      <p:grpSp>
        <p:nvGrpSpPr>
          <p:cNvPr id="157" name="그룹 156"/>
          <p:cNvGrpSpPr/>
          <p:nvPr/>
        </p:nvGrpSpPr>
        <p:grpSpPr>
          <a:xfrm>
            <a:off x="8409384" y="3475263"/>
            <a:ext cx="1094077" cy="828092"/>
            <a:chOff x="7468218" y="3432174"/>
            <a:chExt cx="2119777" cy="1004889"/>
          </a:xfrm>
        </p:grpSpPr>
        <p:sp>
          <p:nvSpPr>
            <p:cNvPr id="158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1004889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000" kern="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Times New Roman" pitchFamily="18" charset="0"/>
              </a:endParaRPr>
            </a:p>
          </p:txBody>
        </p:sp>
        <p:sp>
          <p:nvSpPr>
            <p:cNvPr id="159" name="Rectangle 598"/>
            <p:cNvSpPr>
              <a:spLocks noChangeArrowheads="1"/>
            </p:cNvSpPr>
            <p:nvPr/>
          </p:nvSpPr>
          <p:spPr bwMode="auto">
            <a:xfrm>
              <a:off x="7468218" y="3432174"/>
              <a:ext cx="2119777" cy="327024"/>
            </a:xfrm>
            <a:prstGeom prst="rect">
              <a:avLst/>
            </a:prstGeom>
            <a:solidFill>
              <a:srgbClr val="CCE0F0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88265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itchFamily="18" charset="0"/>
                </a:rPr>
                <a:t>RBA</a:t>
              </a:r>
              <a:endParaRPr kumimoji="0" lang="ko-KR" altLang="en-US" sz="10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itchFamily="18" charset="0"/>
              </a:endParaRPr>
            </a:p>
          </p:txBody>
        </p:sp>
        <p:sp>
          <p:nvSpPr>
            <p:cNvPr id="160" name="Rectangle 599"/>
            <p:cNvSpPr>
              <a:spLocks noChangeArrowheads="1"/>
            </p:cNvSpPr>
            <p:nvPr/>
          </p:nvSpPr>
          <p:spPr bwMode="auto">
            <a:xfrm>
              <a:off x="7556020" y="3849688"/>
              <a:ext cx="1944173" cy="4046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kumimoji="0" lang="en-US" altLang="ko-KR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RBA </a:t>
              </a:r>
              <a:r>
                <a:rPr kumimoji="0"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분석</a:t>
              </a:r>
              <a:r>
                <a:rPr kumimoji="0" lang="en-US" altLang="ko-KR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kumimoji="0"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설계자</a:t>
              </a:r>
              <a:endParaRPr kumimoji="0" lang="en-US" altLang="ko-KR" sz="1000" kern="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8900" indent="-88900" defTabSz="849313" fontAlgn="auto" latinLnBrk="0">
                <a:spcBef>
                  <a:spcPts val="0"/>
                </a:spcBef>
                <a:spcAft>
                  <a:spcPts val="200"/>
                </a:spcAft>
                <a:buClr>
                  <a:srgbClr val="969696"/>
                </a:buClr>
                <a:buSzPct val="80000"/>
                <a:buFont typeface="Wingdings" pitchFamily="2" charset="2"/>
                <a:buChar char="§"/>
                <a:defRPr/>
              </a:pPr>
              <a:r>
                <a:rPr lang="en-US" altLang="ko-KR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RBA </a:t>
              </a:r>
              <a:r>
                <a:rPr lang="ko-KR" altLang="en-US" sz="1000" kern="0" dirty="0" smtClean="0"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검증 담당자</a:t>
              </a:r>
              <a:endParaRPr kumimoji="0" lang="ko-KR" altLang="en-US" sz="1000" kern="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cxnSp>
        <p:nvCxnSpPr>
          <p:cNvPr id="161" name="꺾인 연결선 91"/>
          <p:cNvCxnSpPr>
            <a:cxnSpLocks noChangeShapeType="1"/>
            <a:stCxn id="159" idx="0"/>
            <a:endCxn id="148" idx="0"/>
          </p:cNvCxnSpPr>
          <p:nvPr/>
        </p:nvCxnSpPr>
        <p:spPr bwMode="auto">
          <a:xfrm rot="16200000" flipH="1" flipV="1">
            <a:off x="7729017" y="2254397"/>
            <a:ext cx="6540" cy="2448272"/>
          </a:xfrm>
          <a:prstGeom prst="bentConnector3">
            <a:avLst>
              <a:gd name="adj1" fmla="val -3495413"/>
            </a:avLst>
          </a:prstGeom>
          <a:noFill/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" name="직선 연결선 163"/>
          <p:cNvCxnSpPr/>
          <p:nvPr/>
        </p:nvCxnSpPr>
        <p:spPr>
          <a:xfrm flipH="1">
            <a:off x="7738346" y="3256996"/>
            <a:ext cx="2767" cy="21566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19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8725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3 TO-BE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수립 </a:t>
            </a:r>
            <a:r>
              <a:rPr lang="en-US" altLang="ko-KR" dirty="0" smtClean="0"/>
              <a:t>(3/3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외환 고객에 대하여 전신송금 등 거래별 고객확인 대상을 정의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에 대한 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프로세스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신송금 등 외환고객에 대한 고객확인 프로세스 및 고려대상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200" y="2070000"/>
            <a:ext cx="2717684" cy="4420800"/>
            <a:chOff x="6951840" y="1844822"/>
            <a:chExt cx="2717684" cy="4420090"/>
          </a:xfrm>
        </p:grpSpPr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26" name="그룹 125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27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외환고객에 대한 고객확인 고려대상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28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cxnSp>
        <p:nvCxnSpPr>
          <p:cNvPr id="133" name="직선 연결선 132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71922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그룹 5"/>
          <p:cNvGrpSpPr/>
          <p:nvPr/>
        </p:nvGrpSpPr>
        <p:grpSpPr>
          <a:xfrm>
            <a:off x="7113487" y="2573308"/>
            <a:ext cx="2506215" cy="895181"/>
            <a:chOff x="7113487" y="2573308"/>
            <a:chExt cx="2506215" cy="895181"/>
          </a:xfrm>
        </p:grpSpPr>
        <p:sp>
          <p:nvSpPr>
            <p:cNvPr id="129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013739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확인 대상</a:t>
              </a:r>
              <a:r>
                <a:rPr lang="en-US" altLang="ko-KR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확인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0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2852936"/>
              <a:ext cx="2259454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각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별로 고객확인대상 고객으로 정의하는 내부의 명시적인 기준을 확립하고 있어야 하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각 고객에 대하여 수집하는 정보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확인을 수행하는 범위에 대하여 명시 </a:t>
              </a:r>
            </a:p>
          </p:txBody>
        </p:sp>
        <p:pic>
          <p:nvPicPr>
            <p:cNvPr id="134" name="그림 133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4" name="그룹 3"/>
          <p:cNvGrpSpPr/>
          <p:nvPr/>
        </p:nvGrpSpPr>
        <p:grpSpPr>
          <a:xfrm>
            <a:off x="7113487" y="3969955"/>
            <a:ext cx="2448025" cy="577877"/>
            <a:chOff x="7113487" y="3717032"/>
            <a:chExt cx="2448025" cy="577877"/>
          </a:xfrm>
        </p:grpSpPr>
        <p:sp>
          <p:nvSpPr>
            <p:cNvPr id="131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3722611"/>
              <a:ext cx="71942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집정보 확인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2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987132"/>
              <a:ext cx="220126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국내은행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해외은행 등 거래 대상에 따른 수집정보의 적정성 확인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35" name="그림 134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13487" y="3717032"/>
              <a:ext cx="318769" cy="318769"/>
            </a:xfrm>
            <a:prstGeom prst="rect">
              <a:avLst/>
            </a:prstGeom>
          </p:spPr>
        </p:pic>
      </p:grpSp>
      <p:cxnSp>
        <p:nvCxnSpPr>
          <p:cNvPr id="81" name="직선 연결선 80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2184" y="4798565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" name="그룹 2"/>
          <p:cNvGrpSpPr/>
          <p:nvPr/>
        </p:nvGrpSpPr>
        <p:grpSpPr>
          <a:xfrm>
            <a:off x="7111110" y="5049299"/>
            <a:ext cx="2446808" cy="577758"/>
            <a:chOff x="7111110" y="5162369"/>
            <a:chExt cx="2446808" cy="577758"/>
          </a:xfrm>
        </p:grpSpPr>
        <p:sp>
          <p:nvSpPr>
            <p:cNvPr id="82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56654" y="5167829"/>
              <a:ext cx="135710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요주의리스트 필터링 수행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8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56654" y="5432350"/>
              <a:ext cx="220126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wift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를 이용한 해외은행 전신 송금 시 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wift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전문에 대한 요주의리스트 필터링 수행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88" name="그림 87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11110" y="5162369"/>
              <a:ext cx="320400" cy="320400"/>
            </a:xfrm>
            <a:prstGeom prst="rect">
              <a:avLst/>
            </a:prstGeom>
          </p:spPr>
        </p:pic>
      </p:grpSp>
      <p:sp>
        <p:nvSpPr>
          <p:cNvPr id="91" name="순서도: 판단 170"/>
          <p:cNvSpPr>
            <a:spLocks noChangeArrowheads="1"/>
          </p:cNvSpPr>
          <p:nvPr/>
        </p:nvSpPr>
        <p:spPr bwMode="gray">
          <a:xfrm>
            <a:off x="694652" y="5057364"/>
            <a:ext cx="1008000" cy="343909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실명확인</a:t>
            </a:r>
            <a:r>
              <a:rPr lang="en-US" altLang="ko-KR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대상 거래</a:t>
            </a:r>
            <a:r>
              <a:rPr lang="en-US" altLang="ko-KR" sz="10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?</a:t>
            </a:r>
            <a:endParaRPr lang="ko-KR" altLang="en-US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92" name="Rectangle 23"/>
          <p:cNvSpPr>
            <a:spLocks noChangeArrowheads="1"/>
          </p:cNvSpPr>
          <p:nvPr/>
        </p:nvSpPr>
        <p:spPr bwMode="gray">
          <a:xfrm>
            <a:off x="2111496" y="5084266"/>
            <a:ext cx="1008000" cy="29010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신원</a:t>
            </a: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</a:t>
            </a: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확인 및 검증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90" name="Rectangle 21"/>
          <p:cNvSpPr>
            <a:spLocks noChangeArrowheads="1"/>
          </p:cNvSpPr>
          <p:nvPr/>
        </p:nvSpPr>
        <p:spPr bwMode="auto">
          <a:xfrm>
            <a:off x="694652" y="3764427"/>
            <a:ext cx="1008000" cy="31264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전신송금 요청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5537590" y="4293096"/>
            <a:ext cx="963582" cy="755294"/>
            <a:chOff x="5498774" y="4129339"/>
            <a:chExt cx="963582" cy="755294"/>
          </a:xfrm>
        </p:grpSpPr>
        <p:pic>
          <p:nvPicPr>
            <p:cNvPr id="99" name="Picture 25" descr="icon_사람과돈자루_짙은"/>
            <p:cNvPicPr>
              <a:picLocks noChangeArrowheads="1"/>
            </p:cNvPicPr>
            <p:nvPr/>
          </p:nvPicPr>
          <p:blipFill>
            <a:blip r:embed="rId5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3795" y="4129339"/>
              <a:ext cx="633650" cy="457829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1" name="TextBox 100"/>
            <p:cNvSpPr txBox="1"/>
            <p:nvPr/>
          </p:nvSpPr>
          <p:spPr>
            <a:xfrm>
              <a:off x="5498774" y="4638412"/>
              <a:ext cx="96358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수취인</a:t>
              </a:r>
              <a:endParaRPr lang="ko-KR" altLang="en-US" sz="10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sp>
        <p:nvSpPr>
          <p:cNvPr id="105" name="Rectangle 23"/>
          <p:cNvSpPr>
            <a:spLocks noChangeArrowheads="1"/>
          </p:cNvSpPr>
          <p:nvPr/>
        </p:nvSpPr>
        <p:spPr bwMode="gray">
          <a:xfrm>
            <a:off x="694652" y="4369546"/>
            <a:ext cx="1008000" cy="3126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송금인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/</a:t>
            </a: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수취인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정보 수집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06" name="AutoShape 71"/>
          <p:cNvCxnSpPr>
            <a:cxnSpLocks noChangeShapeType="1"/>
            <a:stCxn id="113" idx="2"/>
            <a:endCxn id="90" idx="0"/>
          </p:cNvCxnSpPr>
          <p:nvPr/>
        </p:nvCxnSpPr>
        <p:spPr bwMode="auto">
          <a:xfrm>
            <a:off x="1198652" y="3518579"/>
            <a:ext cx="0" cy="245848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11" name="그룹 110"/>
          <p:cNvGrpSpPr/>
          <p:nvPr/>
        </p:nvGrpSpPr>
        <p:grpSpPr>
          <a:xfrm>
            <a:off x="716861" y="2761664"/>
            <a:ext cx="963582" cy="756915"/>
            <a:chOff x="616205" y="5066959"/>
            <a:chExt cx="963582" cy="756915"/>
          </a:xfrm>
        </p:grpSpPr>
        <p:pic>
          <p:nvPicPr>
            <p:cNvPr id="112" name="Picture 25" descr="icon_사람과돈자루_짙은"/>
            <p:cNvPicPr>
              <a:picLocks noChangeArrowheads="1"/>
            </p:cNvPicPr>
            <p:nvPr/>
          </p:nvPicPr>
          <p:blipFill>
            <a:blip r:embed="rId5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060" y="5066959"/>
              <a:ext cx="633650" cy="457829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3" name="TextBox 112"/>
            <p:cNvSpPr txBox="1"/>
            <p:nvPr/>
          </p:nvSpPr>
          <p:spPr>
            <a:xfrm>
              <a:off x="616205" y="5577653"/>
              <a:ext cx="96358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송금인</a:t>
              </a:r>
              <a:endParaRPr lang="ko-KR" altLang="en-US" sz="1000" dirty="0"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cxnSp>
        <p:nvCxnSpPr>
          <p:cNvPr id="114" name="AutoShape 71"/>
          <p:cNvCxnSpPr>
            <a:cxnSpLocks noChangeShapeType="1"/>
            <a:stCxn id="90" idx="2"/>
            <a:endCxn id="105" idx="0"/>
          </p:cNvCxnSpPr>
          <p:nvPr/>
        </p:nvCxnSpPr>
        <p:spPr bwMode="auto">
          <a:xfrm>
            <a:off x="1198652" y="4077072"/>
            <a:ext cx="0" cy="292474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AutoShape 71"/>
          <p:cNvCxnSpPr>
            <a:cxnSpLocks noChangeShapeType="1"/>
            <a:stCxn id="105" idx="2"/>
            <a:endCxn id="91" idx="0"/>
          </p:cNvCxnSpPr>
          <p:nvPr/>
        </p:nvCxnSpPr>
        <p:spPr bwMode="auto">
          <a:xfrm>
            <a:off x="1198652" y="4682191"/>
            <a:ext cx="0" cy="375173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0" name="AutoShape 71"/>
          <p:cNvCxnSpPr>
            <a:cxnSpLocks noChangeShapeType="1"/>
            <a:stCxn id="91" idx="3"/>
            <a:endCxn id="92" idx="1"/>
          </p:cNvCxnSpPr>
          <p:nvPr/>
        </p:nvCxnSpPr>
        <p:spPr bwMode="auto">
          <a:xfrm>
            <a:off x="1702652" y="5229319"/>
            <a:ext cx="408844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1803465B-ABB3-4CF8-A674-DBCC3AC3491D}"/>
              </a:ext>
            </a:extLst>
          </p:cNvPr>
          <p:cNvSpPr/>
          <p:nvPr/>
        </p:nvSpPr>
        <p:spPr>
          <a:xfrm>
            <a:off x="3952806" y="3825224"/>
            <a:ext cx="1285584" cy="1620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 defTabSz="893763" latinLnBrk="0"/>
            <a:endParaRPr kumimoji="1" lang="ko-KR" altLang="en-US" sz="1100" dirty="0">
              <a:latin typeface="KoPub돋움체 Medium" panose="02020603020101020101" pitchFamily="18" charset="-127"/>
              <a:ea typeface="KoPub돋움체 Mediu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40" name="양쪽 모서리가 둥근 사각형 519">
            <a:extLst>
              <a:ext uri="{FF2B5EF4-FFF2-40B4-BE49-F238E27FC236}">
                <a16:creationId xmlns:a16="http://schemas.microsoft.com/office/drawing/2014/main" id="{105AECF3-9469-4C04-A2E1-7BA0AF1FB826}"/>
              </a:ext>
            </a:extLst>
          </p:cNvPr>
          <p:cNvSpPr/>
          <p:nvPr/>
        </p:nvSpPr>
        <p:spPr>
          <a:xfrm>
            <a:off x="3952806" y="3573226"/>
            <a:ext cx="1285584" cy="252000"/>
          </a:xfrm>
          <a:prstGeom prst="round2SameRect">
            <a:avLst>
              <a:gd name="adj1" fmla="val 28006"/>
              <a:gd name="adj2" fmla="val 0"/>
            </a:avLst>
          </a:prstGeom>
          <a:solidFill>
            <a:srgbClr val="0072C0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>
              <a:defRPr/>
            </a:pPr>
            <a:r>
              <a:rPr lang="ko-KR" altLang="en-US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취 은행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1" name="모서리가 둥근 직사각형 140"/>
          <p:cNvSpPr/>
          <p:nvPr/>
        </p:nvSpPr>
        <p:spPr>
          <a:xfrm>
            <a:off x="4216323" y="4020363"/>
            <a:ext cx="758550" cy="428547"/>
          </a:xfrm>
          <a:prstGeom prst="roundRect">
            <a:avLst/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/>
            <a:r>
              <a:rPr lang="ko-KR" altLang="en-US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국내 은행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2" name="모서리가 둥근 직사각형 141"/>
          <p:cNvSpPr/>
          <p:nvPr/>
        </p:nvSpPr>
        <p:spPr>
          <a:xfrm>
            <a:off x="4216323" y="4668435"/>
            <a:ext cx="758550" cy="428547"/>
          </a:xfrm>
          <a:prstGeom prst="roundRect">
            <a:avLst/>
          </a:prstGeom>
          <a:solidFill>
            <a:srgbClr val="535F69"/>
          </a:solidFill>
          <a:ln>
            <a:solidFill>
              <a:srgbClr val="535F69"/>
            </a:solidFill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/>
            <a:r>
              <a:rPr lang="ko-KR" altLang="en-US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해외 은행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3" name="Rectangle 23"/>
          <p:cNvSpPr>
            <a:spLocks noChangeArrowheads="1"/>
          </p:cNvSpPr>
          <p:nvPr/>
        </p:nvSpPr>
        <p:spPr bwMode="gray">
          <a:xfrm>
            <a:off x="2111496" y="4392086"/>
            <a:ext cx="1008000" cy="29010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송금정보 전송</a:t>
            </a:r>
            <a:endParaRPr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54" name="AutoShape 71"/>
          <p:cNvCxnSpPr>
            <a:cxnSpLocks noChangeShapeType="1"/>
            <a:stCxn id="92" idx="0"/>
            <a:endCxn id="143" idx="2"/>
          </p:cNvCxnSpPr>
          <p:nvPr/>
        </p:nvCxnSpPr>
        <p:spPr bwMode="auto">
          <a:xfrm flipV="1">
            <a:off x="2615496" y="4682191"/>
            <a:ext cx="0" cy="40207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7" name="AutoShape 105"/>
          <p:cNvCxnSpPr>
            <a:cxnSpLocks noChangeShapeType="1"/>
            <a:stCxn id="91" idx="3"/>
            <a:endCxn id="143" idx="1"/>
          </p:cNvCxnSpPr>
          <p:nvPr/>
        </p:nvCxnSpPr>
        <p:spPr bwMode="auto">
          <a:xfrm flipV="1">
            <a:off x="1702652" y="4537139"/>
            <a:ext cx="408844" cy="692180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0" name="AutoShape 71"/>
          <p:cNvCxnSpPr>
            <a:cxnSpLocks noChangeShapeType="1"/>
            <a:stCxn id="143" idx="3"/>
            <a:endCxn id="141" idx="1"/>
          </p:cNvCxnSpPr>
          <p:nvPr/>
        </p:nvCxnSpPr>
        <p:spPr bwMode="auto">
          <a:xfrm flipV="1">
            <a:off x="3119496" y="4234637"/>
            <a:ext cx="1096827" cy="302502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" name="AutoShape 71"/>
          <p:cNvCxnSpPr>
            <a:cxnSpLocks noChangeShapeType="1"/>
            <a:stCxn id="143" idx="3"/>
            <a:endCxn id="142" idx="1"/>
          </p:cNvCxnSpPr>
          <p:nvPr/>
        </p:nvCxnSpPr>
        <p:spPr bwMode="auto">
          <a:xfrm>
            <a:off x="3119496" y="4537139"/>
            <a:ext cx="1096827" cy="34557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6" name="AutoShape 71"/>
          <p:cNvCxnSpPr>
            <a:cxnSpLocks noChangeShapeType="1"/>
            <a:stCxn id="142" idx="3"/>
            <a:endCxn id="99" idx="1"/>
          </p:cNvCxnSpPr>
          <p:nvPr/>
        </p:nvCxnSpPr>
        <p:spPr bwMode="auto">
          <a:xfrm flipV="1">
            <a:off x="4974873" y="4522011"/>
            <a:ext cx="767738" cy="360698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9" name="AutoShape 71"/>
          <p:cNvCxnSpPr>
            <a:cxnSpLocks noChangeShapeType="1"/>
            <a:stCxn id="141" idx="3"/>
            <a:endCxn id="99" idx="1"/>
          </p:cNvCxnSpPr>
          <p:nvPr/>
        </p:nvCxnSpPr>
        <p:spPr bwMode="auto">
          <a:xfrm>
            <a:off x="4974873" y="4234637"/>
            <a:ext cx="767738" cy="287374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2" name="Text Box 36"/>
          <p:cNvSpPr txBox="1">
            <a:spLocks noChangeArrowheads="1"/>
          </p:cNvSpPr>
          <p:nvPr/>
        </p:nvSpPr>
        <p:spPr bwMode="gray">
          <a:xfrm>
            <a:off x="3404940" y="4766289"/>
            <a:ext cx="475463" cy="206975"/>
          </a:xfrm>
          <a:prstGeom prst="rect">
            <a:avLst/>
          </a:prstGeom>
          <a:gradFill>
            <a:gsLst>
              <a:gs pos="0">
                <a:srgbClr val="00B0F0"/>
              </a:gs>
              <a:gs pos="93000">
                <a:schemeClr val="bg1"/>
              </a:gs>
              <a:gs pos="57000">
                <a:srgbClr val="89E0FF"/>
              </a:gs>
            </a:gsLst>
          </a:gradFill>
          <a:ln>
            <a:solidFill>
              <a:srgbClr val="89E0FF"/>
            </a:solidFill>
            <a:headEnd/>
            <a:tailEnd/>
          </a:ln>
          <a:effectLst/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82080" tIns="40320" rIns="82080" bIns="40320">
            <a:spAutoFit/>
          </a:bodyPr>
          <a:lstStyle>
            <a:lvl1pPr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1pPr>
            <a:lvl2pPr marL="742950" indent="-28575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2pPr>
            <a:lvl3pPr marL="11430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3pPr>
            <a:lvl4pPr marL="16002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4pPr>
            <a:lvl5pPr marL="20574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ko-KR" sz="816" b="1" spc="-92" dirty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WL </a:t>
            </a:r>
            <a:r>
              <a:rPr lang="ko-KR" altLang="en-US" sz="816" b="1" spc="-92" dirty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</a:t>
            </a:r>
          </a:p>
        </p:txBody>
      </p:sp>
      <p:sp>
        <p:nvSpPr>
          <p:cNvPr id="174" name="Text Box 36"/>
          <p:cNvSpPr txBox="1">
            <a:spLocks noChangeArrowheads="1"/>
          </p:cNvSpPr>
          <p:nvPr/>
        </p:nvSpPr>
        <p:spPr bwMode="gray">
          <a:xfrm>
            <a:off x="3302412" y="4119821"/>
            <a:ext cx="680519" cy="206975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82080" tIns="40320" rIns="82080" bIns="40320">
            <a:spAutoFit/>
          </a:bodyPr>
          <a:lstStyle>
            <a:lvl1pPr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1pPr>
            <a:lvl2pPr marL="742950" indent="-28575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2pPr>
            <a:lvl3pPr marL="11430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3pPr>
            <a:lvl4pPr marL="16002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4pPr>
            <a:lvl5pPr marL="20574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ko-KR" altLang="en-US" sz="816" spc="-92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필수 정보 확인</a:t>
            </a:r>
            <a:endParaRPr lang="ko-KR" altLang="en-US" sz="816" spc="-92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5" name="Text Box 36"/>
          <p:cNvSpPr txBox="1">
            <a:spLocks noChangeArrowheads="1"/>
          </p:cNvSpPr>
          <p:nvPr/>
        </p:nvSpPr>
        <p:spPr bwMode="gray">
          <a:xfrm>
            <a:off x="3302412" y="4995439"/>
            <a:ext cx="680519" cy="206975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82080" tIns="40320" rIns="82080" bIns="40320">
            <a:spAutoFit/>
          </a:bodyPr>
          <a:lstStyle>
            <a:lvl1pPr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1pPr>
            <a:lvl2pPr marL="742950" indent="-28575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2pPr>
            <a:lvl3pPr marL="11430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3pPr>
            <a:lvl4pPr marL="16002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4pPr>
            <a:lvl5pPr marL="2057400" indent="-228600"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tabLst>
                <a:tab pos="1746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ko-KR" altLang="en-US" sz="816" spc="-92" dirty="0" smtClean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필수 정보 확인</a:t>
            </a:r>
            <a:endParaRPr lang="ko-KR" altLang="en-US" sz="816" spc="-92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75" name="Rt2">
            <a:extLst>
              <a:ext uri="{FF2B5EF4-FFF2-40B4-BE49-F238E27FC236}">
                <a16:creationId xmlns:a16="http://schemas.microsoft.com/office/drawing/2014/main" id="{C79D16C7-D0F7-4F3D-811C-236EBFF1165B}"/>
              </a:ext>
            </a:extLst>
          </p:cNvPr>
          <p:cNvGrpSpPr/>
          <p:nvPr/>
        </p:nvGrpSpPr>
        <p:grpSpPr>
          <a:xfrm>
            <a:off x="344488" y="2267000"/>
            <a:ext cx="2504080" cy="153888"/>
            <a:chOff x="307914" y="1927833"/>
            <a:chExt cx="2504080" cy="153888"/>
          </a:xfrm>
        </p:grpSpPr>
        <p:sp>
          <p:nvSpPr>
            <p:cNvPr id="76" name="Text Box 63">
              <a:extLst>
                <a:ext uri="{FF2B5EF4-FFF2-40B4-BE49-F238E27FC236}">
                  <a16:creationId xmlns:a16="http://schemas.microsoft.com/office/drawing/2014/main" id="{81527D9D-D784-40D9-8789-FBC6639BD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508" y="1927833"/>
              <a:ext cx="228748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ko-KR" sz="1000" b="1" dirty="0">
                  <a:solidFill>
                    <a:srgbClr val="4D4D4D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[</a:t>
              </a:r>
              <a:r>
                <a:rPr lang="ko-KR" altLang="en-US" sz="1000" b="1" dirty="0">
                  <a:solidFill>
                    <a:srgbClr val="4D4D4D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전신송금 시 고객확인의무  프로세스</a:t>
              </a:r>
              <a:r>
                <a:rPr lang="en-US" altLang="ko-KR" sz="1000" b="1" dirty="0">
                  <a:solidFill>
                    <a:srgbClr val="4D4D4D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(</a:t>
              </a:r>
              <a:r>
                <a:rPr lang="ko-KR" altLang="en-US" sz="1000" b="1" dirty="0">
                  <a:solidFill>
                    <a:srgbClr val="4D4D4D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예시</a:t>
              </a:r>
              <a:r>
                <a:rPr lang="en-US" altLang="ko-KR" sz="1000" b="1" dirty="0">
                  <a:solidFill>
                    <a:srgbClr val="4D4D4D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)]</a:t>
              </a:r>
            </a:p>
          </p:txBody>
        </p:sp>
        <p:grpSp>
          <p:nvGrpSpPr>
            <p:cNvPr id="77" name="Group 172">
              <a:extLst>
                <a:ext uri="{FF2B5EF4-FFF2-40B4-BE49-F238E27FC236}">
                  <a16:creationId xmlns:a16="http://schemas.microsoft.com/office/drawing/2014/main" id="{509A09E3-DC14-4B6A-BE1A-710DFEEDE18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7914" y="1932546"/>
              <a:ext cx="144463" cy="144463"/>
              <a:chOff x="476" y="1697"/>
              <a:chExt cx="91" cy="91"/>
            </a:xfrm>
          </p:grpSpPr>
          <p:grpSp>
            <p:nvGrpSpPr>
              <p:cNvPr id="78" name="Group 171">
                <a:extLst>
                  <a:ext uri="{FF2B5EF4-FFF2-40B4-BE49-F238E27FC236}">
                    <a16:creationId xmlns:a16="http://schemas.microsoft.com/office/drawing/2014/main" id="{3CC7008B-320B-4516-83A9-0D61F99F7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6" y="1697"/>
                <a:ext cx="91" cy="91"/>
                <a:chOff x="476" y="1697"/>
                <a:chExt cx="91" cy="91"/>
              </a:xfrm>
            </p:grpSpPr>
            <p:sp>
              <p:nvSpPr>
                <p:cNvPr id="80" name="Oval 64">
                  <a:extLst>
                    <a:ext uri="{FF2B5EF4-FFF2-40B4-BE49-F238E27FC236}">
                      <a16:creationId xmlns:a16="http://schemas.microsoft.com/office/drawing/2014/main" id="{ABC7F0AA-21AC-4217-AED1-55A73FFF5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6" y="1697"/>
                  <a:ext cx="91" cy="91"/>
                </a:xfrm>
                <a:prstGeom prst="ellipse">
                  <a:avLst/>
                </a:prstGeom>
                <a:solidFill>
                  <a:srgbClr val="BD003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  <p:sp>
              <p:nvSpPr>
                <p:cNvPr id="85" name="Arc 170">
                  <a:extLst>
                    <a:ext uri="{FF2B5EF4-FFF2-40B4-BE49-F238E27FC236}">
                      <a16:creationId xmlns:a16="http://schemas.microsoft.com/office/drawing/2014/main" id="{A6930676-5702-426A-BAFB-78B9A7E57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" y="1697"/>
                  <a:ext cx="91" cy="4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0 w 43200"/>
                    <a:gd name="T1" fmla="*/ 21601 h 21601"/>
                    <a:gd name="T2" fmla="*/ 43200 w 43200"/>
                    <a:gd name="T3" fmla="*/ 21600 h 21601"/>
                    <a:gd name="T4" fmla="*/ 21600 w 43200"/>
                    <a:gd name="T5" fmla="*/ 21600 h 21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200" h="21601" fill="none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</a:path>
                    <a:path w="43200" h="21601" stroke="0" extrusionOk="0">
                      <a:moveTo>
                        <a:pt x="0" y="21600"/>
                      </a:move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3529" y="0"/>
                        <a:pt x="43200" y="9670"/>
                        <a:pt x="43200" y="21599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chemeClr val="bg1">
                    <a:alpha val="1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dirty="0"/>
                </a:p>
              </p:txBody>
            </p:sp>
          </p:grpSp>
          <p:sp>
            <p:nvSpPr>
              <p:cNvPr id="79" name="AutoShape 155">
                <a:extLst>
                  <a:ext uri="{FF2B5EF4-FFF2-40B4-BE49-F238E27FC236}">
                    <a16:creationId xmlns:a16="http://schemas.microsoft.com/office/drawing/2014/main" id="{F43F8682-B92A-48D6-BD75-DB686C9F1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05" y="1723"/>
                <a:ext cx="46" cy="40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/>
              </a:p>
            </p:txBody>
          </p:sp>
        </p:grpSp>
      </p:grpSp>
      <p:sp>
        <p:nvSpPr>
          <p:cNvPr id="6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7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1456239" y="310694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648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3.4 </a:t>
            </a:r>
            <a:r>
              <a:rPr lang="ko-KR" altLang="en-US" dirty="0"/>
              <a:t>미이행 시 대응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50999"/>
            <a:ext cx="9433048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계획되었던 일정대로 이행 작업을 진행하지 못했을 경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재 오픈 일정과 새로운 세부 이행계획 수립 등의 조치계획을 고객사와 협의 후 진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en-US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재 오픈 일정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,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새로운 세부 이행계획 및 조치 계획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14" name="Group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896046"/>
              </p:ext>
            </p:extLst>
          </p:nvPr>
        </p:nvGraphicFramePr>
        <p:xfrm>
          <a:off x="290451" y="2132856"/>
          <a:ext cx="9307065" cy="4307657"/>
        </p:xfrm>
        <a:graphic>
          <a:graphicData uri="http://schemas.openxmlformats.org/drawingml/2006/table">
            <a:tbl>
              <a:tblPr/>
              <a:tblGrid>
                <a:gridCol w="2314016">
                  <a:extLst>
                    <a:ext uri="{9D8B030D-6E8A-4147-A177-3AD203B41FA5}">
                      <a16:colId xmlns:a16="http://schemas.microsoft.com/office/drawing/2014/main" val="327440089"/>
                    </a:ext>
                  </a:extLst>
                </a:gridCol>
                <a:gridCol w="6993049">
                  <a:extLst>
                    <a:ext uri="{9D8B030D-6E8A-4147-A177-3AD203B41FA5}">
                      <a16:colId xmlns:a16="http://schemas.microsoft.com/office/drawing/2014/main" val="1723754222"/>
                    </a:ext>
                  </a:extLst>
                </a:gridCol>
              </a:tblGrid>
              <a:tr h="34129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단 계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조치계획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114739"/>
                  </a:ext>
                </a:extLst>
              </a:tr>
              <a:tr h="86590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미이행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주요 원인 파악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미이행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오픈연기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원인 제공 및 의사 결정의 주요 원인 파악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최고 의사결정 기구인 의사결정협의회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Steering Committee)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에 즉시 보고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오픈 연기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상황을 임직원 및 대외기관 등에 공식 통보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유관 기관에 비상상황을 알리고 협조 요청 및 이후 시행 계획 통보</a:t>
                      </a:r>
                    </a:p>
                  </a:txBody>
                  <a:tcPr marL="144000" marR="72000" marT="36000" marB="36000" anchor="ctr" horzOverflow="overflow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979932"/>
                  </a:ext>
                </a:extLst>
              </a:tr>
              <a:tr h="81357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의사결정협의회 보고 및 공식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결정에 따른 향후 일정 협의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미이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원인에 따른 대응 방안 마련 후 의사결정협의회 공식 결정 대기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의사결정협의회에서 결정된 안으로 향후 일정계획 수립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재 오픈을 위한 준비</a:t>
                      </a:r>
                    </a:p>
                  </a:txBody>
                  <a:tcPr marL="144000" marR="72000" marT="36000" marB="36000" anchor="ctr" horzOverflow="overflow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8729557"/>
                  </a:ext>
                </a:extLst>
              </a:tr>
              <a:tr h="81357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행 진입 실패 파악 및 이행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계획 재 수립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재 오픈에 따른 새로운 이행 계획 수립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미이행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원인을 되풀이 하지 않기 위한 일일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시간 단위 계획 수립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재 오픈일 결정 뒤 밀착 관리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책임과 역할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담당자별 체크사항 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 </a:t>
                      </a:r>
                    </a:p>
                  </a:txBody>
                  <a:tcPr marL="144000" marR="72000" marT="36000" marB="36000" anchor="ctr" horzOverflow="overflow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8171002"/>
                  </a:ext>
                </a:extLst>
              </a:tr>
              <a:tr h="810402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신 이행계획에 따른 이행</a:t>
                      </a:r>
                      <a:b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리허설 반복 실시 및 보완점</a:t>
                      </a:r>
                      <a:b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점검 조치  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신 이행계획에 따른 단위별 업무별 세부 이행계획 재점검 및 미비점 보완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반복적인 이행 리허설 수행으로 재점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미비점 보완 및 오픈 당일의 시간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분 단위 실행 계획 점검</a:t>
                      </a:r>
                    </a:p>
                  </a:txBody>
                  <a:tcPr marL="144000" marR="72000" marT="36000" marB="36000" anchor="ctr" horzOverflow="overflow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2345112"/>
                  </a:ext>
                </a:extLst>
              </a:tr>
              <a:tr h="662911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유관 대외기관에 오픈 연기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공식 통보 및 향후 일정에</a:t>
                      </a:r>
                      <a:b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한 협조 요청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재 오픈 의사결정에 따른 내용을 유관 대외기관 등에 공식  통보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재 오픈 일정 공문 통보 및 협조 요청 메일 발송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대외 연계 시스템 추가 점검</a:t>
                      </a:r>
                    </a:p>
                  </a:txBody>
                  <a:tcPr marL="144000" marR="72000" marT="36000" marB="36000" anchor="ctr" horzOverflow="overflow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8542972"/>
                  </a:ext>
                </a:extLst>
              </a:tr>
            </a:tbl>
          </a:graphicData>
        </a:graphic>
      </p:graphicFrame>
      <p:sp>
        <p:nvSpPr>
          <p:cNvPr id="1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1050535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 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이행</a:t>
            </a:r>
            <a:r>
              <a:rPr lang="en-US" altLang="ko-KR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/</a:t>
            </a: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안정화 방안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4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061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.3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이행 방안 </a:t>
            </a:r>
          </a:p>
        </p:txBody>
      </p:sp>
      <p:pic>
        <p:nvPicPr>
          <p:cNvPr id="19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55463" y="220710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Ⅲ</a:t>
            </a:r>
            <a:r>
              <a:rPr lang="en-US" altLang="ko-KR" dirty="0" smtClean="0"/>
              <a:t> - </a:t>
            </a:r>
            <a:fld id="{3DC40A3E-F5CA-407E-AADD-A11338E18F4C}" type="slidenum">
              <a:rPr smtClean="0"/>
              <a:pPr/>
              <a:t>22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9072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4 </a:t>
            </a:r>
            <a:r>
              <a:rPr lang="ko-KR" altLang="en-US" dirty="0"/>
              <a:t>기타 고위험군에 관한 </a:t>
            </a:r>
            <a:r>
              <a:rPr lang="en-US" altLang="ko-KR" dirty="0" smtClean="0"/>
              <a:t>TO-BE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</a:t>
            </a:r>
            <a:r>
              <a:rPr lang="ko-KR" altLang="en-US" dirty="0" smtClean="0"/>
              <a:t>수립 </a:t>
            </a:r>
            <a:r>
              <a:rPr lang="en-US" altLang="ko-KR" dirty="0" smtClean="0"/>
              <a:t>(1/2)</a:t>
            </a:r>
            <a:endParaRPr lang="ko-KR" altLang="en-US" dirty="0"/>
          </a:p>
        </p:txBody>
      </p:sp>
      <p:sp>
        <p:nvSpPr>
          <p:cNvPr id="94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자산가 등 자금세탁 고위험군 관리 프로세스를 수립하여 고객 관리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을 마련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5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위험군 관리 프로세스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–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액자산가 관리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97" name="그룹 96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98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9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0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01" name="직사각형 100"/>
          <p:cNvSpPr/>
          <p:nvPr/>
        </p:nvSpPr>
        <p:spPr bwMode="ltGray">
          <a:xfrm>
            <a:off x="367348" y="3133510"/>
            <a:ext cx="9186633" cy="32935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957867" latinLnBrk="0"/>
            <a:r>
              <a:rPr lang="en-US" altLang="ko-KR" sz="1100" kern="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TO-BE </a:t>
            </a:r>
            <a:r>
              <a:rPr lang="ko-KR" altLang="en-US" sz="1100" kern="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고액자산가 </a:t>
            </a:r>
            <a:r>
              <a:rPr lang="ko-KR" altLang="en-US" sz="1100" kern="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고객확인 </a:t>
            </a:r>
            <a:r>
              <a:rPr lang="ko-KR" altLang="en-US" sz="1100" kern="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절차</a:t>
            </a:r>
            <a:endParaRPr lang="ko-KR" altLang="en-US" sz="1100" kern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2" name="AutoShape 91"/>
          <p:cNvSpPr>
            <a:spLocks noChangeArrowheads="1"/>
          </p:cNvSpPr>
          <p:nvPr/>
        </p:nvSpPr>
        <p:spPr bwMode="auto">
          <a:xfrm>
            <a:off x="2398213" y="4037054"/>
            <a:ext cx="1337504" cy="501828"/>
          </a:xfrm>
          <a:prstGeom prst="roundRect">
            <a:avLst>
              <a:gd name="adj" fmla="val 394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액자산가</a:t>
            </a:r>
            <a:r>
              <a:rPr lang="en-US" altLang="ko-KR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</a:t>
            </a: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기준에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따른 고객</a:t>
            </a:r>
            <a:r>
              <a:rPr lang="en-US" altLang="ko-KR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DB</a:t>
            </a: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생성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03" name="AutoShape 91"/>
          <p:cNvSpPr>
            <a:spLocks noChangeArrowheads="1"/>
          </p:cNvSpPr>
          <p:nvPr/>
        </p:nvSpPr>
        <p:spPr bwMode="auto">
          <a:xfrm>
            <a:off x="1551520" y="5036304"/>
            <a:ext cx="1337504" cy="501828"/>
          </a:xfrm>
          <a:prstGeom prst="roundRect">
            <a:avLst>
              <a:gd name="adj" fmla="val 394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신규 편입 고객이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신규 계좌 개설 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04" name="AutoShape 91"/>
          <p:cNvSpPr>
            <a:spLocks noChangeArrowheads="1"/>
          </p:cNvSpPr>
          <p:nvPr/>
        </p:nvSpPr>
        <p:spPr bwMode="auto">
          <a:xfrm>
            <a:off x="665033" y="4037054"/>
            <a:ext cx="1337504" cy="501828"/>
          </a:xfrm>
          <a:prstGeom prst="roundRect">
            <a:avLst>
              <a:gd name="adj" fmla="val 394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기존 개인</a:t>
            </a:r>
            <a:r>
              <a:rPr lang="en-US" altLang="ko-KR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</a:t>
            </a: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고객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05" name="직선 화살표 연결선 104"/>
          <p:cNvCxnSpPr>
            <a:stCxn id="104" idx="3"/>
            <a:endCxn id="102" idx="1"/>
          </p:cNvCxnSpPr>
          <p:nvPr/>
        </p:nvCxnSpPr>
        <p:spPr>
          <a:xfrm>
            <a:off x="2002537" y="4287969"/>
            <a:ext cx="395676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" name="직선 화살표 연결선 105"/>
          <p:cNvCxnSpPr>
            <a:stCxn id="102" idx="3"/>
          </p:cNvCxnSpPr>
          <p:nvPr/>
        </p:nvCxnSpPr>
        <p:spPr>
          <a:xfrm flipV="1">
            <a:off x="3735717" y="4287968"/>
            <a:ext cx="395676" cy="1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" name="직선 화살표 연결선 106"/>
          <p:cNvCxnSpPr/>
          <p:nvPr/>
        </p:nvCxnSpPr>
        <p:spPr>
          <a:xfrm flipV="1">
            <a:off x="2885850" y="5279350"/>
            <a:ext cx="384519" cy="6528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AutoShape 132"/>
          <p:cNvCxnSpPr>
            <a:cxnSpLocks noChangeShapeType="1"/>
            <a:endCxn id="111" idx="0"/>
          </p:cNvCxnSpPr>
          <p:nvPr/>
        </p:nvCxnSpPr>
        <p:spPr bwMode="auto">
          <a:xfrm rot="5400000">
            <a:off x="4100061" y="4429595"/>
            <a:ext cx="445281" cy="752398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969696"/>
            </a:solidFill>
            <a:prstDash val="dash"/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9" name="Text Box 144"/>
          <p:cNvSpPr txBox="1">
            <a:spLocks noChangeArrowheads="1"/>
          </p:cNvSpPr>
          <p:nvPr/>
        </p:nvSpPr>
        <p:spPr bwMode="auto">
          <a:xfrm>
            <a:off x="488948" y="3609020"/>
            <a:ext cx="2700059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rIns="3600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kern="0" noProof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lt; </a:t>
            </a:r>
            <a:r>
              <a:rPr lang="ko-KR" altLang="en-US" sz="1100" kern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월</a:t>
            </a:r>
            <a:r>
              <a:rPr lang="ko-KR" altLang="en-US" sz="1100" kern="0" noProof="0" dirty="0" smtClean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en-US" altLang="ko-KR" sz="1100" kern="0" noProof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r>
              <a:rPr lang="ko-KR" altLang="en-US" sz="1100" kern="0" noProof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회 고액자산가 선정 시</a:t>
            </a:r>
            <a:r>
              <a:rPr lang="en-US" altLang="ko-KR" sz="1100" kern="0" noProof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gt;</a:t>
            </a:r>
            <a:endParaRPr kumimoji="0" lang="en-US" altLang="ko-KR" sz="900" u="none" strike="noStrike" kern="0" cap="none" spc="0" normalizeH="0" baseline="0" noProof="0" dirty="0">
              <a:ln>
                <a:noFill/>
              </a:ln>
              <a:solidFill>
                <a:srgbClr val="336851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10" name="직선 화살표 연결선 109"/>
          <p:cNvCxnSpPr>
            <a:endCxn id="117" idx="1"/>
          </p:cNvCxnSpPr>
          <p:nvPr/>
        </p:nvCxnSpPr>
        <p:spPr>
          <a:xfrm flipV="1">
            <a:off x="5265480" y="4282464"/>
            <a:ext cx="438778" cy="5505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1" name="AutoShape 91"/>
          <p:cNvSpPr>
            <a:spLocks noChangeArrowheads="1"/>
          </p:cNvSpPr>
          <p:nvPr/>
        </p:nvSpPr>
        <p:spPr bwMode="auto">
          <a:xfrm>
            <a:off x="3277750" y="5028435"/>
            <a:ext cx="1337504" cy="501828"/>
          </a:xfrm>
          <a:prstGeom prst="roundRect">
            <a:avLst>
              <a:gd name="adj" fmla="val 394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en-US" altLang="ko-KR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1</a:t>
            </a: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단계 위험평가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12" name="직선 화살표 연결선 111"/>
          <p:cNvCxnSpPr>
            <a:endCxn id="113" idx="1"/>
          </p:cNvCxnSpPr>
          <p:nvPr/>
        </p:nvCxnSpPr>
        <p:spPr>
          <a:xfrm flipV="1">
            <a:off x="4617638" y="5287218"/>
            <a:ext cx="378962" cy="6528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3" name="AutoShape 91"/>
          <p:cNvSpPr>
            <a:spLocks noChangeArrowheads="1"/>
          </p:cNvSpPr>
          <p:nvPr/>
        </p:nvSpPr>
        <p:spPr bwMode="auto">
          <a:xfrm>
            <a:off x="4996599" y="5036303"/>
            <a:ext cx="1337504" cy="501828"/>
          </a:xfrm>
          <a:prstGeom prst="roundRect">
            <a:avLst>
              <a:gd name="adj" fmla="val 394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en-US" altLang="ko-KR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EDD </a:t>
            </a: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수행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14" name="직선 화살표 연결선 113"/>
          <p:cNvCxnSpPr>
            <a:stCxn id="113" idx="3"/>
            <a:endCxn id="119" idx="1"/>
          </p:cNvCxnSpPr>
          <p:nvPr/>
        </p:nvCxnSpPr>
        <p:spPr>
          <a:xfrm>
            <a:off x="6334103" y="5287218"/>
            <a:ext cx="334809" cy="7868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5" name="모서리가 둥근 직사각형 114"/>
          <p:cNvSpPr/>
          <p:nvPr/>
        </p:nvSpPr>
        <p:spPr bwMode="ltGray">
          <a:xfrm>
            <a:off x="8300481" y="5036303"/>
            <a:ext cx="989160" cy="509696"/>
          </a:xfrm>
          <a:prstGeom prst="round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완료</a:t>
            </a:r>
          </a:p>
        </p:txBody>
      </p:sp>
      <p:sp>
        <p:nvSpPr>
          <p:cNvPr id="116" name="Text Box 144"/>
          <p:cNvSpPr txBox="1">
            <a:spLocks noChangeArrowheads="1"/>
          </p:cNvSpPr>
          <p:nvPr/>
        </p:nvSpPr>
        <p:spPr bwMode="auto">
          <a:xfrm>
            <a:off x="1375436" y="4658440"/>
            <a:ext cx="244069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6000" rIns="3600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noProof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lt; </a:t>
            </a:r>
            <a:r>
              <a:rPr lang="ko-KR" altLang="en-US" sz="1000" kern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액자산가 신규 계약 체결</a:t>
            </a:r>
            <a:r>
              <a:rPr lang="ko-KR" altLang="en-US" sz="1000" kern="0" noProof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</a:t>
            </a:r>
            <a:r>
              <a:rPr lang="en-US" altLang="ko-KR" sz="1000" kern="0" noProof="0" dirty="0">
                <a:solidFill>
                  <a:srgbClr val="33685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gt;</a:t>
            </a:r>
            <a:endParaRPr kumimoji="0" lang="en-US" altLang="ko-KR" sz="1000" u="none" strike="noStrike" kern="0" cap="none" spc="0" normalizeH="0" baseline="0" noProof="0" dirty="0">
              <a:ln>
                <a:noFill/>
              </a:ln>
              <a:solidFill>
                <a:srgbClr val="336851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7" name="AutoShape 91"/>
          <p:cNvSpPr>
            <a:spLocks noChangeArrowheads="1"/>
          </p:cNvSpPr>
          <p:nvPr/>
        </p:nvSpPr>
        <p:spPr bwMode="auto">
          <a:xfrm>
            <a:off x="5704259" y="4031549"/>
            <a:ext cx="1337504" cy="501828"/>
          </a:xfrm>
          <a:prstGeom prst="roundRect">
            <a:avLst>
              <a:gd name="adj" fmla="val 394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관리자 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검토 및 승인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18" name="설명선 2 117"/>
          <p:cNvSpPr/>
          <p:nvPr/>
        </p:nvSpPr>
        <p:spPr bwMode="ltGray">
          <a:xfrm>
            <a:off x="4494964" y="5700009"/>
            <a:ext cx="3298000" cy="569049"/>
          </a:xfrm>
          <a:prstGeom prst="borderCallout2">
            <a:avLst>
              <a:gd name="adj1" fmla="val 10808"/>
              <a:gd name="adj2" fmla="val 170"/>
              <a:gd name="adj3" fmla="val 8265"/>
              <a:gd name="adj4" fmla="val -6693"/>
              <a:gd name="adj5" fmla="val -27563"/>
              <a:gd name="adj6" fmla="val -13884"/>
            </a:avLst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위험 국가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위험 업종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액 거래 및 고액자산가에 해당할 경우 고위험군으로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DD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상으로 추출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9" name="AutoShape 91"/>
          <p:cNvSpPr>
            <a:spLocks noChangeArrowheads="1"/>
          </p:cNvSpPr>
          <p:nvPr/>
        </p:nvSpPr>
        <p:spPr bwMode="auto">
          <a:xfrm>
            <a:off x="6668913" y="5044171"/>
            <a:ext cx="1337504" cy="501828"/>
          </a:xfrm>
          <a:prstGeom prst="roundRect">
            <a:avLst>
              <a:gd name="adj" fmla="val 394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관리자 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검토 및 승인</a:t>
            </a:r>
            <a:endParaRPr lang="en-US" altLang="ko-KR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20" name="직선 화살표 연결선 119"/>
          <p:cNvCxnSpPr>
            <a:stCxn id="119" idx="3"/>
            <a:endCxn id="115" idx="1"/>
          </p:cNvCxnSpPr>
          <p:nvPr/>
        </p:nvCxnSpPr>
        <p:spPr>
          <a:xfrm flipV="1">
            <a:off x="8006416" y="5291152"/>
            <a:ext cx="294065" cy="3934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1" name="직사각형 120"/>
          <p:cNvSpPr/>
          <p:nvPr/>
        </p:nvSpPr>
        <p:spPr bwMode="ltGray">
          <a:xfrm>
            <a:off x="370383" y="3491579"/>
            <a:ext cx="9186633" cy="2925753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957867" latinLnBrk="0"/>
            <a:endParaRPr lang="ko-KR" altLang="en-US" sz="1100" b="1" kern="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367348" y="2145681"/>
            <a:ext cx="1007919" cy="956191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 algn="ctr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latinLnBrk="0">
              <a:defRPr/>
            </a:pPr>
            <a:r>
              <a:rPr lang="ko-KR" altLang="en-US" sz="11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선정 기준 </a:t>
            </a:r>
            <a:endParaRPr lang="en-US" altLang="ko-KR" sz="110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latinLnBrk="0">
              <a:defRPr/>
            </a:pPr>
            <a:r>
              <a:rPr lang="ko-KR" altLang="en-US" sz="11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및 주기</a:t>
            </a:r>
            <a:endParaRPr lang="en-US" altLang="ko-KR" sz="110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latinLnBrk="0">
              <a:defRPr/>
            </a:pPr>
            <a:r>
              <a:rPr lang="ko-KR" altLang="en-US" sz="11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권고안</a:t>
            </a:r>
          </a:p>
        </p:txBody>
      </p:sp>
      <p:sp>
        <p:nvSpPr>
          <p:cNvPr id="123" name="Rectangle 63"/>
          <p:cNvSpPr>
            <a:spLocks noChangeArrowheads="1"/>
          </p:cNvSpPr>
          <p:nvPr/>
        </p:nvSpPr>
        <p:spPr bwMode="auto">
          <a:xfrm>
            <a:off x="1436153" y="2145681"/>
            <a:ext cx="8109651" cy="952787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0" rIns="72000" bIns="0" anchor="ctr" anchorCtr="0">
            <a:no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선정기준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: </a:t>
            </a: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개인 고객 중 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3</a:t>
            </a: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개월 평잔 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10</a:t>
            </a: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억원 이상인 고객</a:t>
            </a:r>
            <a:endParaRPr lang="en-US" altLang="ko-KR" sz="1200" dirty="0">
              <a:latin typeface="KoPub돋움체 Bold" panose="00000800000000000000" pitchFamily="2" charset="-127"/>
              <a:ea typeface="KoPub돋움체 Bold" panose="00000800000000000000" pitchFamily="2" charset="-127"/>
              <a:sym typeface="Wingdings" pitchFamily="2" charset="2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주기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: </a:t>
            </a: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분기 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1</a:t>
            </a: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회 선정 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(</a:t>
            </a: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지표 상에서 분기 별 선정 권고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)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6528804" y="2890465"/>
            <a:ext cx="2960700" cy="15215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100013" indent="-100013">
              <a:spcAft>
                <a:spcPts val="900"/>
              </a:spcAft>
            </a:pPr>
            <a: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* </a:t>
            </a:r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정 기준 금액 및 주기는 회사 의사결정에 따라 수정하여 적용</a:t>
            </a:r>
          </a:p>
        </p:txBody>
      </p:sp>
      <p:grpSp>
        <p:nvGrpSpPr>
          <p:cNvPr id="126" name="그룹 125"/>
          <p:cNvGrpSpPr/>
          <p:nvPr/>
        </p:nvGrpSpPr>
        <p:grpSpPr>
          <a:xfrm>
            <a:off x="4092684" y="3974336"/>
            <a:ext cx="1252007" cy="655704"/>
            <a:chOff x="2613525" y="5987210"/>
            <a:chExt cx="687976" cy="254660"/>
          </a:xfrm>
        </p:grpSpPr>
        <p:pic>
          <p:nvPicPr>
            <p:cNvPr id="127" name="Picture 645" descr="db1"/>
            <p:cNvPicPr>
              <a:picLocks noChangeAspect="1" noChangeArrowheads="1"/>
            </p:cNvPicPr>
            <p:nvPr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3525" y="5987210"/>
              <a:ext cx="687976" cy="2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8" name="AutoShape 260"/>
            <p:cNvSpPr>
              <a:spLocks noChangeArrowheads="1"/>
            </p:cNvSpPr>
            <p:nvPr/>
          </p:nvSpPr>
          <p:spPr bwMode="gray">
            <a:xfrm>
              <a:off x="2736137" y="6096619"/>
              <a:ext cx="428203" cy="10416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91381" tIns="82751" rIns="91381" bIns="45693" anchor="ctr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액자산가 </a:t>
              </a:r>
              <a:r>
                <a:rPr lang="en-US" altLang="ko-KR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B</a:t>
              </a:r>
              <a:endParaRPr kumimoji="0" lang="ko-KR" altLang="en-US" sz="900" kern="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4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42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151779" y="338810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333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4 </a:t>
            </a:r>
            <a:r>
              <a:rPr lang="ko-KR" altLang="en-US" dirty="0"/>
              <a:t>기타 고위험군에 관한 </a:t>
            </a:r>
            <a:r>
              <a:rPr lang="en-US" altLang="ko-KR" dirty="0" smtClean="0"/>
              <a:t>TO-BE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수립 </a:t>
            </a:r>
            <a:r>
              <a:rPr lang="en-US" altLang="ko-KR" dirty="0" smtClean="0"/>
              <a:t>(2/2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4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금융기관 간에 공유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ist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업종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가상화폐취급업소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ule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통해 가상통화취급업소를 확인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식별된 가상통화취급업소에 대하여 강화된 고객확인 및 거래 승인 절차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립 등 가상통화취급업소에 대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프로세스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5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가상화폐취급업소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관리 방안</a:t>
              </a:r>
            </a:p>
          </p:txBody>
        </p:sp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8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0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A5965A2-B65E-4DC9-AE3D-29D293FA5585}"/>
              </a:ext>
            </a:extLst>
          </p:cNvPr>
          <p:cNvSpPr/>
          <p:nvPr/>
        </p:nvSpPr>
        <p:spPr bwMode="auto">
          <a:xfrm>
            <a:off x="772448" y="5864122"/>
            <a:ext cx="1160096" cy="390813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금융 거래 수행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F17BE31-A565-41D4-8F9B-B71F32E237B9}"/>
              </a:ext>
            </a:extLst>
          </p:cNvPr>
          <p:cNvSpPr/>
          <p:nvPr/>
        </p:nvSpPr>
        <p:spPr bwMode="auto">
          <a:xfrm>
            <a:off x="772448" y="2637639"/>
            <a:ext cx="1160096" cy="39081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고객확인의무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수행 요청</a:t>
            </a:r>
          </a:p>
        </p:txBody>
      </p:sp>
      <p:sp>
        <p:nvSpPr>
          <p:cNvPr id="25" name="순서도: 판단 24">
            <a:extLst>
              <a:ext uri="{FF2B5EF4-FFF2-40B4-BE49-F238E27FC236}">
                <a16:creationId xmlns:a16="http://schemas.microsoft.com/office/drawing/2014/main" id="{B51FE172-30DE-4772-A9B4-F2832F5F5FDC}"/>
              </a:ext>
            </a:extLst>
          </p:cNvPr>
          <p:cNvSpPr/>
          <p:nvPr/>
        </p:nvSpPr>
        <p:spPr bwMode="auto">
          <a:xfrm>
            <a:off x="772448" y="3395770"/>
            <a:ext cx="1160096" cy="389015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가상화폐취급업소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List </a:t>
            </a: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대조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6" name="순서도: 판단 25">
            <a:extLst>
              <a:ext uri="{FF2B5EF4-FFF2-40B4-BE49-F238E27FC236}">
                <a16:creationId xmlns:a16="http://schemas.microsoft.com/office/drawing/2014/main" id="{C1E6DDF8-3F83-41AD-972C-0825E8EEA97B}"/>
              </a:ext>
            </a:extLst>
          </p:cNvPr>
          <p:cNvSpPr/>
          <p:nvPr/>
        </p:nvSpPr>
        <p:spPr bwMode="auto">
          <a:xfrm>
            <a:off x="772448" y="4152103"/>
            <a:ext cx="1160096" cy="389015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가상화폐 취급업소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주요 업종 </a:t>
            </a:r>
            <a:r>
              <a:rPr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Check</a:t>
            </a:r>
          </a:p>
        </p:txBody>
      </p:sp>
      <p:sp>
        <p:nvSpPr>
          <p:cNvPr id="27" name="순서도: 판단 26">
            <a:extLst>
              <a:ext uri="{FF2B5EF4-FFF2-40B4-BE49-F238E27FC236}">
                <a16:creationId xmlns:a16="http://schemas.microsoft.com/office/drawing/2014/main" id="{63AD2D67-824F-4ACD-B5AB-300F4F8C1C0E}"/>
              </a:ext>
            </a:extLst>
          </p:cNvPr>
          <p:cNvSpPr/>
          <p:nvPr/>
        </p:nvSpPr>
        <p:spPr bwMode="auto">
          <a:xfrm>
            <a:off x="2423653" y="5865022"/>
            <a:ext cx="1160096" cy="389015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거래 거절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여부 판단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F4070ACE-F5DD-4B3B-9864-3A2D0C130246}"/>
              </a:ext>
            </a:extLst>
          </p:cNvPr>
          <p:cNvSpPr/>
          <p:nvPr/>
        </p:nvSpPr>
        <p:spPr bwMode="auto">
          <a:xfrm>
            <a:off x="2423653" y="4877147"/>
            <a:ext cx="1160096" cy="468976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가상화폐  취급업소 </a:t>
            </a: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확인서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</a:t>
            </a: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작성 </a:t>
            </a:r>
            <a:r>
              <a:rPr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및 </a:t>
            </a:r>
            <a:r>
              <a:rPr lang="en-US" altLang="ko-KR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EDD </a:t>
            </a: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수행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5879404-AE29-475C-AE89-A74376280A9A}"/>
              </a:ext>
            </a:extLst>
          </p:cNvPr>
          <p:cNvSpPr/>
          <p:nvPr/>
        </p:nvSpPr>
        <p:spPr bwMode="auto">
          <a:xfrm>
            <a:off x="8114029" y="5864122"/>
            <a:ext cx="1160096" cy="39081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미보고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23CED14A-B043-4BFF-9EA7-68B91E2F7FDA}"/>
              </a:ext>
            </a:extLst>
          </p:cNvPr>
          <p:cNvSpPr/>
          <p:nvPr/>
        </p:nvSpPr>
        <p:spPr bwMode="auto">
          <a:xfrm>
            <a:off x="8114029" y="2637639"/>
            <a:ext cx="1160096" cy="39081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가상화폐 취급업소</a:t>
            </a:r>
            <a:endParaRPr lang="en-US" altLang="ko-KR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관련 </a:t>
            </a:r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Rule</a:t>
            </a:r>
            <a:endParaRPr lang="ko-KR" altLang="en-US" sz="10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230AA8A4-ED42-4CFD-83A9-8E0FB6C56A88}"/>
              </a:ext>
            </a:extLst>
          </p:cNvPr>
          <p:cNvSpPr/>
          <p:nvPr/>
        </p:nvSpPr>
        <p:spPr bwMode="auto">
          <a:xfrm>
            <a:off x="8114029" y="3687079"/>
            <a:ext cx="1160096" cy="390813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en-US" altLang="ko-KR" sz="10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Alert</a:t>
            </a:r>
            <a:endParaRPr lang="ko-KR" altLang="en-US" sz="10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32" name="순서도: 판단 31">
            <a:extLst>
              <a:ext uri="{FF2B5EF4-FFF2-40B4-BE49-F238E27FC236}">
                <a16:creationId xmlns:a16="http://schemas.microsoft.com/office/drawing/2014/main" id="{2C12C51D-C3E7-4E68-A812-FDB7C5291D55}"/>
              </a:ext>
            </a:extLst>
          </p:cNvPr>
          <p:cNvSpPr/>
          <p:nvPr/>
        </p:nvSpPr>
        <p:spPr bwMode="auto">
          <a:xfrm>
            <a:off x="8114029" y="4776501"/>
            <a:ext cx="1160096" cy="389015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의심거래 여부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237D2E46-6239-409E-9288-1D89B21D745C}"/>
              </a:ext>
            </a:extLst>
          </p:cNvPr>
          <p:cNvSpPr/>
          <p:nvPr/>
        </p:nvSpPr>
        <p:spPr bwMode="auto">
          <a:xfrm>
            <a:off x="6495946" y="4775601"/>
            <a:ext cx="1160096" cy="39081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KoFIU </a:t>
            </a:r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보고</a:t>
            </a:r>
          </a:p>
        </p:txBody>
      </p:sp>
      <p:pic>
        <p:nvPicPr>
          <p:cNvPr id="34" name="그림 33">
            <a:extLst>
              <a:ext uri="{FF2B5EF4-FFF2-40B4-BE49-F238E27FC236}">
                <a16:creationId xmlns:a16="http://schemas.microsoft.com/office/drawing/2014/main" id="{F58754AC-7D92-4DAC-A5AA-B20BCD9748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9640" l="500" r="100000">
                        <a14:foregroundMark x1="8500" y1="88489" x2="8500" y2="884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028" y="2583924"/>
            <a:ext cx="278203" cy="390813"/>
          </a:xfrm>
          <a:prstGeom prst="rect">
            <a:avLst/>
          </a:prstGeom>
        </p:spPr>
      </p:pic>
      <p:pic>
        <p:nvPicPr>
          <p:cNvPr id="35" name="그림 34">
            <a:extLst>
              <a:ext uri="{FF2B5EF4-FFF2-40B4-BE49-F238E27FC236}">
                <a16:creationId xmlns:a16="http://schemas.microsoft.com/office/drawing/2014/main" id="{338DADDC-2B4E-4D25-8F28-98818D7F63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9640" l="500" r="100000">
                        <a14:foregroundMark x1="8500" y1="88489" x2="8500" y2="884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016" y="2583924"/>
            <a:ext cx="278203" cy="390813"/>
          </a:xfrm>
          <a:prstGeom prst="rect">
            <a:avLst/>
          </a:prstGeom>
        </p:spPr>
      </p:pic>
      <p:sp>
        <p:nvSpPr>
          <p:cNvPr id="36" name="직사각형 35">
            <a:extLst>
              <a:ext uri="{FF2B5EF4-FFF2-40B4-BE49-F238E27FC236}">
                <a16:creationId xmlns:a16="http://schemas.microsoft.com/office/drawing/2014/main" id="{824421CC-FD05-4983-84FC-B6AC596711D1}"/>
              </a:ext>
            </a:extLst>
          </p:cNvPr>
          <p:cNvSpPr/>
          <p:nvPr/>
        </p:nvSpPr>
        <p:spPr bwMode="auto">
          <a:xfrm>
            <a:off x="3720356" y="2496491"/>
            <a:ext cx="2525950" cy="2919348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lang="ko-KR" altLang="en-US" sz="110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37" name="직사각형 104">
            <a:extLst>
              <a:ext uri="{FF2B5EF4-FFF2-40B4-BE49-F238E27FC236}">
                <a16:creationId xmlns:a16="http://schemas.microsoft.com/office/drawing/2014/main" id="{DFFF99F0-A316-4C33-8C4F-91A47D255E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1424" y="2204864"/>
            <a:ext cx="2525950" cy="273569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가상화폐 취급업소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ist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관리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DA3EA22-7EEA-4C33-AC96-D147B0DFD9A4}"/>
              </a:ext>
            </a:extLst>
          </p:cNvPr>
          <p:cNvSpPr txBox="1"/>
          <p:nvPr/>
        </p:nvSpPr>
        <p:spPr>
          <a:xfrm>
            <a:off x="4722203" y="2616852"/>
            <a:ext cx="889072" cy="39081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2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••••••</a:t>
            </a:r>
            <a:endParaRPr lang="ko-KR" altLang="en-US" sz="2000" dirty="0">
              <a:latin typeface="Georgia" pitchFamily="18" charset="0"/>
            </a:endParaRP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id="{DB471029-D393-4624-9748-CFE8BFD1B0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9640" l="500" r="100000">
                        <a14:foregroundMark x1="8500" y1="88489" x2="8500" y2="884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3353" y="2583924"/>
            <a:ext cx="278203" cy="390813"/>
          </a:xfrm>
          <a:prstGeom prst="rect">
            <a:avLst/>
          </a:prstGeom>
        </p:spPr>
      </p:pic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9639FBDA-0F8B-4A1C-B203-7B53C5F6C5C1}"/>
              </a:ext>
            </a:extLst>
          </p:cNvPr>
          <p:cNvCxnSpPr/>
          <p:nvPr/>
        </p:nvCxnSpPr>
        <p:spPr>
          <a:xfrm>
            <a:off x="4891907" y="2931427"/>
            <a:ext cx="0" cy="70346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FDB9C477-3CD9-4F98-9693-E8C7D28B68F6}"/>
              </a:ext>
            </a:extLst>
          </p:cNvPr>
          <p:cNvCxnSpPr/>
          <p:nvPr/>
        </p:nvCxnSpPr>
        <p:spPr>
          <a:xfrm>
            <a:off x="5049827" y="2931427"/>
            <a:ext cx="0" cy="70346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Box 36">
            <a:extLst>
              <a:ext uri="{FF2B5EF4-FFF2-40B4-BE49-F238E27FC236}">
                <a16:creationId xmlns:a16="http://schemas.microsoft.com/office/drawing/2014/main" id="{6893C416-58EA-4639-864A-49E4302EFC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4803" y="3133997"/>
            <a:ext cx="1546795" cy="195407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dist="25400" dir="5400000" algn="ctr" rotWithShape="0">
              <a:schemeClr val="bg2"/>
            </a:outerShdw>
          </a:effectLst>
          <a:extLst/>
        </p:spPr>
        <p:txBody>
          <a:bodyPr wrap="square" anchor="ctr" anchorCtr="1"/>
          <a:lstStyle/>
          <a:p>
            <a:pPr algn="ctr"/>
            <a:r>
              <a:rPr lang="ko-KR" altLang="en-US" sz="1000" u="sng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타 금융 기관 공유</a:t>
            </a:r>
          </a:p>
        </p:txBody>
      </p:sp>
      <p:sp>
        <p:nvSpPr>
          <p:cNvPr id="48" name="직사각형 104">
            <a:extLst>
              <a:ext uri="{FF2B5EF4-FFF2-40B4-BE49-F238E27FC236}">
                <a16:creationId xmlns:a16="http://schemas.microsoft.com/office/drawing/2014/main" id="{B032EC81-3BC6-4D38-98A6-D06AEA4EAF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030" y="2204864"/>
            <a:ext cx="3221583" cy="27356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정계 시스템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73A41E0A-11DF-40EE-94AE-6B0F0E8A9DBD}"/>
              </a:ext>
            </a:extLst>
          </p:cNvPr>
          <p:cNvSpPr/>
          <p:nvPr/>
        </p:nvSpPr>
        <p:spPr bwMode="auto">
          <a:xfrm>
            <a:off x="6293416" y="2496491"/>
            <a:ext cx="3222652" cy="3854189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lang="ko-KR" altLang="en-US" sz="110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50" name="직사각형 104">
            <a:extLst>
              <a:ext uri="{FF2B5EF4-FFF2-40B4-BE49-F238E27FC236}">
                <a16:creationId xmlns:a16="http://schemas.microsoft.com/office/drawing/2014/main" id="{2461681F-13F1-41B5-9CEA-5BA5668E5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4484" y="2204864"/>
            <a:ext cx="3221583" cy="27356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스템</a:t>
            </a:r>
          </a:p>
        </p:txBody>
      </p: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F0CFC3C4-A033-456B-8CDD-CBA3704DDF79}"/>
              </a:ext>
            </a:extLst>
          </p:cNvPr>
          <p:cNvCxnSpPr>
            <a:cxnSpLocks/>
            <a:stCxn id="23" idx="2"/>
            <a:endCxn id="25" idx="0"/>
          </p:cNvCxnSpPr>
          <p:nvPr/>
        </p:nvCxnSpPr>
        <p:spPr bwMode="auto">
          <a:xfrm>
            <a:off x="1352496" y="3028452"/>
            <a:ext cx="0" cy="367318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52" name="꺾인 연결선 89">
            <a:extLst>
              <a:ext uri="{FF2B5EF4-FFF2-40B4-BE49-F238E27FC236}">
                <a16:creationId xmlns:a16="http://schemas.microsoft.com/office/drawing/2014/main" id="{4EB6C8DA-B530-4797-985B-10D647EB80A4}"/>
              </a:ext>
            </a:extLst>
          </p:cNvPr>
          <p:cNvCxnSpPr>
            <a:cxnSpLocks/>
            <a:stCxn id="28" idx="0"/>
            <a:endCxn id="86" idx="1"/>
          </p:cNvCxnSpPr>
          <p:nvPr/>
        </p:nvCxnSpPr>
        <p:spPr>
          <a:xfrm rot="5400000" flipH="1" flipV="1">
            <a:off x="3208549" y="3730675"/>
            <a:ext cx="941625" cy="1351321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꺾인 연결선 89">
            <a:extLst>
              <a:ext uri="{FF2B5EF4-FFF2-40B4-BE49-F238E27FC236}">
                <a16:creationId xmlns:a16="http://schemas.microsoft.com/office/drawing/2014/main" id="{60E59945-50E8-49DB-A356-19C4560EAB13}"/>
              </a:ext>
            </a:extLst>
          </p:cNvPr>
          <p:cNvCxnSpPr>
            <a:cxnSpLocks/>
            <a:stCxn id="25" idx="3"/>
            <a:endCxn id="28" idx="1"/>
          </p:cNvCxnSpPr>
          <p:nvPr/>
        </p:nvCxnSpPr>
        <p:spPr>
          <a:xfrm>
            <a:off x="1932544" y="3590278"/>
            <a:ext cx="491109" cy="1521357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89">
            <a:extLst>
              <a:ext uri="{FF2B5EF4-FFF2-40B4-BE49-F238E27FC236}">
                <a16:creationId xmlns:a16="http://schemas.microsoft.com/office/drawing/2014/main" id="{0D4C9946-B527-47FB-A190-F8A5D2630622}"/>
              </a:ext>
            </a:extLst>
          </p:cNvPr>
          <p:cNvCxnSpPr>
            <a:cxnSpLocks/>
            <a:stCxn id="33" idx="0"/>
            <a:endCxn id="86" idx="3"/>
          </p:cNvCxnSpPr>
          <p:nvPr/>
        </p:nvCxnSpPr>
        <p:spPr>
          <a:xfrm rot="16200000" flipV="1">
            <a:off x="5952857" y="3652464"/>
            <a:ext cx="840078" cy="1406197"/>
          </a:xfrm>
          <a:prstGeom prst="bentConnector2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70F0A970-41C4-4D8C-AEFC-E505E811BF2C}"/>
              </a:ext>
            </a:extLst>
          </p:cNvPr>
          <p:cNvCxnSpPr>
            <a:cxnSpLocks/>
            <a:stCxn id="25" idx="2"/>
            <a:endCxn id="26" idx="0"/>
          </p:cNvCxnSpPr>
          <p:nvPr/>
        </p:nvCxnSpPr>
        <p:spPr bwMode="auto">
          <a:xfrm>
            <a:off x="1352496" y="3784785"/>
            <a:ext cx="0" cy="367318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8B176510-685A-41DC-9367-FB7C83AFF463}"/>
              </a:ext>
            </a:extLst>
          </p:cNvPr>
          <p:cNvCxnSpPr>
            <a:cxnSpLocks/>
            <a:stCxn id="79" idx="2"/>
            <a:endCxn id="22" idx="0"/>
          </p:cNvCxnSpPr>
          <p:nvPr/>
        </p:nvCxnSpPr>
        <p:spPr bwMode="auto">
          <a:xfrm flipH="1">
            <a:off x="1352496" y="5297449"/>
            <a:ext cx="2854" cy="566673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C1678BEB-8247-4915-871B-574C46B47E49}"/>
              </a:ext>
            </a:extLst>
          </p:cNvPr>
          <p:cNvCxnSpPr>
            <a:cxnSpLocks/>
            <a:stCxn id="28" idx="2"/>
            <a:endCxn id="27" idx="0"/>
          </p:cNvCxnSpPr>
          <p:nvPr/>
        </p:nvCxnSpPr>
        <p:spPr bwMode="auto">
          <a:xfrm>
            <a:off x="3003701" y="5346123"/>
            <a:ext cx="0" cy="518898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EADE2EDD-9A88-456D-9F57-10535865E6BB}"/>
              </a:ext>
            </a:extLst>
          </p:cNvPr>
          <p:cNvCxnSpPr>
            <a:cxnSpLocks/>
            <a:stCxn id="27" idx="1"/>
            <a:endCxn id="22" idx="3"/>
          </p:cNvCxnSpPr>
          <p:nvPr/>
        </p:nvCxnSpPr>
        <p:spPr bwMode="auto">
          <a:xfrm flipH="1" flipV="1">
            <a:off x="1932544" y="6059529"/>
            <a:ext cx="491109" cy="1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5DD55825-29A1-4B74-8502-210CA9AED3B1}"/>
              </a:ext>
            </a:extLst>
          </p:cNvPr>
          <p:cNvCxnSpPr>
            <a:cxnSpLocks/>
            <a:stCxn id="30" idx="2"/>
            <a:endCxn id="31" idx="0"/>
          </p:cNvCxnSpPr>
          <p:nvPr/>
        </p:nvCxnSpPr>
        <p:spPr bwMode="auto">
          <a:xfrm>
            <a:off x="8694077" y="3028452"/>
            <a:ext cx="0" cy="658627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069888D3-D33C-4245-B5C4-08A4B15D6517}"/>
              </a:ext>
            </a:extLst>
          </p:cNvPr>
          <p:cNvCxnSpPr>
            <a:cxnSpLocks/>
            <a:stCxn id="31" idx="2"/>
            <a:endCxn id="32" idx="0"/>
          </p:cNvCxnSpPr>
          <p:nvPr/>
        </p:nvCxnSpPr>
        <p:spPr bwMode="auto">
          <a:xfrm>
            <a:off x="8694077" y="4077893"/>
            <a:ext cx="0" cy="698608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E2787D14-8395-41A1-9B19-96ED13D8B405}"/>
              </a:ext>
            </a:extLst>
          </p:cNvPr>
          <p:cNvCxnSpPr>
            <a:cxnSpLocks/>
            <a:stCxn id="32" idx="2"/>
            <a:endCxn id="29" idx="0"/>
          </p:cNvCxnSpPr>
          <p:nvPr/>
        </p:nvCxnSpPr>
        <p:spPr bwMode="auto">
          <a:xfrm>
            <a:off x="8694077" y="5165516"/>
            <a:ext cx="0" cy="698606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A0E1D892-5A5C-4BB1-97E9-06029D80A85C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 bwMode="auto">
          <a:xfrm flipH="1" flipV="1">
            <a:off x="7656042" y="4971008"/>
            <a:ext cx="457987" cy="1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64" name="직선 화살표 연결선 63">
            <a:extLst>
              <a:ext uri="{FF2B5EF4-FFF2-40B4-BE49-F238E27FC236}">
                <a16:creationId xmlns:a16="http://schemas.microsoft.com/office/drawing/2014/main" id="{4F3F84B7-9299-41B3-AD51-F6889DB8D2C1}"/>
              </a:ext>
            </a:extLst>
          </p:cNvPr>
          <p:cNvCxnSpPr>
            <a:cxnSpLocks/>
            <a:stCxn id="79" idx="3"/>
            <a:endCxn id="28" idx="1"/>
          </p:cNvCxnSpPr>
          <p:nvPr/>
        </p:nvCxnSpPr>
        <p:spPr bwMode="auto">
          <a:xfrm>
            <a:off x="1935398" y="5102942"/>
            <a:ext cx="488255" cy="8693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7803859A-EFE1-465C-A13F-CAAA3F4D19AB}"/>
              </a:ext>
            </a:extLst>
          </p:cNvPr>
          <p:cNvSpPr txBox="1"/>
          <p:nvPr/>
        </p:nvSpPr>
        <p:spPr>
          <a:xfrm>
            <a:off x="1846805" y="3342148"/>
            <a:ext cx="718352" cy="230832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l"/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취급업소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806256A-2580-4FAA-AFCD-5827148C0EEA}"/>
              </a:ext>
            </a:extLst>
          </p:cNvPr>
          <p:cNvSpPr txBox="1"/>
          <p:nvPr/>
        </p:nvSpPr>
        <p:spPr>
          <a:xfrm>
            <a:off x="1348253" y="3755894"/>
            <a:ext cx="718352" cy="369332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취급업소</a:t>
            </a:r>
            <a: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/>
            </a:r>
            <a:b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님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4BEC1EB-E9DA-4D91-A78B-1336261AB677}"/>
              </a:ext>
            </a:extLst>
          </p:cNvPr>
          <p:cNvSpPr txBox="1"/>
          <p:nvPr/>
        </p:nvSpPr>
        <p:spPr>
          <a:xfrm>
            <a:off x="698993" y="5254524"/>
            <a:ext cx="718352" cy="369332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취급업소</a:t>
            </a:r>
            <a: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/>
            </a:r>
            <a:b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님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1224CD7-7E7E-4136-B852-C8D76A273075}"/>
              </a:ext>
            </a:extLst>
          </p:cNvPr>
          <p:cNvSpPr txBox="1"/>
          <p:nvPr/>
        </p:nvSpPr>
        <p:spPr>
          <a:xfrm>
            <a:off x="1722292" y="5114819"/>
            <a:ext cx="718352" cy="230832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l"/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취급업소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BD9E068-FAAC-459B-A1F8-25486A94630B}"/>
              </a:ext>
            </a:extLst>
          </p:cNvPr>
          <p:cNvSpPr txBox="1"/>
          <p:nvPr/>
        </p:nvSpPr>
        <p:spPr>
          <a:xfrm>
            <a:off x="8704673" y="5331588"/>
            <a:ext cx="527768" cy="250590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l"/>
            <a:r>
              <a:rPr lang="en-US" altLang="ko-KR" sz="900" dirty="0">
                <a:latin typeface="+mn-ea"/>
                <a:cs typeface="Arial" panose="020B0604020202020204" pitchFamily="34" charset="0"/>
              </a:rPr>
              <a:t> No</a:t>
            </a:r>
            <a:endParaRPr lang="ko-KR" altLang="en-US" sz="90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C1718C7-9A1E-4EA3-87A3-ACED30BF7439}"/>
              </a:ext>
            </a:extLst>
          </p:cNvPr>
          <p:cNvSpPr txBox="1"/>
          <p:nvPr/>
        </p:nvSpPr>
        <p:spPr>
          <a:xfrm>
            <a:off x="7696620" y="4725363"/>
            <a:ext cx="400527" cy="250590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l"/>
            <a:r>
              <a:rPr lang="en-US" altLang="ko-KR" sz="900" dirty="0">
                <a:latin typeface="+mn-ea"/>
                <a:cs typeface="Arial" panose="020B0604020202020204" pitchFamily="34" charset="0"/>
              </a:rPr>
              <a:t>Yes</a:t>
            </a:r>
            <a:endParaRPr lang="ko-KR" altLang="en-US" sz="90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AA8392B-16F9-4F68-8910-8E4D1834E82C}"/>
              </a:ext>
            </a:extLst>
          </p:cNvPr>
          <p:cNvSpPr txBox="1"/>
          <p:nvPr/>
        </p:nvSpPr>
        <p:spPr>
          <a:xfrm>
            <a:off x="2024178" y="5814054"/>
            <a:ext cx="527768" cy="230832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l"/>
            <a: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 No</a:t>
            </a:r>
            <a:endParaRPr lang="ko-KR" altLang="en-US" sz="900" dirty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72" name="직선 화살표 연결선 71">
            <a:extLst>
              <a:ext uri="{FF2B5EF4-FFF2-40B4-BE49-F238E27FC236}">
                <a16:creationId xmlns:a16="http://schemas.microsoft.com/office/drawing/2014/main" id="{9639FBDA-0F8B-4A1C-B203-7B53C5F6C5C1}"/>
              </a:ext>
            </a:extLst>
          </p:cNvPr>
          <p:cNvCxnSpPr/>
          <p:nvPr/>
        </p:nvCxnSpPr>
        <p:spPr>
          <a:xfrm>
            <a:off x="4891907" y="4196982"/>
            <a:ext cx="0" cy="50805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FDB9C477-3CD9-4F98-9693-E8C7D28B68F6}"/>
              </a:ext>
            </a:extLst>
          </p:cNvPr>
          <p:cNvCxnSpPr/>
          <p:nvPr/>
        </p:nvCxnSpPr>
        <p:spPr>
          <a:xfrm>
            <a:off x="5049827" y="4196982"/>
            <a:ext cx="0" cy="50805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Box 36">
            <a:extLst>
              <a:ext uri="{FF2B5EF4-FFF2-40B4-BE49-F238E27FC236}">
                <a16:creationId xmlns:a16="http://schemas.microsoft.com/office/drawing/2014/main" id="{6893C416-58EA-4639-864A-49E4302EFC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5404" y="4329595"/>
            <a:ext cx="1774332" cy="195407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dist="25400" dir="5400000" algn="ctr" rotWithShape="0">
              <a:schemeClr val="bg2"/>
            </a:outerShdw>
          </a:effectLst>
          <a:extLst/>
        </p:spPr>
        <p:txBody>
          <a:bodyPr wrap="square" anchor="ctr" anchorCtr="1"/>
          <a:lstStyle/>
          <a:p>
            <a:pPr algn="ctr"/>
            <a:r>
              <a:rPr lang="ko-KR" altLang="en-US" sz="1000" u="sng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기존 고객 대사</a:t>
            </a:r>
            <a:r>
              <a:rPr lang="en-US" altLang="ko-KR" sz="1000" u="sng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1000" u="sng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기 단위</a:t>
            </a:r>
            <a:r>
              <a:rPr lang="en-US" altLang="ko-KR" sz="1000" u="sng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endParaRPr lang="ko-KR" altLang="en-US" sz="1000" u="sng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3F6D047E-941B-4E1C-8458-BC0649387E0B}"/>
              </a:ext>
            </a:extLst>
          </p:cNvPr>
          <p:cNvGrpSpPr/>
          <p:nvPr/>
        </p:nvGrpSpPr>
        <p:grpSpPr>
          <a:xfrm>
            <a:off x="432962" y="2496491"/>
            <a:ext cx="4973882" cy="3854189"/>
            <a:chOff x="798777" y="2672939"/>
            <a:chExt cx="4630473" cy="3550308"/>
          </a:xfrm>
        </p:grpSpPr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2935BE62-2111-4B38-8908-29AD6D70ABC0}"/>
                </a:ext>
              </a:extLst>
            </p:cNvPr>
            <p:cNvSpPr/>
            <p:nvPr/>
          </p:nvSpPr>
          <p:spPr bwMode="auto">
            <a:xfrm>
              <a:off x="798777" y="2672939"/>
              <a:ext cx="3000152" cy="3550308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</a:pPr>
              <a:endParaRPr lang="ko-KR" altLang="en-US" sz="1100" dirty="0">
                <a:latin typeface="+mn-ea"/>
                <a:cs typeface="Arial" panose="020B0604020202020204" pitchFamily="34" charset="0"/>
              </a:endParaRP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4321511B-9BAA-4E94-862A-3FF4BB463082}"/>
                </a:ext>
              </a:extLst>
            </p:cNvPr>
            <p:cNvSpPr/>
            <p:nvPr/>
          </p:nvSpPr>
          <p:spPr bwMode="auto">
            <a:xfrm>
              <a:off x="3799896" y="5399921"/>
              <a:ext cx="1629354" cy="823326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</a:pPr>
              <a:endParaRPr lang="ko-KR" altLang="en-US" sz="1100" dirty="0">
                <a:ln>
                  <a:solidFill>
                    <a:schemeClr val="bg1"/>
                  </a:solidFill>
                </a:ln>
                <a:latin typeface="+mn-ea"/>
                <a:cs typeface="Arial" panose="020B0604020202020204" pitchFamily="34" charset="0"/>
              </a:endParaRPr>
            </a:p>
          </p:txBody>
        </p:sp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64EF1120-3E34-4DFA-BCC2-D5818520F6C2}"/>
                </a:ext>
              </a:extLst>
            </p:cNvPr>
            <p:cNvSpPr/>
            <p:nvPr/>
          </p:nvSpPr>
          <p:spPr bwMode="auto">
            <a:xfrm>
              <a:off x="3760938" y="5413061"/>
              <a:ext cx="1567772" cy="810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</a:pPr>
              <a:endParaRPr lang="ko-KR" altLang="en-US" sz="1100" dirty="0">
                <a:ln>
                  <a:solidFill>
                    <a:schemeClr val="bg1"/>
                  </a:solidFill>
                </a:ln>
                <a:latin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F449C3DF-994E-440C-AF8A-526067DE661C}"/>
              </a:ext>
            </a:extLst>
          </p:cNvPr>
          <p:cNvSpPr/>
          <p:nvPr/>
        </p:nvSpPr>
        <p:spPr bwMode="auto">
          <a:xfrm>
            <a:off x="4091684" y="5825040"/>
            <a:ext cx="1160096" cy="468976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0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거절</a:t>
            </a:r>
          </a:p>
        </p:txBody>
      </p:sp>
      <p:cxnSp>
        <p:nvCxnSpPr>
          <p:cNvPr id="77" name="직선 화살표 연결선 76">
            <a:extLst>
              <a:ext uri="{FF2B5EF4-FFF2-40B4-BE49-F238E27FC236}">
                <a16:creationId xmlns:a16="http://schemas.microsoft.com/office/drawing/2014/main" id="{F9A70829-5ADA-45F4-9F0E-C1C1CE10A530}"/>
              </a:ext>
            </a:extLst>
          </p:cNvPr>
          <p:cNvCxnSpPr>
            <a:cxnSpLocks/>
            <a:stCxn id="27" idx="3"/>
            <a:endCxn id="76" idx="1"/>
          </p:cNvCxnSpPr>
          <p:nvPr/>
        </p:nvCxnSpPr>
        <p:spPr bwMode="auto">
          <a:xfrm flipV="1">
            <a:off x="3583749" y="6059528"/>
            <a:ext cx="507935" cy="1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B46205F4-D9E1-4855-9CBA-481F87BF4ACB}"/>
              </a:ext>
            </a:extLst>
          </p:cNvPr>
          <p:cNvSpPr txBox="1"/>
          <p:nvPr/>
        </p:nvSpPr>
        <p:spPr>
          <a:xfrm>
            <a:off x="3585175" y="5802537"/>
            <a:ext cx="400527" cy="250590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l"/>
            <a:r>
              <a:rPr lang="en-US" altLang="ko-KR" sz="900" dirty="0">
                <a:latin typeface="+mn-ea"/>
                <a:cs typeface="Arial" panose="020B0604020202020204" pitchFamily="34" charset="0"/>
              </a:rPr>
              <a:t>Yes</a:t>
            </a:r>
            <a:endParaRPr lang="ko-KR" altLang="en-US" sz="90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79" name="순서도: 판단 78">
            <a:extLst>
              <a:ext uri="{FF2B5EF4-FFF2-40B4-BE49-F238E27FC236}">
                <a16:creationId xmlns:a16="http://schemas.microsoft.com/office/drawing/2014/main" id="{EE09B5A6-C12F-40E2-AA0D-F057D9B34082}"/>
              </a:ext>
            </a:extLst>
          </p:cNvPr>
          <p:cNvSpPr/>
          <p:nvPr/>
        </p:nvSpPr>
        <p:spPr bwMode="auto">
          <a:xfrm>
            <a:off x="775302" y="4908434"/>
            <a:ext cx="1160096" cy="389015"/>
          </a:xfrm>
          <a:prstGeom prst="flowChartDecision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가상화폐취급업소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algn="ctr" defTabSz="1019175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여부 확인</a:t>
            </a:r>
            <a:endParaRPr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80" name="꺾인 연결선 89">
            <a:extLst>
              <a:ext uri="{FF2B5EF4-FFF2-40B4-BE49-F238E27FC236}">
                <a16:creationId xmlns:a16="http://schemas.microsoft.com/office/drawing/2014/main" id="{642449D2-C99F-41F9-BA80-938AF900421D}"/>
              </a:ext>
            </a:extLst>
          </p:cNvPr>
          <p:cNvCxnSpPr>
            <a:cxnSpLocks/>
            <a:stCxn id="26" idx="1"/>
            <a:endCxn id="22" idx="1"/>
          </p:cNvCxnSpPr>
          <p:nvPr/>
        </p:nvCxnSpPr>
        <p:spPr>
          <a:xfrm rot="10800000" flipV="1">
            <a:off x="772448" y="4346611"/>
            <a:ext cx="12700" cy="1712918"/>
          </a:xfrm>
          <a:prstGeom prst="bentConnector3">
            <a:avLst>
              <a:gd name="adj1" fmla="val 180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2BD0F3B0-6AF4-44A1-97CD-A8135CA709C3}"/>
              </a:ext>
            </a:extLst>
          </p:cNvPr>
          <p:cNvSpPr txBox="1"/>
          <p:nvPr/>
        </p:nvSpPr>
        <p:spPr>
          <a:xfrm>
            <a:off x="1329060" y="4549298"/>
            <a:ext cx="779369" cy="230832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주요업종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CA2C26F-B519-422B-BE57-F7332FFA0D87}"/>
              </a:ext>
            </a:extLst>
          </p:cNvPr>
          <p:cNvSpPr txBox="1"/>
          <p:nvPr/>
        </p:nvSpPr>
        <p:spPr>
          <a:xfrm>
            <a:off x="345062" y="3962136"/>
            <a:ext cx="718352" cy="369332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주요업종</a:t>
            </a:r>
            <a: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/>
            </a:r>
            <a:br>
              <a:rPr lang="en-US" altLang="ko-KR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ko-KR" altLang="en-US" sz="900" dirty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님</a:t>
            </a:r>
          </a:p>
        </p:txBody>
      </p:sp>
      <p:grpSp>
        <p:nvGrpSpPr>
          <p:cNvPr id="84" name="그룹 83"/>
          <p:cNvGrpSpPr/>
          <p:nvPr/>
        </p:nvGrpSpPr>
        <p:grpSpPr>
          <a:xfrm>
            <a:off x="4338374" y="4696344"/>
            <a:ext cx="1302345" cy="586586"/>
            <a:chOff x="2613525" y="5987210"/>
            <a:chExt cx="687976" cy="254660"/>
          </a:xfrm>
        </p:grpSpPr>
        <p:pic>
          <p:nvPicPr>
            <p:cNvPr id="88" name="Picture 645" descr="db1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3525" y="5987210"/>
              <a:ext cx="687976" cy="2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9" name="AutoShape 260"/>
            <p:cNvSpPr>
              <a:spLocks noChangeArrowheads="1"/>
            </p:cNvSpPr>
            <p:nvPr/>
          </p:nvSpPr>
          <p:spPr bwMode="gray">
            <a:xfrm>
              <a:off x="2672434" y="6090482"/>
              <a:ext cx="555608" cy="11643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91381" tIns="82751" rIns="91381" bIns="45693" anchor="ctr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가상화폐취급업소</a:t>
              </a:r>
              <a:r>
                <a:rPr kumimoji="0" lang="en-US" altLang="ko-KR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lIST</a:t>
              </a:r>
              <a:endParaRPr kumimoji="0" lang="ko-KR" altLang="en-US" sz="900" kern="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</p:grpSp>
      <p:grpSp>
        <p:nvGrpSpPr>
          <p:cNvPr id="85" name="그룹 84"/>
          <p:cNvGrpSpPr/>
          <p:nvPr/>
        </p:nvGrpSpPr>
        <p:grpSpPr>
          <a:xfrm>
            <a:off x="4355022" y="3642234"/>
            <a:ext cx="1314775" cy="586585"/>
            <a:chOff x="2613526" y="5987214"/>
            <a:chExt cx="687976" cy="254660"/>
          </a:xfrm>
        </p:grpSpPr>
        <p:pic>
          <p:nvPicPr>
            <p:cNvPr id="86" name="Picture 645" descr="db1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3526" y="5987214"/>
              <a:ext cx="687976" cy="2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7" name="AutoShape 260"/>
            <p:cNvSpPr>
              <a:spLocks noChangeArrowheads="1"/>
            </p:cNvSpPr>
            <p:nvPr/>
          </p:nvSpPr>
          <p:spPr bwMode="gray">
            <a:xfrm>
              <a:off x="2710291" y="6090482"/>
              <a:ext cx="479897" cy="11643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91381" tIns="82751" rIns="91381" bIns="45693" anchor="ctr">
              <a:spAutoFit/>
            </a:bodyPr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CDD(</a:t>
              </a:r>
              <a:r>
                <a:rPr lang="ko-KR" altLang="en-US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</a:t>
              </a:r>
              <a:r>
                <a:rPr lang="en-US" altLang="ko-KR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)</a:t>
              </a:r>
              <a:r>
                <a:rPr lang="ko-KR" altLang="en-US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원장</a:t>
              </a:r>
              <a:r>
                <a:rPr lang="en-US" altLang="ko-KR" sz="900" kern="0" spc="-1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B</a:t>
              </a:r>
              <a:endParaRPr kumimoji="0" lang="ko-KR" altLang="en-US" sz="900" kern="0" spc="-100" dirty="0">
                <a:solidFill>
                  <a:prstClr val="black">
                    <a:lumMod val="75000"/>
                    <a:lumOff val="25000"/>
                  </a:prst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9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9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83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09113" y="215889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cxnSp>
        <p:nvCxnSpPr>
          <p:cNvPr id="93" name="직선 화살표 연결선 92">
            <a:extLst>
              <a:ext uri="{FF2B5EF4-FFF2-40B4-BE49-F238E27FC236}">
                <a16:creationId xmlns:a16="http://schemas.microsoft.com/office/drawing/2014/main" id="{8B176510-685A-41DC-9367-FB7C83AFF463}"/>
              </a:ext>
            </a:extLst>
          </p:cNvPr>
          <p:cNvCxnSpPr>
            <a:cxnSpLocks/>
            <a:stCxn id="26" idx="2"/>
            <a:endCxn id="79" idx="0"/>
          </p:cNvCxnSpPr>
          <p:nvPr/>
        </p:nvCxnSpPr>
        <p:spPr bwMode="auto">
          <a:xfrm>
            <a:off x="1352496" y="4541118"/>
            <a:ext cx="2854" cy="367316"/>
          </a:xfrm>
          <a:prstGeom prst="straightConnector1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14355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5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상세 </a:t>
            </a:r>
            <a:r>
              <a:rPr lang="ko-KR" altLang="en-US" dirty="0" smtClean="0"/>
              <a:t>정의 </a:t>
            </a:r>
            <a:r>
              <a:rPr lang="en-US" altLang="ko-KR" dirty="0" smtClean="0"/>
              <a:t>&gt; </a:t>
            </a:r>
            <a:r>
              <a:rPr lang="ko-KR" altLang="en-US" dirty="0" smtClean="0"/>
              <a:t>신원확인 및 검증절차 개선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거래채널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거래대상 등을 고려하여 각 상황에 맞는 신원확인 및 검증절차를 마련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신원확인 및 검증절차 개선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92" name="직사각형 191"/>
          <p:cNvSpPr/>
          <p:nvPr/>
        </p:nvSpPr>
        <p:spPr>
          <a:xfrm>
            <a:off x="5301832" y="2737416"/>
            <a:ext cx="321682" cy="660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1400" b="1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1</a:t>
            </a:r>
            <a:endParaRPr lang="ko-KR" altLang="en-US" sz="1400" b="1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5301832" y="3435996"/>
            <a:ext cx="321686" cy="660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1400" b="1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2</a:t>
            </a:r>
            <a:endParaRPr lang="ko-KR" altLang="en-US" sz="1400" b="1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94" name="직사각형 193"/>
          <p:cNvSpPr/>
          <p:nvPr/>
        </p:nvSpPr>
        <p:spPr>
          <a:xfrm>
            <a:off x="6967859" y="2737416"/>
            <a:ext cx="2217571" cy="66080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latinLnBrk="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주민등록증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운전면허증</a:t>
            </a:r>
            <a:r>
              <a:rPr lang="en-US" altLang="ko-KR" sz="1000" dirty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등 국가발급 신분증에 대한 자동 외부검증 수행</a:t>
            </a:r>
          </a:p>
        </p:txBody>
      </p:sp>
      <p:sp>
        <p:nvSpPr>
          <p:cNvPr id="195" name="직사각형 194"/>
          <p:cNvSpPr/>
          <p:nvPr/>
        </p:nvSpPr>
        <p:spPr>
          <a:xfrm>
            <a:off x="6967859" y="3435996"/>
            <a:ext cx="2217571" cy="66080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latinLnBrk="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비대면 계좌개설 등을 위한 전화인증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영상통화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)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활용</a:t>
            </a:r>
          </a:p>
        </p:txBody>
      </p:sp>
      <p:sp>
        <p:nvSpPr>
          <p:cNvPr id="196" name="직사각형 195"/>
          <p:cNvSpPr/>
          <p:nvPr/>
        </p:nvSpPr>
        <p:spPr>
          <a:xfrm>
            <a:off x="5651682" y="2737416"/>
            <a:ext cx="1253812" cy="661380"/>
          </a:xfrm>
          <a:prstGeom prst="rect">
            <a:avLst/>
          </a:prstGeom>
          <a:solidFill>
            <a:srgbClr val="22A8F0"/>
          </a:solidFill>
          <a:ln w="6350" algn="ctr">
            <a:noFill/>
            <a:miter lim="800000"/>
            <a:headEnd/>
            <a:tailEnd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sz="1100" b="1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신분증 발급기관 및 발급번호 확인</a:t>
            </a:r>
          </a:p>
        </p:txBody>
      </p:sp>
      <p:sp>
        <p:nvSpPr>
          <p:cNvPr id="197" name="직사각형 196"/>
          <p:cNvSpPr/>
          <p:nvPr/>
        </p:nvSpPr>
        <p:spPr>
          <a:xfrm>
            <a:off x="5651682" y="3435996"/>
            <a:ext cx="1253812" cy="661380"/>
          </a:xfrm>
          <a:prstGeom prst="rect">
            <a:avLst/>
          </a:prstGeom>
          <a:solidFill>
            <a:srgbClr val="22A8F0"/>
          </a:solidFill>
          <a:ln w="6350" algn="ctr">
            <a:noFill/>
            <a:miter lim="800000"/>
            <a:headEnd/>
            <a:tailEnd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sz="1100" b="1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고객 전화인증</a:t>
            </a:r>
          </a:p>
        </p:txBody>
      </p:sp>
      <p:grpSp>
        <p:nvGrpSpPr>
          <p:cNvPr id="198" name="그룹 197"/>
          <p:cNvGrpSpPr/>
          <p:nvPr/>
        </p:nvGrpSpPr>
        <p:grpSpPr>
          <a:xfrm>
            <a:off x="5856522" y="2275082"/>
            <a:ext cx="2890629" cy="245025"/>
            <a:chOff x="2231446" y="2155597"/>
            <a:chExt cx="1839513" cy="226731"/>
          </a:xfrm>
        </p:grpSpPr>
        <p:sp>
          <p:nvSpPr>
            <p:cNvPr id="199" name="Text Box 52"/>
            <p:cNvSpPr txBox="1">
              <a:spLocks noChangeArrowheads="1"/>
            </p:cNvSpPr>
            <p:nvPr/>
          </p:nvSpPr>
          <p:spPr bwMode="auto">
            <a:xfrm>
              <a:off x="2639020" y="2155597"/>
              <a:ext cx="1022464" cy="1566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신원확인 및 검증방법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(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안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)</a:t>
              </a:r>
              <a:endParaRPr kumimoji="1"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00" name="Line 57"/>
            <p:cNvSpPr>
              <a:spLocks noChangeShapeType="1"/>
            </p:cNvSpPr>
            <p:nvPr/>
          </p:nvSpPr>
          <p:spPr bwMode="auto">
            <a:xfrm>
              <a:off x="2231446" y="2382328"/>
              <a:ext cx="183951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</p:grpSp>
      <p:grpSp>
        <p:nvGrpSpPr>
          <p:cNvPr id="201" name="그룹 200"/>
          <p:cNvGrpSpPr/>
          <p:nvPr/>
        </p:nvGrpSpPr>
        <p:grpSpPr>
          <a:xfrm>
            <a:off x="1121312" y="2275082"/>
            <a:ext cx="2890629" cy="245025"/>
            <a:chOff x="2231446" y="2155597"/>
            <a:chExt cx="1839513" cy="226731"/>
          </a:xfrm>
        </p:grpSpPr>
        <p:sp>
          <p:nvSpPr>
            <p:cNvPr id="202" name="Text Box 52"/>
            <p:cNvSpPr txBox="1">
              <a:spLocks noChangeArrowheads="1"/>
            </p:cNvSpPr>
            <p:nvPr/>
          </p:nvSpPr>
          <p:spPr bwMode="auto">
            <a:xfrm>
              <a:off x="2928727" y="2155597"/>
              <a:ext cx="443044" cy="1566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고려 사항</a:t>
              </a:r>
              <a:endParaRPr kumimoji="1"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03" name="Line 57"/>
            <p:cNvSpPr>
              <a:spLocks noChangeShapeType="1"/>
            </p:cNvSpPr>
            <p:nvPr/>
          </p:nvSpPr>
          <p:spPr bwMode="auto">
            <a:xfrm>
              <a:off x="2231446" y="2382328"/>
              <a:ext cx="183951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</p:grpSp>
      <p:sp>
        <p:nvSpPr>
          <p:cNvPr id="204" name="직사각형 203"/>
          <p:cNvSpPr/>
          <p:nvPr/>
        </p:nvSpPr>
        <p:spPr>
          <a:xfrm>
            <a:off x="1735392" y="2737416"/>
            <a:ext cx="2647435" cy="96966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영업점 등을 통한 대면거래</a:t>
            </a:r>
            <a:endParaRPr lang="en-US" altLang="ko-KR" sz="1000" dirty="0" smtClean="0"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marL="85725" indent="-85725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스마트폰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인터넷을 통한 비대면 거래</a:t>
            </a:r>
            <a:endParaRPr lang="en-US" altLang="ko-KR" sz="1000" dirty="0" smtClean="0"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05" name="직사각형 204"/>
          <p:cNvSpPr/>
          <p:nvPr/>
        </p:nvSpPr>
        <p:spPr>
          <a:xfrm>
            <a:off x="668524" y="2737416"/>
            <a:ext cx="1030006" cy="970509"/>
          </a:xfrm>
          <a:prstGeom prst="rect">
            <a:avLst/>
          </a:prstGeom>
          <a:solidFill>
            <a:srgbClr val="22A8F0"/>
          </a:solidFill>
          <a:ln w="6350" algn="ctr">
            <a:noFill/>
            <a:miter lim="800000"/>
            <a:headEnd/>
            <a:tailEnd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  </a:t>
            </a:r>
            <a:r>
              <a:rPr lang="ko-KR" altLang="en-US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채널 구분</a:t>
            </a:r>
          </a:p>
        </p:txBody>
      </p:sp>
      <p:sp>
        <p:nvSpPr>
          <p:cNvPr id="206" name="직사각형 205"/>
          <p:cNvSpPr/>
          <p:nvPr/>
        </p:nvSpPr>
        <p:spPr>
          <a:xfrm>
            <a:off x="1735392" y="3924955"/>
            <a:ext cx="2647435" cy="96966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위험도가 낮은 예적금 거래</a:t>
            </a:r>
            <a:endParaRPr lang="en-US" altLang="ko-KR" sz="1000" dirty="0"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marL="85725" indent="-85725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위험도가 높은 제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3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자 수익자 지정가능 신탁 상품</a:t>
            </a:r>
            <a:endParaRPr lang="en-US" altLang="ko-KR" sz="1000" dirty="0" smtClean="0"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07" name="직사각형 206"/>
          <p:cNvSpPr/>
          <p:nvPr/>
        </p:nvSpPr>
        <p:spPr>
          <a:xfrm>
            <a:off x="668524" y="3924955"/>
            <a:ext cx="1030006" cy="970509"/>
          </a:xfrm>
          <a:prstGeom prst="rect">
            <a:avLst/>
          </a:prstGeom>
          <a:solidFill>
            <a:srgbClr val="22A8F0"/>
          </a:solidFill>
          <a:ln w="6350" algn="ctr">
            <a:noFill/>
            <a:miter lim="800000"/>
            <a:headEnd/>
            <a:tailEnd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위험도</a:t>
            </a:r>
          </a:p>
        </p:txBody>
      </p:sp>
      <p:sp>
        <p:nvSpPr>
          <p:cNvPr id="208" name="직사각형 207"/>
          <p:cNvSpPr/>
          <p:nvPr/>
        </p:nvSpPr>
        <p:spPr>
          <a:xfrm>
            <a:off x="1735392" y="5157700"/>
            <a:ext cx="2647435" cy="96966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계좌주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대출의 계약자 등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)</a:t>
            </a:r>
          </a:p>
          <a:p>
            <a:pPr marL="85725" indent="-85725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신탁상품의 수익자</a:t>
            </a:r>
            <a:endParaRPr lang="en-US" altLang="ko-KR" sz="1000" dirty="0" smtClean="0"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  <a:p>
            <a:pPr marL="85725" indent="-85725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실제 소유자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대리인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담보제공자 등 거래 관련자</a:t>
            </a:r>
          </a:p>
        </p:txBody>
      </p:sp>
      <p:sp>
        <p:nvSpPr>
          <p:cNvPr id="209" name="직사각형 208"/>
          <p:cNvSpPr/>
          <p:nvPr/>
        </p:nvSpPr>
        <p:spPr>
          <a:xfrm>
            <a:off x="668524" y="5157700"/>
            <a:ext cx="1030006" cy="970509"/>
          </a:xfrm>
          <a:prstGeom prst="rect">
            <a:avLst/>
          </a:prstGeom>
          <a:solidFill>
            <a:srgbClr val="22A8F0"/>
          </a:solidFill>
          <a:ln w="6350" algn="ctr">
            <a:noFill/>
            <a:miter lim="800000"/>
            <a:headEnd/>
            <a:tailEnd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대상</a:t>
            </a:r>
          </a:p>
        </p:txBody>
      </p:sp>
      <p:sp>
        <p:nvSpPr>
          <p:cNvPr id="210" name="AutoShape 2"/>
          <p:cNvSpPr>
            <a:spLocks noChangeArrowheads="1"/>
          </p:cNvSpPr>
          <p:nvPr/>
        </p:nvSpPr>
        <p:spPr bwMode="auto">
          <a:xfrm>
            <a:off x="4570995" y="2891958"/>
            <a:ext cx="437351" cy="2589136"/>
          </a:xfrm>
          <a:prstGeom prst="rightArrow">
            <a:avLst>
              <a:gd name="adj1" fmla="val 64263"/>
              <a:gd name="adj2" fmla="val 43042"/>
            </a:avLst>
          </a:prstGeom>
          <a:solidFill>
            <a:schemeClr val="bg1">
              <a:lumMod val="65000"/>
            </a:schemeClr>
          </a:solidFill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latinLnBrk="0">
              <a:defRPr/>
            </a:pPr>
            <a:endParaRPr lang="ko-KR" altLang="en-US" kern="0" dirty="0">
              <a:solidFill>
                <a:sysClr val="windowText" lastClr="000000"/>
              </a:solidFill>
              <a:latin typeface="KoPubWorld돋움체 Medium" panose="00000600000000000000" pitchFamily="2" charset="-127"/>
              <a:ea typeface="KoPubWorld돋움체 Medium" panose="000006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12" name="직사각형 211"/>
          <p:cNvSpPr/>
          <p:nvPr/>
        </p:nvSpPr>
        <p:spPr>
          <a:xfrm>
            <a:off x="5301832" y="4148733"/>
            <a:ext cx="321686" cy="660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1400" b="1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3</a:t>
            </a:r>
            <a:endParaRPr lang="ko-KR" altLang="en-US" sz="1400" b="1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13" name="직사각형 212"/>
          <p:cNvSpPr/>
          <p:nvPr/>
        </p:nvSpPr>
        <p:spPr>
          <a:xfrm>
            <a:off x="6967859" y="4148733"/>
            <a:ext cx="2217571" cy="66080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latinLnBrk="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신용카드 등을 위한 접근매체 전달 시 신원확인 수행</a:t>
            </a:r>
          </a:p>
        </p:txBody>
      </p:sp>
      <p:sp>
        <p:nvSpPr>
          <p:cNvPr id="214" name="직사각형 213"/>
          <p:cNvSpPr/>
          <p:nvPr/>
        </p:nvSpPr>
        <p:spPr>
          <a:xfrm>
            <a:off x="5651682" y="4148733"/>
            <a:ext cx="1253812" cy="661380"/>
          </a:xfrm>
          <a:prstGeom prst="rect">
            <a:avLst/>
          </a:prstGeom>
          <a:solidFill>
            <a:srgbClr val="22A8F0"/>
          </a:solidFill>
          <a:ln w="6350" algn="ctr">
            <a:noFill/>
            <a:miter lim="800000"/>
            <a:headEnd/>
            <a:tailEnd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sz="1100" b="1" spc="-7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접근매체 전달 시 확인</a:t>
            </a:r>
            <a:endParaRPr lang="ko-KR" altLang="en-US" sz="1100" b="1" spc="-7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15" name="직사각형 214"/>
          <p:cNvSpPr/>
          <p:nvPr/>
        </p:nvSpPr>
        <p:spPr>
          <a:xfrm>
            <a:off x="5340344" y="5661352"/>
            <a:ext cx="3883598" cy="4668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defTabSz="1042959" eaLnBrk="0" latinLnBrk="0" hangingPunct="0">
              <a:buSzPct val="140000"/>
              <a:buFont typeface="Wingdings" panose="05000000000000000000" pitchFamily="2" charset="2"/>
              <a:buChar char="§"/>
            </a:pPr>
            <a:r>
              <a:rPr lang="ko-KR" altLang="en-US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거래채널</a:t>
            </a:r>
            <a:r>
              <a:rPr lang="en-US" altLang="ko-KR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위험도</a:t>
            </a:r>
            <a:r>
              <a:rPr lang="en-US" altLang="ko-KR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거래대상 등에 따라 신원확인 및 검증방법을 </a:t>
            </a:r>
            <a:r>
              <a:rPr lang="en-US" altLang="ko-KR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/>
            </a:r>
            <a:br>
              <a:rPr lang="en-US" altLang="ko-KR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</a:br>
            <a:r>
              <a:rPr lang="en-US" altLang="ko-KR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2</a:t>
            </a:r>
            <a:r>
              <a:rPr lang="ko-KR" altLang="en-US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 또는 </a:t>
            </a:r>
            <a:r>
              <a:rPr lang="en-US" altLang="ko-KR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3</a:t>
            </a:r>
            <a:r>
              <a:rPr lang="ko-KR" altLang="en-US" sz="105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가지 조합하여 활용</a:t>
            </a:r>
            <a:endParaRPr lang="ko-KR" altLang="en-US" sz="105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16" name="직사각형 215"/>
          <p:cNvSpPr/>
          <p:nvPr/>
        </p:nvSpPr>
        <p:spPr>
          <a:xfrm>
            <a:off x="5301832" y="4853125"/>
            <a:ext cx="321686" cy="660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en-US" altLang="ko-KR" sz="1400" b="1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4</a:t>
            </a:r>
            <a:endParaRPr lang="ko-KR" altLang="en-US" sz="1400" b="1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17" name="직사각형 216"/>
          <p:cNvSpPr/>
          <p:nvPr/>
        </p:nvSpPr>
        <p:spPr>
          <a:xfrm>
            <a:off x="6967859" y="4853125"/>
            <a:ext cx="2217571" cy="66080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 latinLnBrk="0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지문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지정맥</a:t>
            </a:r>
            <a:r>
              <a:rPr lang="en-US" altLang="ko-KR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KoPubWorld돋움체 Medium" panose="00000600000000000000" pitchFamily="2" charset="-127"/>
              </a:rPr>
              <a:t>홍채 등 생체 정보 인증을 통한 신원확인 수행</a:t>
            </a:r>
          </a:p>
        </p:txBody>
      </p:sp>
      <p:sp>
        <p:nvSpPr>
          <p:cNvPr id="218" name="직사각형 217"/>
          <p:cNvSpPr/>
          <p:nvPr/>
        </p:nvSpPr>
        <p:spPr>
          <a:xfrm>
            <a:off x="5651682" y="4853125"/>
            <a:ext cx="1253812" cy="661380"/>
          </a:xfrm>
          <a:prstGeom prst="rect">
            <a:avLst/>
          </a:prstGeom>
          <a:solidFill>
            <a:srgbClr val="22A8F0"/>
          </a:solidFill>
          <a:ln w="6350" algn="ctr">
            <a:noFill/>
            <a:miter lim="800000"/>
            <a:headEnd/>
            <a:tailEnd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sz="1100" b="1" spc="-7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생체인식 기반 인증</a:t>
            </a:r>
            <a:endParaRPr lang="ko-KR" altLang="en-US" sz="1100" b="1" spc="-7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4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48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95562" y="226172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39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5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상세 정의 </a:t>
            </a:r>
            <a:r>
              <a:rPr lang="en-US" altLang="ko-KR" dirty="0"/>
              <a:t>&gt; </a:t>
            </a:r>
            <a:r>
              <a:rPr lang="ko-KR" altLang="en-US" dirty="0"/>
              <a:t>법인〮단체 실제소유자 </a:t>
            </a:r>
            <a:r>
              <a:rPr lang="ko-KR" altLang="en-US" dirty="0" smtClean="0"/>
              <a:t>확인 </a:t>
            </a:r>
            <a:r>
              <a:rPr lang="en-US" altLang="ko-KR" dirty="0" smtClean="0"/>
              <a:t>(1/2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영리법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특수목적법인 포함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비영리법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임의단체 유형의 상세 구분별 실제 소유자 및 확인가능 방법을 정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법인 유형 별 실소유자 확인 방법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" name="직사각형 13"/>
          <p:cNvSpPr/>
          <p:nvPr/>
        </p:nvSpPr>
        <p:spPr>
          <a:xfrm>
            <a:off x="497936" y="2687256"/>
            <a:ext cx="589667" cy="279341"/>
          </a:xfrm>
          <a:prstGeom prst="rect">
            <a:avLst/>
          </a:prstGeom>
          <a:solidFill>
            <a:srgbClr val="B5BFC7"/>
          </a:solidFill>
          <a:ln w="6350">
            <a:solidFill>
              <a:srgbClr val="99A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법인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497936" y="2293269"/>
            <a:ext cx="3773788" cy="279341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법인 구분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1267205" y="2687256"/>
            <a:ext cx="869152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리법인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1267205" y="4341127"/>
            <a:ext cx="869152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영리법인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1267205" y="5611089"/>
            <a:ext cx="869152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임의단체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2359189" y="2687256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marL="101591" indent="-101591" algn="ctr" defTabSz="1042959" eaLnBrk="0" latinLnBrk="0" hangingPunct="0"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식회사 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특수목적법인 포함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359189" y="3070408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한회사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2356703" y="3453561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합명회사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2356703" y="3836714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합자회사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2356703" y="4341127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법인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2356703" y="4724012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단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재단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2356703" y="5106896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타단체</a:t>
            </a:r>
          </a:p>
        </p:txBody>
      </p:sp>
      <p:sp>
        <p:nvSpPr>
          <p:cNvPr id="27" name="직사각형 26"/>
          <p:cNvSpPr/>
          <p:nvPr/>
        </p:nvSpPr>
        <p:spPr>
          <a:xfrm>
            <a:off x="2356703" y="5611089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단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재단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2356703" y="5993974"/>
            <a:ext cx="1905954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타단체</a:t>
            </a:r>
          </a:p>
        </p:txBody>
      </p:sp>
      <p:sp>
        <p:nvSpPr>
          <p:cNvPr id="72" name="직사각형 71"/>
          <p:cNvSpPr/>
          <p:nvPr/>
        </p:nvSpPr>
        <p:spPr>
          <a:xfrm>
            <a:off x="4335378" y="2687256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~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4335378" y="3070408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~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4332989" y="3453561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~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4332989" y="3836714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~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4332989" y="4341127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82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4332989" y="4724012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82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4332989" y="5106896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82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4332989" y="5611089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80,89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4332989" y="5993974"/>
            <a:ext cx="950588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80,89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4332989" y="2293269"/>
            <a:ext cx="950588" cy="279341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사업자번호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5354887" y="2687255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주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5354887" y="3070407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원</a:t>
            </a:r>
          </a:p>
        </p:txBody>
      </p:sp>
      <p:sp>
        <p:nvSpPr>
          <p:cNvPr id="64" name="직사각형 63"/>
          <p:cNvSpPr/>
          <p:nvPr/>
        </p:nvSpPr>
        <p:spPr>
          <a:xfrm>
            <a:off x="5352174" y="3453560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원</a:t>
            </a:r>
          </a:p>
        </p:txBody>
      </p:sp>
      <p:sp>
        <p:nvSpPr>
          <p:cNvPr id="65" name="직사각형 64"/>
          <p:cNvSpPr/>
          <p:nvPr/>
        </p:nvSpPr>
        <p:spPr>
          <a:xfrm>
            <a:off x="5352174" y="3836713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원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5352174" y="4341126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사</a:t>
            </a:r>
          </a:p>
        </p:txBody>
      </p:sp>
      <p:sp>
        <p:nvSpPr>
          <p:cNvPr id="67" name="직사각형 66"/>
          <p:cNvSpPr/>
          <p:nvPr/>
        </p:nvSpPr>
        <p:spPr>
          <a:xfrm>
            <a:off x="5352174" y="4724011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사</a:t>
            </a:r>
          </a:p>
        </p:txBody>
      </p:sp>
      <p:sp>
        <p:nvSpPr>
          <p:cNvPr id="68" name="직사각형 67"/>
          <p:cNvSpPr/>
          <p:nvPr/>
        </p:nvSpPr>
        <p:spPr>
          <a:xfrm>
            <a:off x="5352174" y="5106895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표자</a:t>
            </a:r>
          </a:p>
        </p:txBody>
      </p:sp>
      <p:sp>
        <p:nvSpPr>
          <p:cNvPr id="69" name="직사각형 68"/>
          <p:cNvSpPr/>
          <p:nvPr/>
        </p:nvSpPr>
        <p:spPr>
          <a:xfrm>
            <a:off x="5352174" y="5611088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사</a:t>
            </a:r>
          </a:p>
        </p:txBody>
      </p:sp>
      <p:sp>
        <p:nvSpPr>
          <p:cNvPr id="70" name="직사각형 69"/>
          <p:cNvSpPr/>
          <p:nvPr/>
        </p:nvSpPr>
        <p:spPr>
          <a:xfrm>
            <a:off x="5352174" y="5993973"/>
            <a:ext cx="988383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표자</a:t>
            </a:r>
          </a:p>
        </p:txBody>
      </p:sp>
      <p:sp>
        <p:nvSpPr>
          <p:cNvPr id="71" name="직사각형 70"/>
          <p:cNvSpPr/>
          <p:nvPr/>
        </p:nvSpPr>
        <p:spPr>
          <a:xfrm>
            <a:off x="5352174" y="2293268"/>
            <a:ext cx="988383" cy="279341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실소유자</a:t>
            </a:r>
          </a:p>
        </p:txBody>
      </p:sp>
      <p:cxnSp>
        <p:nvCxnSpPr>
          <p:cNvPr id="31" name="직선 연결선 30"/>
          <p:cNvCxnSpPr>
            <a:stCxn id="14" idx="3"/>
            <a:endCxn id="16" idx="1"/>
          </p:cNvCxnSpPr>
          <p:nvPr/>
        </p:nvCxnSpPr>
        <p:spPr>
          <a:xfrm>
            <a:off x="1087603" y="2826926"/>
            <a:ext cx="179603" cy="0"/>
          </a:xfrm>
          <a:prstGeom prst="line">
            <a:avLst/>
          </a:prstGeom>
          <a:ln w="6350">
            <a:solidFill>
              <a:srgbClr val="969696"/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꺾인 연결선 31"/>
          <p:cNvCxnSpPr>
            <a:stCxn id="16" idx="3"/>
            <a:endCxn id="20" idx="1"/>
          </p:cNvCxnSpPr>
          <p:nvPr/>
        </p:nvCxnSpPr>
        <p:spPr>
          <a:xfrm>
            <a:off x="2136357" y="2826927"/>
            <a:ext cx="222831" cy="383153"/>
          </a:xfrm>
          <a:prstGeom prst="bentConnector3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꺾인 연결선 32"/>
          <p:cNvCxnSpPr>
            <a:stCxn id="16" idx="3"/>
            <a:endCxn id="21" idx="1"/>
          </p:cNvCxnSpPr>
          <p:nvPr/>
        </p:nvCxnSpPr>
        <p:spPr>
          <a:xfrm>
            <a:off x="2136357" y="2826927"/>
            <a:ext cx="220346" cy="766305"/>
          </a:xfrm>
          <a:prstGeom prst="bentConnector3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꺾인 연결선 33"/>
          <p:cNvCxnSpPr>
            <a:stCxn id="16" idx="3"/>
            <a:endCxn id="22" idx="1"/>
          </p:cNvCxnSpPr>
          <p:nvPr/>
        </p:nvCxnSpPr>
        <p:spPr>
          <a:xfrm>
            <a:off x="2136357" y="2826927"/>
            <a:ext cx="220346" cy="1149458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꺾인 연결선 34"/>
          <p:cNvCxnSpPr>
            <a:stCxn id="14" idx="3"/>
            <a:endCxn id="17" idx="1"/>
          </p:cNvCxnSpPr>
          <p:nvPr/>
        </p:nvCxnSpPr>
        <p:spPr>
          <a:xfrm>
            <a:off x="1087603" y="2826926"/>
            <a:ext cx="179603" cy="1653871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꺾인 연결선 35"/>
          <p:cNvCxnSpPr>
            <a:stCxn id="14" idx="3"/>
            <a:endCxn id="18" idx="1"/>
          </p:cNvCxnSpPr>
          <p:nvPr/>
        </p:nvCxnSpPr>
        <p:spPr>
          <a:xfrm>
            <a:off x="1087603" y="2826926"/>
            <a:ext cx="179603" cy="2923833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꺾인 연결선 36"/>
          <p:cNvCxnSpPr>
            <a:stCxn id="18" idx="3"/>
            <a:endCxn id="28" idx="1"/>
          </p:cNvCxnSpPr>
          <p:nvPr/>
        </p:nvCxnSpPr>
        <p:spPr>
          <a:xfrm>
            <a:off x="2136357" y="5750760"/>
            <a:ext cx="220346" cy="382885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꺾인 연결선 37"/>
          <p:cNvCxnSpPr>
            <a:stCxn id="17" idx="3"/>
            <a:endCxn id="25" idx="1"/>
          </p:cNvCxnSpPr>
          <p:nvPr/>
        </p:nvCxnSpPr>
        <p:spPr>
          <a:xfrm>
            <a:off x="2136357" y="4480798"/>
            <a:ext cx="220346" cy="382885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꺾인 연결선 43"/>
          <p:cNvCxnSpPr>
            <a:stCxn id="17" idx="3"/>
            <a:endCxn id="26" idx="1"/>
          </p:cNvCxnSpPr>
          <p:nvPr/>
        </p:nvCxnSpPr>
        <p:spPr>
          <a:xfrm>
            <a:off x="2136357" y="4480798"/>
            <a:ext cx="220346" cy="765769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44"/>
          <p:cNvCxnSpPr>
            <a:stCxn id="16" idx="3"/>
            <a:endCxn id="19" idx="1"/>
          </p:cNvCxnSpPr>
          <p:nvPr/>
        </p:nvCxnSpPr>
        <p:spPr>
          <a:xfrm>
            <a:off x="2136357" y="2826927"/>
            <a:ext cx="222831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>
            <a:stCxn id="17" idx="3"/>
            <a:endCxn id="23" idx="1"/>
          </p:cNvCxnSpPr>
          <p:nvPr/>
        </p:nvCxnSpPr>
        <p:spPr>
          <a:xfrm>
            <a:off x="2136357" y="4480798"/>
            <a:ext cx="220346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>
            <a:stCxn id="18" idx="3"/>
            <a:endCxn id="27" idx="1"/>
          </p:cNvCxnSpPr>
          <p:nvPr/>
        </p:nvCxnSpPr>
        <p:spPr>
          <a:xfrm>
            <a:off x="2136357" y="5750760"/>
            <a:ext cx="220346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직사각형 48"/>
          <p:cNvSpPr/>
          <p:nvPr/>
        </p:nvSpPr>
        <p:spPr>
          <a:xfrm>
            <a:off x="6408760" y="2687257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주명부 등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6408760" y="3070409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원명부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관</a:t>
            </a:r>
          </a:p>
        </p:txBody>
      </p:sp>
      <p:sp>
        <p:nvSpPr>
          <p:cNvPr id="51" name="직사각형 50"/>
          <p:cNvSpPr/>
          <p:nvPr/>
        </p:nvSpPr>
        <p:spPr>
          <a:xfrm>
            <a:off x="6406089" y="3453562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원명부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관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6406089" y="3836715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원명부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관</a:t>
            </a:r>
          </a:p>
        </p:txBody>
      </p:sp>
      <p:sp>
        <p:nvSpPr>
          <p:cNvPr id="53" name="직사각형 52"/>
          <p:cNvSpPr/>
          <p:nvPr/>
        </p:nvSpPr>
        <p:spPr>
          <a:xfrm>
            <a:off x="6406089" y="4341128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사명부</a:t>
            </a:r>
          </a:p>
        </p:txBody>
      </p:sp>
      <p:sp>
        <p:nvSpPr>
          <p:cNvPr id="55" name="직사각형 54"/>
          <p:cNvSpPr/>
          <p:nvPr/>
        </p:nvSpPr>
        <p:spPr>
          <a:xfrm>
            <a:off x="6406089" y="4724013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사명부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출연자</a:t>
            </a:r>
          </a:p>
        </p:txBody>
      </p:sp>
      <p:sp>
        <p:nvSpPr>
          <p:cNvPr id="56" name="직사각형 55"/>
          <p:cNvSpPr/>
          <p:nvPr/>
        </p:nvSpPr>
        <p:spPr>
          <a:xfrm>
            <a:off x="6406089" y="5106897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~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6406089" y="5611090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사명부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출연자</a:t>
            </a:r>
          </a:p>
        </p:txBody>
      </p:sp>
      <p:sp>
        <p:nvSpPr>
          <p:cNvPr id="58" name="직사각형 57"/>
          <p:cNvSpPr/>
          <p:nvPr/>
        </p:nvSpPr>
        <p:spPr>
          <a:xfrm>
            <a:off x="6406089" y="5993975"/>
            <a:ext cx="1237479" cy="2793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~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406089" y="2293270"/>
            <a:ext cx="3011406" cy="279341"/>
          </a:xfrm>
          <a:prstGeom prst="rect">
            <a:avLst/>
          </a:prstGeom>
          <a:solidFill>
            <a:srgbClr val="7C8E9C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실소유자 확인 서류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7730208" y="2692673"/>
            <a:ext cx="1687288" cy="1423380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금융감독원 전자공시 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업보고서 공시 대상</a:t>
            </a: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업보고서</a:t>
            </a:r>
          </a:p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ISLINE, CRETOP, </a:t>
            </a: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한국기업데이터 사이트 </a:t>
            </a:r>
          </a:p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회사 자필 확인서</a:t>
            </a:r>
          </a:p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타</a:t>
            </a:r>
          </a:p>
        </p:txBody>
      </p:sp>
      <p:sp>
        <p:nvSpPr>
          <p:cNvPr id="61" name="직사각형 60"/>
          <p:cNvSpPr/>
          <p:nvPr/>
        </p:nvSpPr>
        <p:spPr>
          <a:xfrm>
            <a:off x="7730207" y="4341126"/>
            <a:ext cx="1687288" cy="19321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법인 등기부등본</a:t>
            </a:r>
            <a:endParaRPr lang="en-US" altLang="ko-KR" sz="10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회사 자필 확인서</a:t>
            </a:r>
          </a:p>
          <a:p>
            <a:pPr marL="87313" indent="-87313" defTabSz="1042959" eaLnBrk="0" latinLnBrk="0" hangingPunct="0">
              <a:lnSpc>
                <a:spcPct val="90000"/>
              </a:lnSpc>
              <a:buSzPct val="140000"/>
              <a:buFont typeface="Arial" panose="020B0604020202020204" pitchFamily="34" charset="0"/>
              <a:buChar char="•"/>
            </a:pPr>
            <a:r>
              <a:rPr lang="ko-KR" altLang="en-US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타</a:t>
            </a:r>
          </a:p>
        </p:txBody>
      </p:sp>
      <p:sp>
        <p:nvSpPr>
          <p:cNvPr id="8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82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09113" y="221927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646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5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상세 정의 </a:t>
            </a:r>
            <a:r>
              <a:rPr lang="en-US" altLang="ko-KR" dirty="0"/>
              <a:t>&gt; </a:t>
            </a:r>
            <a:r>
              <a:rPr lang="ko-KR" altLang="en-US" dirty="0"/>
              <a:t>법인〮단체 실제소유자 확인 </a:t>
            </a:r>
            <a:r>
              <a:rPr lang="en-US" altLang="ko-KR" dirty="0" smtClean="0"/>
              <a:t>(2/2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련 법령의 요구사항에 따른 단계별 실제 소유자 확인 방안을 정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실제소유자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확인 방안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–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법령 요구사항에 따른 적용 예시 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86" name="그룹 85"/>
          <p:cNvGrpSpPr/>
          <p:nvPr/>
        </p:nvGrpSpPr>
        <p:grpSpPr>
          <a:xfrm>
            <a:off x="1292753" y="2240868"/>
            <a:ext cx="2587085" cy="215893"/>
            <a:chOff x="2054933" y="2226795"/>
            <a:chExt cx="2292854" cy="226731"/>
          </a:xfrm>
        </p:grpSpPr>
        <p:sp>
          <p:nvSpPr>
            <p:cNvPr id="87" name="Text Box 52"/>
            <p:cNvSpPr txBox="1">
              <a:spLocks noChangeArrowheads="1"/>
            </p:cNvSpPr>
            <p:nvPr/>
          </p:nvSpPr>
          <p:spPr bwMode="auto">
            <a:xfrm>
              <a:off x="2471142" y="2226795"/>
              <a:ext cx="1574572" cy="19393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실제 소유자 지배구조 예시</a:t>
              </a:r>
              <a:endParaRPr kumimoji="1" lang="ko-KR" altLang="en-US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88" name="Line 57"/>
            <p:cNvSpPr>
              <a:spLocks noChangeShapeType="1"/>
            </p:cNvSpPr>
            <p:nvPr/>
          </p:nvSpPr>
          <p:spPr bwMode="auto">
            <a:xfrm>
              <a:off x="2054933" y="2453526"/>
              <a:ext cx="229285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pic>
        <p:nvPicPr>
          <p:cNvPr id="89" name="그림 88"/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670560" y="2686735"/>
            <a:ext cx="4235269" cy="3621989"/>
          </a:xfrm>
          <a:prstGeom prst="rect">
            <a:avLst/>
          </a:prstGeom>
        </p:spPr>
      </p:pic>
      <p:grpSp>
        <p:nvGrpSpPr>
          <p:cNvPr id="90" name="그룹 89"/>
          <p:cNvGrpSpPr/>
          <p:nvPr/>
        </p:nvGrpSpPr>
        <p:grpSpPr>
          <a:xfrm>
            <a:off x="5866410" y="2240868"/>
            <a:ext cx="3188303" cy="215893"/>
            <a:chOff x="1846101" y="2226795"/>
            <a:chExt cx="2825695" cy="226731"/>
          </a:xfrm>
        </p:grpSpPr>
        <p:sp>
          <p:nvSpPr>
            <p:cNvPr id="91" name="Text Box 52"/>
            <p:cNvSpPr txBox="1">
              <a:spLocks noChangeArrowheads="1"/>
            </p:cNvSpPr>
            <p:nvPr/>
          </p:nvSpPr>
          <p:spPr bwMode="auto">
            <a:xfrm>
              <a:off x="2070511" y="2226795"/>
              <a:ext cx="2375842" cy="19393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관련 법령 적용 절차 예시 </a:t>
              </a:r>
              <a:r>
                <a:rPr kumimoji="1" lang="en-US" altLang="ko-KR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</a:t>
              </a:r>
              <a:r>
                <a:rPr kumimoji="1"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삼성전자 기준</a:t>
              </a:r>
              <a:r>
                <a:rPr kumimoji="1" lang="en-US" altLang="ko-KR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)</a:t>
              </a:r>
              <a:endParaRPr kumimoji="1" lang="ko-KR" altLang="en-US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2" name="Line 57"/>
            <p:cNvSpPr>
              <a:spLocks noChangeShapeType="1"/>
            </p:cNvSpPr>
            <p:nvPr/>
          </p:nvSpPr>
          <p:spPr bwMode="auto">
            <a:xfrm>
              <a:off x="1846101" y="2453526"/>
              <a:ext cx="282569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93" name="직사각형 92"/>
          <p:cNvSpPr/>
          <p:nvPr/>
        </p:nvSpPr>
        <p:spPr>
          <a:xfrm>
            <a:off x="2325913" y="4464551"/>
            <a:ext cx="551543" cy="25567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dirty="0">
              <a:solidFill>
                <a:prstClr val="white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4" name="Rectangle 63"/>
          <p:cNvSpPr>
            <a:spLocks noChangeArrowheads="1"/>
          </p:cNvSpPr>
          <p:nvPr/>
        </p:nvSpPr>
        <p:spPr bwMode="auto">
          <a:xfrm>
            <a:off x="6145875" y="2893060"/>
            <a:ext cx="3214705" cy="604920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주명부 상 개인기준 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5%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상 주주 없음</a:t>
            </a:r>
            <a:endParaRPr lang="en-US" altLang="ko-KR" sz="1000" dirty="0" smtClean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주주명부 상 법인기준 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25%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이상 주주 없음</a:t>
            </a:r>
            <a:endParaRPr lang="en-US" altLang="ko-KR" sz="1000" dirty="0" smtClean="0"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  <a:p>
            <a:r>
              <a:rPr lang="en-US" altLang="ko-KR" sz="1000" dirty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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자연인 기준 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25%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이상이므로 대상 없음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5353395" y="2893061"/>
            <a:ext cx="749009" cy="60491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단계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25%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6" name="Rectangle 63"/>
          <p:cNvSpPr>
            <a:spLocks noChangeArrowheads="1"/>
          </p:cNvSpPr>
          <p:nvPr/>
        </p:nvSpPr>
        <p:spPr bwMode="auto">
          <a:xfrm>
            <a:off x="6145875" y="3562296"/>
            <a:ext cx="3214705" cy="896730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실상 회사를 지배하고 있는 자연인</a:t>
            </a:r>
            <a:endParaRPr lang="en-US" altLang="ko-KR" sz="1000" dirty="0" smtClean="0"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  <a:p>
            <a:pPr marL="180975" indent="-180975"/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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이재용 </a:t>
            </a:r>
            <a:r>
              <a:rPr lang="ko-KR" altLang="en-US" sz="1000" dirty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부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회장이 직접 삼성전자 주주로 등재되어 있다면 이재용 부회장이 대상이 됨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.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이재용 부회장이 직접 삼성전자 주주로 등재되어 있지 않을 경우 제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3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의 인물 대상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5353395" y="3562296"/>
            <a:ext cx="749009" cy="89672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단계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배주주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8" name="Rectangle 63"/>
          <p:cNvSpPr>
            <a:spLocks noChangeArrowheads="1"/>
          </p:cNvSpPr>
          <p:nvPr/>
        </p:nvSpPr>
        <p:spPr bwMode="auto">
          <a:xfrm>
            <a:off x="6145875" y="4513534"/>
            <a:ext cx="3214705" cy="516145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,2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계 확인이 불가한 경우 대표자</a:t>
            </a:r>
            <a:endParaRPr lang="en-US" altLang="ko-KR" sz="1000" dirty="0" smtClean="0"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  <a:p>
            <a:pPr marL="180975" indent="-180975"/>
            <a:r>
              <a:rPr lang="en-US" altLang="ko-KR" sz="1000" dirty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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삼성전자 대표이사 대상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5353395" y="4513535"/>
            <a:ext cx="749009" cy="516144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단계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표자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0" name="Rectangle 63"/>
          <p:cNvSpPr>
            <a:spLocks noChangeArrowheads="1"/>
          </p:cNvSpPr>
          <p:nvPr/>
        </p:nvSpPr>
        <p:spPr bwMode="auto">
          <a:xfrm>
            <a:off x="6145875" y="5509598"/>
            <a:ext cx="3214705" cy="748091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배구조 </a:t>
            </a:r>
            <a:r>
              <a:rPr lang="ko-KR" altLang="en-US" sz="1000" dirty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주주가 법인인 경우 추가 확인 가능</a:t>
            </a:r>
            <a:endParaRPr lang="en-US" altLang="ko-KR" sz="1000" dirty="0" smtClean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80975" indent="-180975"/>
            <a:r>
              <a:rPr lang="en-US" altLang="ko-KR" sz="1000" dirty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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삼성전자에 직간접적으로 지분을 가지고 있는 에버랜드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,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삼성생명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,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삼성물산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,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삼성화재의 지분율을 추가 분석하여 </a:t>
            </a:r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25% </a:t>
            </a:r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sym typeface="Wingdings" pitchFamily="2" charset="2"/>
              </a:rPr>
              <a:t>이상 개인주주 조사 가능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sym typeface="Wingdings" pitchFamily="2" charset="2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5353395" y="5509599"/>
            <a:ext cx="749009" cy="74809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1,2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단계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지분율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2" name="Text Box 52"/>
          <p:cNvSpPr txBox="1">
            <a:spLocks noChangeArrowheads="1"/>
          </p:cNvSpPr>
          <p:nvPr/>
        </p:nvSpPr>
        <p:spPr bwMode="auto">
          <a:xfrm>
            <a:off x="5277036" y="2632939"/>
            <a:ext cx="984745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9623" tIns="0" rIns="79623" bIns="0">
            <a:spAutoFit/>
          </a:bodyPr>
          <a:lstStyle/>
          <a:p>
            <a:pPr algn="ctr" latinLnBrk="0"/>
            <a:r>
              <a:rPr kumimoji="1"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필수 확인 사항</a:t>
            </a:r>
            <a:endParaRPr kumimoji="1"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3" name="Text Box 52"/>
          <p:cNvSpPr txBox="1">
            <a:spLocks noChangeArrowheads="1"/>
          </p:cNvSpPr>
          <p:nvPr/>
        </p:nvSpPr>
        <p:spPr bwMode="auto">
          <a:xfrm>
            <a:off x="5286444" y="5293906"/>
            <a:ext cx="13967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9623" tIns="0" rIns="79623" bIns="0">
            <a:spAutoFit/>
          </a:bodyPr>
          <a:lstStyle/>
          <a:p>
            <a:pPr latinLnBrk="0"/>
            <a:r>
              <a:rPr kumimoji="1"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추가 확인 가능한 사항</a:t>
            </a:r>
            <a:endParaRPr kumimoji="1"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36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043073" y="223431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119596" y="223707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56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1.5 </a:t>
            </a:r>
            <a:r>
              <a:rPr lang="ko-KR" altLang="en-US" dirty="0" smtClean="0"/>
              <a:t>고객확인 </a:t>
            </a:r>
            <a:r>
              <a:rPr lang="ko-KR" altLang="en-US" dirty="0"/>
              <a:t>프로세스 상세 정의 </a:t>
            </a:r>
            <a:r>
              <a:rPr lang="en-US" altLang="ko-KR" dirty="0" smtClean="0"/>
              <a:t>&gt; </a:t>
            </a:r>
            <a:r>
              <a:rPr lang="ko-KR" altLang="en-US" dirty="0" smtClean="0"/>
              <a:t>고객수용 정책 수립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법률 및 지침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글로벌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구사항을 고려하여 거래구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발생 가능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벤트별로 고객수용 관련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ction Plan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수용 정책 수립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29" name="그룹 228"/>
          <p:cNvGrpSpPr/>
          <p:nvPr/>
        </p:nvGrpSpPr>
        <p:grpSpPr>
          <a:xfrm>
            <a:off x="605836" y="4163262"/>
            <a:ext cx="1024929" cy="1202737"/>
            <a:chOff x="811313" y="3935574"/>
            <a:chExt cx="1008000" cy="1128229"/>
          </a:xfrm>
        </p:grpSpPr>
        <p:sp>
          <p:nvSpPr>
            <p:cNvPr id="312" name="Rectangle 9"/>
            <p:cNvSpPr>
              <a:spLocks noChangeArrowheads="1"/>
            </p:cNvSpPr>
            <p:nvPr/>
          </p:nvSpPr>
          <p:spPr bwMode="gray">
            <a:xfrm>
              <a:off x="811313" y="3935574"/>
              <a:ext cx="1008000" cy="432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신규거래 시</a:t>
              </a:r>
            </a:p>
          </p:txBody>
        </p:sp>
        <p:sp>
          <p:nvSpPr>
            <p:cNvPr id="313" name="Rectangle 12"/>
            <p:cNvSpPr>
              <a:spLocks noChangeArrowheads="1"/>
            </p:cNvSpPr>
            <p:nvPr/>
          </p:nvSpPr>
          <p:spPr bwMode="gray">
            <a:xfrm>
              <a:off x="811313" y="4631803"/>
              <a:ext cx="1008000" cy="432000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36000" tIns="0" rIns="36000" bIns="0" anchor="ctr" anchorCtr="1"/>
            <a:lstStyle/>
            <a:p>
              <a:pPr>
                <a:spcBef>
                  <a:spcPct val="20000"/>
                </a:spcBef>
              </a:pP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계속거래 시</a:t>
              </a:r>
            </a:p>
          </p:txBody>
        </p:sp>
      </p:grpSp>
      <p:grpSp>
        <p:nvGrpSpPr>
          <p:cNvPr id="232" name="그룹 231"/>
          <p:cNvGrpSpPr/>
          <p:nvPr/>
        </p:nvGrpSpPr>
        <p:grpSpPr>
          <a:xfrm>
            <a:off x="542928" y="2352025"/>
            <a:ext cx="1150745" cy="241704"/>
            <a:chOff x="2231446" y="2226795"/>
            <a:chExt cx="1099905" cy="226731"/>
          </a:xfrm>
        </p:grpSpPr>
        <p:sp>
          <p:nvSpPr>
            <p:cNvPr id="310" name="Text Box 52"/>
            <p:cNvSpPr txBox="1">
              <a:spLocks noChangeArrowheads="1"/>
            </p:cNvSpPr>
            <p:nvPr/>
          </p:nvSpPr>
          <p:spPr bwMode="auto">
            <a:xfrm>
              <a:off x="2475431" y="2226795"/>
              <a:ext cx="668510" cy="173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latinLnBrk="0"/>
              <a:r>
                <a:rPr kumimoji="1"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거래구분</a:t>
              </a:r>
              <a:endParaRPr kumimoji="1" lang="ko-KR" altLang="en-US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11" name="Line 57"/>
            <p:cNvSpPr>
              <a:spLocks noChangeShapeType="1"/>
            </p:cNvSpPr>
            <p:nvPr/>
          </p:nvSpPr>
          <p:spPr bwMode="auto">
            <a:xfrm>
              <a:off x="2231446" y="2453526"/>
              <a:ext cx="10999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latinLnBrk="0"/>
              <a:endParaRPr lang="en-GB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233" name="그룹 232"/>
          <p:cNvGrpSpPr/>
          <p:nvPr/>
        </p:nvGrpSpPr>
        <p:grpSpPr>
          <a:xfrm>
            <a:off x="1909637" y="2352025"/>
            <a:ext cx="1150745" cy="241704"/>
            <a:chOff x="2231446" y="2226795"/>
            <a:chExt cx="1099905" cy="226731"/>
          </a:xfrm>
        </p:grpSpPr>
        <p:sp>
          <p:nvSpPr>
            <p:cNvPr id="308" name="Text Box 52"/>
            <p:cNvSpPr txBox="1">
              <a:spLocks noChangeArrowheads="1"/>
            </p:cNvSpPr>
            <p:nvPr/>
          </p:nvSpPr>
          <p:spPr bwMode="auto">
            <a:xfrm>
              <a:off x="2442515" y="2226795"/>
              <a:ext cx="711411" cy="173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latinLnBrk="0"/>
              <a:r>
                <a:rPr kumimoji="1"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상 구분</a:t>
              </a:r>
              <a:endParaRPr kumimoji="1" lang="ko-KR" altLang="en-US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09" name="Line 57"/>
            <p:cNvSpPr>
              <a:spLocks noChangeShapeType="1"/>
            </p:cNvSpPr>
            <p:nvPr/>
          </p:nvSpPr>
          <p:spPr bwMode="auto">
            <a:xfrm>
              <a:off x="2231446" y="2453526"/>
              <a:ext cx="10999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latinLnBrk="0"/>
              <a:endParaRPr lang="en-GB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4322069" y="2352025"/>
            <a:ext cx="2528747" cy="241704"/>
            <a:chOff x="4309778" y="2352025"/>
            <a:chExt cx="2528747" cy="241704"/>
          </a:xfrm>
        </p:grpSpPr>
        <p:sp>
          <p:nvSpPr>
            <p:cNvPr id="306" name="Text Box 52"/>
            <p:cNvSpPr txBox="1">
              <a:spLocks noChangeArrowheads="1"/>
            </p:cNvSpPr>
            <p:nvPr/>
          </p:nvSpPr>
          <p:spPr bwMode="auto">
            <a:xfrm>
              <a:off x="4623288" y="2352025"/>
              <a:ext cx="1901727" cy="184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latinLnBrk="0"/>
              <a:r>
                <a:rPr kumimoji="1"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발생가능 </a:t>
              </a:r>
              <a:r>
                <a:rPr kumimoji="1" lang="en-US" altLang="ko-KR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Event </a:t>
              </a:r>
              <a:r>
                <a:rPr kumimoji="1" lang="ko-KR" altLang="en-US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및 고려요소</a:t>
              </a:r>
              <a:endParaRPr kumimoji="1" lang="ko-KR" altLang="en-US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07" name="Line 57"/>
            <p:cNvSpPr>
              <a:spLocks noChangeShapeType="1"/>
            </p:cNvSpPr>
            <p:nvPr/>
          </p:nvSpPr>
          <p:spPr bwMode="auto">
            <a:xfrm>
              <a:off x="4309778" y="2593729"/>
              <a:ext cx="2528747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latinLnBrk="0"/>
              <a:endParaRPr lang="en-GB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235" name="그룹 234"/>
          <p:cNvGrpSpPr/>
          <p:nvPr/>
        </p:nvGrpSpPr>
        <p:grpSpPr>
          <a:xfrm>
            <a:off x="8050894" y="2352025"/>
            <a:ext cx="1150745" cy="241704"/>
            <a:chOff x="2231446" y="2226795"/>
            <a:chExt cx="1099905" cy="226731"/>
          </a:xfrm>
        </p:grpSpPr>
        <p:sp>
          <p:nvSpPr>
            <p:cNvPr id="304" name="Text Box 52"/>
            <p:cNvSpPr txBox="1">
              <a:spLocks noChangeArrowheads="1"/>
            </p:cNvSpPr>
            <p:nvPr/>
          </p:nvSpPr>
          <p:spPr bwMode="auto">
            <a:xfrm>
              <a:off x="2368456" y="2226795"/>
              <a:ext cx="898338" cy="173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latinLnBrk="0"/>
              <a:r>
                <a:rPr kumimoji="1" lang="en-US" altLang="ko-KR" sz="12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ction Plan</a:t>
              </a:r>
              <a:endParaRPr kumimoji="1" lang="ko-KR" altLang="en-US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05" name="Line 57"/>
            <p:cNvSpPr>
              <a:spLocks noChangeShapeType="1"/>
            </p:cNvSpPr>
            <p:nvPr/>
          </p:nvSpPr>
          <p:spPr bwMode="auto">
            <a:xfrm>
              <a:off x="2231446" y="2453526"/>
              <a:ext cx="10999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latinLnBrk="0"/>
              <a:endParaRPr lang="en-GB" sz="12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236" name="그룹 235"/>
          <p:cNvGrpSpPr/>
          <p:nvPr/>
        </p:nvGrpSpPr>
        <p:grpSpPr>
          <a:xfrm>
            <a:off x="1967021" y="3403963"/>
            <a:ext cx="1035977" cy="2685198"/>
            <a:chOff x="2131134" y="3223312"/>
            <a:chExt cx="1018866" cy="2518854"/>
          </a:xfrm>
        </p:grpSpPr>
        <p:sp>
          <p:nvSpPr>
            <p:cNvPr id="300" name="Rectangle 10"/>
            <p:cNvSpPr>
              <a:spLocks noChangeArrowheads="1"/>
            </p:cNvSpPr>
            <p:nvPr/>
          </p:nvSpPr>
          <p:spPr bwMode="gray">
            <a:xfrm>
              <a:off x="2135906" y="4614548"/>
              <a:ext cx="1008000" cy="43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액자산가 등 고위험군 고객</a:t>
              </a:r>
            </a:p>
          </p:txBody>
        </p:sp>
        <p:sp>
          <p:nvSpPr>
            <p:cNvPr id="301" name="Rectangle 10"/>
            <p:cNvSpPr>
              <a:spLocks noChangeArrowheads="1"/>
            </p:cNvSpPr>
            <p:nvPr/>
          </p:nvSpPr>
          <p:spPr bwMode="gray">
            <a:xfrm>
              <a:off x="2131134" y="3223312"/>
              <a:ext cx="1008000" cy="43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PEP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</a:t>
              </a:r>
            </a:p>
          </p:txBody>
        </p:sp>
        <p:sp>
          <p:nvSpPr>
            <p:cNvPr id="302" name="Rectangle 10"/>
            <p:cNvSpPr>
              <a:spLocks noChangeArrowheads="1"/>
            </p:cNvSpPr>
            <p:nvPr/>
          </p:nvSpPr>
          <p:spPr bwMode="gray">
            <a:xfrm>
              <a:off x="2142000" y="5310166"/>
              <a:ext cx="1008000" cy="43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저위험 고객</a:t>
              </a:r>
            </a:p>
          </p:txBody>
        </p:sp>
        <p:sp>
          <p:nvSpPr>
            <p:cNvPr id="303" name="Rectangle 10"/>
            <p:cNvSpPr>
              <a:spLocks noChangeArrowheads="1"/>
            </p:cNvSpPr>
            <p:nvPr/>
          </p:nvSpPr>
          <p:spPr bwMode="gray">
            <a:xfrm>
              <a:off x="2131134" y="3918930"/>
              <a:ext cx="1008000" cy="43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거절자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</a:t>
              </a:r>
            </a:p>
          </p:txBody>
        </p:sp>
      </p:grpSp>
      <p:grpSp>
        <p:nvGrpSpPr>
          <p:cNvPr id="237" name="그룹 236"/>
          <p:cNvGrpSpPr/>
          <p:nvPr/>
        </p:nvGrpSpPr>
        <p:grpSpPr>
          <a:xfrm>
            <a:off x="7892961" y="3342559"/>
            <a:ext cx="1476795" cy="2727288"/>
            <a:chOff x="7911378" y="3165712"/>
            <a:chExt cx="1452403" cy="2558337"/>
          </a:xfrm>
        </p:grpSpPr>
        <p:sp>
          <p:nvSpPr>
            <p:cNvPr id="296" name="모서리가 둥근 직사각형 295"/>
            <p:cNvSpPr/>
            <p:nvPr/>
          </p:nvSpPr>
          <p:spPr>
            <a:xfrm>
              <a:off x="7911379" y="3165712"/>
              <a:ext cx="1450109" cy="401999"/>
            </a:xfrm>
            <a:prstGeom prst="round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거래 거절</a:t>
              </a:r>
            </a:p>
          </p:txBody>
        </p:sp>
        <p:sp>
          <p:nvSpPr>
            <p:cNvPr id="297" name="모서리가 둥근 직사각형 296"/>
            <p:cNvSpPr/>
            <p:nvPr/>
          </p:nvSpPr>
          <p:spPr>
            <a:xfrm>
              <a:off x="7911378" y="3802673"/>
              <a:ext cx="1450109" cy="483817"/>
            </a:xfrm>
            <a:prstGeom prst="round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상위관리자 승인 후 거래</a:t>
              </a:r>
            </a:p>
          </p:txBody>
        </p:sp>
        <p:sp>
          <p:nvSpPr>
            <p:cNvPr id="298" name="모서리가 둥근 직사각형 297"/>
            <p:cNvSpPr/>
            <p:nvPr/>
          </p:nvSpPr>
          <p:spPr>
            <a:xfrm>
              <a:off x="7913672" y="4521452"/>
              <a:ext cx="1450109" cy="483817"/>
            </a:xfrm>
            <a:prstGeom prst="round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거래제한</a:t>
              </a:r>
            </a:p>
          </p:txBody>
        </p:sp>
        <p:sp>
          <p:nvSpPr>
            <p:cNvPr id="299" name="모서리가 둥근 직사각형 298"/>
            <p:cNvSpPr/>
            <p:nvPr/>
          </p:nvSpPr>
          <p:spPr>
            <a:xfrm>
              <a:off x="7911379" y="5240232"/>
              <a:ext cx="1450109" cy="483817"/>
            </a:xfrm>
            <a:prstGeom prst="roundRect">
              <a:avLst/>
            </a:prstGeom>
            <a:solidFill>
              <a:srgbClr val="005E9E"/>
            </a:solidFill>
            <a:ln>
              <a:noFill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lIns="0" tIns="0" rIns="0" bIns="0" anchor="ctr" anchorCtr="0"/>
            <a:lstStyle/>
            <a:p>
              <a:pPr algn="ctr"/>
              <a:r>
                <a: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현 거래유지</a:t>
              </a: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3534124" y="2642248"/>
            <a:ext cx="4104636" cy="3684217"/>
            <a:chOff x="3534124" y="2642248"/>
            <a:chExt cx="4104636" cy="3684217"/>
          </a:xfrm>
        </p:grpSpPr>
        <p:sp>
          <p:nvSpPr>
            <p:cNvPr id="230" name="Text Box 36"/>
            <p:cNvSpPr txBox="1">
              <a:spLocks noChangeArrowheads="1"/>
            </p:cNvSpPr>
            <p:nvPr/>
          </p:nvSpPr>
          <p:spPr bwMode="auto">
            <a:xfrm>
              <a:off x="5913050" y="2651274"/>
              <a:ext cx="758549" cy="4738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dist="25400" dir="54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 anchorCtr="1"/>
            <a:lstStyle/>
            <a:p>
              <a:pPr algn="ctr"/>
              <a:r>
                <a:rPr lang="ko-KR" altLang="en-US" sz="11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cs typeface="Arial" panose="020B0604020202020204" pitchFamily="34" charset="0"/>
                </a:rPr>
                <a:t>법률 및 </a:t>
              </a:r>
            </a:p>
            <a:p>
              <a:pPr algn="ctr"/>
              <a:r>
                <a:rPr lang="ko-KR" altLang="en-US" sz="11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cs typeface="Arial" panose="020B0604020202020204" pitchFamily="34" charset="0"/>
                </a:rPr>
                <a:t>지침 요구사항</a:t>
              </a:r>
            </a:p>
          </p:txBody>
        </p:sp>
        <p:sp>
          <p:nvSpPr>
            <p:cNvPr id="231" name="Text Box 37"/>
            <p:cNvSpPr txBox="1">
              <a:spLocks noChangeArrowheads="1"/>
            </p:cNvSpPr>
            <p:nvPr/>
          </p:nvSpPr>
          <p:spPr bwMode="auto">
            <a:xfrm>
              <a:off x="6880211" y="2642248"/>
              <a:ext cx="758549" cy="4738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dist="25400" dir="54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 anchorCtr="1"/>
            <a:lstStyle/>
            <a:p>
              <a:pPr algn="ctr"/>
              <a:r>
                <a:rPr lang="ko-KR" altLang="en-US" sz="110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cs typeface="Arial" panose="020B0604020202020204" pitchFamily="34" charset="0"/>
                </a:rPr>
                <a:t>글로벌</a:t>
              </a:r>
              <a:endParaRPr lang="en-US" altLang="ko-KR" sz="11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endParaRPr>
            </a:p>
            <a:p>
              <a:pPr algn="ctr"/>
              <a:r>
                <a:rPr lang="ko-KR" altLang="en-US" sz="1100" dirty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  <a:cs typeface="Arial" panose="020B0604020202020204" pitchFamily="34" charset="0"/>
                </a:rPr>
                <a:t>요구사항</a:t>
              </a:r>
            </a:p>
          </p:txBody>
        </p:sp>
        <p:sp>
          <p:nvSpPr>
            <p:cNvPr id="260" name="Rectangle 2"/>
            <p:cNvSpPr>
              <a:spLocks noChangeArrowheads="1"/>
            </p:cNvSpPr>
            <p:nvPr/>
          </p:nvSpPr>
          <p:spPr bwMode="auto">
            <a:xfrm rot="5400000">
              <a:off x="3041068" y="3671773"/>
              <a:ext cx="3147748" cy="21616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lt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61" name="Rectangle 18"/>
            <p:cNvSpPr>
              <a:spLocks noChangeArrowheads="1"/>
            </p:cNvSpPr>
            <p:nvPr/>
          </p:nvSpPr>
          <p:spPr bwMode="gray">
            <a:xfrm>
              <a:off x="3602530" y="3256566"/>
              <a:ext cx="2000502" cy="34539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bIns="0" anchor="ctr" anchorCtr="1"/>
            <a:lstStyle/>
            <a:p>
              <a:pPr>
                <a:spcBef>
                  <a:spcPct val="20000"/>
                </a:spcBef>
              </a:pPr>
              <a:r>
                <a:rPr lang="en-US" altLang="ko-KR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Watch List </a:t>
              </a: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거래거절 대상</a:t>
              </a:r>
            </a:p>
          </p:txBody>
        </p:sp>
        <p:sp>
          <p:nvSpPr>
            <p:cNvPr id="262" name="Rectangle 19"/>
            <p:cNvSpPr>
              <a:spLocks noChangeArrowheads="1"/>
            </p:cNvSpPr>
            <p:nvPr/>
          </p:nvSpPr>
          <p:spPr bwMode="gray">
            <a:xfrm>
              <a:off x="3602530" y="3676265"/>
              <a:ext cx="2000502" cy="34539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bIns="0" anchor="ctr" anchorCtr="1"/>
            <a:lstStyle/>
            <a:p>
              <a:pPr>
                <a:spcBef>
                  <a:spcPct val="20000"/>
                </a:spcBef>
              </a:pP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신원확인 불가</a:t>
              </a:r>
            </a:p>
          </p:txBody>
        </p:sp>
        <p:sp>
          <p:nvSpPr>
            <p:cNvPr id="263" name="Rectangle 20"/>
            <p:cNvSpPr>
              <a:spLocks noChangeArrowheads="1"/>
            </p:cNvSpPr>
            <p:nvPr/>
          </p:nvSpPr>
          <p:spPr bwMode="gray">
            <a:xfrm>
              <a:off x="3602530" y="4970904"/>
              <a:ext cx="2000502" cy="34539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bIns="0" anchor="ctr" anchorCtr="1"/>
            <a:lstStyle/>
            <a:p>
              <a:pPr>
                <a:spcBef>
                  <a:spcPct val="20000"/>
                </a:spcBef>
              </a:pPr>
              <a:r>
                <a:rPr lang="en-US" altLang="ko-KR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CDD </a:t>
              </a: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수행거부</a:t>
              </a:r>
            </a:p>
          </p:txBody>
        </p:sp>
        <p:sp>
          <p:nvSpPr>
            <p:cNvPr id="264" name="Rectangle 21"/>
            <p:cNvSpPr>
              <a:spLocks noChangeArrowheads="1"/>
            </p:cNvSpPr>
            <p:nvPr/>
          </p:nvSpPr>
          <p:spPr bwMode="gray">
            <a:xfrm>
              <a:off x="3602530" y="5405834"/>
              <a:ext cx="2000502" cy="34539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bIns="0" anchor="ctr" anchorCtr="1"/>
            <a:lstStyle/>
            <a:p>
              <a:pPr>
                <a:spcBef>
                  <a:spcPct val="20000"/>
                </a:spcBef>
              </a:pPr>
              <a:r>
                <a:rPr lang="en-US" altLang="ko-KR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EDD </a:t>
              </a: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수행거부</a:t>
              </a:r>
            </a:p>
          </p:txBody>
        </p:sp>
        <p:sp>
          <p:nvSpPr>
            <p:cNvPr id="265" name="Rectangle 22"/>
            <p:cNvSpPr>
              <a:spLocks noChangeArrowheads="1"/>
            </p:cNvSpPr>
            <p:nvPr/>
          </p:nvSpPr>
          <p:spPr bwMode="gray">
            <a:xfrm>
              <a:off x="3602530" y="5866150"/>
              <a:ext cx="2000502" cy="34539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bIns="0" anchor="ctr" anchorCtr="1"/>
            <a:lstStyle/>
            <a:p>
              <a:pPr>
                <a:spcBef>
                  <a:spcPct val="20000"/>
                </a:spcBef>
              </a:pPr>
              <a:r>
                <a:rPr lang="en-US" altLang="ko-KR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EDD </a:t>
              </a: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추가자료 제공지연</a:t>
              </a:r>
            </a:p>
          </p:txBody>
        </p:sp>
        <p:sp>
          <p:nvSpPr>
            <p:cNvPr id="266" name="Rectangle 28"/>
            <p:cNvSpPr>
              <a:spLocks noChangeArrowheads="1"/>
            </p:cNvSpPr>
            <p:nvPr/>
          </p:nvSpPr>
          <p:spPr bwMode="gray">
            <a:xfrm>
              <a:off x="3602530" y="4099350"/>
              <a:ext cx="2000502" cy="34539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bIns="0" anchor="ctr" anchorCtr="1"/>
            <a:lstStyle/>
            <a:p>
              <a:pPr>
                <a:spcBef>
                  <a:spcPct val="20000"/>
                </a:spcBef>
              </a:pP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신원검증자료 제출거부</a:t>
              </a:r>
            </a:p>
          </p:txBody>
        </p:sp>
        <p:sp>
          <p:nvSpPr>
            <p:cNvPr id="267" name="Rectangle 29"/>
            <p:cNvSpPr>
              <a:spLocks noChangeArrowheads="1"/>
            </p:cNvSpPr>
            <p:nvPr/>
          </p:nvSpPr>
          <p:spPr bwMode="gray">
            <a:xfrm>
              <a:off x="3602530" y="4534281"/>
              <a:ext cx="2000502" cy="345397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0" rIns="72000" bIns="0" anchor="ctr" anchorCtr="1"/>
            <a:lstStyle/>
            <a:p>
              <a:pPr>
                <a:spcBef>
                  <a:spcPct val="20000"/>
                </a:spcBef>
              </a:pPr>
              <a:r>
                <a:rPr lang="ko-KR" altLang="en-US" sz="1000" b="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신원검증자료 제공지연</a:t>
              </a:r>
            </a:p>
          </p:txBody>
        </p:sp>
        <p:sp>
          <p:nvSpPr>
            <p:cNvPr id="268" name="Rectangle 43"/>
            <p:cNvSpPr>
              <a:spLocks noChangeArrowheads="1"/>
            </p:cNvSpPr>
            <p:nvPr/>
          </p:nvSpPr>
          <p:spPr bwMode="gray">
            <a:xfrm>
              <a:off x="5942542" y="3256566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절</a:t>
              </a:r>
            </a:p>
          </p:txBody>
        </p:sp>
        <p:sp>
          <p:nvSpPr>
            <p:cNvPr id="269" name="Rectangle 44"/>
            <p:cNvSpPr>
              <a:spLocks noChangeArrowheads="1"/>
            </p:cNvSpPr>
            <p:nvPr/>
          </p:nvSpPr>
          <p:spPr bwMode="gray">
            <a:xfrm>
              <a:off x="5942542" y="3676265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절</a:t>
              </a:r>
            </a:p>
          </p:txBody>
        </p:sp>
        <p:sp>
          <p:nvSpPr>
            <p:cNvPr id="270" name="Rectangle 45"/>
            <p:cNvSpPr>
              <a:spLocks noChangeArrowheads="1"/>
            </p:cNvSpPr>
            <p:nvPr/>
          </p:nvSpPr>
          <p:spPr bwMode="gray">
            <a:xfrm>
              <a:off x="5942542" y="4970904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거절</a:t>
              </a:r>
            </a:p>
          </p:txBody>
        </p:sp>
        <p:sp>
          <p:nvSpPr>
            <p:cNvPr id="271" name="Rectangle 46"/>
            <p:cNvSpPr>
              <a:spLocks noChangeArrowheads="1"/>
            </p:cNvSpPr>
            <p:nvPr/>
          </p:nvSpPr>
          <p:spPr bwMode="gray">
            <a:xfrm>
              <a:off x="5942542" y="5405834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언급없음</a:t>
              </a:r>
            </a:p>
          </p:txBody>
        </p:sp>
        <p:sp>
          <p:nvSpPr>
            <p:cNvPr id="272" name="Rectangle 47"/>
            <p:cNvSpPr>
              <a:spLocks noChangeArrowheads="1"/>
            </p:cNvSpPr>
            <p:nvPr/>
          </p:nvSpPr>
          <p:spPr bwMode="gray">
            <a:xfrm>
              <a:off x="5942542" y="5866150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언급없음</a:t>
              </a:r>
            </a:p>
          </p:txBody>
        </p:sp>
        <p:sp>
          <p:nvSpPr>
            <p:cNvPr id="273" name="Rectangle 48"/>
            <p:cNvSpPr>
              <a:spLocks noChangeArrowheads="1"/>
            </p:cNvSpPr>
            <p:nvPr/>
          </p:nvSpPr>
          <p:spPr bwMode="gray">
            <a:xfrm>
              <a:off x="5942542" y="4099350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거절</a:t>
              </a:r>
            </a:p>
          </p:txBody>
        </p:sp>
        <p:sp>
          <p:nvSpPr>
            <p:cNvPr id="274" name="Rectangle 49"/>
            <p:cNvSpPr>
              <a:spLocks noChangeArrowheads="1"/>
            </p:cNvSpPr>
            <p:nvPr/>
          </p:nvSpPr>
          <p:spPr bwMode="gray">
            <a:xfrm>
              <a:off x="5942542" y="4534281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언급없음</a:t>
              </a:r>
            </a:p>
          </p:txBody>
        </p:sp>
        <p:sp>
          <p:nvSpPr>
            <p:cNvPr id="275" name="Rectangle 51"/>
            <p:cNvSpPr>
              <a:spLocks noChangeArrowheads="1"/>
            </p:cNvSpPr>
            <p:nvPr/>
          </p:nvSpPr>
          <p:spPr bwMode="gray">
            <a:xfrm>
              <a:off x="6918690" y="3256566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절</a:t>
              </a:r>
            </a:p>
          </p:txBody>
        </p:sp>
        <p:sp>
          <p:nvSpPr>
            <p:cNvPr id="276" name="Rectangle 52"/>
            <p:cNvSpPr>
              <a:spLocks noChangeArrowheads="1"/>
            </p:cNvSpPr>
            <p:nvPr/>
          </p:nvSpPr>
          <p:spPr bwMode="gray">
            <a:xfrm>
              <a:off x="6918690" y="3676265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거절</a:t>
              </a:r>
            </a:p>
          </p:txBody>
        </p:sp>
        <p:sp>
          <p:nvSpPr>
            <p:cNvPr id="277" name="Rectangle 53"/>
            <p:cNvSpPr>
              <a:spLocks noChangeArrowheads="1"/>
            </p:cNvSpPr>
            <p:nvPr/>
          </p:nvSpPr>
          <p:spPr bwMode="gray">
            <a:xfrm>
              <a:off x="6918690" y="4970904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거절</a:t>
              </a:r>
            </a:p>
          </p:txBody>
        </p:sp>
        <p:sp>
          <p:nvSpPr>
            <p:cNvPr id="278" name="Rectangle 54"/>
            <p:cNvSpPr>
              <a:spLocks noChangeArrowheads="1"/>
            </p:cNvSpPr>
            <p:nvPr/>
          </p:nvSpPr>
          <p:spPr bwMode="gray">
            <a:xfrm>
              <a:off x="6918690" y="5405834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거절</a:t>
              </a:r>
            </a:p>
          </p:txBody>
        </p:sp>
        <p:sp>
          <p:nvSpPr>
            <p:cNvPr id="279" name="Rectangle 55"/>
            <p:cNvSpPr>
              <a:spLocks noChangeArrowheads="1"/>
            </p:cNvSpPr>
            <p:nvPr/>
          </p:nvSpPr>
          <p:spPr bwMode="gray">
            <a:xfrm>
              <a:off x="6918690" y="5866150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언급없음</a:t>
              </a:r>
            </a:p>
          </p:txBody>
        </p:sp>
        <p:sp>
          <p:nvSpPr>
            <p:cNvPr id="280" name="Rectangle 56"/>
            <p:cNvSpPr>
              <a:spLocks noChangeArrowheads="1"/>
            </p:cNvSpPr>
            <p:nvPr/>
          </p:nvSpPr>
          <p:spPr bwMode="gray">
            <a:xfrm>
              <a:off x="6918690" y="4099350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거절</a:t>
              </a:r>
            </a:p>
          </p:txBody>
        </p:sp>
        <p:sp>
          <p:nvSpPr>
            <p:cNvPr id="281" name="Rectangle 57"/>
            <p:cNvSpPr>
              <a:spLocks noChangeArrowheads="1"/>
            </p:cNvSpPr>
            <p:nvPr/>
          </p:nvSpPr>
          <p:spPr bwMode="gray">
            <a:xfrm>
              <a:off x="6918690" y="4534281"/>
              <a:ext cx="695487" cy="34539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언급없음</a:t>
              </a:r>
            </a:p>
          </p:txBody>
        </p:sp>
        <p:cxnSp>
          <p:nvCxnSpPr>
            <p:cNvPr id="282" name="직선 화살표 연결선 281"/>
            <p:cNvCxnSpPr>
              <a:stCxn id="261" idx="3"/>
              <a:endCxn id="268" idx="1"/>
            </p:cNvCxnSpPr>
            <p:nvPr/>
          </p:nvCxnSpPr>
          <p:spPr>
            <a:xfrm>
              <a:off x="5603032" y="3429264"/>
              <a:ext cx="339511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3" name="직선 화살표 연결선 282"/>
            <p:cNvCxnSpPr>
              <a:stCxn id="262" idx="3"/>
              <a:endCxn id="269" idx="1"/>
            </p:cNvCxnSpPr>
            <p:nvPr/>
          </p:nvCxnSpPr>
          <p:spPr>
            <a:xfrm>
              <a:off x="5603032" y="3848964"/>
              <a:ext cx="339511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4" name="직선 화살표 연결선 283"/>
            <p:cNvCxnSpPr>
              <a:stCxn id="266" idx="3"/>
              <a:endCxn id="273" idx="1"/>
            </p:cNvCxnSpPr>
            <p:nvPr/>
          </p:nvCxnSpPr>
          <p:spPr>
            <a:xfrm>
              <a:off x="5603032" y="4272048"/>
              <a:ext cx="339511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5" name="직선 화살표 연결선 284"/>
            <p:cNvCxnSpPr>
              <a:stCxn id="267" idx="3"/>
              <a:endCxn id="274" idx="1"/>
            </p:cNvCxnSpPr>
            <p:nvPr/>
          </p:nvCxnSpPr>
          <p:spPr>
            <a:xfrm>
              <a:off x="5603032" y="4706979"/>
              <a:ext cx="339511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6" name="직선 화살표 연결선 285"/>
            <p:cNvCxnSpPr>
              <a:stCxn id="263" idx="3"/>
              <a:endCxn id="270" idx="1"/>
            </p:cNvCxnSpPr>
            <p:nvPr/>
          </p:nvCxnSpPr>
          <p:spPr>
            <a:xfrm>
              <a:off x="5603032" y="5143603"/>
              <a:ext cx="339511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7" name="직선 화살표 연결선 286"/>
            <p:cNvCxnSpPr>
              <a:stCxn id="264" idx="3"/>
              <a:endCxn id="271" idx="1"/>
            </p:cNvCxnSpPr>
            <p:nvPr/>
          </p:nvCxnSpPr>
          <p:spPr>
            <a:xfrm>
              <a:off x="5603032" y="5578533"/>
              <a:ext cx="339511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8" name="직선 화살표 연결선 287"/>
            <p:cNvCxnSpPr>
              <a:stCxn id="265" idx="3"/>
              <a:endCxn id="272" idx="1"/>
            </p:cNvCxnSpPr>
            <p:nvPr/>
          </p:nvCxnSpPr>
          <p:spPr>
            <a:xfrm>
              <a:off x="5603032" y="6038849"/>
              <a:ext cx="339511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9" name="직선 화살표 연결선 288"/>
            <p:cNvCxnSpPr/>
            <p:nvPr/>
          </p:nvCxnSpPr>
          <p:spPr>
            <a:xfrm>
              <a:off x="6632406" y="3429261"/>
              <a:ext cx="292837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0" name="직선 화살표 연결선 289"/>
            <p:cNvCxnSpPr/>
            <p:nvPr/>
          </p:nvCxnSpPr>
          <p:spPr>
            <a:xfrm>
              <a:off x="6632406" y="3848961"/>
              <a:ext cx="292837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1" name="직선 화살표 연결선 290"/>
            <p:cNvCxnSpPr/>
            <p:nvPr/>
          </p:nvCxnSpPr>
          <p:spPr>
            <a:xfrm>
              <a:off x="6632406" y="4272045"/>
              <a:ext cx="292837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2" name="직선 화살표 연결선 291"/>
            <p:cNvCxnSpPr/>
            <p:nvPr/>
          </p:nvCxnSpPr>
          <p:spPr>
            <a:xfrm>
              <a:off x="6632406" y="4706976"/>
              <a:ext cx="292837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3" name="직선 화살표 연결선 292"/>
            <p:cNvCxnSpPr/>
            <p:nvPr/>
          </p:nvCxnSpPr>
          <p:spPr>
            <a:xfrm>
              <a:off x="6632406" y="5143599"/>
              <a:ext cx="292837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4" name="직선 화살표 연결선 293"/>
            <p:cNvCxnSpPr/>
            <p:nvPr/>
          </p:nvCxnSpPr>
          <p:spPr>
            <a:xfrm>
              <a:off x="6632406" y="5578530"/>
              <a:ext cx="292837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5" name="직선 화살표 연결선 294"/>
            <p:cNvCxnSpPr/>
            <p:nvPr/>
          </p:nvCxnSpPr>
          <p:spPr>
            <a:xfrm>
              <a:off x="6632406" y="6038845"/>
              <a:ext cx="292837" cy="0"/>
            </a:xfrm>
            <a:prstGeom prst="straightConnector1">
              <a:avLst/>
            </a:prstGeom>
            <a:noFill/>
            <a:ln w="15875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39" name="직선 화살표 연결선 238"/>
          <p:cNvCxnSpPr>
            <a:stCxn id="275" idx="3"/>
            <a:endCxn id="296" idx="1"/>
          </p:cNvCxnSpPr>
          <p:nvPr/>
        </p:nvCxnSpPr>
        <p:spPr>
          <a:xfrm>
            <a:off x="7614177" y="3429265"/>
            <a:ext cx="278785" cy="127568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0" name="직선 화살표 연결선 239"/>
          <p:cNvCxnSpPr>
            <a:stCxn id="276" idx="3"/>
            <a:endCxn id="296" idx="1"/>
          </p:cNvCxnSpPr>
          <p:nvPr/>
        </p:nvCxnSpPr>
        <p:spPr>
          <a:xfrm flipV="1">
            <a:off x="7614177" y="3556833"/>
            <a:ext cx="278785" cy="292131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1" name="직선 화살표 연결선 240"/>
          <p:cNvCxnSpPr>
            <a:stCxn id="281" idx="3"/>
            <a:endCxn id="297" idx="1"/>
          </p:cNvCxnSpPr>
          <p:nvPr/>
        </p:nvCxnSpPr>
        <p:spPr>
          <a:xfrm flipV="1">
            <a:off x="7614177" y="4279469"/>
            <a:ext cx="278784" cy="427511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2" name="직선 화살표 연결선 241"/>
          <p:cNvCxnSpPr>
            <a:stCxn id="281" idx="3"/>
            <a:endCxn id="298" idx="1"/>
          </p:cNvCxnSpPr>
          <p:nvPr/>
        </p:nvCxnSpPr>
        <p:spPr>
          <a:xfrm>
            <a:off x="7614177" y="4706980"/>
            <a:ext cx="281117" cy="338735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3" name="직선 화살표 연결선 242"/>
          <p:cNvCxnSpPr>
            <a:stCxn id="278" idx="3"/>
            <a:endCxn id="298" idx="1"/>
          </p:cNvCxnSpPr>
          <p:nvPr/>
        </p:nvCxnSpPr>
        <p:spPr>
          <a:xfrm flipV="1">
            <a:off x="7614177" y="5045715"/>
            <a:ext cx="281117" cy="532818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4" name="직선 화살표 연결선 243"/>
          <p:cNvCxnSpPr>
            <a:stCxn id="277" idx="3"/>
            <a:endCxn id="296" idx="1"/>
          </p:cNvCxnSpPr>
          <p:nvPr/>
        </p:nvCxnSpPr>
        <p:spPr>
          <a:xfrm flipV="1">
            <a:off x="7614177" y="3556833"/>
            <a:ext cx="278785" cy="158677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5" name="직선 화살표 연결선 244"/>
          <p:cNvCxnSpPr>
            <a:stCxn id="280" idx="3"/>
            <a:endCxn id="296" idx="1"/>
          </p:cNvCxnSpPr>
          <p:nvPr/>
        </p:nvCxnSpPr>
        <p:spPr>
          <a:xfrm flipV="1">
            <a:off x="7614177" y="3556833"/>
            <a:ext cx="278785" cy="715216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6" name="직선 화살표 연결선 245"/>
          <p:cNvCxnSpPr>
            <a:stCxn id="280" idx="3"/>
            <a:endCxn id="297" idx="1"/>
          </p:cNvCxnSpPr>
          <p:nvPr/>
        </p:nvCxnSpPr>
        <p:spPr>
          <a:xfrm>
            <a:off x="7614177" y="4272049"/>
            <a:ext cx="278784" cy="742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7" name="직선 화살표 연결선 246"/>
          <p:cNvCxnSpPr>
            <a:stCxn id="281" idx="3"/>
            <a:endCxn id="299" idx="1"/>
          </p:cNvCxnSpPr>
          <p:nvPr/>
        </p:nvCxnSpPr>
        <p:spPr>
          <a:xfrm>
            <a:off x="7614177" y="4706980"/>
            <a:ext cx="278785" cy="1104983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8" name="직선 화살표 연결선 247"/>
          <p:cNvCxnSpPr>
            <a:stCxn id="278" idx="3"/>
            <a:endCxn id="299" idx="1"/>
          </p:cNvCxnSpPr>
          <p:nvPr/>
        </p:nvCxnSpPr>
        <p:spPr>
          <a:xfrm>
            <a:off x="7614177" y="5578533"/>
            <a:ext cx="278785" cy="23343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9" name="직선 화살표 연결선 248"/>
          <p:cNvCxnSpPr>
            <a:stCxn id="279" idx="3"/>
            <a:endCxn id="299" idx="1"/>
          </p:cNvCxnSpPr>
          <p:nvPr/>
        </p:nvCxnSpPr>
        <p:spPr>
          <a:xfrm flipV="1">
            <a:off x="7614177" y="5811963"/>
            <a:ext cx="278785" cy="226886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0" name="직선 화살표 연결선 249"/>
          <p:cNvCxnSpPr>
            <a:stCxn id="279" idx="3"/>
            <a:endCxn id="297" idx="1"/>
          </p:cNvCxnSpPr>
          <p:nvPr/>
        </p:nvCxnSpPr>
        <p:spPr>
          <a:xfrm flipV="1">
            <a:off x="7614177" y="4279469"/>
            <a:ext cx="278784" cy="175938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1" name="직선 화살표 연결선 250"/>
          <p:cNvCxnSpPr>
            <a:stCxn id="312" idx="3"/>
            <a:endCxn id="301" idx="1"/>
          </p:cNvCxnSpPr>
          <p:nvPr/>
        </p:nvCxnSpPr>
        <p:spPr>
          <a:xfrm flipV="1">
            <a:off x="1630765" y="3634227"/>
            <a:ext cx="336256" cy="759299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2" name="직선 화살표 연결선 251"/>
          <p:cNvCxnSpPr>
            <a:stCxn id="312" idx="3"/>
            <a:endCxn id="302" idx="1"/>
          </p:cNvCxnSpPr>
          <p:nvPr/>
        </p:nvCxnSpPr>
        <p:spPr>
          <a:xfrm>
            <a:off x="1630765" y="4393527"/>
            <a:ext cx="347304" cy="1465369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3" name="직선 화살표 연결선 252"/>
          <p:cNvCxnSpPr>
            <a:stCxn id="312" idx="3"/>
            <a:endCxn id="303" idx="1"/>
          </p:cNvCxnSpPr>
          <p:nvPr/>
        </p:nvCxnSpPr>
        <p:spPr>
          <a:xfrm flipV="1">
            <a:off x="1630765" y="4375783"/>
            <a:ext cx="336256" cy="17743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4" name="직선 화살표 연결선 253"/>
          <p:cNvCxnSpPr>
            <a:stCxn id="312" idx="3"/>
            <a:endCxn id="300" idx="1"/>
          </p:cNvCxnSpPr>
          <p:nvPr/>
        </p:nvCxnSpPr>
        <p:spPr>
          <a:xfrm>
            <a:off x="1630765" y="4393527"/>
            <a:ext cx="341108" cy="723813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5" name="직선 화살표 연결선 254"/>
          <p:cNvCxnSpPr>
            <a:stCxn id="313" idx="3"/>
            <a:endCxn id="301" idx="1"/>
          </p:cNvCxnSpPr>
          <p:nvPr/>
        </p:nvCxnSpPr>
        <p:spPr>
          <a:xfrm flipV="1">
            <a:off x="1630765" y="3634227"/>
            <a:ext cx="336256" cy="1501507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6" name="직선 화살표 연결선 255"/>
          <p:cNvCxnSpPr>
            <a:stCxn id="313" idx="3"/>
            <a:endCxn id="302" idx="1"/>
          </p:cNvCxnSpPr>
          <p:nvPr/>
        </p:nvCxnSpPr>
        <p:spPr>
          <a:xfrm>
            <a:off x="1630765" y="5135734"/>
            <a:ext cx="347304" cy="723162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7" name="직선 화살표 연결선 256"/>
          <p:cNvCxnSpPr>
            <a:stCxn id="313" idx="3"/>
            <a:endCxn id="303" idx="1"/>
          </p:cNvCxnSpPr>
          <p:nvPr/>
        </p:nvCxnSpPr>
        <p:spPr>
          <a:xfrm flipV="1">
            <a:off x="1630765" y="4375783"/>
            <a:ext cx="336256" cy="759951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8" name="직선 화살표 연결선 257"/>
          <p:cNvCxnSpPr>
            <a:stCxn id="313" idx="3"/>
            <a:endCxn id="300" idx="1"/>
          </p:cNvCxnSpPr>
          <p:nvPr/>
        </p:nvCxnSpPr>
        <p:spPr>
          <a:xfrm flipV="1">
            <a:off x="1630765" y="5117340"/>
            <a:ext cx="341108" cy="18395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9" name="오른쪽 화살표 258"/>
          <p:cNvSpPr/>
          <p:nvPr/>
        </p:nvSpPr>
        <p:spPr>
          <a:xfrm>
            <a:off x="3127644" y="3731035"/>
            <a:ext cx="312810" cy="1994404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100" dirty="0">
              <a:solidFill>
                <a:prstClr val="white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0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102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09113" y="214075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157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.6.1 </a:t>
            </a:r>
            <a:r>
              <a:rPr lang="en-US" altLang="ko-KR" dirty="0"/>
              <a:t>KYC </a:t>
            </a:r>
            <a:r>
              <a:rPr lang="ko-KR" altLang="en-US" dirty="0"/>
              <a:t>수행 프로세스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39289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과의 금융거래 시 고객 및 거래에 대한 자금세탁행위를 판단하여 고객의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DD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보를 확인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EDD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인 경우 강화된 고객확인을 통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를 수행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YC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수행 프로세스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301706" y="2079898"/>
            <a:ext cx="9311278" cy="4301430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  <a:cs typeface="+mn-cs"/>
              </a:defRPr>
            </a:lvl9pPr>
          </a:lstStyle>
          <a:p>
            <a:pPr latinLnBrk="0">
              <a:lnSpc>
                <a:spcPct val="110000"/>
              </a:lnSpc>
            </a:pPr>
            <a:endParaRPr kumimoji="0" lang="ko-KR" altLang="en-US" sz="900" dirty="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635514" y="2534748"/>
            <a:ext cx="556243" cy="533372"/>
            <a:chOff x="363803" y="3527963"/>
            <a:chExt cx="758323" cy="920911"/>
          </a:xfrm>
        </p:grpSpPr>
        <p:sp>
          <p:nvSpPr>
            <p:cNvPr id="18" name="AutoShape 251"/>
            <p:cNvSpPr>
              <a:spLocks noChangeArrowheads="1"/>
            </p:cNvSpPr>
            <p:nvPr/>
          </p:nvSpPr>
          <p:spPr bwMode="gray">
            <a:xfrm>
              <a:off x="430214" y="3527963"/>
              <a:ext cx="625475" cy="792000"/>
            </a:xfrm>
            <a:prstGeom prst="roundRect">
              <a:avLst>
                <a:gd name="adj" fmla="val 836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/>
              <a:endParaRPr lang="ko-KR" altLang="en-US" sz="1800" b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9" name="Text Box 16"/>
            <p:cNvSpPr txBox="1">
              <a:spLocks noChangeArrowheads="1"/>
            </p:cNvSpPr>
            <p:nvPr/>
          </p:nvSpPr>
          <p:spPr bwMode="gray">
            <a:xfrm>
              <a:off x="363803" y="4209744"/>
              <a:ext cx="758323" cy="239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1063625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1063625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1063625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1063625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1063625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1063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/>
              <a:r>
                <a:rPr lang="ko-KR" altLang="en-US" sz="900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본점</a:t>
              </a:r>
              <a:r>
                <a:rPr lang="en-US" altLang="ko-KR" sz="900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900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영업점</a:t>
              </a:r>
              <a:endParaRPr lang="en-US" altLang="ko-KR" sz="9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20" name="Picture 253" descr="일반인_컴퓨터하는모습_앞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026" y="3623481"/>
              <a:ext cx="323850" cy="382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Rectangle 104" descr="5차전산센터ob-10"/>
          <p:cNvSpPr>
            <a:spLocks noChangeArrowheads="1"/>
          </p:cNvSpPr>
          <p:nvPr/>
        </p:nvSpPr>
        <p:spPr bwMode="auto">
          <a:xfrm>
            <a:off x="472476" y="3164951"/>
            <a:ext cx="882306" cy="21171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금융거래요청</a:t>
            </a:r>
          </a:p>
        </p:txBody>
      </p:sp>
      <p:sp>
        <p:nvSpPr>
          <p:cNvPr id="22" name="Text Box 16"/>
          <p:cNvSpPr txBox="1">
            <a:spLocks noChangeArrowheads="1"/>
          </p:cNvSpPr>
          <p:nvPr/>
        </p:nvSpPr>
        <p:spPr bwMode="gray">
          <a:xfrm>
            <a:off x="560168" y="3419257"/>
            <a:ext cx="706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0636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10636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10636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10636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1063625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10636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10636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10636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1063625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r>
              <a:rPr lang="ko-KR" altLang="en-US" sz="9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좌 신규거래</a:t>
            </a:r>
            <a:endParaRPr lang="en-US" altLang="ko-KR" sz="900" b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/>
            <a:r>
              <a:rPr lang="ko-KR" altLang="en-US" sz="900" b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회성금융거래</a:t>
            </a:r>
          </a:p>
        </p:txBody>
      </p:sp>
      <p:grpSp>
        <p:nvGrpSpPr>
          <p:cNvPr id="23" name="Rt85"/>
          <p:cNvGrpSpPr/>
          <p:nvPr/>
        </p:nvGrpSpPr>
        <p:grpSpPr>
          <a:xfrm>
            <a:off x="291530" y="2099224"/>
            <a:ext cx="1358910" cy="344127"/>
            <a:chOff x="4652829" y="6228109"/>
            <a:chExt cx="1548174" cy="575482"/>
          </a:xfrm>
        </p:grpSpPr>
        <p:sp>
          <p:nvSpPr>
            <p:cNvPr id="25" name="갈매기형 수장 24"/>
            <p:cNvSpPr/>
            <p:nvPr/>
          </p:nvSpPr>
          <p:spPr>
            <a:xfrm>
              <a:off x="4652829" y="6228109"/>
              <a:ext cx="1548172" cy="575482"/>
            </a:xfrm>
            <a:prstGeom prst="chevron">
              <a:avLst/>
            </a:prstGeom>
            <a:gradFill>
              <a:gsLst>
                <a:gs pos="70000">
                  <a:srgbClr val="8EC0EA"/>
                </a:gs>
                <a:gs pos="0">
                  <a:srgbClr val="CEE4F6"/>
                </a:gs>
              </a:gsLst>
              <a:lin ang="0" scaled="1"/>
            </a:gra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  <a:scene3d>
              <a:camera prst="orthographicFront"/>
              <a:lightRig rig="threePt" dir="t"/>
            </a:scene3d>
            <a:sp3d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ko-KR" altLang="en-US" sz="1100" kern="0" spc="-100" dirty="0">
                <a:ln w="0"/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6" name="직각 삼각형 25"/>
            <p:cNvSpPr/>
            <p:nvPr/>
          </p:nvSpPr>
          <p:spPr bwMode="auto">
            <a:xfrm rot="16200000" flipH="1">
              <a:off x="5242364" y="5638579"/>
              <a:ext cx="369103" cy="1548174"/>
            </a:xfrm>
            <a:prstGeom prst="rtTriangle">
              <a:avLst/>
            </a:prstGeom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100000">
                  <a:sysClr val="window" lastClr="FFFFFF">
                    <a:alpha val="10000"/>
                  </a:sys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42223" latinLnBrk="0">
                <a:defRPr/>
              </a:pPr>
              <a:endParaRPr lang="ko-KR" altLang="en-US" sz="1100" kern="0" spc="-7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27" name="Rt86"/>
          <p:cNvGrpSpPr/>
          <p:nvPr/>
        </p:nvGrpSpPr>
        <p:grpSpPr>
          <a:xfrm flipH="1">
            <a:off x="1532664" y="2099224"/>
            <a:ext cx="1569245" cy="344127"/>
            <a:chOff x="6065986" y="6228109"/>
            <a:chExt cx="1548173" cy="575482"/>
          </a:xfrm>
        </p:grpSpPr>
        <p:sp>
          <p:nvSpPr>
            <p:cNvPr id="28" name="갈매기형 수장 27"/>
            <p:cNvSpPr/>
            <p:nvPr/>
          </p:nvSpPr>
          <p:spPr>
            <a:xfrm flipH="1">
              <a:off x="6065986" y="6228109"/>
              <a:ext cx="1548172" cy="575482"/>
            </a:xfrm>
            <a:prstGeom prst="chevron">
              <a:avLst/>
            </a:prstGeom>
            <a:gradFill>
              <a:gsLst>
                <a:gs pos="70000">
                  <a:srgbClr val="469BF8"/>
                </a:gs>
                <a:gs pos="0">
                  <a:srgbClr val="8EC0EA"/>
                </a:gs>
              </a:gsLst>
              <a:lin ang="0" scaled="1"/>
            </a:gra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  <a:scene3d>
              <a:camera prst="orthographicFront"/>
              <a:lightRig rig="threePt" dir="t"/>
            </a:scene3d>
            <a:sp3d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3d>
                <a:bevelT w="0" h="0"/>
              </a:sp3d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ko-KR" altLang="en-US" sz="1100" kern="0" spc="-100" dirty="0">
                <a:ln w="0"/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9" name="직각 삼각형 28"/>
            <p:cNvSpPr/>
            <p:nvPr/>
          </p:nvSpPr>
          <p:spPr bwMode="auto">
            <a:xfrm rot="5400000">
              <a:off x="6655521" y="5638579"/>
              <a:ext cx="369103" cy="1548172"/>
            </a:xfrm>
            <a:prstGeom prst="rtTriangle">
              <a:avLst/>
            </a:prstGeom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100000">
                  <a:sysClr val="window" lastClr="FFFFFF">
                    <a:alpha val="10000"/>
                  </a:sys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42223" latinLnBrk="0">
                <a:defRPr/>
              </a:pPr>
              <a:endParaRPr lang="ko-KR" altLang="en-US" sz="1100" kern="0" spc="-7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30" name="Rt86"/>
          <p:cNvGrpSpPr/>
          <p:nvPr/>
        </p:nvGrpSpPr>
        <p:grpSpPr>
          <a:xfrm flipH="1">
            <a:off x="2984135" y="2099224"/>
            <a:ext cx="5299441" cy="344127"/>
            <a:chOff x="6065985" y="6228109"/>
            <a:chExt cx="6224701" cy="575482"/>
          </a:xfrm>
        </p:grpSpPr>
        <p:sp>
          <p:nvSpPr>
            <p:cNvPr id="31" name="갈매기형 수장 30"/>
            <p:cNvSpPr/>
            <p:nvPr/>
          </p:nvSpPr>
          <p:spPr>
            <a:xfrm flipH="1">
              <a:off x="6065986" y="6228109"/>
              <a:ext cx="6224700" cy="575482"/>
            </a:xfrm>
            <a:prstGeom prst="chevron">
              <a:avLst/>
            </a:prstGeom>
            <a:gradFill flip="none" rotWithShape="1">
              <a:gsLst>
                <a:gs pos="70000">
                  <a:srgbClr val="0C4C92"/>
                </a:gs>
                <a:gs pos="0">
                  <a:srgbClr val="56A2E0"/>
                </a:gs>
              </a:gsLst>
              <a:lin ang="0" scaled="1"/>
              <a:tileRect/>
            </a:gradFill>
            <a:ln w="6350" cap="rnd" cmpd="sng" algn="ctr">
              <a:noFill/>
              <a:prstDash val="solid"/>
              <a:miter lim="800000"/>
              <a:headEnd type="none" w="lg" len="med"/>
              <a:tailEnd type="none" w="lg" len="med"/>
            </a:ln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  <a:scene3d>
              <a:camera prst="orthographicFront"/>
              <a:lightRig rig="threePt" dir="t"/>
            </a:scene3d>
            <a:sp3d/>
          </p:spPr>
          <p:txBody>
            <a:bodyPr wrap="none" tIns="180000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100" kern="0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2" name="직각 삼각형 31"/>
            <p:cNvSpPr/>
            <p:nvPr/>
          </p:nvSpPr>
          <p:spPr bwMode="auto">
            <a:xfrm rot="5400000">
              <a:off x="8993784" y="3300315"/>
              <a:ext cx="369102" cy="6224700"/>
            </a:xfrm>
            <a:prstGeom prst="rtTriangle">
              <a:avLst/>
            </a:prstGeom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100000">
                  <a:sysClr val="window" lastClr="FFFFFF">
                    <a:alpha val="10000"/>
                  </a:sys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42223" latinLnBrk="0">
                <a:defRPr/>
              </a:pPr>
              <a:endParaRPr lang="ko-KR" altLang="en-US" sz="1100" kern="0" spc="-70" dirty="0"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33" name="Rt86"/>
          <p:cNvGrpSpPr/>
          <p:nvPr/>
        </p:nvGrpSpPr>
        <p:grpSpPr>
          <a:xfrm flipH="1">
            <a:off x="8165799" y="2099224"/>
            <a:ext cx="1407557" cy="344127"/>
            <a:chOff x="6065986" y="6228109"/>
            <a:chExt cx="1548173" cy="575482"/>
          </a:xfrm>
        </p:grpSpPr>
        <p:sp>
          <p:nvSpPr>
            <p:cNvPr id="34" name="갈매기형 수장 33"/>
            <p:cNvSpPr/>
            <p:nvPr/>
          </p:nvSpPr>
          <p:spPr>
            <a:xfrm flipH="1">
              <a:off x="6065986" y="6228109"/>
              <a:ext cx="1548172" cy="575482"/>
            </a:xfrm>
            <a:prstGeom prst="chevron">
              <a:avLst/>
            </a:prstGeom>
            <a:gradFill flip="none" rotWithShape="1">
              <a:gsLst>
                <a:gs pos="62000">
                  <a:srgbClr val="04182E"/>
                </a:gs>
                <a:gs pos="21000">
                  <a:srgbClr val="0B427F"/>
                </a:gs>
              </a:gsLst>
              <a:path path="circle">
                <a:fillToRect t="100000" r="100000"/>
              </a:path>
              <a:tileRect l="-100000" b="-100000"/>
            </a:gradFill>
            <a:ln w="6350" cap="flat" cmpd="sng" algn="ctr">
              <a:noFill/>
              <a:prstDash val="solid"/>
              <a:miter lim="800000"/>
            </a:ln>
            <a:effectLst>
              <a:outerShdw blurRad="25400" dist="12700" dir="5400000" algn="t" rotWithShape="0">
                <a:prstClr val="black">
                  <a:alpha val="25000"/>
                </a:prstClr>
              </a:outerShdw>
            </a:effectLst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100" kern="0" dirty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5" name="직각 삼각형 34"/>
            <p:cNvSpPr/>
            <p:nvPr/>
          </p:nvSpPr>
          <p:spPr bwMode="auto">
            <a:xfrm rot="5400000">
              <a:off x="6655521" y="5638579"/>
              <a:ext cx="369103" cy="1548172"/>
            </a:xfrm>
            <a:prstGeom prst="rtTriangle">
              <a:avLst/>
            </a:prstGeom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100000">
                  <a:sysClr val="window" lastClr="FFFFFF">
                    <a:alpha val="10000"/>
                  </a:sys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42223" latinLnBrk="0">
                <a:defRPr/>
              </a:pPr>
              <a:endParaRPr lang="ko-KR" altLang="en-US" sz="1100" kern="0" spc="-70" dirty="0"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36" name="Rectangle 50"/>
          <p:cNvSpPr>
            <a:spLocks noChangeArrowheads="1"/>
          </p:cNvSpPr>
          <p:nvPr/>
        </p:nvSpPr>
        <p:spPr bwMode="gray">
          <a:xfrm>
            <a:off x="8638585" y="2186648"/>
            <a:ext cx="493725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완료</a:t>
            </a:r>
          </a:p>
        </p:txBody>
      </p:sp>
      <p:sp>
        <p:nvSpPr>
          <p:cNvPr id="37" name="Rectangle 50"/>
          <p:cNvSpPr>
            <a:spLocks noChangeArrowheads="1"/>
          </p:cNvSpPr>
          <p:nvPr/>
        </p:nvSpPr>
        <p:spPr bwMode="gray">
          <a:xfrm>
            <a:off x="5017382" y="2186648"/>
            <a:ext cx="120225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</a:t>
            </a:r>
            <a:r>
              <a:rPr kumimoji="0" lang="en-US" altLang="ko-KR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CDD/EDD</a:t>
            </a:r>
            <a:endParaRPr kumimoji="0" lang="en-US" altLang="ko-KR" sz="11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8" name="Rectangle 50"/>
          <p:cNvSpPr>
            <a:spLocks noChangeArrowheads="1"/>
          </p:cNvSpPr>
          <p:nvPr/>
        </p:nvSpPr>
        <p:spPr bwMode="gray">
          <a:xfrm>
            <a:off x="1791501" y="2186649"/>
            <a:ext cx="105157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kern="0" spc="-7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atch List </a:t>
            </a:r>
            <a:r>
              <a:rPr kumimoji="0" lang="en-US" altLang="ko-KR" sz="1100" kern="0" spc="-7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ltering</a:t>
            </a:r>
          </a:p>
        </p:txBody>
      </p:sp>
      <p:sp>
        <p:nvSpPr>
          <p:cNvPr id="39" name="Rectangle 50"/>
          <p:cNvSpPr>
            <a:spLocks noChangeArrowheads="1"/>
          </p:cNvSpPr>
          <p:nvPr/>
        </p:nvSpPr>
        <p:spPr bwMode="gray">
          <a:xfrm>
            <a:off x="662625" y="2186648"/>
            <a:ext cx="719428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kern="0" spc="-7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금융거래 발생</a:t>
            </a:r>
          </a:p>
        </p:txBody>
      </p:sp>
      <p:sp>
        <p:nvSpPr>
          <p:cNvPr id="40" name="직사각형 39"/>
          <p:cNvSpPr/>
          <p:nvPr/>
        </p:nvSpPr>
        <p:spPr>
          <a:xfrm>
            <a:off x="6400586" y="2544331"/>
            <a:ext cx="3110222" cy="400000"/>
          </a:xfrm>
          <a:prstGeom prst="rect">
            <a:avLst/>
          </a:prstGeom>
          <a:solidFill>
            <a:srgbClr val="A1D8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prstClr val="white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6324927" y="3500682"/>
            <a:ext cx="3248430" cy="818352"/>
          </a:xfrm>
          <a:prstGeom prst="rect">
            <a:avLst/>
          </a:prstGeom>
          <a:solidFill>
            <a:srgbClr val="A1D8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prstClr val="white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2" name="Rectangle 62"/>
          <p:cNvSpPr>
            <a:spLocks noChangeArrowheads="1"/>
          </p:cNvSpPr>
          <p:nvPr/>
        </p:nvSpPr>
        <p:spPr bwMode="auto">
          <a:xfrm>
            <a:off x="4946093" y="4541654"/>
            <a:ext cx="1926348" cy="1623527"/>
          </a:xfrm>
          <a:prstGeom prst="roundRect">
            <a:avLst>
              <a:gd name="adj" fmla="val 1000"/>
            </a:avLst>
          </a:prstGeom>
          <a:solidFill>
            <a:srgbClr val="A1D8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prstClr val="white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3" name="Rectangle 62"/>
          <p:cNvSpPr>
            <a:spLocks noChangeArrowheads="1"/>
          </p:cNvSpPr>
          <p:nvPr/>
        </p:nvSpPr>
        <p:spPr bwMode="auto">
          <a:xfrm>
            <a:off x="1532664" y="4434214"/>
            <a:ext cx="1374355" cy="1730966"/>
          </a:xfrm>
          <a:prstGeom prst="roundRect">
            <a:avLst>
              <a:gd name="adj" fmla="val 1000"/>
            </a:avLst>
          </a:prstGeom>
          <a:solidFill>
            <a:srgbClr val="A1D8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4" name="Rectangle 62"/>
          <p:cNvSpPr>
            <a:spLocks noChangeArrowheads="1"/>
          </p:cNvSpPr>
          <p:nvPr/>
        </p:nvSpPr>
        <p:spPr bwMode="auto">
          <a:xfrm>
            <a:off x="1532664" y="2703029"/>
            <a:ext cx="1374355" cy="1642549"/>
          </a:xfrm>
          <a:prstGeom prst="roundRect">
            <a:avLst>
              <a:gd name="adj" fmla="val 1000"/>
            </a:avLst>
          </a:prstGeom>
          <a:solidFill>
            <a:srgbClr val="A1D8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5" name="Rectangle 136"/>
          <p:cNvSpPr>
            <a:spLocks noChangeArrowheads="1"/>
          </p:cNvSpPr>
          <p:nvPr/>
        </p:nvSpPr>
        <p:spPr bwMode="gray">
          <a:xfrm>
            <a:off x="5188459" y="4591802"/>
            <a:ext cx="750332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인</a:t>
            </a:r>
          </a:p>
        </p:txBody>
      </p:sp>
      <p:sp>
        <p:nvSpPr>
          <p:cNvPr id="46" name="Rectangle 136"/>
          <p:cNvSpPr>
            <a:spLocks noChangeArrowheads="1"/>
          </p:cNvSpPr>
          <p:nvPr/>
        </p:nvSpPr>
        <p:spPr bwMode="gray">
          <a:xfrm>
            <a:off x="5188459" y="5081199"/>
            <a:ext cx="750332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인사업자</a:t>
            </a:r>
          </a:p>
        </p:txBody>
      </p:sp>
      <p:sp>
        <p:nvSpPr>
          <p:cNvPr id="47" name="Rectangle 136"/>
          <p:cNvSpPr>
            <a:spLocks noChangeArrowheads="1"/>
          </p:cNvSpPr>
          <p:nvPr/>
        </p:nvSpPr>
        <p:spPr bwMode="gray">
          <a:xfrm>
            <a:off x="5188459" y="5443450"/>
            <a:ext cx="750332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법인</a:t>
            </a:r>
          </a:p>
        </p:txBody>
      </p:sp>
      <p:sp>
        <p:nvSpPr>
          <p:cNvPr id="48" name="Rectangle 136"/>
          <p:cNvSpPr>
            <a:spLocks noChangeArrowheads="1"/>
          </p:cNvSpPr>
          <p:nvPr/>
        </p:nvSpPr>
        <p:spPr bwMode="gray">
          <a:xfrm>
            <a:off x="5188459" y="5847742"/>
            <a:ext cx="750332" cy="252144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비영리단체</a:t>
            </a:r>
          </a:p>
        </p:txBody>
      </p:sp>
      <p:sp>
        <p:nvSpPr>
          <p:cNvPr id="49" name="Rectangle 136"/>
          <p:cNvSpPr>
            <a:spLocks noChangeArrowheads="1"/>
          </p:cNvSpPr>
          <p:nvPr/>
        </p:nvSpPr>
        <p:spPr bwMode="gray">
          <a:xfrm>
            <a:off x="6095291" y="4575202"/>
            <a:ext cx="716226" cy="144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직업</a:t>
            </a:r>
            <a:r>
              <a:rPr kumimoji="0"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종</a:t>
            </a:r>
            <a:r>
              <a:rPr kumimoji="0" lang="en-US" altLang="ko-KR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kumimoji="0"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0" name="Rectangle 136"/>
          <p:cNvSpPr>
            <a:spLocks noChangeArrowheads="1"/>
          </p:cNvSpPr>
          <p:nvPr/>
        </p:nvSpPr>
        <p:spPr bwMode="gray">
          <a:xfrm>
            <a:off x="6095291" y="4751613"/>
            <a:ext cx="716226" cy="144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은행거래기간</a:t>
            </a:r>
          </a:p>
        </p:txBody>
      </p:sp>
      <p:sp>
        <p:nvSpPr>
          <p:cNvPr id="51" name="Rectangle 136"/>
          <p:cNvSpPr>
            <a:spLocks noChangeArrowheads="1"/>
          </p:cNvSpPr>
          <p:nvPr/>
        </p:nvSpPr>
        <p:spPr bwMode="gray">
          <a:xfrm>
            <a:off x="6095291" y="4974555"/>
            <a:ext cx="716226" cy="144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 smtClean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표준산업분류</a:t>
            </a:r>
            <a:endParaRPr kumimoji="0" lang="ko-KR" altLang="en-US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2" name="Rectangle 136"/>
          <p:cNvSpPr>
            <a:spLocks noChangeArrowheads="1"/>
          </p:cNvSpPr>
          <p:nvPr/>
        </p:nvSpPr>
        <p:spPr bwMode="gray">
          <a:xfrm>
            <a:off x="6095291" y="5142432"/>
            <a:ext cx="716226" cy="144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법인형태</a:t>
            </a:r>
          </a:p>
        </p:txBody>
      </p:sp>
      <p:sp>
        <p:nvSpPr>
          <p:cNvPr id="53" name="Rectangle 136"/>
          <p:cNvSpPr>
            <a:spLocks noChangeArrowheads="1"/>
          </p:cNvSpPr>
          <p:nvPr/>
        </p:nvSpPr>
        <p:spPr bwMode="gray">
          <a:xfrm>
            <a:off x="6095291" y="5310308"/>
            <a:ext cx="716226" cy="144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은행 거래기간</a:t>
            </a:r>
          </a:p>
        </p:txBody>
      </p:sp>
      <p:sp>
        <p:nvSpPr>
          <p:cNvPr id="54" name="Rectangle 136"/>
          <p:cNvSpPr>
            <a:spLocks noChangeArrowheads="1"/>
          </p:cNvSpPr>
          <p:nvPr/>
        </p:nvSpPr>
        <p:spPr bwMode="gray">
          <a:xfrm>
            <a:off x="6095291" y="5478183"/>
            <a:ext cx="716226" cy="144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종업원수</a:t>
            </a:r>
          </a:p>
        </p:txBody>
      </p:sp>
      <p:sp>
        <p:nvSpPr>
          <p:cNvPr id="55" name="Rectangle 136"/>
          <p:cNvSpPr>
            <a:spLocks noChangeArrowheads="1"/>
          </p:cNvSpPr>
          <p:nvPr/>
        </p:nvSpPr>
        <p:spPr bwMode="gray">
          <a:xfrm>
            <a:off x="6095291" y="5646059"/>
            <a:ext cx="716226" cy="144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총매출액</a:t>
            </a:r>
          </a:p>
        </p:txBody>
      </p:sp>
      <p:sp>
        <p:nvSpPr>
          <p:cNvPr id="56" name="Rectangle 136"/>
          <p:cNvSpPr>
            <a:spLocks noChangeArrowheads="1"/>
          </p:cNvSpPr>
          <p:nvPr/>
        </p:nvSpPr>
        <p:spPr bwMode="gray">
          <a:xfrm>
            <a:off x="6095291" y="5850189"/>
            <a:ext cx="716226" cy="24725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gradFill>
              <a:gsLst>
                <a:gs pos="1000">
                  <a:srgbClr val="3ACCFF"/>
                </a:gs>
                <a:gs pos="50000">
                  <a:srgbClr val="0079C1"/>
                </a:gs>
                <a:gs pos="100000">
                  <a:srgbClr val="002D7A"/>
                </a:gs>
              </a:gsLst>
              <a:lin ang="36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저위험 비영리</a:t>
            </a:r>
            <a:endParaRPr kumimoji="0" lang="en-US" altLang="ko-KR" sz="900" kern="0" spc="-100" dirty="0">
              <a:ln w="0"/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defTabSz="1019175" fontAlgn="auto" latinLnBrk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3768725" algn="l"/>
              </a:tabLst>
              <a:defRPr/>
            </a:pPr>
            <a:r>
              <a:rPr kumimoji="0" lang="ko-KR" altLang="en-US" sz="9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체여부</a:t>
            </a:r>
          </a:p>
        </p:txBody>
      </p:sp>
      <p:sp>
        <p:nvSpPr>
          <p:cNvPr id="57" name="Rectangle 136"/>
          <p:cNvSpPr>
            <a:spLocks noChangeArrowheads="1"/>
          </p:cNvSpPr>
          <p:nvPr/>
        </p:nvSpPr>
        <p:spPr bwMode="gray">
          <a:xfrm>
            <a:off x="6981533" y="2982496"/>
            <a:ext cx="2144441" cy="198616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종합위험평가</a:t>
            </a:r>
          </a:p>
        </p:txBody>
      </p:sp>
      <p:sp>
        <p:nvSpPr>
          <p:cNvPr id="58" name="Rectangle 136"/>
          <p:cNvSpPr>
            <a:spLocks noChangeArrowheads="1"/>
          </p:cNvSpPr>
          <p:nvPr/>
        </p:nvSpPr>
        <p:spPr bwMode="gray">
          <a:xfrm>
            <a:off x="6517662" y="2585211"/>
            <a:ext cx="530417" cy="318237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</a:t>
            </a:r>
            <a:endParaRPr kumimoji="0" lang="en-US" altLang="ko-KR" sz="1000" kern="0" spc="-50" dirty="0" smtClean="0">
              <a:ln w="0"/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50%)</a:t>
            </a:r>
            <a:endParaRPr kumimoji="0" lang="ko-KR" altLang="en-US" sz="1000" kern="0" spc="-50" dirty="0">
              <a:ln w="0"/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9" name="Rectangle 136"/>
          <p:cNvSpPr>
            <a:spLocks noChangeArrowheads="1"/>
          </p:cNvSpPr>
          <p:nvPr/>
        </p:nvSpPr>
        <p:spPr bwMode="gray">
          <a:xfrm>
            <a:off x="8036152" y="2585211"/>
            <a:ext cx="635348" cy="318237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상품</a:t>
            </a:r>
            <a:r>
              <a:rPr kumimoji="0" lang="en-US" altLang="ko-KR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kumimoji="0" lang="ko-KR" altLang="en-US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비스</a:t>
            </a:r>
            <a:endParaRPr kumimoji="0" lang="en-US" altLang="ko-KR" sz="1000" kern="0" spc="-50" dirty="0" smtClean="0">
              <a:ln w="0"/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15%)</a:t>
            </a:r>
            <a:endParaRPr kumimoji="0" lang="ko-KR" altLang="en-US" sz="1000" kern="0" spc="-50" dirty="0">
              <a:ln w="0"/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0" name="Rectangle 136"/>
          <p:cNvSpPr>
            <a:spLocks noChangeArrowheads="1"/>
          </p:cNvSpPr>
          <p:nvPr/>
        </p:nvSpPr>
        <p:spPr bwMode="gray">
          <a:xfrm>
            <a:off x="8922595" y="2585211"/>
            <a:ext cx="485885" cy="318237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채널</a:t>
            </a:r>
            <a: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kumimoji="0" lang="en-US" altLang="ko-KR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</a:t>
            </a:r>
            <a: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%)</a:t>
            </a:r>
            <a:endParaRPr kumimoji="0" lang="ko-KR" altLang="en-US" sz="1000" kern="0" spc="-50" dirty="0">
              <a:ln w="0"/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1" name="Rectangle 136"/>
          <p:cNvSpPr>
            <a:spLocks noChangeArrowheads="1"/>
          </p:cNvSpPr>
          <p:nvPr/>
        </p:nvSpPr>
        <p:spPr bwMode="gray">
          <a:xfrm>
            <a:off x="6637928" y="3568621"/>
            <a:ext cx="809521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위험</a:t>
            </a:r>
          </a:p>
        </p:txBody>
      </p:sp>
      <p:sp>
        <p:nvSpPr>
          <p:cNvPr id="62" name="Rectangle 136"/>
          <p:cNvSpPr>
            <a:spLocks noChangeArrowheads="1"/>
          </p:cNvSpPr>
          <p:nvPr/>
        </p:nvSpPr>
        <p:spPr bwMode="gray">
          <a:xfrm>
            <a:off x="7648993" y="3568621"/>
            <a:ext cx="809521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중위험</a:t>
            </a:r>
          </a:p>
        </p:txBody>
      </p:sp>
      <p:sp>
        <p:nvSpPr>
          <p:cNvPr id="63" name="Rectangle 136"/>
          <p:cNvSpPr>
            <a:spLocks noChangeArrowheads="1"/>
          </p:cNvSpPr>
          <p:nvPr/>
        </p:nvSpPr>
        <p:spPr bwMode="gray">
          <a:xfrm>
            <a:off x="8657550" y="3568621"/>
            <a:ext cx="809521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저위험</a:t>
            </a:r>
          </a:p>
        </p:txBody>
      </p:sp>
      <p:sp>
        <p:nvSpPr>
          <p:cNvPr id="64" name="Rectangle 136"/>
          <p:cNvSpPr>
            <a:spLocks noChangeArrowheads="1"/>
          </p:cNvSpPr>
          <p:nvPr/>
        </p:nvSpPr>
        <p:spPr bwMode="gray">
          <a:xfrm>
            <a:off x="6400586" y="3952641"/>
            <a:ext cx="1284203" cy="312577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DD </a:t>
            </a:r>
            <a:r>
              <a:rPr kumimoji="0" lang="ko-KR" altLang="en-US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행 추가정보 </a:t>
            </a: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확인 및 검증</a:t>
            </a:r>
          </a:p>
        </p:txBody>
      </p:sp>
      <p:sp>
        <p:nvSpPr>
          <p:cNvPr id="65" name="Rectangle 136"/>
          <p:cNvSpPr>
            <a:spLocks noChangeArrowheads="1"/>
          </p:cNvSpPr>
          <p:nvPr/>
        </p:nvSpPr>
        <p:spPr bwMode="gray">
          <a:xfrm>
            <a:off x="7918868" y="3952641"/>
            <a:ext cx="1284203" cy="312577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DD </a:t>
            </a: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행</a:t>
            </a:r>
          </a:p>
        </p:txBody>
      </p:sp>
      <p:sp>
        <p:nvSpPr>
          <p:cNvPr id="66" name="Rectangle 136"/>
          <p:cNvSpPr>
            <a:spLocks noChangeArrowheads="1"/>
          </p:cNvSpPr>
          <p:nvPr/>
        </p:nvSpPr>
        <p:spPr bwMode="gray">
          <a:xfrm>
            <a:off x="3860421" y="3346046"/>
            <a:ext cx="741137" cy="21171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DD </a:t>
            </a: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행</a:t>
            </a:r>
          </a:p>
        </p:txBody>
      </p:sp>
      <p:cxnSp>
        <p:nvCxnSpPr>
          <p:cNvPr id="67" name="직선 화살표 연결선 66"/>
          <p:cNvCxnSpPr>
            <a:stCxn id="123" idx="2"/>
            <a:endCxn id="66" idx="0"/>
          </p:cNvCxnSpPr>
          <p:nvPr/>
        </p:nvCxnSpPr>
        <p:spPr bwMode="auto">
          <a:xfrm>
            <a:off x="4230989" y="3102746"/>
            <a:ext cx="0" cy="243300"/>
          </a:xfrm>
          <a:prstGeom prst="straightConnector1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68" name="직선 화살표 연결선 167"/>
          <p:cNvCxnSpPr>
            <a:stCxn id="114" idx="1"/>
            <a:endCxn id="157" idx="0"/>
          </p:cNvCxnSpPr>
          <p:nvPr/>
        </p:nvCxnSpPr>
        <p:spPr bwMode="auto">
          <a:xfrm rot="10800000" flipV="1">
            <a:off x="913631" y="4664676"/>
            <a:ext cx="721552" cy="163879"/>
          </a:xfrm>
          <a:prstGeom prst="bentConnector2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69" name="직선 화살표 연결선 68"/>
          <p:cNvCxnSpPr>
            <a:stCxn id="126" idx="2"/>
            <a:endCxn id="129" idx="0"/>
          </p:cNvCxnSpPr>
          <p:nvPr/>
        </p:nvCxnSpPr>
        <p:spPr bwMode="auto">
          <a:xfrm>
            <a:off x="4259991" y="4841102"/>
            <a:ext cx="0" cy="340356"/>
          </a:xfrm>
          <a:prstGeom prst="straightConnector1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70" name="직선 화살표 연결선 167"/>
          <p:cNvCxnSpPr>
            <a:stCxn id="129" idx="3"/>
            <a:endCxn id="45" idx="1"/>
          </p:cNvCxnSpPr>
          <p:nvPr/>
        </p:nvCxnSpPr>
        <p:spPr bwMode="auto">
          <a:xfrm flipV="1">
            <a:off x="4841352" y="4690528"/>
            <a:ext cx="347106" cy="66735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71" name="직선 화살표 연결선 167"/>
          <p:cNvCxnSpPr>
            <a:stCxn id="129" idx="3"/>
            <a:endCxn id="46" idx="1"/>
          </p:cNvCxnSpPr>
          <p:nvPr/>
        </p:nvCxnSpPr>
        <p:spPr bwMode="auto">
          <a:xfrm flipV="1">
            <a:off x="4841352" y="5179926"/>
            <a:ext cx="347106" cy="17795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72" name="직선 화살표 연결선 167"/>
          <p:cNvCxnSpPr>
            <a:stCxn id="129" idx="3"/>
            <a:endCxn id="47" idx="1"/>
          </p:cNvCxnSpPr>
          <p:nvPr/>
        </p:nvCxnSpPr>
        <p:spPr bwMode="auto">
          <a:xfrm>
            <a:off x="4841352" y="5357885"/>
            <a:ext cx="347106" cy="1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73" name="직선 화살표 연결선 167"/>
          <p:cNvCxnSpPr>
            <a:stCxn id="129" idx="3"/>
            <a:endCxn id="48" idx="1"/>
          </p:cNvCxnSpPr>
          <p:nvPr/>
        </p:nvCxnSpPr>
        <p:spPr bwMode="auto">
          <a:xfrm>
            <a:off x="4841352" y="5357885"/>
            <a:ext cx="347106" cy="61593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74" name="직선 화살표 연결선 73"/>
          <p:cNvCxnSpPr>
            <a:stCxn id="61" idx="2"/>
            <a:endCxn id="64" idx="0"/>
          </p:cNvCxnSpPr>
          <p:nvPr/>
        </p:nvCxnSpPr>
        <p:spPr bwMode="auto">
          <a:xfrm flipH="1">
            <a:off x="7042689" y="3766075"/>
            <a:ext cx="1" cy="186565"/>
          </a:xfrm>
          <a:prstGeom prst="straightConnector1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headEnd type="oval" w="sm" len="sm"/>
            <a:tailEnd type="oval" w="sm" len="sm"/>
          </a:ln>
          <a:effectLst/>
        </p:spPr>
      </p:cxnSp>
      <p:cxnSp>
        <p:nvCxnSpPr>
          <p:cNvPr id="75" name="직선 화살표 연결선 262"/>
          <p:cNvCxnSpPr>
            <a:stCxn id="62" idx="2"/>
            <a:endCxn id="65" idx="0"/>
          </p:cNvCxnSpPr>
          <p:nvPr/>
        </p:nvCxnSpPr>
        <p:spPr bwMode="auto">
          <a:xfrm rot="16200000" flipH="1">
            <a:off x="8214078" y="3605748"/>
            <a:ext cx="186566" cy="50721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headEnd type="oval" w="sm" len="sm"/>
            <a:tailEnd type="oval" w="sm" len="sm"/>
          </a:ln>
          <a:effectLst/>
        </p:spPr>
      </p:cxnSp>
      <p:cxnSp>
        <p:nvCxnSpPr>
          <p:cNvPr id="76" name="직선 화살표 연결선 262"/>
          <p:cNvCxnSpPr>
            <a:stCxn id="63" idx="2"/>
            <a:endCxn id="65" idx="0"/>
          </p:cNvCxnSpPr>
          <p:nvPr/>
        </p:nvCxnSpPr>
        <p:spPr bwMode="auto">
          <a:xfrm rot="5400000">
            <a:off x="8718358" y="3608687"/>
            <a:ext cx="186566" cy="50134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headEnd type="oval" w="sm" len="sm"/>
            <a:tailEnd type="oval" w="sm" len="sm"/>
          </a:ln>
          <a:effectLst/>
        </p:spPr>
      </p:cxnSp>
      <p:cxnSp>
        <p:nvCxnSpPr>
          <p:cNvPr id="77" name="직선 화살표 연결선 264"/>
          <p:cNvCxnSpPr>
            <a:stCxn id="57" idx="2"/>
            <a:endCxn id="61" idx="0"/>
          </p:cNvCxnSpPr>
          <p:nvPr/>
        </p:nvCxnSpPr>
        <p:spPr bwMode="auto">
          <a:xfrm rot="5400000">
            <a:off x="7354467" y="2869335"/>
            <a:ext cx="387510" cy="10110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none"/>
          </a:ln>
          <a:effectLst/>
        </p:spPr>
      </p:cxnSp>
      <p:cxnSp>
        <p:nvCxnSpPr>
          <p:cNvPr id="78" name="직선 화살표 연결선 264"/>
          <p:cNvCxnSpPr>
            <a:stCxn id="57" idx="2"/>
            <a:endCxn id="62" idx="0"/>
          </p:cNvCxnSpPr>
          <p:nvPr/>
        </p:nvCxnSpPr>
        <p:spPr bwMode="auto">
          <a:xfrm>
            <a:off x="8053754" y="3181112"/>
            <a:ext cx="0" cy="387510"/>
          </a:xfrm>
          <a:prstGeom prst="straightConnector1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none"/>
          </a:ln>
          <a:effectLst/>
        </p:spPr>
      </p:cxnSp>
      <p:cxnSp>
        <p:nvCxnSpPr>
          <p:cNvPr id="79" name="직선 화살표 연결선 264"/>
          <p:cNvCxnSpPr>
            <a:stCxn id="57" idx="2"/>
            <a:endCxn id="63" idx="0"/>
          </p:cNvCxnSpPr>
          <p:nvPr/>
        </p:nvCxnSpPr>
        <p:spPr bwMode="auto">
          <a:xfrm rot="16200000" flipH="1">
            <a:off x="8364276" y="2870587"/>
            <a:ext cx="387510" cy="100855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none"/>
          </a:ln>
          <a:effectLst/>
        </p:spPr>
      </p:cxnSp>
      <p:sp>
        <p:nvSpPr>
          <p:cNvPr id="80" name="Rectangle 136"/>
          <p:cNvSpPr>
            <a:spLocks noChangeArrowheads="1"/>
          </p:cNvSpPr>
          <p:nvPr/>
        </p:nvSpPr>
        <p:spPr bwMode="gray">
          <a:xfrm>
            <a:off x="3439671" y="3819502"/>
            <a:ext cx="741137" cy="21171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거절</a:t>
            </a:r>
          </a:p>
        </p:txBody>
      </p:sp>
      <p:sp>
        <p:nvSpPr>
          <p:cNvPr id="81" name="Rectangle 136"/>
          <p:cNvSpPr>
            <a:spLocks noChangeArrowheads="1"/>
          </p:cNvSpPr>
          <p:nvPr/>
        </p:nvSpPr>
        <p:spPr bwMode="gray">
          <a:xfrm>
            <a:off x="4271948" y="3819502"/>
            <a:ext cx="741137" cy="21171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완료</a:t>
            </a:r>
          </a:p>
        </p:txBody>
      </p:sp>
      <p:cxnSp>
        <p:nvCxnSpPr>
          <p:cNvPr id="82" name="직선 화살표 연결선 167"/>
          <p:cNvCxnSpPr>
            <a:stCxn id="66" idx="2"/>
            <a:endCxn id="80" idx="0"/>
          </p:cNvCxnSpPr>
          <p:nvPr/>
        </p:nvCxnSpPr>
        <p:spPr bwMode="auto">
          <a:xfrm rot="5400000">
            <a:off x="3889743" y="3478254"/>
            <a:ext cx="261744" cy="42075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83" name="직선 화살표 연결선 167"/>
          <p:cNvCxnSpPr>
            <a:stCxn id="66" idx="2"/>
            <a:endCxn id="81" idx="0"/>
          </p:cNvCxnSpPr>
          <p:nvPr/>
        </p:nvCxnSpPr>
        <p:spPr bwMode="auto">
          <a:xfrm rot="16200000" flipH="1">
            <a:off x="4305882" y="3482866"/>
            <a:ext cx="261744" cy="41152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sp>
        <p:nvSpPr>
          <p:cNvPr id="84" name="Rectangle 136"/>
          <p:cNvSpPr>
            <a:spLocks noChangeArrowheads="1"/>
          </p:cNvSpPr>
          <p:nvPr/>
        </p:nvSpPr>
        <p:spPr bwMode="gray">
          <a:xfrm>
            <a:off x="7216360" y="4981079"/>
            <a:ext cx="809521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거절</a:t>
            </a:r>
          </a:p>
        </p:txBody>
      </p:sp>
      <p:sp>
        <p:nvSpPr>
          <p:cNvPr id="85" name="Rectangle 136"/>
          <p:cNvSpPr>
            <a:spLocks noChangeArrowheads="1"/>
          </p:cNvSpPr>
          <p:nvPr/>
        </p:nvSpPr>
        <p:spPr bwMode="gray">
          <a:xfrm>
            <a:off x="8156209" y="4981079"/>
            <a:ext cx="809521" cy="19745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완료</a:t>
            </a:r>
          </a:p>
        </p:txBody>
      </p:sp>
      <p:cxnSp>
        <p:nvCxnSpPr>
          <p:cNvPr id="86" name="직선 화살표 연결선 167"/>
          <p:cNvCxnSpPr>
            <a:stCxn id="64" idx="2"/>
            <a:endCxn id="85" idx="0"/>
          </p:cNvCxnSpPr>
          <p:nvPr/>
        </p:nvCxnSpPr>
        <p:spPr bwMode="auto">
          <a:xfrm rot="16200000" flipH="1">
            <a:off x="7443897" y="3864007"/>
            <a:ext cx="715862" cy="151828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7" name="직선 화살표 연결선 167"/>
          <p:cNvCxnSpPr>
            <a:stCxn id="64" idx="2"/>
            <a:endCxn id="84" idx="0"/>
          </p:cNvCxnSpPr>
          <p:nvPr/>
        </p:nvCxnSpPr>
        <p:spPr bwMode="auto">
          <a:xfrm rot="16200000" flipH="1">
            <a:off x="6973973" y="4333931"/>
            <a:ext cx="715862" cy="578433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88" name="직선 화살표 연결선 167"/>
          <p:cNvCxnSpPr>
            <a:stCxn id="64" idx="2"/>
            <a:endCxn id="85" idx="0"/>
          </p:cNvCxnSpPr>
          <p:nvPr/>
        </p:nvCxnSpPr>
        <p:spPr bwMode="auto">
          <a:xfrm rot="16200000" flipH="1">
            <a:off x="7443897" y="3864007"/>
            <a:ext cx="715862" cy="151828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sp>
        <p:nvSpPr>
          <p:cNvPr id="89" name="Rectangle 136"/>
          <p:cNvSpPr>
            <a:spLocks noChangeArrowheads="1"/>
          </p:cNvSpPr>
          <p:nvPr/>
        </p:nvSpPr>
        <p:spPr bwMode="gray">
          <a:xfrm>
            <a:off x="1459912" y="4536607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0" name="Rectangle 136"/>
          <p:cNvSpPr>
            <a:spLocks noChangeArrowheads="1"/>
          </p:cNvSpPr>
          <p:nvPr/>
        </p:nvSpPr>
        <p:spPr bwMode="gray">
          <a:xfrm>
            <a:off x="2974771" y="5171750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1" name="Rectangle 136"/>
          <p:cNvSpPr>
            <a:spLocks noChangeArrowheads="1"/>
          </p:cNvSpPr>
          <p:nvPr/>
        </p:nvSpPr>
        <p:spPr bwMode="gray">
          <a:xfrm>
            <a:off x="2974771" y="5759187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2" name="Rectangle 136"/>
          <p:cNvSpPr>
            <a:spLocks noChangeArrowheads="1"/>
          </p:cNvSpPr>
          <p:nvPr/>
        </p:nvSpPr>
        <p:spPr bwMode="gray">
          <a:xfrm>
            <a:off x="2044139" y="4851520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3" name="Rectangle 136"/>
          <p:cNvSpPr>
            <a:spLocks noChangeArrowheads="1"/>
          </p:cNvSpPr>
          <p:nvPr/>
        </p:nvSpPr>
        <p:spPr bwMode="gray">
          <a:xfrm>
            <a:off x="2044139" y="6035804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4" name="Rectangle 136"/>
          <p:cNvSpPr>
            <a:spLocks noChangeArrowheads="1"/>
          </p:cNvSpPr>
          <p:nvPr/>
        </p:nvSpPr>
        <p:spPr bwMode="gray">
          <a:xfrm>
            <a:off x="5161788" y="2825344"/>
            <a:ext cx="741137" cy="21171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거절</a:t>
            </a:r>
          </a:p>
        </p:txBody>
      </p:sp>
      <p:cxnSp>
        <p:nvCxnSpPr>
          <p:cNvPr id="95" name="직선 화살표 연결선 94"/>
          <p:cNvCxnSpPr>
            <a:stCxn id="123" idx="3"/>
            <a:endCxn id="94" idx="1"/>
          </p:cNvCxnSpPr>
          <p:nvPr/>
        </p:nvCxnSpPr>
        <p:spPr bwMode="auto">
          <a:xfrm>
            <a:off x="4812351" y="2926319"/>
            <a:ext cx="349437" cy="4881"/>
          </a:xfrm>
          <a:prstGeom prst="straightConnector1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sp>
        <p:nvSpPr>
          <p:cNvPr id="96" name="Rectangle 136"/>
          <p:cNvSpPr>
            <a:spLocks noChangeArrowheads="1"/>
          </p:cNvSpPr>
          <p:nvPr/>
        </p:nvSpPr>
        <p:spPr bwMode="gray">
          <a:xfrm>
            <a:off x="2044139" y="3129552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7" name="Rectangle 136"/>
          <p:cNvSpPr>
            <a:spLocks noChangeArrowheads="1"/>
          </p:cNvSpPr>
          <p:nvPr/>
        </p:nvSpPr>
        <p:spPr bwMode="gray">
          <a:xfrm>
            <a:off x="2036669" y="3710017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8" name="Rectangle 136"/>
          <p:cNvSpPr>
            <a:spLocks noChangeArrowheads="1"/>
          </p:cNvSpPr>
          <p:nvPr/>
        </p:nvSpPr>
        <p:spPr bwMode="gray">
          <a:xfrm>
            <a:off x="2021728" y="4243568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9" name="Rectangle 136"/>
          <p:cNvSpPr>
            <a:spLocks noChangeArrowheads="1"/>
          </p:cNvSpPr>
          <p:nvPr/>
        </p:nvSpPr>
        <p:spPr bwMode="gray">
          <a:xfrm>
            <a:off x="2974771" y="2794988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0" name="Rectangle 136"/>
          <p:cNvSpPr>
            <a:spLocks noChangeArrowheads="1"/>
          </p:cNvSpPr>
          <p:nvPr/>
        </p:nvSpPr>
        <p:spPr bwMode="gray">
          <a:xfrm>
            <a:off x="2974771" y="3354311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1" name="Rectangle 136"/>
          <p:cNvSpPr>
            <a:spLocks noChangeArrowheads="1"/>
          </p:cNvSpPr>
          <p:nvPr/>
        </p:nvSpPr>
        <p:spPr bwMode="gray">
          <a:xfrm>
            <a:off x="2974771" y="3931372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2" name="Rectangle 104" descr="5차전산센터ob-10"/>
          <p:cNvSpPr>
            <a:spLocks noChangeArrowheads="1"/>
          </p:cNvSpPr>
          <p:nvPr/>
        </p:nvSpPr>
        <p:spPr bwMode="auto">
          <a:xfrm>
            <a:off x="472476" y="4193360"/>
            <a:ext cx="882306" cy="21171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정보확인</a:t>
            </a:r>
          </a:p>
        </p:txBody>
      </p:sp>
      <p:sp>
        <p:nvSpPr>
          <p:cNvPr id="103" name="Rectangle 104" descr="5차전산센터ob-10"/>
          <p:cNvSpPr>
            <a:spLocks noChangeArrowheads="1"/>
          </p:cNvSpPr>
          <p:nvPr/>
        </p:nvSpPr>
        <p:spPr bwMode="auto">
          <a:xfrm>
            <a:off x="472476" y="5675522"/>
            <a:ext cx="882306" cy="21171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거절</a:t>
            </a:r>
          </a:p>
        </p:txBody>
      </p:sp>
      <p:grpSp>
        <p:nvGrpSpPr>
          <p:cNvPr id="104" name="그룹 103"/>
          <p:cNvGrpSpPr/>
          <p:nvPr/>
        </p:nvGrpSpPr>
        <p:grpSpPr>
          <a:xfrm>
            <a:off x="1635182" y="2749892"/>
            <a:ext cx="1159606" cy="352854"/>
            <a:chOff x="1872196" y="2730076"/>
            <a:chExt cx="1227292" cy="566211"/>
          </a:xfrm>
        </p:grpSpPr>
        <p:sp>
          <p:nvSpPr>
            <p:cNvPr id="105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06" name="Rectangle 2189"/>
            <p:cNvSpPr>
              <a:spLocks noChangeArrowheads="1"/>
            </p:cNvSpPr>
            <p:nvPr/>
          </p:nvSpPr>
          <p:spPr bwMode="auto">
            <a:xfrm>
              <a:off x="2238993" y="2840326"/>
              <a:ext cx="493702" cy="3457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FATF NCCT</a:t>
              </a:r>
              <a:endParaRPr kumimoji="0" lang="en-US" altLang="ko-KR" sz="7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국가</a:t>
              </a:r>
              <a:endParaRPr kumimoji="0" lang="ko-KR" altLang="en-US" sz="7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107" name="그룹 106"/>
          <p:cNvGrpSpPr/>
          <p:nvPr/>
        </p:nvGrpSpPr>
        <p:grpSpPr>
          <a:xfrm>
            <a:off x="1635182" y="3312892"/>
            <a:ext cx="1159606" cy="352854"/>
            <a:chOff x="1872196" y="2730076"/>
            <a:chExt cx="1227292" cy="566211"/>
          </a:xfrm>
        </p:grpSpPr>
        <p:sp>
          <p:nvSpPr>
            <p:cNvPr id="108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09" name="Rectangle 2189"/>
            <p:cNvSpPr>
              <a:spLocks noChangeArrowheads="1"/>
            </p:cNvSpPr>
            <p:nvPr/>
          </p:nvSpPr>
          <p:spPr bwMode="auto">
            <a:xfrm>
              <a:off x="2262743" y="2840326"/>
              <a:ext cx="446198" cy="3457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FATF AML</a:t>
              </a:r>
              <a:endParaRPr kumimoji="0" lang="en-US" altLang="ko-KR" sz="7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7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취약국가</a:t>
              </a:r>
            </a:p>
          </p:txBody>
        </p:sp>
      </p:grpSp>
      <p:grpSp>
        <p:nvGrpSpPr>
          <p:cNvPr id="110" name="그룹 109"/>
          <p:cNvGrpSpPr/>
          <p:nvPr/>
        </p:nvGrpSpPr>
        <p:grpSpPr>
          <a:xfrm>
            <a:off x="1635182" y="3886006"/>
            <a:ext cx="1159606" cy="352854"/>
            <a:chOff x="1872196" y="2730076"/>
            <a:chExt cx="1227292" cy="566211"/>
          </a:xfrm>
        </p:grpSpPr>
        <p:sp>
          <p:nvSpPr>
            <p:cNvPr id="111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12" name="Rectangle 2189"/>
            <p:cNvSpPr>
              <a:spLocks noChangeArrowheads="1"/>
            </p:cNvSpPr>
            <p:nvPr/>
          </p:nvSpPr>
          <p:spPr bwMode="auto">
            <a:xfrm>
              <a:off x="2222873" y="2840323"/>
              <a:ext cx="525937" cy="3457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7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국세청</a:t>
              </a: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7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조세회피 국가</a:t>
              </a:r>
            </a:p>
          </p:txBody>
        </p:sp>
      </p:grpSp>
      <p:grpSp>
        <p:nvGrpSpPr>
          <p:cNvPr id="113" name="그룹 112"/>
          <p:cNvGrpSpPr/>
          <p:nvPr/>
        </p:nvGrpSpPr>
        <p:grpSpPr>
          <a:xfrm>
            <a:off x="1635182" y="4488250"/>
            <a:ext cx="1162723" cy="352854"/>
            <a:chOff x="1872196" y="2730076"/>
            <a:chExt cx="1227292" cy="566211"/>
          </a:xfrm>
        </p:grpSpPr>
        <p:sp>
          <p:nvSpPr>
            <p:cNvPr id="114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15" name="Rectangle 2189"/>
            <p:cNvSpPr>
              <a:spLocks noChangeArrowheads="1"/>
            </p:cNvSpPr>
            <p:nvPr/>
          </p:nvSpPr>
          <p:spPr bwMode="auto">
            <a:xfrm>
              <a:off x="2064529" y="2871397"/>
              <a:ext cx="842626" cy="3457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금융거래 제한 대상자</a:t>
              </a:r>
              <a:r>
                <a:rPr kumimoji="0" lang="en-US" altLang="ko-KR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UN</a:t>
              </a:r>
              <a:r>
                <a:rPr kumimoji="0" lang="ko-KR" altLang="en-US" sz="7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테러리스트</a:t>
              </a:r>
            </a:p>
          </p:txBody>
        </p:sp>
      </p:grpSp>
      <p:grpSp>
        <p:nvGrpSpPr>
          <p:cNvPr id="116" name="그룹 115"/>
          <p:cNvGrpSpPr/>
          <p:nvPr/>
        </p:nvGrpSpPr>
        <p:grpSpPr>
          <a:xfrm>
            <a:off x="1635182" y="5120928"/>
            <a:ext cx="1159606" cy="352854"/>
            <a:chOff x="1872196" y="2730076"/>
            <a:chExt cx="1227292" cy="566211"/>
          </a:xfrm>
        </p:grpSpPr>
        <p:sp>
          <p:nvSpPr>
            <p:cNvPr id="117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18" name="Rectangle 2189"/>
            <p:cNvSpPr>
              <a:spLocks noChangeArrowheads="1"/>
            </p:cNvSpPr>
            <p:nvPr/>
          </p:nvSpPr>
          <p:spPr bwMode="auto">
            <a:xfrm>
              <a:off x="2223723" y="2815633"/>
              <a:ext cx="524240" cy="3951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PEP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kumimoji="0" lang="en-US" altLang="ko-KR" sz="8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OFAC</a:t>
              </a: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재자</a:t>
              </a:r>
            </a:p>
          </p:txBody>
        </p:sp>
      </p:grpSp>
      <p:grpSp>
        <p:nvGrpSpPr>
          <p:cNvPr id="119" name="그룹 118"/>
          <p:cNvGrpSpPr/>
          <p:nvPr/>
        </p:nvGrpSpPr>
        <p:grpSpPr>
          <a:xfrm>
            <a:off x="1635182" y="5703749"/>
            <a:ext cx="1159606" cy="352854"/>
            <a:chOff x="1872196" y="2730076"/>
            <a:chExt cx="1227292" cy="566211"/>
          </a:xfrm>
        </p:grpSpPr>
        <p:sp>
          <p:nvSpPr>
            <p:cNvPr id="120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21" name="Rectangle 2189"/>
            <p:cNvSpPr>
              <a:spLocks noChangeArrowheads="1"/>
            </p:cNvSpPr>
            <p:nvPr/>
          </p:nvSpPr>
          <p:spPr bwMode="auto">
            <a:xfrm>
              <a:off x="2250019" y="2808927"/>
              <a:ext cx="471647" cy="3457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7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주요</a:t>
              </a: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7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 위험군</a:t>
              </a:r>
              <a:r>
                <a:rPr kumimoji="0" lang="ko-KR" altLang="en-US" sz="700" kern="0" baseline="30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주</a:t>
              </a:r>
              <a:r>
                <a:rPr kumimoji="0" lang="en-US" altLang="ko-KR" sz="700" kern="0" baseline="30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)</a:t>
              </a:r>
              <a:endParaRPr kumimoji="0" lang="en-US" altLang="ko-KR" sz="7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122" name="그룹 121"/>
          <p:cNvGrpSpPr/>
          <p:nvPr/>
        </p:nvGrpSpPr>
        <p:grpSpPr>
          <a:xfrm>
            <a:off x="3649628" y="2749892"/>
            <a:ext cx="1162723" cy="352854"/>
            <a:chOff x="1872196" y="2730076"/>
            <a:chExt cx="1227292" cy="566211"/>
          </a:xfrm>
        </p:grpSpPr>
        <p:sp>
          <p:nvSpPr>
            <p:cNvPr id="123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24" name="Rectangle 2189"/>
            <p:cNvSpPr>
              <a:spLocks noChangeArrowheads="1"/>
            </p:cNvSpPr>
            <p:nvPr/>
          </p:nvSpPr>
          <p:spPr bwMode="auto">
            <a:xfrm>
              <a:off x="2270111" y="2914405"/>
              <a:ext cx="431466" cy="1975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승인</a:t>
              </a:r>
              <a:r>
                <a:rPr kumimoji="0" lang="en-US" altLang="ko-KR" sz="8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?</a:t>
              </a:r>
            </a:p>
          </p:txBody>
        </p:sp>
      </p:grpSp>
      <p:grpSp>
        <p:nvGrpSpPr>
          <p:cNvPr id="125" name="그룹 124"/>
          <p:cNvGrpSpPr/>
          <p:nvPr/>
        </p:nvGrpSpPr>
        <p:grpSpPr>
          <a:xfrm>
            <a:off x="3678629" y="4488249"/>
            <a:ext cx="1162723" cy="352854"/>
            <a:chOff x="1872196" y="2730076"/>
            <a:chExt cx="1227292" cy="566211"/>
          </a:xfrm>
        </p:grpSpPr>
        <p:sp>
          <p:nvSpPr>
            <p:cNvPr id="126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27" name="Rectangle 2189"/>
            <p:cNvSpPr>
              <a:spLocks noChangeArrowheads="1"/>
            </p:cNvSpPr>
            <p:nvPr/>
          </p:nvSpPr>
          <p:spPr bwMode="auto">
            <a:xfrm>
              <a:off x="2201585" y="2815630"/>
              <a:ext cx="568519" cy="3951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확인의무</a:t>
              </a:r>
              <a:endParaRPr kumimoji="0" lang="en-US" altLang="ko-KR" sz="800" kern="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대상 여부</a:t>
              </a:r>
              <a:r>
                <a:rPr kumimoji="0" lang="ko-KR" altLang="en-US" sz="800" kern="0" baseline="30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주</a:t>
              </a:r>
              <a:r>
                <a:rPr kumimoji="0" lang="en-US" altLang="ko-KR" sz="800" kern="0" baseline="30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2)</a:t>
              </a:r>
              <a:endParaRPr kumimoji="0" lang="ko-KR" altLang="en-US" sz="8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128" name="그룹 127"/>
          <p:cNvGrpSpPr/>
          <p:nvPr/>
        </p:nvGrpSpPr>
        <p:grpSpPr>
          <a:xfrm>
            <a:off x="3678629" y="5181458"/>
            <a:ext cx="1162723" cy="352854"/>
            <a:chOff x="1872196" y="2730076"/>
            <a:chExt cx="1227292" cy="566211"/>
          </a:xfrm>
        </p:grpSpPr>
        <p:sp>
          <p:nvSpPr>
            <p:cNvPr id="129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30" name="Rectangle 2189"/>
            <p:cNvSpPr>
              <a:spLocks noChangeArrowheads="1"/>
            </p:cNvSpPr>
            <p:nvPr/>
          </p:nvSpPr>
          <p:spPr bwMode="auto">
            <a:xfrm>
              <a:off x="2201583" y="2914407"/>
              <a:ext cx="568519" cy="1975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유형구분</a:t>
              </a:r>
            </a:p>
          </p:txBody>
        </p:sp>
      </p:grpSp>
      <p:cxnSp>
        <p:nvCxnSpPr>
          <p:cNvPr id="131" name="직선 연결선 130"/>
          <p:cNvCxnSpPr>
            <a:stCxn id="105" idx="2"/>
            <a:endCxn id="108" idx="0"/>
          </p:cNvCxnSpPr>
          <p:nvPr/>
        </p:nvCxnSpPr>
        <p:spPr>
          <a:xfrm>
            <a:off x="2214986" y="3102746"/>
            <a:ext cx="0" cy="210146"/>
          </a:xfrm>
          <a:prstGeom prst="line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32" name="직선 연결선 131"/>
          <p:cNvCxnSpPr>
            <a:stCxn id="108" idx="2"/>
            <a:endCxn id="111" idx="0"/>
          </p:cNvCxnSpPr>
          <p:nvPr/>
        </p:nvCxnSpPr>
        <p:spPr>
          <a:xfrm>
            <a:off x="2214986" y="3665746"/>
            <a:ext cx="0" cy="220260"/>
          </a:xfrm>
          <a:prstGeom prst="line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33" name="직선 연결선 132"/>
          <p:cNvCxnSpPr>
            <a:stCxn id="111" idx="2"/>
            <a:endCxn id="114" idx="0"/>
          </p:cNvCxnSpPr>
          <p:nvPr/>
        </p:nvCxnSpPr>
        <p:spPr>
          <a:xfrm>
            <a:off x="2214986" y="4238860"/>
            <a:ext cx="1559" cy="249390"/>
          </a:xfrm>
          <a:prstGeom prst="line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34" name="직선 연결선 133"/>
          <p:cNvCxnSpPr>
            <a:stCxn id="114" idx="2"/>
            <a:endCxn id="117" idx="0"/>
          </p:cNvCxnSpPr>
          <p:nvPr/>
        </p:nvCxnSpPr>
        <p:spPr>
          <a:xfrm flipH="1">
            <a:off x="2214986" y="4841103"/>
            <a:ext cx="1559" cy="279825"/>
          </a:xfrm>
          <a:prstGeom prst="line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35" name="직선 연결선 134"/>
          <p:cNvCxnSpPr>
            <a:stCxn id="117" idx="2"/>
            <a:endCxn id="120" idx="0"/>
          </p:cNvCxnSpPr>
          <p:nvPr/>
        </p:nvCxnSpPr>
        <p:spPr>
          <a:xfrm>
            <a:off x="2214986" y="5473782"/>
            <a:ext cx="0" cy="229968"/>
          </a:xfrm>
          <a:prstGeom prst="line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36" name="직선 연결선 135"/>
          <p:cNvCxnSpPr>
            <a:stCxn id="105" idx="3"/>
            <a:endCxn id="123" idx="1"/>
          </p:cNvCxnSpPr>
          <p:nvPr/>
        </p:nvCxnSpPr>
        <p:spPr>
          <a:xfrm>
            <a:off x="2794788" y="2926319"/>
            <a:ext cx="854840" cy="0"/>
          </a:xfrm>
          <a:prstGeom prst="line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50000">
                  <a:srgbClr val="707070"/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37" name="직선 화살표 연결선 167"/>
          <p:cNvCxnSpPr>
            <a:stCxn id="120" idx="2"/>
            <a:endCxn id="126" idx="1"/>
          </p:cNvCxnSpPr>
          <p:nvPr/>
        </p:nvCxnSpPr>
        <p:spPr bwMode="auto">
          <a:xfrm rot="5400000" flipH="1" flipV="1">
            <a:off x="2250843" y="4628818"/>
            <a:ext cx="1391928" cy="1463643"/>
          </a:xfrm>
          <a:prstGeom prst="bentConnector4">
            <a:avLst>
              <a:gd name="adj1" fmla="val -16097"/>
              <a:gd name="adj2" fmla="val 84258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sp>
        <p:nvSpPr>
          <p:cNvPr id="138" name="자유형 137"/>
          <p:cNvSpPr/>
          <p:nvPr/>
        </p:nvSpPr>
        <p:spPr>
          <a:xfrm>
            <a:off x="6067670" y="2745508"/>
            <a:ext cx="449992" cy="1793800"/>
          </a:xfrm>
          <a:custGeom>
            <a:avLst/>
            <a:gdLst>
              <a:gd name="connsiteX0" fmla="*/ 0 w 847725"/>
              <a:gd name="connsiteY0" fmla="*/ 2247900 h 2247900"/>
              <a:gd name="connsiteX1" fmla="*/ 0 w 847725"/>
              <a:gd name="connsiteY1" fmla="*/ 0 h 2247900"/>
              <a:gd name="connsiteX2" fmla="*/ 847725 w 847725"/>
              <a:gd name="connsiteY2" fmla="*/ 0 h 224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7725" h="2247900">
                <a:moveTo>
                  <a:pt x="0" y="2247900"/>
                </a:moveTo>
                <a:lnTo>
                  <a:pt x="0" y="0"/>
                </a:lnTo>
                <a:lnTo>
                  <a:pt x="847725" y="0"/>
                </a:lnTo>
              </a:path>
            </a:pathLst>
          </a:cu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50000">
                  <a:srgbClr val="707070"/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headEnd type="oval"/>
            <a:tailEnd type="triangle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prstClr val="black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139" name="직선 연결선 138"/>
          <p:cNvCxnSpPr>
            <a:stCxn id="65" idx="2"/>
            <a:endCxn id="85" idx="0"/>
          </p:cNvCxnSpPr>
          <p:nvPr/>
        </p:nvCxnSpPr>
        <p:spPr>
          <a:xfrm>
            <a:off x="8560969" y="4265217"/>
            <a:ext cx="0" cy="715862"/>
          </a:xfrm>
          <a:prstGeom prst="line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40" name="꺾인 연결선 139"/>
          <p:cNvCxnSpPr>
            <a:stCxn id="108" idx="3"/>
            <a:endCxn id="123" idx="1"/>
          </p:cNvCxnSpPr>
          <p:nvPr/>
        </p:nvCxnSpPr>
        <p:spPr>
          <a:xfrm flipV="1">
            <a:off x="2794788" y="2926319"/>
            <a:ext cx="854840" cy="56300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50000">
                  <a:srgbClr val="707070"/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41" name="꺾인 연결선 140"/>
          <p:cNvCxnSpPr>
            <a:stCxn id="111" idx="3"/>
            <a:endCxn id="123" idx="1"/>
          </p:cNvCxnSpPr>
          <p:nvPr/>
        </p:nvCxnSpPr>
        <p:spPr>
          <a:xfrm flipV="1">
            <a:off x="2794788" y="2926319"/>
            <a:ext cx="854840" cy="113611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50000">
                  <a:srgbClr val="707070"/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42" name="꺾인 연결선 141"/>
          <p:cNvCxnSpPr>
            <a:stCxn id="120" idx="3"/>
            <a:endCxn id="66" idx="1"/>
          </p:cNvCxnSpPr>
          <p:nvPr/>
        </p:nvCxnSpPr>
        <p:spPr>
          <a:xfrm flipV="1">
            <a:off x="2794788" y="3451902"/>
            <a:ext cx="1065633" cy="2428275"/>
          </a:xfrm>
          <a:prstGeom prst="bentConnector3">
            <a:avLst>
              <a:gd name="adj1" fmla="val 55671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43" name="꺾인 연결선 142"/>
          <p:cNvCxnSpPr>
            <a:stCxn id="117" idx="3"/>
            <a:endCxn id="123" idx="1"/>
          </p:cNvCxnSpPr>
          <p:nvPr/>
        </p:nvCxnSpPr>
        <p:spPr>
          <a:xfrm flipV="1">
            <a:off x="2794788" y="2926319"/>
            <a:ext cx="854840" cy="23710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grpSp>
        <p:nvGrpSpPr>
          <p:cNvPr id="144" name="그룹 143"/>
          <p:cNvGrpSpPr/>
          <p:nvPr/>
        </p:nvGrpSpPr>
        <p:grpSpPr>
          <a:xfrm>
            <a:off x="7071308" y="2657781"/>
            <a:ext cx="204636" cy="173099"/>
            <a:chOff x="6420160" y="3385152"/>
            <a:chExt cx="429206" cy="429206"/>
          </a:xfrm>
        </p:grpSpPr>
        <p:sp>
          <p:nvSpPr>
            <p:cNvPr id="145" name="타원 144"/>
            <p:cNvSpPr/>
            <p:nvPr/>
          </p:nvSpPr>
          <p:spPr>
            <a:xfrm>
              <a:off x="6420160" y="3385152"/>
              <a:ext cx="429206" cy="429206"/>
            </a:xfrm>
            <a:prstGeom prst="ellipse">
              <a:avLst/>
            </a:prstGeom>
            <a:solidFill>
              <a:srgbClr val="C80063"/>
            </a:solidFill>
            <a:ln w="25400" cap="rnd" cmpd="sng" algn="ctr">
              <a:solidFill>
                <a:srgbClr val="C80063">
                  <a:alpha val="70000"/>
                </a:srgbClr>
              </a:solidFill>
              <a:prstDash val="solid"/>
              <a:miter lim="800000"/>
              <a:headEnd type="none" w="lg" len="med"/>
              <a:tailEnd type="none" w="lg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algn="ctr" fontAlgn="auto" latinLnBrk="0">
                <a:spcBef>
                  <a:spcPts val="200"/>
                </a:spcBef>
                <a:spcAft>
                  <a:spcPts val="600"/>
                </a:spcAft>
                <a:defRPr/>
              </a:pPr>
              <a:endParaRPr kumimoji="0" lang="ko-KR" altLang="en-US" sz="1000" kern="0" dirty="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pic>
          <p:nvPicPr>
            <p:cNvPr id="146" name="그림 1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1429" y="3446421"/>
              <a:ext cx="306668" cy="306668"/>
            </a:xfrm>
            <a:prstGeom prst="rect">
              <a:avLst/>
            </a:prstGeom>
          </p:spPr>
        </p:pic>
      </p:grpSp>
      <p:grpSp>
        <p:nvGrpSpPr>
          <p:cNvPr id="147" name="그룹 146"/>
          <p:cNvGrpSpPr/>
          <p:nvPr/>
        </p:nvGrpSpPr>
        <p:grpSpPr>
          <a:xfrm>
            <a:off x="8694729" y="2657781"/>
            <a:ext cx="204636" cy="173099"/>
            <a:chOff x="6843230" y="3385152"/>
            <a:chExt cx="429206" cy="429206"/>
          </a:xfrm>
        </p:grpSpPr>
        <p:sp>
          <p:nvSpPr>
            <p:cNvPr id="148" name="타원 147"/>
            <p:cNvSpPr/>
            <p:nvPr/>
          </p:nvSpPr>
          <p:spPr>
            <a:xfrm>
              <a:off x="6843230" y="3385152"/>
              <a:ext cx="429206" cy="429206"/>
            </a:xfrm>
            <a:prstGeom prst="ellipse">
              <a:avLst/>
            </a:prstGeom>
            <a:solidFill>
              <a:srgbClr val="C80063"/>
            </a:solidFill>
            <a:ln w="25400" cap="rnd" cmpd="sng" algn="ctr">
              <a:solidFill>
                <a:srgbClr val="C80063">
                  <a:alpha val="70000"/>
                </a:srgbClr>
              </a:solidFill>
              <a:prstDash val="solid"/>
              <a:miter lim="800000"/>
              <a:headEnd type="none" w="lg" len="med"/>
              <a:tailEnd type="none" w="lg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algn="ctr" fontAlgn="auto" latinLnBrk="0">
                <a:spcBef>
                  <a:spcPts val="200"/>
                </a:spcBef>
                <a:spcAft>
                  <a:spcPts val="600"/>
                </a:spcAft>
                <a:defRPr/>
              </a:pPr>
              <a:endParaRPr kumimoji="0" lang="ko-KR" altLang="en-US" sz="1000" kern="0" dirty="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pic>
          <p:nvPicPr>
            <p:cNvPr id="149" name="그림 14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4511" y="3446421"/>
              <a:ext cx="306670" cy="306668"/>
            </a:xfrm>
            <a:prstGeom prst="rect">
              <a:avLst/>
            </a:prstGeom>
          </p:spPr>
        </p:pic>
      </p:grpSp>
      <p:sp>
        <p:nvSpPr>
          <p:cNvPr id="150" name="Rectangle 136"/>
          <p:cNvSpPr>
            <a:spLocks noChangeArrowheads="1"/>
          </p:cNvSpPr>
          <p:nvPr/>
        </p:nvSpPr>
        <p:spPr bwMode="gray">
          <a:xfrm>
            <a:off x="4844776" y="2787925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1" name="Rectangle 136"/>
          <p:cNvSpPr>
            <a:spLocks noChangeArrowheads="1"/>
          </p:cNvSpPr>
          <p:nvPr/>
        </p:nvSpPr>
        <p:spPr bwMode="gray">
          <a:xfrm>
            <a:off x="4030354" y="3118422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2" name="Rectangle 136"/>
          <p:cNvSpPr>
            <a:spLocks noChangeArrowheads="1"/>
          </p:cNvSpPr>
          <p:nvPr/>
        </p:nvSpPr>
        <p:spPr bwMode="gray">
          <a:xfrm>
            <a:off x="2042425" y="5471209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3" name="Rectangle 104" descr="5차전산센터ob-10"/>
          <p:cNvSpPr>
            <a:spLocks noChangeArrowheads="1"/>
          </p:cNvSpPr>
          <p:nvPr/>
        </p:nvSpPr>
        <p:spPr bwMode="auto">
          <a:xfrm>
            <a:off x="7221252" y="5365057"/>
            <a:ext cx="2391732" cy="991103"/>
          </a:xfrm>
          <a:prstGeom prst="rect">
            <a:avLst/>
          </a:prstGeom>
          <a:noFill/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)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요 고위험군</a:t>
            </a:r>
            <a:endParaRPr kumimoji="0" lang="en-US" altLang="ko-KR" sz="800" kern="0" spc="-50" dirty="0">
              <a:ln w="0"/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액자산가 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환거래 계약 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 국가 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 상품 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 </a:t>
            </a:r>
            <a:endParaRPr kumimoji="0" lang="en-US" altLang="ko-KR" sz="800" kern="0" spc="-50" dirty="0">
              <a:ln w="0"/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고위험 업종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※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요 고 위험군인 경우 위험평가 수행 필요</a:t>
            </a:r>
            <a:endParaRPr kumimoji="0" lang="en-US" altLang="ko-KR" sz="800" kern="0" spc="-50" dirty="0" smtClean="0">
              <a:ln w="0"/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800" kern="0" spc="-50" dirty="0" smtClean="0">
              <a:ln w="0"/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)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확인의무 대상 여부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재이행 주기 도래 고객 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CDD 3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년 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EDD 1</a:t>
            </a:r>
            <a:r>
              <a:rPr kumimoji="0" lang="ko-KR" altLang="en-US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년</a:t>
            </a:r>
            <a:r>
              <a:rPr kumimoji="0" lang="en-US" altLang="ko-KR" sz="800" kern="0" spc="-50" dirty="0" smtClean="0">
                <a:ln w="0"/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kumimoji="0" lang="ko-KR" altLang="en-US" sz="800" kern="0" spc="-50" dirty="0">
              <a:ln w="0"/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54" name="직선 화살표 연결선 167"/>
          <p:cNvCxnSpPr>
            <a:stCxn id="102" idx="3"/>
            <a:endCxn id="105" idx="1"/>
          </p:cNvCxnSpPr>
          <p:nvPr/>
        </p:nvCxnSpPr>
        <p:spPr bwMode="auto">
          <a:xfrm flipV="1">
            <a:off x="1354782" y="2926319"/>
            <a:ext cx="280401" cy="137289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55" name="직선 화살표 연결선 154"/>
          <p:cNvCxnSpPr>
            <a:stCxn id="22" idx="2"/>
            <a:endCxn id="102" idx="0"/>
          </p:cNvCxnSpPr>
          <p:nvPr/>
        </p:nvCxnSpPr>
        <p:spPr bwMode="auto">
          <a:xfrm flipH="1">
            <a:off x="913629" y="3696256"/>
            <a:ext cx="2" cy="497104"/>
          </a:xfrm>
          <a:prstGeom prst="straightConnector1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grpSp>
        <p:nvGrpSpPr>
          <p:cNvPr id="156" name="그룹 155"/>
          <p:cNvGrpSpPr/>
          <p:nvPr/>
        </p:nvGrpSpPr>
        <p:grpSpPr>
          <a:xfrm>
            <a:off x="332268" y="4828555"/>
            <a:ext cx="1162723" cy="352854"/>
            <a:chOff x="1872196" y="2730076"/>
            <a:chExt cx="1227292" cy="566211"/>
          </a:xfrm>
        </p:grpSpPr>
        <p:sp>
          <p:nvSpPr>
            <p:cNvPr id="157" name="AutoShape 103" descr="넓은 상향 대각선"/>
            <p:cNvSpPr>
              <a:spLocks noChangeArrowheads="1"/>
            </p:cNvSpPr>
            <p:nvPr/>
          </p:nvSpPr>
          <p:spPr bwMode="gray">
            <a:xfrm>
              <a:off x="1872196" y="2730076"/>
              <a:ext cx="1227292" cy="566211"/>
            </a:xfrm>
            <a:prstGeom prst="flowChartDecision">
              <a:avLst/>
            </a:prstGeom>
            <a:solidFill>
              <a:sysClr val="window" lastClr="FFFFFF"/>
            </a:solidFill>
            <a:ln w="19050" cap="flat" cmpd="sng" algn="ctr">
              <a:gradFill>
                <a:gsLst>
                  <a:gs pos="1000">
                    <a:srgbClr val="3ACCFF"/>
                  </a:gs>
                  <a:gs pos="50000">
                    <a:srgbClr val="0079C1"/>
                  </a:gs>
                  <a:gs pos="100000">
                    <a:srgbClr val="002D7A"/>
                  </a:gs>
                </a:gsLst>
                <a:lin ang="3600000" scaled="0"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917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3768725" algn="l"/>
                </a:tabLst>
                <a:defRPr/>
              </a:pPr>
              <a:endParaRPr kumimoji="0" lang="en-US" altLang="ko-KR" sz="800" kern="0" spc="-100" dirty="0">
                <a:ln w="0"/>
                <a:solidFill>
                  <a:srgbClr val="0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sp>
          <p:nvSpPr>
            <p:cNvPr id="158" name="Rectangle 2189"/>
            <p:cNvSpPr>
              <a:spLocks noChangeArrowheads="1"/>
            </p:cNvSpPr>
            <p:nvPr/>
          </p:nvSpPr>
          <p:spPr bwMode="auto">
            <a:xfrm>
              <a:off x="2242377" y="2817951"/>
              <a:ext cx="486927" cy="390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/>
              </a:sp3d>
            </a:bodyPr>
            <a:lstStyle/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ysClr val="windowText" lastClr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금융위원회</a:t>
              </a:r>
              <a:endParaRPr kumimoji="0" lang="en-US" altLang="ko-KR" sz="800" kern="0" dirty="0" smtClean="0">
                <a:solidFill>
                  <a:sysClr val="windowText" lastClr="0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  <a:p>
              <a:pPr algn="ctr" defTabSz="936625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ysClr val="windowText" lastClr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승</a:t>
              </a:r>
              <a:r>
                <a:rPr kumimoji="0" lang="ko-KR" altLang="en-US" sz="800" kern="0" dirty="0">
                  <a:solidFill>
                    <a:sysClr val="windowText" lastClr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인</a:t>
              </a:r>
              <a:r>
                <a:rPr kumimoji="0" lang="en-US" altLang="ko-KR" sz="800" kern="0" dirty="0" smtClean="0">
                  <a:solidFill>
                    <a:sysClr val="windowText" lastClr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?</a:t>
              </a:r>
              <a:endParaRPr kumimoji="0" lang="en-US" altLang="ko-KR" sz="800" kern="0" dirty="0">
                <a:solidFill>
                  <a:sysClr val="windowText" lastClr="0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</p:grpSp>
      <p:sp>
        <p:nvSpPr>
          <p:cNvPr id="159" name="Rectangle 136"/>
          <p:cNvSpPr>
            <a:spLocks noChangeArrowheads="1"/>
          </p:cNvSpPr>
          <p:nvPr/>
        </p:nvSpPr>
        <p:spPr bwMode="gray">
          <a:xfrm>
            <a:off x="741495" y="5264934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ysClr val="windowText" lastClr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ysClr val="windowText" lastClr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60" name="직선 화살표 연결선 159"/>
          <p:cNvCxnSpPr>
            <a:stCxn id="157" idx="2"/>
            <a:endCxn id="103" idx="0"/>
          </p:cNvCxnSpPr>
          <p:nvPr/>
        </p:nvCxnSpPr>
        <p:spPr bwMode="auto">
          <a:xfrm flipH="1">
            <a:off x="913629" y="5181410"/>
            <a:ext cx="1" cy="494113"/>
          </a:xfrm>
          <a:prstGeom prst="straightConnector1">
            <a:avLst/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cxnSp>
        <p:nvCxnSpPr>
          <p:cNvPr id="161" name="직선 화살표 연결선 167"/>
          <p:cNvCxnSpPr>
            <a:stCxn id="157" idx="3"/>
            <a:endCxn id="66" idx="1"/>
          </p:cNvCxnSpPr>
          <p:nvPr/>
        </p:nvCxnSpPr>
        <p:spPr bwMode="auto">
          <a:xfrm flipV="1">
            <a:off x="1494992" y="3451902"/>
            <a:ext cx="2365429" cy="1553080"/>
          </a:xfrm>
          <a:prstGeom prst="bentConnector3">
            <a:avLst>
              <a:gd name="adj1" fmla="val 76826"/>
            </a:avLst>
          </a:prstGeom>
          <a:noFill/>
          <a:ln w="12700" cap="flat" cmpd="sng" algn="ctr">
            <a:gradFill flip="none" rotWithShape="1">
              <a:gsLst>
                <a:gs pos="100000">
                  <a:sysClr val="windowText" lastClr="000000">
                    <a:lumMod val="95000"/>
                    <a:lumOff val="5000"/>
                  </a:sysClr>
                </a:gs>
                <a:gs pos="0">
                  <a:sysClr val="windowText" lastClr="000000">
                    <a:lumMod val="95000"/>
                    <a:lumOff val="5000"/>
                  </a:sysClr>
                </a:gs>
              </a:gsLst>
              <a:lin ang="0" scaled="1"/>
              <a:tileRect/>
            </a:gradFill>
            <a:prstDash val="solid"/>
            <a:miter lim="800000"/>
            <a:tailEnd type="triangle"/>
          </a:ln>
          <a:effectLst/>
        </p:spPr>
      </p:cxnSp>
      <p:sp>
        <p:nvSpPr>
          <p:cNvPr id="162" name="Rectangle 136"/>
          <p:cNvSpPr>
            <a:spLocks noChangeArrowheads="1"/>
          </p:cNvSpPr>
          <p:nvPr/>
        </p:nvSpPr>
        <p:spPr bwMode="gray">
          <a:xfrm>
            <a:off x="7299173" y="2585211"/>
            <a:ext cx="485885" cy="318237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국가</a:t>
            </a:r>
            <a: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kumimoji="0" lang="en-US" altLang="ko-KR" sz="1000" kern="0" spc="-50" dirty="0" smtClean="0">
                <a:ln w="0"/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30%)</a:t>
            </a:r>
            <a:endParaRPr kumimoji="0" lang="ko-KR" altLang="en-US" sz="1000" kern="0" spc="-50" dirty="0">
              <a:ln w="0"/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63" name="그룹 162"/>
          <p:cNvGrpSpPr/>
          <p:nvPr/>
        </p:nvGrpSpPr>
        <p:grpSpPr>
          <a:xfrm>
            <a:off x="7808287" y="2657781"/>
            <a:ext cx="204636" cy="173099"/>
            <a:chOff x="6843230" y="3385152"/>
            <a:chExt cx="429206" cy="429206"/>
          </a:xfrm>
        </p:grpSpPr>
        <p:sp>
          <p:nvSpPr>
            <p:cNvPr id="164" name="타원 163"/>
            <p:cNvSpPr/>
            <p:nvPr/>
          </p:nvSpPr>
          <p:spPr>
            <a:xfrm>
              <a:off x="6843230" y="3385152"/>
              <a:ext cx="429206" cy="429206"/>
            </a:xfrm>
            <a:prstGeom prst="ellipse">
              <a:avLst/>
            </a:prstGeom>
            <a:solidFill>
              <a:srgbClr val="C80063"/>
            </a:solidFill>
            <a:ln w="25400" cap="rnd" cmpd="sng" algn="ctr">
              <a:solidFill>
                <a:srgbClr val="C80063">
                  <a:alpha val="70000"/>
                </a:srgbClr>
              </a:solidFill>
              <a:prstDash val="solid"/>
              <a:miter lim="800000"/>
              <a:headEnd type="none" w="lg" len="med"/>
              <a:tailEnd type="none" w="lg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algn="ctr" fontAlgn="auto" latinLnBrk="0">
                <a:spcBef>
                  <a:spcPts val="200"/>
                </a:spcBef>
                <a:spcAft>
                  <a:spcPts val="600"/>
                </a:spcAft>
                <a:defRPr/>
              </a:pPr>
              <a:endParaRPr kumimoji="0" lang="ko-KR" altLang="en-US" sz="1000" kern="0" dirty="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pic>
          <p:nvPicPr>
            <p:cNvPr id="165" name="그림 1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4511" y="3446421"/>
              <a:ext cx="306670" cy="306668"/>
            </a:xfrm>
            <a:prstGeom prst="rect">
              <a:avLst/>
            </a:prstGeom>
          </p:spPr>
        </p:pic>
      </p:grpSp>
      <p:sp>
        <p:nvSpPr>
          <p:cNvPr id="166" name="Rectangle 136"/>
          <p:cNvSpPr>
            <a:spLocks noChangeArrowheads="1"/>
          </p:cNvSpPr>
          <p:nvPr/>
        </p:nvSpPr>
        <p:spPr bwMode="gray">
          <a:xfrm>
            <a:off x="7443783" y="4700778"/>
            <a:ext cx="13144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ysClr val="windowText" lastClr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</a:t>
            </a:r>
            <a:endParaRPr kumimoji="0" lang="ko-KR" altLang="en-US" sz="700" kern="0" dirty="0">
              <a:solidFill>
                <a:sysClr val="windowText" lastClr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7" name="Rectangle 136"/>
          <p:cNvSpPr>
            <a:spLocks noChangeArrowheads="1"/>
          </p:cNvSpPr>
          <p:nvPr/>
        </p:nvSpPr>
        <p:spPr bwMode="gray">
          <a:xfrm>
            <a:off x="8324526" y="4697752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ysClr val="windowText" lastClr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ysClr val="windowText" lastClr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68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09113" y="2068743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9" name="Rectangle 136"/>
          <p:cNvSpPr>
            <a:spLocks noChangeArrowheads="1"/>
          </p:cNvSpPr>
          <p:nvPr/>
        </p:nvSpPr>
        <p:spPr bwMode="gray">
          <a:xfrm>
            <a:off x="1465031" y="4859170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928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.6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2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172" name="Rectangle 136"/>
          <p:cNvSpPr>
            <a:spLocks noChangeArrowheads="1"/>
          </p:cNvSpPr>
          <p:nvPr/>
        </p:nvSpPr>
        <p:spPr bwMode="gray">
          <a:xfrm>
            <a:off x="4329256" y="4869181"/>
            <a:ext cx="16350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 defTabSz="936625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ES</a:t>
            </a:r>
            <a:endParaRPr kumimoji="0" lang="ko-KR" altLang="en-US" sz="7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7495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1.3 </a:t>
            </a:r>
            <a:r>
              <a:rPr lang="ko-KR" altLang="en-US" dirty="0" smtClean="0"/>
              <a:t>향후 시스템 발전방향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56514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구축전략</a:t>
            </a: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1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 주요 변화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T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트렌드에 맞춰 부산은행의 발전 방향에 제안사가 함께 하겠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en-US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향후 시스템 발전방향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B805B9F4-9F6C-4115-A4BA-D89995F7BC50}"/>
              </a:ext>
            </a:extLst>
          </p:cNvPr>
          <p:cNvGrpSpPr/>
          <p:nvPr/>
        </p:nvGrpSpPr>
        <p:grpSpPr>
          <a:xfrm>
            <a:off x="294630" y="2132856"/>
            <a:ext cx="9361040" cy="4283518"/>
            <a:chOff x="505751" y="2285188"/>
            <a:chExt cx="9896212" cy="4514669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F124B457-2EEC-4A12-A1D5-795AF85C66DF}"/>
                </a:ext>
              </a:extLst>
            </p:cNvPr>
            <p:cNvSpPr/>
            <p:nvPr/>
          </p:nvSpPr>
          <p:spPr>
            <a:xfrm>
              <a:off x="505751" y="4257528"/>
              <a:ext cx="9896212" cy="20971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88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6E4F77E5-D4D9-4A75-9805-32835FC57A34}"/>
                </a:ext>
              </a:extLst>
            </p:cNvPr>
            <p:cNvSpPr/>
            <p:nvPr/>
          </p:nvSpPr>
          <p:spPr>
            <a:xfrm>
              <a:off x="5453855" y="2335672"/>
              <a:ext cx="4948107" cy="1762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88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D7E5819B-9105-415C-B6C6-31B3E840E0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1867" y="2346428"/>
              <a:ext cx="4083979" cy="4305553"/>
            </a:xfrm>
            <a:prstGeom prst="rect">
              <a:avLst/>
            </a:prstGeom>
          </p:spPr>
        </p:pic>
        <p:sp>
          <p:nvSpPr>
            <p:cNvPr id="36" name="LcS1">
              <a:extLst>
                <a:ext uri="{FF2B5EF4-FFF2-40B4-BE49-F238E27FC236}">
                  <a16:creationId xmlns:a16="http://schemas.microsoft.com/office/drawing/2014/main" id="{077E1AE7-DFAF-4D06-8A54-00D6B06437BF}"/>
                </a:ext>
              </a:extLst>
            </p:cNvPr>
            <p:cNvSpPr txBox="1"/>
            <p:nvPr/>
          </p:nvSpPr>
          <p:spPr>
            <a:xfrm>
              <a:off x="1653093" y="2448317"/>
              <a:ext cx="2305727" cy="64644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 algn="r">
                <a:defRPr/>
              </a:pPr>
              <a:r>
                <a:rPr lang="ko-KR" altLang="en-US" sz="1588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6E6055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디지털 중심의</a:t>
              </a:r>
              <a:r>
                <a:rPr lang="en-US" altLang="ko-KR" sz="1588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6E6055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/>
              </a:r>
              <a:br>
                <a:rPr lang="en-US" altLang="ko-KR" sz="1588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6E6055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</a:br>
              <a:r>
                <a:rPr lang="ko-KR" altLang="en-US" sz="2117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D03038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자금세탁방지시스템</a:t>
              </a:r>
            </a:p>
          </p:txBody>
        </p:sp>
        <p:pic>
          <p:nvPicPr>
            <p:cNvPr id="37" name="Rt5">
              <a:extLst>
                <a:ext uri="{FF2B5EF4-FFF2-40B4-BE49-F238E27FC236}">
                  <a16:creationId xmlns:a16="http://schemas.microsoft.com/office/drawing/2014/main" id="{C752416B-904A-412D-87AD-AC23D1ADE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3736" y="2285188"/>
              <a:ext cx="894106" cy="1063005"/>
            </a:xfrm>
            <a:prstGeom prst="rect">
              <a:avLst/>
            </a:prstGeom>
          </p:spPr>
        </p:pic>
        <p:sp>
          <p:nvSpPr>
            <p:cNvPr id="38" name="LcS1">
              <a:extLst>
                <a:ext uri="{FF2B5EF4-FFF2-40B4-BE49-F238E27FC236}">
                  <a16:creationId xmlns:a16="http://schemas.microsoft.com/office/drawing/2014/main" id="{63519C07-158A-4C23-ABC3-B073DF626F07}"/>
                </a:ext>
              </a:extLst>
            </p:cNvPr>
            <p:cNvSpPr txBox="1"/>
            <p:nvPr/>
          </p:nvSpPr>
          <p:spPr>
            <a:xfrm>
              <a:off x="4770338" y="4103758"/>
              <a:ext cx="1367035" cy="73876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 algn="ctr">
                <a:defRPr/>
              </a:pPr>
              <a:r>
                <a:rPr lang="en-US" altLang="ko-KR" sz="2117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D03038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RegTech</a:t>
              </a:r>
              <a:r>
                <a:rPr lang="en-US" altLang="ko-KR" sz="2117" spc="-88" baseline="30000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D03038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*)</a:t>
              </a:r>
            </a:p>
            <a:p>
              <a:pPr lvl="0" algn="ctr">
                <a:defRPr/>
              </a:pPr>
              <a:r>
                <a:rPr lang="en-US" altLang="ko-KR" sz="2117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D03038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SupTech</a:t>
              </a:r>
              <a:r>
                <a:rPr lang="en-US" altLang="ko-KR" sz="2117" spc="-88" baseline="30000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D03038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**)</a:t>
              </a:r>
            </a:p>
          </p:txBody>
        </p:sp>
        <p:sp>
          <p:nvSpPr>
            <p:cNvPr id="39" name="LcS2">
              <a:extLst>
                <a:ext uri="{FF2B5EF4-FFF2-40B4-BE49-F238E27FC236}">
                  <a16:creationId xmlns:a16="http://schemas.microsoft.com/office/drawing/2014/main" id="{D357DDD6-DEE3-48FC-A854-986C6C0923ED}"/>
                </a:ext>
              </a:extLst>
            </p:cNvPr>
            <p:cNvSpPr txBox="1"/>
            <p:nvPr/>
          </p:nvSpPr>
          <p:spPr>
            <a:xfrm>
              <a:off x="5318379" y="3425100"/>
              <a:ext cx="188946" cy="43096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>
                <a:defRPr/>
              </a:pPr>
              <a:r>
                <a:rPr lang="en-US" altLang="ko-KR" sz="2470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1</a:t>
              </a:r>
              <a:endParaRPr lang="ko-KR" altLang="en-US" sz="2470" spc="-88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0" name="LcS2">
              <a:extLst>
                <a:ext uri="{FF2B5EF4-FFF2-40B4-BE49-F238E27FC236}">
                  <a16:creationId xmlns:a16="http://schemas.microsoft.com/office/drawing/2014/main" id="{93C05634-8790-4C0B-B73E-0213A8286BB1}"/>
                </a:ext>
              </a:extLst>
            </p:cNvPr>
            <p:cNvSpPr txBox="1"/>
            <p:nvPr/>
          </p:nvSpPr>
          <p:spPr>
            <a:xfrm>
              <a:off x="4495398" y="4832877"/>
              <a:ext cx="188946" cy="43096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>
                <a:defRPr/>
              </a:pPr>
              <a:r>
                <a:rPr lang="en-US" altLang="ko-KR" sz="2470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2</a:t>
              </a:r>
              <a:endParaRPr lang="ko-KR" altLang="en-US" sz="2470" spc="-88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1" name="LcS2">
              <a:extLst>
                <a:ext uri="{FF2B5EF4-FFF2-40B4-BE49-F238E27FC236}">
                  <a16:creationId xmlns:a16="http://schemas.microsoft.com/office/drawing/2014/main" id="{4C50AD4A-F62B-4928-9036-FD9A52B9A70D}"/>
                </a:ext>
              </a:extLst>
            </p:cNvPr>
            <p:cNvSpPr txBox="1"/>
            <p:nvPr/>
          </p:nvSpPr>
          <p:spPr>
            <a:xfrm>
              <a:off x="6202278" y="4832877"/>
              <a:ext cx="188946" cy="43096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>
                <a:defRPr/>
              </a:pPr>
              <a:r>
                <a:rPr lang="en-US" altLang="ko-KR" sz="2470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3</a:t>
              </a:r>
              <a:endParaRPr lang="ko-KR" altLang="en-US" sz="2470" spc="-88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2" name="LcS2">
              <a:extLst>
                <a:ext uri="{FF2B5EF4-FFF2-40B4-BE49-F238E27FC236}">
                  <a16:creationId xmlns:a16="http://schemas.microsoft.com/office/drawing/2014/main" id="{A555DF3E-BF29-40AB-8AE1-89886E85B536}"/>
                </a:ext>
              </a:extLst>
            </p:cNvPr>
            <p:cNvSpPr txBox="1"/>
            <p:nvPr/>
          </p:nvSpPr>
          <p:spPr>
            <a:xfrm>
              <a:off x="5032597" y="2799952"/>
              <a:ext cx="843020" cy="30780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 algn="ctr">
                <a:defRPr/>
              </a:pPr>
              <a:r>
                <a:rPr lang="ko-KR" altLang="en-US" sz="1764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인공지능</a:t>
              </a:r>
            </a:p>
          </p:txBody>
        </p:sp>
        <p:sp>
          <p:nvSpPr>
            <p:cNvPr id="43" name="LcS2">
              <a:extLst>
                <a:ext uri="{FF2B5EF4-FFF2-40B4-BE49-F238E27FC236}">
                  <a16:creationId xmlns:a16="http://schemas.microsoft.com/office/drawing/2014/main" id="{85100243-92E1-4F1E-9065-7D986BE51747}"/>
                </a:ext>
              </a:extLst>
            </p:cNvPr>
            <p:cNvSpPr txBox="1"/>
            <p:nvPr/>
          </p:nvSpPr>
          <p:spPr>
            <a:xfrm>
              <a:off x="3503097" y="4894912"/>
              <a:ext cx="786045" cy="286135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 algn="ctr">
                <a:defRPr/>
              </a:pPr>
              <a:r>
                <a:rPr lang="ko-KR" altLang="en-US" sz="1764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클라우드</a:t>
              </a:r>
            </a:p>
          </p:txBody>
        </p:sp>
        <p:sp>
          <p:nvSpPr>
            <p:cNvPr id="44" name="LcS2">
              <a:extLst>
                <a:ext uri="{FF2B5EF4-FFF2-40B4-BE49-F238E27FC236}">
                  <a16:creationId xmlns:a16="http://schemas.microsoft.com/office/drawing/2014/main" id="{4BF08511-9D77-4A33-8C67-0A0EC2BEAC93}"/>
                </a:ext>
              </a:extLst>
            </p:cNvPr>
            <p:cNvSpPr txBox="1"/>
            <p:nvPr/>
          </p:nvSpPr>
          <p:spPr>
            <a:xfrm>
              <a:off x="6617927" y="4894912"/>
              <a:ext cx="786045" cy="286135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 algn="ctr">
                <a:defRPr/>
              </a:pPr>
              <a:r>
                <a:rPr lang="ko-KR" altLang="en-US" sz="1764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블록체인</a:t>
              </a:r>
            </a:p>
          </p:txBody>
        </p:sp>
        <p:pic>
          <p:nvPicPr>
            <p:cNvPr id="45" name="그림 44">
              <a:extLst>
                <a:ext uri="{FF2B5EF4-FFF2-40B4-BE49-F238E27FC236}">
                  <a16:creationId xmlns:a16="http://schemas.microsoft.com/office/drawing/2014/main" id="{6931ACEB-59DC-4634-ADDE-9862DBC014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982573" y="5235328"/>
              <a:ext cx="1249673" cy="750507"/>
            </a:xfrm>
            <a:prstGeom prst="rect">
              <a:avLst/>
            </a:prstGeom>
          </p:spPr>
        </p:pic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6B72D22D-F13F-4021-8026-920577B261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39931" y="5190444"/>
              <a:ext cx="1067969" cy="985541"/>
            </a:xfrm>
            <a:prstGeom prst="rect">
              <a:avLst/>
            </a:prstGeom>
          </p:spPr>
        </p:pic>
        <p:pic>
          <p:nvPicPr>
            <p:cNvPr id="47" name="그림 46">
              <a:extLst>
                <a:ext uri="{FF2B5EF4-FFF2-40B4-BE49-F238E27FC236}">
                  <a16:creationId xmlns:a16="http://schemas.microsoft.com/office/drawing/2014/main" id="{399E8AC0-9273-4096-81D9-BC0358A66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02622" y="2696435"/>
              <a:ext cx="159506" cy="183313"/>
            </a:xfrm>
            <a:prstGeom prst="rect">
              <a:avLst/>
            </a:prstGeom>
          </p:spPr>
        </p:pic>
        <p:sp>
          <p:nvSpPr>
            <p:cNvPr id="48" name="LcS15">
              <a:extLst>
                <a:ext uri="{FF2B5EF4-FFF2-40B4-BE49-F238E27FC236}">
                  <a16:creationId xmlns:a16="http://schemas.microsoft.com/office/drawing/2014/main" id="{B13851E0-CE59-41ED-B8C9-32C3E4456F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03606" y="3219853"/>
              <a:ext cx="2803494" cy="658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127000" lvl="0" indent="-1270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Wingdings" panose="05000000000000000000" pitchFamily="2" charset="2"/>
                <a:buChar char="Ü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  <a:lvl2pPr marL="200025" lvl="1" indent="-762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나눔고딕" panose="020D0604000000000000" pitchFamily="50" charset="-127"/>
                <a:buChar char="-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2pPr>
              <a:lvl3pPr algn="ctr"/>
              <a:lvl4pPr algn="ctr"/>
              <a:lvl5pPr algn="ctr"/>
            </a:lstStyle>
            <a:p>
              <a:pPr marL="78410" lvl="1" indent="-78410" defTabSz="806501" fontAlgn="ctr">
                <a:buClr>
                  <a:srgbClr val="333333"/>
                </a:buClr>
                <a:buSzPct val="90000"/>
                <a:buFont typeface="Arial" panose="020B0604020202020204" pitchFamily="34" charset="0"/>
                <a:buChar char="•"/>
                <a:tabLst>
                  <a:tab pos="1088312" algn="l"/>
                </a:tabLst>
                <a:defRPr/>
              </a:pP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(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예시</a:t>
              </a: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) STR 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보고 품질 향상</a:t>
              </a:r>
              <a:endParaRPr kumimoji="1" lang="en-US" altLang="ko-KR" sz="1147" spc="-44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함초롬돋움" panose="02030504000101010101" pitchFamily="18" charset="-127"/>
              </a:endParaRPr>
            </a:p>
            <a:p>
              <a:pPr marL="78410" lvl="1" indent="-78410" defTabSz="806501" fontAlgn="ctr">
                <a:buClr>
                  <a:srgbClr val="333333"/>
                </a:buClr>
                <a:buSzPct val="90000"/>
                <a:buFont typeface="Arial" panose="020B0604020202020204" pitchFamily="34" charset="0"/>
                <a:buChar char="•"/>
                <a:tabLst>
                  <a:tab pos="1088312" algn="l"/>
                </a:tabLst>
                <a:defRPr/>
              </a:pP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(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예시</a:t>
              </a: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) STR 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보고 프로세스 간소화</a:t>
              </a:r>
              <a:endParaRPr kumimoji="1" lang="en-US" altLang="ko-KR" sz="1147" spc="-44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함초롬돋움" panose="02030504000101010101" pitchFamily="18" charset="-127"/>
              </a:endParaRPr>
            </a:p>
            <a:p>
              <a:pPr marL="78410" lvl="1" indent="-78410" defTabSz="806501" fontAlgn="ctr">
                <a:buClr>
                  <a:srgbClr val="333333"/>
                </a:buClr>
                <a:buSzPct val="90000"/>
                <a:buFont typeface="Arial" panose="020B0604020202020204" pitchFamily="34" charset="0"/>
                <a:buChar char="•"/>
                <a:tabLst>
                  <a:tab pos="1088312" algn="l"/>
                </a:tabLst>
                <a:defRPr/>
              </a:pP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(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예시</a:t>
              </a: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) 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고객 리스크 평가 모델</a:t>
              </a:r>
            </a:p>
          </p:txBody>
        </p:sp>
        <p:sp>
          <p:nvSpPr>
            <p:cNvPr id="49" name="LcS15">
              <a:extLst>
                <a:ext uri="{FF2B5EF4-FFF2-40B4-BE49-F238E27FC236}">
                  <a16:creationId xmlns:a16="http://schemas.microsoft.com/office/drawing/2014/main" id="{840638D8-369D-4D65-84F2-CACB87169A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03606" y="2672620"/>
              <a:ext cx="3146332" cy="457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127000" lvl="0" indent="-1270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Wingdings" panose="05000000000000000000" pitchFamily="2" charset="2"/>
                <a:buChar char="Ü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  <a:lvl2pPr marL="200025" lvl="1" indent="-762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나눔고딕" panose="020D0604000000000000" pitchFamily="50" charset="-127"/>
                <a:buChar char="-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2pPr>
              <a:lvl3pPr algn="ctr"/>
              <a:lvl4pPr algn="ctr"/>
              <a:lvl5pPr algn="ctr"/>
            </a:lstStyle>
            <a:p>
              <a:pPr marL="0" lvl="1" indent="0" defTabSz="806501" fontAlgn="ctr">
                <a:buClr>
                  <a:srgbClr val="333333"/>
                </a:buClr>
                <a:buSzPct val="90000"/>
                <a:buNone/>
                <a:tabLst>
                  <a:tab pos="1088312" algn="l"/>
                </a:tabLst>
                <a:defRPr/>
              </a:pPr>
              <a:r>
                <a:rPr kumimoji="1" lang="ko-KR" altLang="en-US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  <a:t>머신러닝 기법을 자금세탁방지 프로세스에 적용</a:t>
              </a:r>
            </a:p>
          </p:txBody>
        </p:sp>
        <p:pic>
          <p:nvPicPr>
            <p:cNvPr id="50" name="그림 49">
              <a:extLst>
                <a:ext uri="{FF2B5EF4-FFF2-40B4-BE49-F238E27FC236}">
                  <a16:creationId xmlns:a16="http://schemas.microsoft.com/office/drawing/2014/main" id="{2B89E9C6-249B-474A-8BA9-B47FE52B49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26562" y="4937119"/>
              <a:ext cx="159506" cy="183313"/>
            </a:xfrm>
            <a:prstGeom prst="rect">
              <a:avLst/>
            </a:prstGeom>
          </p:spPr>
        </p:pic>
        <p:sp>
          <p:nvSpPr>
            <p:cNvPr id="51" name="LcS15">
              <a:extLst>
                <a:ext uri="{FF2B5EF4-FFF2-40B4-BE49-F238E27FC236}">
                  <a16:creationId xmlns:a16="http://schemas.microsoft.com/office/drawing/2014/main" id="{A87456CC-A739-4EE7-8C2E-DBA334EBCC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27546" y="5460538"/>
              <a:ext cx="2393423" cy="771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127000" lvl="0" indent="-1270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Wingdings" panose="05000000000000000000" pitchFamily="2" charset="2"/>
                <a:buChar char="Ü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  <a:lvl2pPr marL="200025" lvl="1" indent="-762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나눔고딕" panose="020D0604000000000000" pitchFamily="50" charset="-127"/>
                <a:buChar char="-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2pPr>
              <a:lvl3pPr algn="ctr"/>
              <a:lvl4pPr algn="ctr"/>
              <a:lvl5pPr algn="ctr"/>
            </a:lstStyle>
            <a:p>
              <a:pPr marL="78410" lvl="1" indent="-78410" defTabSz="806501" fontAlgn="ctr">
                <a:buClr>
                  <a:srgbClr val="333333"/>
                </a:buClr>
                <a:buSzPct val="90000"/>
                <a:buFont typeface="Arial" panose="020B0604020202020204" pitchFamily="34" charset="0"/>
                <a:buChar char="•"/>
                <a:tabLst>
                  <a:tab pos="1088312" algn="l"/>
                </a:tabLst>
                <a:defRPr/>
              </a:pP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(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예시</a:t>
              </a: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) KYC(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고객확인</a:t>
              </a: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) 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수행 시 블록체인 기술을 </a:t>
              </a:r>
              <a:r>
                <a:rPr kumimoji="1" lang="ko-KR" altLang="en-US" sz="1147" spc="-44" dirty="0" smtClean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활용</a:t>
              </a: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/>
              </a:r>
              <a:b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</a:b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- 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개인정보보호법 관련 법률 및 </a:t>
              </a:r>
              <a:r>
                <a:rPr kumimoji="1" lang="ko-KR" altLang="en-US" sz="1147" spc="-44" dirty="0" smtClean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제도</a:t>
              </a:r>
              <a:r>
                <a:rPr kumimoji="1" lang="en-US" altLang="ko-KR" sz="1147" spc="-44" dirty="0" smtClean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/>
              </a:r>
              <a:br>
                <a:rPr kumimoji="1" lang="en-US" altLang="ko-KR" sz="1147" spc="-44" dirty="0" smtClean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</a:br>
              <a:r>
                <a:rPr kumimoji="1" lang="en-US" altLang="ko-KR" sz="1147" spc="-44" dirty="0" smtClean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   </a:t>
              </a:r>
              <a:r>
                <a:rPr kumimoji="1" lang="ko-KR" altLang="en-US" sz="1147" spc="-44" dirty="0" smtClean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정비 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후 검토 필요</a:t>
              </a:r>
            </a:p>
          </p:txBody>
        </p:sp>
        <p:sp>
          <p:nvSpPr>
            <p:cNvPr id="52" name="LcS15">
              <a:extLst>
                <a:ext uri="{FF2B5EF4-FFF2-40B4-BE49-F238E27FC236}">
                  <a16:creationId xmlns:a16="http://schemas.microsoft.com/office/drawing/2014/main" id="{58402D6F-6156-4FED-84CA-08B7437C9C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27546" y="4913304"/>
              <a:ext cx="2522392" cy="457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127000" lvl="0" indent="-1270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Wingdings" panose="05000000000000000000" pitchFamily="2" charset="2"/>
                <a:buChar char="Ü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  <a:lvl2pPr marL="200025" lvl="1" indent="-762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나눔고딕" panose="020D0604000000000000" pitchFamily="50" charset="-127"/>
                <a:buChar char="-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2pPr>
              <a:lvl3pPr algn="ctr"/>
              <a:lvl4pPr algn="ctr"/>
              <a:lvl5pPr algn="ctr"/>
            </a:lstStyle>
            <a:p>
              <a:pPr marL="0" lvl="1" indent="0" defTabSz="806501" fontAlgn="ctr">
                <a:buClr>
                  <a:srgbClr val="333333"/>
                </a:buClr>
                <a:buSzPct val="90000"/>
                <a:buNone/>
                <a:tabLst>
                  <a:tab pos="1088312" algn="l"/>
                </a:tabLst>
                <a:defRPr/>
              </a:pPr>
              <a:r>
                <a:rPr kumimoji="1" lang="ko-KR" altLang="en-US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  <a:t>블록체인 기술을 자금세탁방지 프로세스에 적용</a:t>
              </a:r>
            </a:p>
          </p:txBody>
        </p:sp>
        <p:pic>
          <p:nvPicPr>
            <p:cNvPr id="53" name="그림 52">
              <a:extLst>
                <a:ext uri="{FF2B5EF4-FFF2-40B4-BE49-F238E27FC236}">
                  <a16:creationId xmlns:a16="http://schemas.microsoft.com/office/drawing/2014/main" id="{7A2EB7E5-C106-4EA5-BF8C-659283404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0706" y="4937119"/>
              <a:ext cx="159506" cy="183313"/>
            </a:xfrm>
            <a:prstGeom prst="rect">
              <a:avLst/>
            </a:prstGeom>
          </p:spPr>
        </p:pic>
        <p:sp>
          <p:nvSpPr>
            <p:cNvPr id="54" name="LcS15">
              <a:extLst>
                <a:ext uri="{FF2B5EF4-FFF2-40B4-BE49-F238E27FC236}">
                  <a16:creationId xmlns:a16="http://schemas.microsoft.com/office/drawing/2014/main" id="{337CD81F-98F5-4C35-AB83-9870AFF8D9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1690" y="5708518"/>
              <a:ext cx="2393423" cy="4293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127000" lvl="0" indent="-1270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Wingdings" panose="05000000000000000000" pitchFamily="2" charset="2"/>
                <a:buChar char="Ü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  <a:lvl2pPr marL="200025" lvl="1" indent="-762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나눔고딕" panose="020D0604000000000000" pitchFamily="50" charset="-127"/>
                <a:buChar char="-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2pPr>
              <a:lvl3pPr algn="ctr"/>
              <a:lvl4pPr algn="ctr"/>
              <a:lvl5pPr algn="ctr"/>
            </a:lstStyle>
            <a:p>
              <a:pPr marL="78410" lvl="1" indent="-78410" defTabSz="806501" fontAlgn="ctr">
                <a:buClr>
                  <a:srgbClr val="333333"/>
                </a:buClr>
                <a:buSzPct val="90000"/>
                <a:buFont typeface="Arial" panose="020B0604020202020204" pitchFamily="34" charset="0"/>
                <a:buChar char="•"/>
                <a:tabLst>
                  <a:tab pos="1088312" algn="l"/>
                </a:tabLst>
                <a:defRPr/>
              </a:pP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프레임워크</a:t>
              </a:r>
              <a:r>
                <a:rPr kumimoji="1" lang="en-US" altLang="ko-KR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, </a:t>
              </a: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방법론 적용</a:t>
              </a:r>
              <a:endParaRPr kumimoji="1" lang="en-US" altLang="ko-KR" sz="1147" spc="-44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함초롬돋움" panose="02030504000101010101" pitchFamily="18" charset="-127"/>
              </a:endParaRPr>
            </a:p>
            <a:p>
              <a:pPr marL="78410" lvl="1" indent="-78410" defTabSz="806501" fontAlgn="ctr">
                <a:buClr>
                  <a:srgbClr val="333333"/>
                </a:buClr>
                <a:buSzPct val="90000"/>
                <a:buFont typeface="Arial" panose="020B0604020202020204" pitchFamily="34" charset="0"/>
                <a:buChar char="•"/>
                <a:tabLst>
                  <a:tab pos="1088312" algn="l"/>
                </a:tabLst>
                <a:defRPr/>
              </a:pPr>
              <a:r>
                <a:rPr kumimoji="1" lang="ko-KR" altLang="en-US" sz="1147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함초롬돋움" panose="02030504000101010101" pitchFamily="18" charset="-127"/>
                </a:rPr>
                <a:t>오픈소스 소프트웨어 구성</a:t>
              </a:r>
            </a:p>
          </p:txBody>
        </p:sp>
        <p:sp>
          <p:nvSpPr>
            <p:cNvPr id="55" name="LcS15">
              <a:extLst>
                <a:ext uri="{FF2B5EF4-FFF2-40B4-BE49-F238E27FC236}">
                  <a16:creationId xmlns:a16="http://schemas.microsoft.com/office/drawing/2014/main" id="{48E855DF-5852-4AC9-A8C0-03F193B6F0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1691" y="4913304"/>
              <a:ext cx="2664774" cy="686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127000" lvl="0" indent="-1270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Wingdings" panose="05000000000000000000" pitchFamily="2" charset="2"/>
                <a:buChar char="Ü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  <a:lvl2pPr marL="200025" lvl="1" indent="-76200" latinLnBrk="0">
                <a:spcBef>
                  <a:spcPts val="100"/>
                </a:spcBef>
                <a:spcAft>
                  <a:spcPts val="100"/>
                </a:spcAft>
                <a:buClr>
                  <a:srgbClr val="408AB8"/>
                </a:buClr>
                <a:buSzPts val="800"/>
                <a:buFont typeface="나눔고딕" panose="020D0604000000000000" pitchFamily="50" charset="-127"/>
                <a:buChar char="-"/>
                <a:defRPr kumimoji="0" sz="100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2pPr>
              <a:lvl3pPr algn="ctr"/>
              <a:lvl4pPr algn="ctr"/>
              <a:lvl5pPr algn="ctr"/>
            </a:lstStyle>
            <a:p>
              <a:pPr marL="0" lvl="1" indent="0" defTabSz="806501" fontAlgn="ctr">
                <a:buClr>
                  <a:srgbClr val="333333"/>
                </a:buClr>
                <a:buSzPct val="90000"/>
                <a:buNone/>
                <a:tabLst>
                  <a:tab pos="1088312" algn="l"/>
                </a:tabLst>
                <a:defRPr/>
              </a:pPr>
              <a:r>
                <a:rPr kumimoji="1" lang="ko-KR" altLang="en-US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  <a:t>클라우드 환경에 자금세탁방지시스템을</a:t>
              </a:r>
              <a:r>
                <a:rPr kumimoji="1" lang="en-US" altLang="ko-KR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  <a:t/>
              </a:r>
              <a:br>
                <a:rPr kumimoji="1" lang="en-US" altLang="ko-KR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</a:br>
              <a:r>
                <a:rPr kumimoji="1" lang="ko-KR" altLang="en-US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  <a:t>구축</a:t>
              </a:r>
              <a:r>
                <a:rPr kumimoji="1" lang="en-US" altLang="ko-KR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  <a:t>/</a:t>
              </a:r>
              <a:r>
                <a:rPr kumimoji="1" lang="ko-KR" altLang="en-US" sz="1411" spc="-44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rPr>
                <a:t>운용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D4643D1-A231-4517-BA04-98AEC9F48D4A}"/>
                </a:ext>
              </a:extLst>
            </p:cNvPr>
            <p:cNvSpPr txBox="1"/>
            <p:nvPr/>
          </p:nvSpPr>
          <p:spPr>
            <a:xfrm>
              <a:off x="593629" y="6513722"/>
              <a:ext cx="8604643" cy="2861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88900" indent="-88900" defTabSz="914400">
                <a:buClr>
                  <a:srgbClr val="5F5F5F"/>
                </a:buClr>
                <a:buSzPct val="80000"/>
                <a:buFont typeface="뫼비우스 Regular" panose="02000700060000000000" pitchFamily="2" charset="-127"/>
                <a:buChar char="*"/>
                <a:defRPr kumimoji="1" sz="1000" spc="-70">
                  <a:ln w="1270">
                    <a:solidFill>
                      <a:srgbClr val="FFC000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defRPr>
              </a:lvl1pPr>
              <a:lvl2pPr marL="742950" indent="-285750" defTabSz="914400" eaLnBrk="0" latinLnBrk="1" hangingPunct="0"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2pPr>
              <a:lvl3pPr marL="1143000" indent="-228600" defTabSz="914400" eaLnBrk="0" latinLnBrk="1" hangingPunct="0"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3pPr>
              <a:lvl4pPr marL="1600200" indent="-228600" defTabSz="914400" eaLnBrk="0" latinLnBrk="1" hangingPunct="0"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4pPr>
              <a:lvl5pPr marL="2057400" indent="-228600" defTabSz="914400" eaLnBrk="0" latinLnBrk="1" hangingPunct="0"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5pPr>
              <a:lvl6pPr marL="2514600" indent="-228600" algn="ctr" defTabSz="914400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6pPr>
              <a:lvl7pPr marL="2971800" indent="-228600" algn="ctr" defTabSz="914400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7pPr>
              <a:lvl8pPr marL="3429000" indent="-228600" algn="ctr" defTabSz="914400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8pPr>
              <a:lvl9pPr marL="3886200" indent="-228600" algn="ctr" defTabSz="914400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defRPr>
              </a:lvl9pPr>
            </a:lstStyle>
            <a:p>
              <a:pPr marL="0" indent="0">
                <a:buNone/>
              </a:pP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* RegTech(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레그테크</a:t>
              </a:r>
              <a:r>
                <a:rPr lang="en-US" altLang="ko-KR" sz="882" dirty="0" smtClean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) : 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규제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Regulation)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와 기술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Technology)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의 합성어로서 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IT 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기술을 활용하여 금융규제 군수 관련 업무를 자동화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·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효율화하는 기법</a:t>
              </a:r>
              <a:endParaRPr lang="en-US" altLang="ko-KR" sz="882" dirty="0"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  <a:p>
              <a:pPr marL="0" indent="0">
                <a:buNone/>
              </a:pP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** 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SupTech(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섭테크</a:t>
              </a:r>
              <a:r>
                <a:rPr lang="en-US" altLang="ko-KR" sz="882" dirty="0" smtClean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) : 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금융감독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Supervision)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과 기술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Technology)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의 합성어로서 최신 기술을 활용하여 금융감독 업무를 효율적</a:t>
              </a:r>
              <a:r>
                <a:rPr lang="en-US" altLang="ko-KR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·</a:t>
              </a:r>
              <a:r>
                <a:rPr lang="ko-KR" altLang="en-US" sz="882" dirty="0"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효과적으로 수행하기 위한 기법</a:t>
              </a:r>
            </a:p>
          </p:txBody>
        </p:sp>
        <p:sp>
          <p:nvSpPr>
            <p:cNvPr id="57" name="LcS2">
              <a:extLst>
                <a:ext uri="{FF2B5EF4-FFF2-40B4-BE49-F238E27FC236}">
                  <a16:creationId xmlns:a16="http://schemas.microsoft.com/office/drawing/2014/main" id="{5AFDABA5-4B5A-488D-811A-1CD8ACD63036}"/>
                </a:ext>
              </a:extLst>
            </p:cNvPr>
            <p:cNvSpPr txBox="1"/>
            <p:nvPr/>
          </p:nvSpPr>
          <p:spPr>
            <a:xfrm>
              <a:off x="1817187" y="3026176"/>
              <a:ext cx="1922675" cy="110793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lvl="0" algn="ctr">
                <a:defRPr/>
              </a:pPr>
              <a:r>
                <a:rPr lang="en-US" altLang="ko-KR" sz="6350" spc="-88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schemeClr val="bg1">
                      <a:lumMod val="85000"/>
                    </a:schemeClr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AML</a:t>
              </a:r>
              <a:endParaRPr lang="ko-KR" altLang="en-US" sz="6350" spc="-88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5506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.6.2 </a:t>
            </a:r>
            <a:r>
              <a:rPr lang="en-US" altLang="ko-KR" dirty="0"/>
              <a:t>KYC </a:t>
            </a:r>
            <a:r>
              <a:rPr lang="ko-KR" altLang="en-US" dirty="0"/>
              <a:t>신규</a:t>
            </a:r>
            <a:r>
              <a:rPr lang="en-US" altLang="ko-KR" dirty="0"/>
              <a:t>/</a:t>
            </a:r>
            <a:r>
              <a:rPr lang="ko-KR" altLang="en-US" dirty="0"/>
              <a:t>변경 프로세스 적용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및 신규 상품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채널에 대한 개선 방향을 토대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수립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기반으로 시스템 구축 관점의 프로세스 설계 및 구현을 통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체계 개선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결과와 관련 자료를 관리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YC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신규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변경 프로세스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적용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AutoShape 135"/>
          <p:cNvSpPr>
            <a:spLocks noChangeArrowheads="1"/>
          </p:cNvSpPr>
          <p:nvPr/>
        </p:nvSpPr>
        <p:spPr bwMode="auto">
          <a:xfrm rot="16200000" flipH="1">
            <a:off x="4748885" y="3042942"/>
            <a:ext cx="4248000" cy="2511919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199 w 21600"/>
              <a:gd name="T13" fmla="*/ 3208 h 21600"/>
              <a:gd name="T14" fmla="*/ 18401 w 21600"/>
              <a:gd name="T15" fmla="*/ 18392 h 21600"/>
              <a:gd name="connsiteX0" fmla="*/ 0 w 21600"/>
              <a:gd name="connsiteY0" fmla="*/ 0 h 21600"/>
              <a:gd name="connsiteX1" fmla="*/ 2136 w 21600"/>
              <a:gd name="connsiteY1" fmla="*/ 21600 h 21600"/>
              <a:gd name="connsiteX2" fmla="*/ 18800 w 21600"/>
              <a:gd name="connsiteY2" fmla="*/ 21600 h 21600"/>
              <a:gd name="connsiteX3" fmla="*/ 21600 w 21600"/>
              <a:gd name="connsiteY3" fmla="*/ 0 h 21600"/>
              <a:gd name="connsiteX4" fmla="*/ 0 w 21600"/>
              <a:gd name="connsiteY4" fmla="*/ 0 h 21600"/>
              <a:gd name="connsiteX0" fmla="*/ 0 w 21600"/>
              <a:gd name="connsiteY0" fmla="*/ 0 h 21600"/>
              <a:gd name="connsiteX1" fmla="*/ 2136 w 21600"/>
              <a:gd name="connsiteY1" fmla="*/ 21600 h 21600"/>
              <a:gd name="connsiteX2" fmla="*/ 19331 w 21600"/>
              <a:gd name="connsiteY2" fmla="*/ 21600 h 21600"/>
              <a:gd name="connsiteX3" fmla="*/ 21600 w 21600"/>
              <a:gd name="connsiteY3" fmla="*/ 0 h 21600"/>
              <a:gd name="connsiteX4" fmla="*/ 0 w 21600"/>
              <a:gd name="connsiteY4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1600">
                <a:moveTo>
                  <a:pt x="0" y="0"/>
                </a:moveTo>
                <a:lnTo>
                  <a:pt x="2136" y="21600"/>
                </a:lnTo>
                <a:lnTo>
                  <a:pt x="19331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D7D7D7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aphicFrame>
        <p:nvGraphicFramePr>
          <p:cNvPr id="17" name="Group 1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646319"/>
              </p:ext>
            </p:extLst>
          </p:nvPr>
        </p:nvGraphicFramePr>
        <p:xfrm>
          <a:off x="317116" y="2178177"/>
          <a:ext cx="5368429" cy="4232704"/>
        </p:xfrm>
        <a:graphic>
          <a:graphicData uri="http://schemas.openxmlformats.org/drawingml/2006/table">
            <a:tbl>
              <a:tblPr/>
              <a:tblGrid>
                <a:gridCol w="936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31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1302">
                <a:tc>
                  <a:txBody>
                    <a:bodyPr/>
                    <a:lstStyle>
                      <a:lvl1pPr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나눔스퀘어 ExtraBold" panose="020B0600000101010101" pitchFamily="50" charset="-127"/>
                          <a:ea typeface="나눔스퀘어 ExtraBold" panose="020B0600000101010101" pitchFamily="50" charset="-127"/>
                        </a:rPr>
                        <a:t>개선 항목</a:t>
                      </a:r>
                    </a:p>
                  </a:txBody>
                  <a:tcPr marL="90000" marR="90000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나눔스퀘어 ExtraBold" panose="020B0600000101010101" pitchFamily="50" charset="-127"/>
                          <a:ea typeface="나눔스퀘어 ExtraBold" panose="020B0600000101010101" pitchFamily="50" charset="-127"/>
                        </a:rPr>
                        <a:t>개선 내용</a:t>
                      </a: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7573">
                <a:tc>
                  <a:txBody>
                    <a:bodyPr/>
                    <a:lstStyle>
                      <a:lvl1pPr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컨설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결과</a:t>
                      </a:r>
                    </a:p>
                  </a:txBody>
                  <a:tcPr marL="90000" marR="90000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85725" indent="-85725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전신송금 등 외환고객에 대한 고객확인 프로세스 구축 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비대면 거래 등에 대한 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KYC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수행 프로세스 구축 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가상통화취급업소에 대한 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KYC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프로세스 구축 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고액자산가 등 자금세탁 고위험군 관리 프로세스 구축 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재이행 주기 도래한 비대면 고객의 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KYC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프로세스 구축 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고객이 정보제공을 거부하는 등 고객확인이 불가능하여 거래를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거절하는 경우 등 요건 재정의하고 처리절차 개선 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Watch List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필터링 대상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/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승인 절차 개선</a:t>
                      </a: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2088">
                <a:tc>
                  <a:txBody>
                    <a:bodyPr/>
                    <a:lstStyle>
                      <a:lvl1pPr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KYC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수행 적정성</a:t>
                      </a:r>
                    </a:p>
                  </a:txBody>
                  <a:tcPr marL="90000" marR="90000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85725" indent="-85725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현재 수행되고 있는 프로세스에 대한 적합성 확인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현재 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KYC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호출 대상 거래 재검토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현재 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KYC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호출 시 공통 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IN/OUT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파라미터 재검토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-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주민번호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대리인주민번호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상품코드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거래수단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거래금액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개인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/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법인 코드 등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88">
                <a:tc>
                  <a:txBody>
                    <a:bodyPr/>
                    <a:lstStyle>
                      <a:lvl1pPr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DD/EDD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정보수집</a:t>
                      </a:r>
                    </a:p>
                  </a:txBody>
                  <a:tcPr marL="90000" marR="90000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85725" indent="-85725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법인∙단체실제소유자 확인 시 단계별로 확인 하도록 개선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비영리법인의 설립목적 등 입력 전산화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고객확인의무 및 강화된 고객확인에 대한 정보 수집 항목 확인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고객거래확인서 개정 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28">
                <a:tc>
                  <a:txBody>
                    <a:bodyPr/>
                    <a:lstStyle>
                      <a:lvl1pPr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 프로파일</a:t>
                      </a:r>
                    </a:p>
                  </a:txBody>
                  <a:tcPr marL="90000" marR="90000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85725" indent="-85725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KYC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 수행을 위한 고객 프로파일 체계 재정비</a:t>
                      </a: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7625">
                <a:tc>
                  <a:txBody>
                    <a:bodyPr/>
                    <a:lstStyle>
                      <a:lvl1pPr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KYC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수행 필요 자료</a:t>
                      </a:r>
                    </a:p>
                  </a:txBody>
                  <a:tcPr marL="90000" marR="90000" marT="18000" marB="18000" anchor="ctr" horzOverflow="overflow">
                    <a:lnL cap="flat"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85725" indent="-85725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algn="l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고객사의 고액자산가 산출 기준 검토 및 관리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69696"/>
                        </a:buClr>
                        <a:buSzPts val="8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일회성 거래 고객 중 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CDD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요건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(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일주일 동안 누적 금액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)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기준 관리</a:t>
                      </a: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kumimoji="1" lang="en-US" altLang="ko-KR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- </a:t>
                      </a:r>
                      <a:r>
                        <a:rPr kumimoji="1" lang="ko-KR" altLang="en-US" sz="1000" kern="1200" dirty="0" smtClean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333333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개정 예정인 일회성 거래 기준 적용</a:t>
                      </a:r>
                      <a:endParaRPr kumimoji="1" lang="en-US" altLang="ko-KR" sz="1000" kern="1200" dirty="0" smtClean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rgbClr val="333333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90000" marR="90000" marT="18000" marB="18000" anchor="ctr" horzOverflow="overflow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63"/>
          <p:cNvGrpSpPr>
            <a:grpSpLocks/>
          </p:cNvGrpSpPr>
          <p:nvPr/>
        </p:nvGrpSpPr>
        <p:grpSpPr bwMode="auto">
          <a:xfrm>
            <a:off x="6249144" y="2566798"/>
            <a:ext cx="868388" cy="920940"/>
            <a:chOff x="3734" y="1502"/>
            <a:chExt cx="670" cy="712"/>
          </a:xfrm>
        </p:grpSpPr>
        <p:sp>
          <p:nvSpPr>
            <p:cNvPr id="19" name="Oval 53"/>
            <p:cNvSpPr>
              <a:spLocks noChangeArrowheads="1"/>
            </p:cNvSpPr>
            <p:nvPr/>
          </p:nvSpPr>
          <p:spPr bwMode="gray">
            <a:xfrm>
              <a:off x="3851" y="2080"/>
              <a:ext cx="437" cy="134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en-US" altLang="ko-KR" sz="9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0" name="Oval 138"/>
            <p:cNvSpPr>
              <a:spLocks noChangeArrowheads="1"/>
            </p:cNvSpPr>
            <p:nvPr/>
          </p:nvSpPr>
          <p:spPr bwMode="gray">
            <a:xfrm>
              <a:off x="3734" y="1502"/>
              <a:ext cx="670" cy="670"/>
            </a:xfrm>
            <a:prstGeom prst="ellipse">
              <a:avLst/>
            </a:pr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en-US" altLang="ko-KR" sz="9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21" name="Group 162"/>
            <p:cNvGrpSpPr>
              <a:grpSpLocks/>
            </p:cNvGrpSpPr>
            <p:nvPr/>
          </p:nvGrpSpPr>
          <p:grpSpPr bwMode="auto">
            <a:xfrm>
              <a:off x="3758" y="1639"/>
              <a:ext cx="621" cy="507"/>
              <a:chOff x="3758" y="1639"/>
              <a:chExt cx="621" cy="507"/>
            </a:xfrm>
          </p:grpSpPr>
          <p:pic>
            <p:nvPicPr>
              <p:cNvPr id="22" name="Picture 140" descr="구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2646"/>
              <a:stretch>
                <a:fillRect/>
              </a:stretch>
            </p:blipFill>
            <p:spPr bwMode="auto">
              <a:xfrm>
                <a:off x="3758" y="1977"/>
                <a:ext cx="621" cy="169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12700" dir="16200000" algn="ctr" rotWithShape="0">
                  <a:srgbClr val="0096F2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" name="AutoShape 110"/>
              <p:cNvSpPr>
                <a:spLocks noChangeArrowheads="1"/>
              </p:cNvSpPr>
              <p:nvPr/>
            </p:nvSpPr>
            <p:spPr bwMode="gray">
              <a:xfrm rot="10800000" flipH="1" flipV="1">
                <a:off x="3925" y="1639"/>
                <a:ext cx="297" cy="2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r>
                  <a:rPr lang="ko-KR" altLang="en-US" sz="110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rPr>
                  <a:t>컨설팅</a:t>
                </a:r>
                <a:endParaRPr lang="en-US" altLang="ko-KR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  <a:p>
                <a:pPr algn="ctr" eaLnBrk="1" hangingPunct="1"/>
                <a:r>
                  <a:rPr lang="ko-KR" altLang="en-US" sz="110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rPr>
                  <a:t>결</a:t>
                </a:r>
                <a:r>
                  <a:rPr lang="ko-KR" altLang="en-US" sz="1100" dirty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rPr>
                  <a:t>과</a:t>
                </a:r>
              </a:p>
            </p:txBody>
          </p:sp>
        </p:grpSp>
      </p:grpSp>
      <p:grpSp>
        <p:nvGrpSpPr>
          <p:cNvPr id="25" name="Group 167"/>
          <p:cNvGrpSpPr>
            <a:grpSpLocks/>
          </p:cNvGrpSpPr>
          <p:nvPr/>
        </p:nvGrpSpPr>
        <p:grpSpPr bwMode="auto">
          <a:xfrm>
            <a:off x="6844610" y="2316163"/>
            <a:ext cx="309409" cy="308923"/>
            <a:chOff x="10093" y="3005"/>
            <a:chExt cx="352" cy="352"/>
          </a:xfrm>
        </p:grpSpPr>
        <p:sp>
          <p:nvSpPr>
            <p:cNvPr id="26" name="Freeform 168"/>
            <p:cNvSpPr>
              <a:spLocks noEditPoints="1"/>
            </p:cNvSpPr>
            <p:nvPr/>
          </p:nvSpPr>
          <p:spPr bwMode="gray">
            <a:xfrm>
              <a:off x="10093" y="3261"/>
              <a:ext cx="352" cy="96"/>
            </a:xfrm>
            <a:custGeom>
              <a:avLst/>
              <a:gdLst>
                <a:gd name="T0" fmla="*/ 0 w 3521"/>
                <a:gd name="T1" fmla="*/ 0 h 961"/>
                <a:gd name="T2" fmla="*/ 0 w 3521"/>
                <a:gd name="T3" fmla="*/ 0 h 961"/>
                <a:gd name="T4" fmla="*/ 0 w 3521"/>
                <a:gd name="T5" fmla="*/ 0 h 961"/>
                <a:gd name="T6" fmla="*/ 0 w 3521"/>
                <a:gd name="T7" fmla="*/ 0 h 961"/>
                <a:gd name="T8" fmla="*/ 0 w 3521"/>
                <a:gd name="T9" fmla="*/ 0 h 961"/>
                <a:gd name="T10" fmla="*/ 0 w 3521"/>
                <a:gd name="T11" fmla="*/ 0 h 961"/>
                <a:gd name="T12" fmla="*/ 0 w 3521"/>
                <a:gd name="T13" fmla="*/ 0 h 961"/>
                <a:gd name="T14" fmla="*/ 0 w 3521"/>
                <a:gd name="T15" fmla="*/ 0 h 961"/>
                <a:gd name="T16" fmla="*/ 0 w 3521"/>
                <a:gd name="T17" fmla="*/ 0 h 961"/>
                <a:gd name="T18" fmla="*/ 0 w 3521"/>
                <a:gd name="T19" fmla="*/ 0 h 961"/>
                <a:gd name="T20" fmla="*/ 0 w 3521"/>
                <a:gd name="T21" fmla="*/ 0 h 961"/>
                <a:gd name="T22" fmla="*/ 0 w 3521"/>
                <a:gd name="T23" fmla="*/ 0 h 961"/>
                <a:gd name="T24" fmla="*/ 0 w 3521"/>
                <a:gd name="T25" fmla="*/ 0 h 961"/>
                <a:gd name="T26" fmla="*/ 0 w 3521"/>
                <a:gd name="T27" fmla="*/ 0 h 961"/>
                <a:gd name="T28" fmla="*/ 0 w 3521"/>
                <a:gd name="T29" fmla="*/ 0 h 961"/>
                <a:gd name="T30" fmla="*/ 0 w 3521"/>
                <a:gd name="T31" fmla="*/ 0 h 961"/>
                <a:gd name="T32" fmla="*/ 0 w 3521"/>
                <a:gd name="T33" fmla="*/ 0 h 961"/>
                <a:gd name="T34" fmla="*/ 0 w 3521"/>
                <a:gd name="T35" fmla="*/ 0 h 961"/>
                <a:gd name="T36" fmla="*/ 0 w 3521"/>
                <a:gd name="T37" fmla="*/ 0 h 961"/>
                <a:gd name="T38" fmla="*/ 0 w 3521"/>
                <a:gd name="T39" fmla="*/ 0 h 961"/>
                <a:gd name="T40" fmla="*/ 0 w 3521"/>
                <a:gd name="T41" fmla="*/ 0 h 961"/>
                <a:gd name="T42" fmla="*/ 0 w 3521"/>
                <a:gd name="T43" fmla="*/ 0 h 961"/>
                <a:gd name="T44" fmla="*/ 0 w 3521"/>
                <a:gd name="T45" fmla="*/ 0 h 961"/>
                <a:gd name="T46" fmla="*/ 0 w 3521"/>
                <a:gd name="T47" fmla="*/ 0 h 961"/>
                <a:gd name="T48" fmla="*/ 0 w 3521"/>
                <a:gd name="T49" fmla="*/ 0 h 961"/>
                <a:gd name="T50" fmla="*/ 0 w 3521"/>
                <a:gd name="T51" fmla="*/ 0 h 961"/>
                <a:gd name="T52" fmla="*/ 0 w 3521"/>
                <a:gd name="T53" fmla="*/ 0 h 961"/>
                <a:gd name="T54" fmla="*/ 0 w 3521"/>
                <a:gd name="T55" fmla="*/ 0 h 961"/>
                <a:gd name="T56" fmla="*/ 0 w 3521"/>
                <a:gd name="T57" fmla="*/ 0 h 961"/>
                <a:gd name="T58" fmla="*/ 0 w 3521"/>
                <a:gd name="T59" fmla="*/ 0 h 961"/>
                <a:gd name="T60" fmla="*/ 0 w 3521"/>
                <a:gd name="T61" fmla="*/ 0 h 961"/>
                <a:gd name="T62" fmla="*/ 0 w 3521"/>
                <a:gd name="T63" fmla="*/ 0 h 961"/>
                <a:gd name="T64" fmla="*/ 0 w 3521"/>
                <a:gd name="T65" fmla="*/ 0 h 961"/>
                <a:gd name="T66" fmla="*/ 0 w 3521"/>
                <a:gd name="T67" fmla="*/ 0 h 961"/>
                <a:gd name="T68" fmla="*/ 0 w 3521"/>
                <a:gd name="T69" fmla="*/ 0 h 961"/>
                <a:gd name="T70" fmla="*/ 0 w 3521"/>
                <a:gd name="T71" fmla="*/ 0 h 961"/>
                <a:gd name="T72" fmla="*/ 0 w 3521"/>
                <a:gd name="T73" fmla="*/ 0 h 961"/>
                <a:gd name="T74" fmla="*/ 0 w 3521"/>
                <a:gd name="T75" fmla="*/ 0 h 961"/>
                <a:gd name="T76" fmla="*/ 0 w 3521"/>
                <a:gd name="T77" fmla="*/ 0 h 961"/>
                <a:gd name="T78" fmla="*/ 0 w 3521"/>
                <a:gd name="T79" fmla="*/ 0 h 961"/>
                <a:gd name="T80" fmla="*/ 0 w 3521"/>
                <a:gd name="T81" fmla="*/ 0 h 961"/>
                <a:gd name="T82" fmla="*/ 0 w 3521"/>
                <a:gd name="T83" fmla="*/ 0 h 961"/>
                <a:gd name="T84" fmla="*/ 0 w 3521"/>
                <a:gd name="T85" fmla="*/ 0 h 961"/>
                <a:gd name="T86" fmla="*/ 0 w 3521"/>
                <a:gd name="T87" fmla="*/ 0 h 961"/>
                <a:gd name="T88" fmla="*/ 0 w 3521"/>
                <a:gd name="T89" fmla="*/ 0 h 96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521"/>
                <a:gd name="T136" fmla="*/ 0 h 961"/>
                <a:gd name="T137" fmla="*/ 3521 w 3521"/>
                <a:gd name="T138" fmla="*/ 961 h 96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521" h="961">
                  <a:moveTo>
                    <a:pt x="3040" y="321"/>
                  </a:moveTo>
                  <a:lnTo>
                    <a:pt x="3020" y="324"/>
                  </a:lnTo>
                  <a:lnTo>
                    <a:pt x="3000" y="331"/>
                  </a:lnTo>
                  <a:lnTo>
                    <a:pt x="2985" y="343"/>
                  </a:lnTo>
                  <a:lnTo>
                    <a:pt x="2972" y="360"/>
                  </a:lnTo>
                  <a:lnTo>
                    <a:pt x="2964" y="379"/>
                  </a:lnTo>
                  <a:lnTo>
                    <a:pt x="2961" y="400"/>
                  </a:lnTo>
                  <a:lnTo>
                    <a:pt x="2964" y="422"/>
                  </a:lnTo>
                  <a:lnTo>
                    <a:pt x="2972" y="441"/>
                  </a:lnTo>
                  <a:lnTo>
                    <a:pt x="2985" y="457"/>
                  </a:lnTo>
                  <a:lnTo>
                    <a:pt x="3000" y="470"/>
                  </a:lnTo>
                  <a:lnTo>
                    <a:pt x="3020" y="478"/>
                  </a:lnTo>
                  <a:lnTo>
                    <a:pt x="3040" y="481"/>
                  </a:lnTo>
                  <a:lnTo>
                    <a:pt x="3201" y="481"/>
                  </a:lnTo>
                  <a:lnTo>
                    <a:pt x="3221" y="478"/>
                  </a:lnTo>
                  <a:lnTo>
                    <a:pt x="3241" y="470"/>
                  </a:lnTo>
                  <a:lnTo>
                    <a:pt x="3257" y="457"/>
                  </a:lnTo>
                  <a:lnTo>
                    <a:pt x="3269" y="441"/>
                  </a:lnTo>
                  <a:lnTo>
                    <a:pt x="3278" y="422"/>
                  </a:lnTo>
                  <a:lnTo>
                    <a:pt x="3280" y="400"/>
                  </a:lnTo>
                  <a:lnTo>
                    <a:pt x="3278" y="379"/>
                  </a:lnTo>
                  <a:lnTo>
                    <a:pt x="3269" y="360"/>
                  </a:lnTo>
                  <a:lnTo>
                    <a:pt x="3257" y="343"/>
                  </a:lnTo>
                  <a:lnTo>
                    <a:pt x="3241" y="331"/>
                  </a:lnTo>
                  <a:lnTo>
                    <a:pt x="3221" y="324"/>
                  </a:lnTo>
                  <a:lnTo>
                    <a:pt x="3201" y="321"/>
                  </a:lnTo>
                  <a:lnTo>
                    <a:pt x="3040" y="321"/>
                  </a:lnTo>
                  <a:close/>
                  <a:moveTo>
                    <a:pt x="321" y="321"/>
                  </a:moveTo>
                  <a:lnTo>
                    <a:pt x="300" y="324"/>
                  </a:lnTo>
                  <a:lnTo>
                    <a:pt x="280" y="331"/>
                  </a:lnTo>
                  <a:lnTo>
                    <a:pt x="264" y="343"/>
                  </a:lnTo>
                  <a:lnTo>
                    <a:pt x="252" y="360"/>
                  </a:lnTo>
                  <a:lnTo>
                    <a:pt x="243" y="379"/>
                  </a:lnTo>
                  <a:lnTo>
                    <a:pt x="241" y="400"/>
                  </a:lnTo>
                  <a:lnTo>
                    <a:pt x="243" y="422"/>
                  </a:lnTo>
                  <a:lnTo>
                    <a:pt x="252" y="441"/>
                  </a:lnTo>
                  <a:lnTo>
                    <a:pt x="264" y="457"/>
                  </a:lnTo>
                  <a:lnTo>
                    <a:pt x="280" y="470"/>
                  </a:lnTo>
                  <a:lnTo>
                    <a:pt x="300" y="478"/>
                  </a:lnTo>
                  <a:lnTo>
                    <a:pt x="321" y="481"/>
                  </a:lnTo>
                  <a:lnTo>
                    <a:pt x="2721" y="481"/>
                  </a:lnTo>
                  <a:lnTo>
                    <a:pt x="2741" y="478"/>
                  </a:lnTo>
                  <a:lnTo>
                    <a:pt x="2761" y="470"/>
                  </a:lnTo>
                  <a:lnTo>
                    <a:pt x="2777" y="457"/>
                  </a:lnTo>
                  <a:lnTo>
                    <a:pt x="2789" y="441"/>
                  </a:lnTo>
                  <a:lnTo>
                    <a:pt x="2798" y="422"/>
                  </a:lnTo>
                  <a:lnTo>
                    <a:pt x="2800" y="400"/>
                  </a:lnTo>
                  <a:lnTo>
                    <a:pt x="2798" y="379"/>
                  </a:lnTo>
                  <a:lnTo>
                    <a:pt x="2789" y="360"/>
                  </a:lnTo>
                  <a:lnTo>
                    <a:pt x="2777" y="343"/>
                  </a:lnTo>
                  <a:lnTo>
                    <a:pt x="2761" y="331"/>
                  </a:lnTo>
                  <a:lnTo>
                    <a:pt x="2741" y="324"/>
                  </a:lnTo>
                  <a:lnTo>
                    <a:pt x="2721" y="321"/>
                  </a:lnTo>
                  <a:lnTo>
                    <a:pt x="321" y="321"/>
                  </a:lnTo>
                  <a:close/>
                  <a:moveTo>
                    <a:pt x="160" y="0"/>
                  </a:moveTo>
                  <a:lnTo>
                    <a:pt x="3361" y="0"/>
                  </a:lnTo>
                  <a:lnTo>
                    <a:pt x="3393" y="3"/>
                  </a:lnTo>
                  <a:lnTo>
                    <a:pt x="3423" y="13"/>
                  </a:lnTo>
                  <a:lnTo>
                    <a:pt x="3451" y="27"/>
                  </a:lnTo>
                  <a:lnTo>
                    <a:pt x="3475" y="47"/>
                  </a:lnTo>
                  <a:lnTo>
                    <a:pt x="3494" y="71"/>
                  </a:lnTo>
                  <a:lnTo>
                    <a:pt x="3508" y="98"/>
                  </a:lnTo>
                  <a:lnTo>
                    <a:pt x="3518" y="128"/>
                  </a:lnTo>
                  <a:lnTo>
                    <a:pt x="3521" y="160"/>
                  </a:lnTo>
                  <a:lnTo>
                    <a:pt x="3521" y="801"/>
                  </a:lnTo>
                  <a:lnTo>
                    <a:pt x="3518" y="833"/>
                  </a:lnTo>
                  <a:lnTo>
                    <a:pt x="3508" y="863"/>
                  </a:lnTo>
                  <a:lnTo>
                    <a:pt x="3494" y="890"/>
                  </a:lnTo>
                  <a:lnTo>
                    <a:pt x="3475" y="914"/>
                  </a:lnTo>
                  <a:lnTo>
                    <a:pt x="3451" y="934"/>
                  </a:lnTo>
                  <a:lnTo>
                    <a:pt x="3423" y="949"/>
                  </a:lnTo>
                  <a:lnTo>
                    <a:pt x="3393" y="958"/>
                  </a:lnTo>
                  <a:lnTo>
                    <a:pt x="3361" y="961"/>
                  </a:lnTo>
                  <a:lnTo>
                    <a:pt x="160" y="961"/>
                  </a:lnTo>
                  <a:lnTo>
                    <a:pt x="129" y="958"/>
                  </a:lnTo>
                  <a:lnTo>
                    <a:pt x="98" y="949"/>
                  </a:lnTo>
                  <a:lnTo>
                    <a:pt x="71" y="934"/>
                  </a:lnTo>
                  <a:lnTo>
                    <a:pt x="47" y="914"/>
                  </a:lnTo>
                  <a:lnTo>
                    <a:pt x="27" y="890"/>
                  </a:lnTo>
                  <a:lnTo>
                    <a:pt x="13" y="863"/>
                  </a:lnTo>
                  <a:lnTo>
                    <a:pt x="3" y="833"/>
                  </a:lnTo>
                  <a:lnTo>
                    <a:pt x="0" y="801"/>
                  </a:lnTo>
                  <a:lnTo>
                    <a:pt x="0" y="160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7"/>
                  </a:lnTo>
                  <a:lnTo>
                    <a:pt x="98" y="13"/>
                  </a:lnTo>
                  <a:lnTo>
                    <a:pt x="129" y="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27" name="Freeform 169"/>
            <p:cNvSpPr>
              <a:spLocks/>
            </p:cNvSpPr>
            <p:nvPr/>
          </p:nvSpPr>
          <p:spPr bwMode="gray">
            <a:xfrm>
              <a:off x="10157" y="3005"/>
              <a:ext cx="224" cy="201"/>
            </a:xfrm>
            <a:custGeom>
              <a:avLst/>
              <a:gdLst>
                <a:gd name="T0" fmla="*/ 0 w 2241"/>
                <a:gd name="T1" fmla="*/ 0 h 2013"/>
                <a:gd name="T2" fmla="*/ 0 w 2241"/>
                <a:gd name="T3" fmla="*/ 0 h 2013"/>
                <a:gd name="T4" fmla="*/ 0 w 2241"/>
                <a:gd name="T5" fmla="*/ 0 h 2013"/>
                <a:gd name="T6" fmla="*/ 0 w 2241"/>
                <a:gd name="T7" fmla="*/ 0 h 2013"/>
                <a:gd name="T8" fmla="*/ 0 w 2241"/>
                <a:gd name="T9" fmla="*/ 0 h 2013"/>
                <a:gd name="T10" fmla="*/ 0 w 2241"/>
                <a:gd name="T11" fmla="*/ 0 h 2013"/>
                <a:gd name="T12" fmla="*/ 0 w 2241"/>
                <a:gd name="T13" fmla="*/ 0 h 2013"/>
                <a:gd name="T14" fmla="*/ 0 w 2241"/>
                <a:gd name="T15" fmla="*/ 0 h 2013"/>
                <a:gd name="T16" fmla="*/ 0 w 2241"/>
                <a:gd name="T17" fmla="*/ 0 h 2013"/>
                <a:gd name="T18" fmla="*/ 0 w 2241"/>
                <a:gd name="T19" fmla="*/ 0 h 2013"/>
                <a:gd name="T20" fmla="*/ 0 w 2241"/>
                <a:gd name="T21" fmla="*/ 0 h 2013"/>
                <a:gd name="T22" fmla="*/ 0 w 2241"/>
                <a:gd name="T23" fmla="*/ 0 h 2013"/>
                <a:gd name="T24" fmla="*/ 0 w 2241"/>
                <a:gd name="T25" fmla="*/ 0 h 2013"/>
                <a:gd name="T26" fmla="*/ 0 w 2241"/>
                <a:gd name="T27" fmla="*/ 0 h 2013"/>
                <a:gd name="T28" fmla="*/ 0 w 2241"/>
                <a:gd name="T29" fmla="*/ 0 h 2013"/>
                <a:gd name="T30" fmla="*/ 0 w 2241"/>
                <a:gd name="T31" fmla="*/ 0 h 2013"/>
                <a:gd name="T32" fmla="*/ 0 w 2241"/>
                <a:gd name="T33" fmla="*/ 0 h 2013"/>
                <a:gd name="T34" fmla="*/ 0 w 2241"/>
                <a:gd name="T35" fmla="*/ 0 h 2013"/>
                <a:gd name="T36" fmla="*/ 0 w 2241"/>
                <a:gd name="T37" fmla="*/ 0 h 2013"/>
                <a:gd name="T38" fmla="*/ 0 w 2241"/>
                <a:gd name="T39" fmla="*/ 0 h 2013"/>
                <a:gd name="T40" fmla="*/ 0 w 2241"/>
                <a:gd name="T41" fmla="*/ 0 h 2013"/>
                <a:gd name="T42" fmla="*/ 0 w 2241"/>
                <a:gd name="T43" fmla="*/ 0 h 2013"/>
                <a:gd name="T44" fmla="*/ 0 w 2241"/>
                <a:gd name="T45" fmla="*/ 0 h 2013"/>
                <a:gd name="T46" fmla="*/ 0 w 2241"/>
                <a:gd name="T47" fmla="*/ 0 h 2013"/>
                <a:gd name="T48" fmla="*/ 0 w 2241"/>
                <a:gd name="T49" fmla="*/ 0 h 2013"/>
                <a:gd name="T50" fmla="*/ 0 w 2241"/>
                <a:gd name="T51" fmla="*/ 0 h 2013"/>
                <a:gd name="T52" fmla="*/ 0 w 2241"/>
                <a:gd name="T53" fmla="*/ 0 h 2013"/>
                <a:gd name="T54" fmla="*/ 0 w 2241"/>
                <a:gd name="T55" fmla="*/ 0 h 2013"/>
                <a:gd name="T56" fmla="*/ 0 w 2241"/>
                <a:gd name="T57" fmla="*/ 0 h 2013"/>
                <a:gd name="T58" fmla="*/ 0 w 2241"/>
                <a:gd name="T59" fmla="*/ 0 h 2013"/>
                <a:gd name="T60" fmla="*/ 0 w 2241"/>
                <a:gd name="T61" fmla="*/ 0 h 2013"/>
                <a:gd name="T62" fmla="*/ 0 w 2241"/>
                <a:gd name="T63" fmla="*/ 0 h 2013"/>
                <a:gd name="T64" fmla="*/ 0 w 2241"/>
                <a:gd name="T65" fmla="*/ 0 h 2013"/>
                <a:gd name="T66" fmla="*/ 0 w 2241"/>
                <a:gd name="T67" fmla="*/ 0 h 2013"/>
                <a:gd name="T68" fmla="*/ 0 w 2241"/>
                <a:gd name="T69" fmla="*/ 0 h 2013"/>
                <a:gd name="T70" fmla="*/ 0 w 2241"/>
                <a:gd name="T71" fmla="*/ 0 h 2013"/>
                <a:gd name="T72" fmla="*/ 0 w 2241"/>
                <a:gd name="T73" fmla="*/ 0 h 2013"/>
                <a:gd name="T74" fmla="*/ 0 w 2241"/>
                <a:gd name="T75" fmla="*/ 0 h 201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41"/>
                <a:gd name="T115" fmla="*/ 0 h 2013"/>
                <a:gd name="T116" fmla="*/ 2241 w 2241"/>
                <a:gd name="T117" fmla="*/ 2013 h 201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41" h="2013">
                  <a:moveTo>
                    <a:pt x="801" y="0"/>
                  </a:moveTo>
                  <a:lnTo>
                    <a:pt x="1440" y="0"/>
                  </a:lnTo>
                  <a:lnTo>
                    <a:pt x="1473" y="3"/>
                  </a:lnTo>
                  <a:lnTo>
                    <a:pt x="1503" y="12"/>
                  </a:lnTo>
                  <a:lnTo>
                    <a:pt x="1530" y="27"/>
                  </a:lnTo>
                  <a:lnTo>
                    <a:pt x="1554" y="47"/>
                  </a:lnTo>
                  <a:lnTo>
                    <a:pt x="1573" y="70"/>
                  </a:lnTo>
                  <a:lnTo>
                    <a:pt x="1588" y="97"/>
                  </a:lnTo>
                  <a:lnTo>
                    <a:pt x="1597" y="128"/>
                  </a:lnTo>
                  <a:lnTo>
                    <a:pt x="1601" y="159"/>
                  </a:lnTo>
                  <a:lnTo>
                    <a:pt x="1601" y="759"/>
                  </a:lnTo>
                  <a:lnTo>
                    <a:pt x="1604" y="776"/>
                  </a:lnTo>
                  <a:lnTo>
                    <a:pt x="1613" y="788"/>
                  </a:lnTo>
                  <a:lnTo>
                    <a:pt x="1625" y="797"/>
                  </a:lnTo>
                  <a:lnTo>
                    <a:pt x="1641" y="800"/>
                  </a:lnTo>
                  <a:lnTo>
                    <a:pt x="2081" y="800"/>
                  </a:lnTo>
                  <a:lnTo>
                    <a:pt x="2113" y="801"/>
                  </a:lnTo>
                  <a:lnTo>
                    <a:pt x="2143" y="806"/>
                  </a:lnTo>
                  <a:lnTo>
                    <a:pt x="2170" y="814"/>
                  </a:lnTo>
                  <a:lnTo>
                    <a:pt x="2194" y="824"/>
                  </a:lnTo>
                  <a:lnTo>
                    <a:pt x="2214" y="835"/>
                  </a:lnTo>
                  <a:lnTo>
                    <a:pt x="2228" y="849"/>
                  </a:lnTo>
                  <a:lnTo>
                    <a:pt x="2238" y="864"/>
                  </a:lnTo>
                  <a:lnTo>
                    <a:pt x="2241" y="879"/>
                  </a:lnTo>
                  <a:lnTo>
                    <a:pt x="2239" y="896"/>
                  </a:lnTo>
                  <a:lnTo>
                    <a:pt x="2233" y="914"/>
                  </a:lnTo>
                  <a:lnTo>
                    <a:pt x="2226" y="935"/>
                  </a:lnTo>
                  <a:lnTo>
                    <a:pt x="2214" y="958"/>
                  </a:lnTo>
                  <a:lnTo>
                    <a:pt x="2201" y="981"/>
                  </a:lnTo>
                  <a:lnTo>
                    <a:pt x="2184" y="1005"/>
                  </a:lnTo>
                  <a:lnTo>
                    <a:pt x="2167" y="1029"/>
                  </a:lnTo>
                  <a:lnTo>
                    <a:pt x="2148" y="1052"/>
                  </a:lnTo>
                  <a:lnTo>
                    <a:pt x="2128" y="1073"/>
                  </a:lnTo>
                  <a:lnTo>
                    <a:pt x="1234" y="1967"/>
                  </a:lnTo>
                  <a:lnTo>
                    <a:pt x="1215" y="1984"/>
                  </a:lnTo>
                  <a:lnTo>
                    <a:pt x="1193" y="1997"/>
                  </a:lnTo>
                  <a:lnTo>
                    <a:pt x="1170" y="2007"/>
                  </a:lnTo>
                  <a:lnTo>
                    <a:pt x="1146" y="2012"/>
                  </a:lnTo>
                  <a:lnTo>
                    <a:pt x="1121" y="2013"/>
                  </a:lnTo>
                  <a:lnTo>
                    <a:pt x="1097" y="2012"/>
                  </a:lnTo>
                  <a:lnTo>
                    <a:pt x="1073" y="2007"/>
                  </a:lnTo>
                  <a:lnTo>
                    <a:pt x="1049" y="1997"/>
                  </a:lnTo>
                  <a:lnTo>
                    <a:pt x="1027" y="1984"/>
                  </a:lnTo>
                  <a:lnTo>
                    <a:pt x="1007" y="1967"/>
                  </a:lnTo>
                  <a:lnTo>
                    <a:pt x="114" y="1073"/>
                  </a:lnTo>
                  <a:lnTo>
                    <a:pt x="94" y="1052"/>
                  </a:lnTo>
                  <a:lnTo>
                    <a:pt x="75" y="1029"/>
                  </a:lnTo>
                  <a:lnTo>
                    <a:pt x="57" y="1005"/>
                  </a:lnTo>
                  <a:lnTo>
                    <a:pt x="41" y="981"/>
                  </a:lnTo>
                  <a:lnTo>
                    <a:pt x="28" y="958"/>
                  </a:lnTo>
                  <a:lnTo>
                    <a:pt x="17" y="935"/>
                  </a:lnTo>
                  <a:lnTo>
                    <a:pt x="8" y="914"/>
                  </a:lnTo>
                  <a:lnTo>
                    <a:pt x="3" y="896"/>
                  </a:lnTo>
                  <a:lnTo>
                    <a:pt x="0" y="879"/>
                  </a:lnTo>
                  <a:lnTo>
                    <a:pt x="4" y="864"/>
                  </a:lnTo>
                  <a:lnTo>
                    <a:pt x="13" y="849"/>
                  </a:lnTo>
                  <a:lnTo>
                    <a:pt x="29" y="835"/>
                  </a:lnTo>
                  <a:lnTo>
                    <a:pt x="47" y="824"/>
                  </a:lnTo>
                  <a:lnTo>
                    <a:pt x="71" y="814"/>
                  </a:lnTo>
                  <a:lnTo>
                    <a:pt x="99" y="806"/>
                  </a:lnTo>
                  <a:lnTo>
                    <a:pt x="129" y="801"/>
                  </a:lnTo>
                  <a:lnTo>
                    <a:pt x="161" y="800"/>
                  </a:lnTo>
                  <a:lnTo>
                    <a:pt x="600" y="800"/>
                  </a:lnTo>
                  <a:lnTo>
                    <a:pt x="617" y="797"/>
                  </a:lnTo>
                  <a:lnTo>
                    <a:pt x="629" y="788"/>
                  </a:lnTo>
                  <a:lnTo>
                    <a:pt x="637" y="776"/>
                  </a:lnTo>
                  <a:lnTo>
                    <a:pt x="641" y="759"/>
                  </a:lnTo>
                  <a:lnTo>
                    <a:pt x="641" y="159"/>
                  </a:lnTo>
                  <a:lnTo>
                    <a:pt x="644" y="128"/>
                  </a:lnTo>
                  <a:lnTo>
                    <a:pt x="654" y="97"/>
                  </a:lnTo>
                  <a:lnTo>
                    <a:pt x="668" y="70"/>
                  </a:lnTo>
                  <a:lnTo>
                    <a:pt x="688" y="47"/>
                  </a:lnTo>
                  <a:lnTo>
                    <a:pt x="712" y="27"/>
                  </a:lnTo>
                  <a:lnTo>
                    <a:pt x="739" y="12"/>
                  </a:lnTo>
                  <a:lnTo>
                    <a:pt x="768" y="3"/>
                  </a:lnTo>
                  <a:lnTo>
                    <a:pt x="801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sp>
          <p:nvSpPr>
            <p:cNvPr id="28" name="Freeform 170"/>
            <p:cNvSpPr>
              <a:spLocks/>
            </p:cNvSpPr>
            <p:nvPr/>
          </p:nvSpPr>
          <p:spPr bwMode="gray">
            <a:xfrm>
              <a:off x="10099" y="3165"/>
              <a:ext cx="340" cy="82"/>
            </a:xfrm>
            <a:custGeom>
              <a:avLst/>
              <a:gdLst>
                <a:gd name="T0" fmla="*/ 0 w 3401"/>
                <a:gd name="T1" fmla="*/ 0 h 818"/>
                <a:gd name="T2" fmla="*/ 0 w 3401"/>
                <a:gd name="T3" fmla="*/ 0 h 818"/>
                <a:gd name="T4" fmla="*/ 0 w 3401"/>
                <a:gd name="T5" fmla="*/ 0 h 818"/>
                <a:gd name="T6" fmla="*/ 0 w 3401"/>
                <a:gd name="T7" fmla="*/ 0 h 818"/>
                <a:gd name="T8" fmla="*/ 0 w 3401"/>
                <a:gd name="T9" fmla="*/ 0 h 818"/>
                <a:gd name="T10" fmla="*/ 0 w 3401"/>
                <a:gd name="T11" fmla="*/ 0 h 818"/>
                <a:gd name="T12" fmla="*/ 0 w 3401"/>
                <a:gd name="T13" fmla="*/ 0 h 818"/>
                <a:gd name="T14" fmla="*/ 0 w 3401"/>
                <a:gd name="T15" fmla="*/ 0 h 818"/>
                <a:gd name="T16" fmla="*/ 0 w 3401"/>
                <a:gd name="T17" fmla="*/ 0 h 818"/>
                <a:gd name="T18" fmla="*/ 0 w 3401"/>
                <a:gd name="T19" fmla="*/ 0 h 818"/>
                <a:gd name="T20" fmla="*/ 0 w 3401"/>
                <a:gd name="T21" fmla="*/ 0 h 818"/>
                <a:gd name="T22" fmla="*/ 0 w 3401"/>
                <a:gd name="T23" fmla="*/ 0 h 818"/>
                <a:gd name="T24" fmla="*/ 0 w 3401"/>
                <a:gd name="T25" fmla="*/ 0 h 818"/>
                <a:gd name="T26" fmla="*/ 0 w 3401"/>
                <a:gd name="T27" fmla="*/ 0 h 818"/>
                <a:gd name="T28" fmla="*/ 0 w 3401"/>
                <a:gd name="T29" fmla="*/ 0 h 818"/>
                <a:gd name="T30" fmla="*/ 0 w 3401"/>
                <a:gd name="T31" fmla="*/ 0 h 818"/>
                <a:gd name="T32" fmla="*/ 0 w 3401"/>
                <a:gd name="T33" fmla="*/ 0 h 818"/>
                <a:gd name="T34" fmla="*/ 0 w 3401"/>
                <a:gd name="T35" fmla="*/ 0 h 818"/>
                <a:gd name="T36" fmla="*/ 0 w 3401"/>
                <a:gd name="T37" fmla="*/ 0 h 818"/>
                <a:gd name="T38" fmla="*/ 0 w 3401"/>
                <a:gd name="T39" fmla="*/ 0 h 818"/>
                <a:gd name="T40" fmla="*/ 0 w 3401"/>
                <a:gd name="T41" fmla="*/ 0 h 818"/>
                <a:gd name="T42" fmla="*/ 0 w 3401"/>
                <a:gd name="T43" fmla="*/ 0 h 818"/>
                <a:gd name="T44" fmla="*/ 0 w 3401"/>
                <a:gd name="T45" fmla="*/ 0 h 818"/>
                <a:gd name="T46" fmla="*/ 0 w 3401"/>
                <a:gd name="T47" fmla="*/ 0 h 818"/>
                <a:gd name="T48" fmla="*/ 0 w 3401"/>
                <a:gd name="T49" fmla="*/ 0 h 818"/>
                <a:gd name="T50" fmla="*/ 0 w 3401"/>
                <a:gd name="T51" fmla="*/ 0 h 818"/>
                <a:gd name="T52" fmla="*/ 0 w 3401"/>
                <a:gd name="T53" fmla="*/ 0 h 818"/>
                <a:gd name="T54" fmla="*/ 0 w 3401"/>
                <a:gd name="T55" fmla="*/ 0 h 818"/>
                <a:gd name="T56" fmla="*/ 0 w 3401"/>
                <a:gd name="T57" fmla="*/ 0 h 818"/>
                <a:gd name="T58" fmla="*/ 0 w 3401"/>
                <a:gd name="T59" fmla="*/ 0 h 818"/>
                <a:gd name="T60" fmla="*/ 0 w 3401"/>
                <a:gd name="T61" fmla="*/ 0 h 818"/>
                <a:gd name="T62" fmla="*/ 0 w 3401"/>
                <a:gd name="T63" fmla="*/ 0 h 818"/>
                <a:gd name="T64" fmla="*/ 0 w 3401"/>
                <a:gd name="T65" fmla="*/ 0 h 818"/>
                <a:gd name="T66" fmla="*/ 0 w 3401"/>
                <a:gd name="T67" fmla="*/ 0 h 818"/>
                <a:gd name="T68" fmla="*/ 0 w 3401"/>
                <a:gd name="T69" fmla="*/ 0 h 818"/>
                <a:gd name="T70" fmla="*/ 0 w 3401"/>
                <a:gd name="T71" fmla="*/ 0 h 818"/>
                <a:gd name="T72" fmla="*/ 0 w 3401"/>
                <a:gd name="T73" fmla="*/ 0 h 818"/>
                <a:gd name="T74" fmla="*/ 0 w 3401"/>
                <a:gd name="T75" fmla="*/ 0 h 818"/>
                <a:gd name="T76" fmla="*/ 0 w 3401"/>
                <a:gd name="T77" fmla="*/ 0 h 818"/>
                <a:gd name="T78" fmla="*/ 0 w 3401"/>
                <a:gd name="T79" fmla="*/ 0 h 818"/>
                <a:gd name="T80" fmla="*/ 0 w 3401"/>
                <a:gd name="T81" fmla="*/ 0 h 818"/>
                <a:gd name="T82" fmla="*/ 0 w 3401"/>
                <a:gd name="T83" fmla="*/ 0 h 818"/>
                <a:gd name="T84" fmla="*/ 0 w 3401"/>
                <a:gd name="T85" fmla="*/ 0 h 818"/>
                <a:gd name="T86" fmla="*/ 0 w 3401"/>
                <a:gd name="T87" fmla="*/ 0 h 818"/>
                <a:gd name="T88" fmla="*/ 0 w 3401"/>
                <a:gd name="T89" fmla="*/ 0 h 818"/>
                <a:gd name="T90" fmla="*/ 0 w 3401"/>
                <a:gd name="T91" fmla="*/ 0 h 818"/>
                <a:gd name="T92" fmla="*/ 0 w 3401"/>
                <a:gd name="T93" fmla="*/ 0 h 818"/>
                <a:gd name="T94" fmla="*/ 0 w 3401"/>
                <a:gd name="T95" fmla="*/ 0 h 818"/>
                <a:gd name="T96" fmla="*/ 0 w 3401"/>
                <a:gd name="T97" fmla="*/ 0 h 818"/>
                <a:gd name="T98" fmla="*/ 0 w 3401"/>
                <a:gd name="T99" fmla="*/ 0 h 818"/>
                <a:gd name="T100" fmla="*/ 0 w 3401"/>
                <a:gd name="T101" fmla="*/ 0 h 818"/>
                <a:gd name="T102" fmla="*/ 0 w 3401"/>
                <a:gd name="T103" fmla="*/ 0 h 818"/>
                <a:gd name="T104" fmla="*/ 0 w 3401"/>
                <a:gd name="T105" fmla="*/ 0 h 818"/>
                <a:gd name="T106" fmla="*/ 0 w 3401"/>
                <a:gd name="T107" fmla="*/ 0 h 81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01"/>
                <a:gd name="T163" fmla="*/ 0 h 818"/>
                <a:gd name="T164" fmla="*/ 3401 w 3401"/>
                <a:gd name="T165" fmla="*/ 818 h 81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01" h="818">
                  <a:moveTo>
                    <a:pt x="741" y="0"/>
                  </a:moveTo>
                  <a:lnTo>
                    <a:pt x="996" y="0"/>
                  </a:lnTo>
                  <a:lnTo>
                    <a:pt x="1476" y="480"/>
                  </a:lnTo>
                  <a:lnTo>
                    <a:pt x="1508" y="508"/>
                  </a:lnTo>
                  <a:lnTo>
                    <a:pt x="1543" y="531"/>
                  </a:lnTo>
                  <a:lnTo>
                    <a:pt x="1580" y="549"/>
                  </a:lnTo>
                  <a:lnTo>
                    <a:pt x="1619" y="563"/>
                  </a:lnTo>
                  <a:lnTo>
                    <a:pt x="1659" y="570"/>
                  </a:lnTo>
                  <a:lnTo>
                    <a:pt x="1702" y="573"/>
                  </a:lnTo>
                  <a:lnTo>
                    <a:pt x="1743" y="570"/>
                  </a:lnTo>
                  <a:lnTo>
                    <a:pt x="1785" y="563"/>
                  </a:lnTo>
                  <a:lnTo>
                    <a:pt x="1824" y="549"/>
                  </a:lnTo>
                  <a:lnTo>
                    <a:pt x="1861" y="531"/>
                  </a:lnTo>
                  <a:lnTo>
                    <a:pt x="1896" y="508"/>
                  </a:lnTo>
                  <a:lnTo>
                    <a:pt x="1928" y="480"/>
                  </a:lnTo>
                  <a:lnTo>
                    <a:pt x="2408" y="0"/>
                  </a:lnTo>
                  <a:lnTo>
                    <a:pt x="2661" y="0"/>
                  </a:lnTo>
                  <a:lnTo>
                    <a:pt x="2699" y="2"/>
                  </a:lnTo>
                  <a:lnTo>
                    <a:pt x="2739" y="10"/>
                  </a:lnTo>
                  <a:lnTo>
                    <a:pt x="2781" y="22"/>
                  </a:lnTo>
                  <a:lnTo>
                    <a:pt x="2823" y="39"/>
                  </a:lnTo>
                  <a:lnTo>
                    <a:pt x="2864" y="58"/>
                  </a:lnTo>
                  <a:lnTo>
                    <a:pt x="2903" y="81"/>
                  </a:lnTo>
                  <a:lnTo>
                    <a:pt x="2940" y="108"/>
                  </a:lnTo>
                  <a:lnTo>
                    <a:pt x="2974" y="135"/>
                  </a:lnTo>
                  <a:lnTo>
                    <a:pt x="3002" y="164"/>
                  </a:lnTo>
                  <a:lnTo>
                    <a:pt x="3026" y="195"/>
                  </a:lnTo>
                  <a:lnTo>
                    <a:pt x="3311" y="623"/>
                  </a:lnTo>
                  <a:lnTo>
                    <a:pt x="3336" y="664"/>
                  </a:lnTo>
                  <a:lnTo>
                    <a:pt x="3359" y="711"/>
                  </a:lnTo>
                  <a:lnTo>
                    <a:pt x="3382" y="763"/>
                  </a:lnTo>
                  <a:lnTo>
                    <a:pt x="3401" y="818"/>
                  </a:lnTo>
                  <a:lnTo>
                    <a:pt x="3369" y="809"/>
                  </a:lnTo>
                  <a:lnTo>
                    <a:pt x="3336" y="803"/>
                  </a:lnTo>
                  <a:lnTo>
                    <a:pt x="3301" y="800"/>
                  </a:lnTo>
                  <a:lnTo>
                    <a:pt x="100" y="800"/>
                  </a:lnTo>
                  <a:lnTo>
                    <a:pt x="65" y="803"/>
                  </a:lnTo>
                  <a:lnTo>
                    <a:pt x="33" y="809"/>
                  </a:lnTo>
                  <a:lnTo>
                    <a:pt x="0" y="818"/>
                  </a:lnTo>
                  <a:lnTo>
                    <a:pt x="21" y="763"/>
                  </a:lnTo>
                  <a:lnTo>
                    <a:pt x="43" y="711"/>
                  </a:lnTo>
                  <a:lnTo>
                    <a:pt x="65" y="664"/>
                  </a:lnTo>
                  <a:lnTo>
                    <a:pt x="91" y="623"/>
                  </a:lnTo>
                  <a:lnTo>
                    <a:pt x="375" y="195"/>
                  </a:lnTo>
                  <a:lnTo>
                    <a:pt x="399" y="164"/>
                  </a:lnTo>
                  <a:lnTo>
                    <a:pt x="428" y="135"/>
                  </a:lnTo>
                  <a:lnTo>
                    <a:pt x="461" y="108"/>
                  </a:lnTo>
                  <a:lnTo>
                    <a:pt x="499" y="81"/>
                  </a:lnTo>
                  <a:lnTo>
                    <a:pt x="538" y="58"/>
                  </a:lnTo>
                  <a:lnTo>
                    <a:pt x="579" y="39"/>
                  </a:lnTo>
                  <a:lnTo>
                    <a:pt x="621" y="22"/>
                  </a:lnTo>
                  <a:lnTo>
                    <a:pt x="662" y="10"/>
                  </a:lnTo>
                  <a:lnTo>
                    <a:pt x="703" y="2"/>
                  </a:lnTo>
                  <a:lnTo>
                    <a:pt x="741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</p:grpSp>
      <p:grpSp>
        <p:nvGrpSpPr>
          <p:cNvPr id="29" name="Group 173"/>
          <p:cNvGrpSpPr>
            <a:grpSpLocks/>
          </p:cNvGrpSpPr>
          <p:nvPr/>
        </p:nvGrpSpPr>
        <p:grpSpPr bwMode="auto">
          <a:xfrm>
            <a:off x="6249144" y="3868548"/>
            <a:ext cx="868388" cy="920940"/>
            <a:chOff x="3734" y="1502"/>
            <a:chExt cx="670" cy="712"/>
          </a:xfrm>
        </p:grpSpPr>
        <p:sp>
          <p:nvSpPr>
            <p:cNvPr id="30" name="Oval 53"/>
            <p:cNvSpPr>
              <a:spLocks noChangeArrowheads="1"/>
            </p:cNvSpPr>
            <p:nvPr/>
          </p:nvSpPr>
          <p:spPr bwMode="gray">
            <a:xfrm>
              <a:off x="3851" y="2080"/>
              <a:ext cx="437" cy="134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en-US" altLang="ko-KR" sz="9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1" name="Oval 175"/>
            <p:cNvSpPr>
              <a:spLocks noChangeArrowheads="1"/>
            </p:cNvSpPr>
            <p:nvPr/>
          </p:nvSpPr>
          <p:spPr bwMode="gray">
            <a:xfrm>
              <a:off x="3734" y="1502"/>
              <a:ext cx="670" cy="670"/>
            </a:xfrm>
            <a:prstGeom prst="ellipse">
              <a:avLst/>
            </a:pr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en-US" altLang="ko-KR" sz="9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32" name="Group 176"/>
            <p:cNvGrpSpPr>
              <a:grpSpLocks/>
            </p:cNvGrpSpPr>
            <p:nvPr/>
          </p:nvGrpSpPr>
          <p:grpSpPr bwMode="auto">
            <a:xfrm>
              <a:off x="3758" y="1636"/>
              <a:ext cx="621" cy="510"/>
              <a:chOff x="3758" y="1636"/>
              <a:chExt cx="621" cy="510"/>
            </a:xfrm>
          </p:grpSpPr>
          <p:pic>
            <p:nvPicPr>
              <p:cNvPr id="33" name="Picture 177" descr="구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2646"/>
              <a:stretch>
                <a:fillRect/>
              </a:stretch>
            </p:blipFill>
            <p:spPr bwMode="auto">
              <a:xfrm>
                <a:off x="3758" y="1977"/>
                <a:ext cx="621" cy="169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12700" dir="16200000" algn="ctr" rotWithShape="0">
                  <a:srgbClr val="0096F2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4" name="AutoShape 110"/>
              <p:cNvSpPr>
                <a:spLocks noChangeArrowheads="1"/>
              </p:cNvSpPr>
              <p:nvPr/>
            </p:nvSpPr>
            <p:spPr bwMode="gray">
              <a:xfrm rot="10800000" flipH="1" flipV="1">
                <a:off x="3873" y="1636"/>
                <a:ext cx="396" cy="2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r>
                  <a:rPr lang="ko-KR" altLang="en-US" sz="110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rPr>
                  <a:t>프로세스</a:t>
                </a:r>
                <a:endParaRPr lang="en-US" altLang="ko-KR" sz="11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  <a:p>
                <a:pPr algn="ctr" eaLnBrk="1" hangingPunct="1"/>
                <a:r>
                  <a:rPr lang="ko-KR" altLang="en-US" sz="110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rPr>
                  <a:t>적정</a:t>
                </a:r>
                <a:r>
                  <a:rPr lang="ko-KR" altLang="en-US" sz="1100" dirty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rPr>
                  <a:t>성</a:t>
                </a:r>
              </a:p>
            </p:txBody>
          </p:sp>
        </p:grpSp>
      </p:grpSp>
      <p:grpSp>
        <p:nvGrpSpPr>
          <p:cNvPr id="35" name="Group 179"/>
          <p:cNvGrpSpPr>
            <a:grpSpLocks/>
          </p:cNvGrpSpPr>
          <p:nvPr/>
        </p:nvGrpSpPr>
        <p:grpSpPr bwMode="auto">
          <a:xfrm>
            <a:off x="6844610" y="3617913"/>
            <a:ext cx="309409" cy="308923"/>
            <a:chOff x="10093" y="3005"/>
            <a:chExt cx="352" cy="352"/>
          </a:xfrm>
        </p:grpSpPr>
        <p:sp>
          <p:nvSpPr>
            <p:cNvPr id="36" name="Freeform 180"/>
            <p:cNvSpPr>
              <a:spLocks noEditPoints="1"/>
            </p:cNvSpPr>
            <p:nvPr/>
          </p:nvSpPr>
          <p:spPr bwMode="gray">
            <a:xfrm>
              <a:off x="10093" y="3261"/>
              <a:ext cx="352" cy="96"/>
            </a:xfrm>
            <a:custGeom>
              <a:avLst/>
              <a:gdLst>
                <a:gd name="T0" fmla="*/ 0 w 3521"/>
                <a:gd name="T1" fmla="*/ 0 h 961"/>
                <a:gd name="T2" fmla="*/ 0 w 3521"/>
                <a:gd name="T3" fmla="*/ 0 h 961"/>
                <a:gd name="T4" fmla="*/ 0 w 3521"/>
                <a:gd name="T5" fmla="*/ 0 h 961"/>
                <a:gd name="T6" fmla="*/ 0 w 3521"/>
                <a:gd name="T7" fmla="*/ 0 h 961"/>
                <a:gd name="T8" fmla="*/ 0 w 3521"/>
                <a:gd name="T9" fmla="*/ 0 h 961"/>
                <a:gd name="T10" fmla="*/ 0 w 3521"/>
                <a:gd name="T11" fmla="*/ 0 h 961"/>
                <a:gd name="T12" fmla="*/ 0 w 3521"/>
                <a:gd name="T13" fmla="*/ 0 h 961"/>
                <a:gd name="T14" fmla="*/ 0 w 3521"/>
                <a:gd name="T15" fmla="*/ 0 h 961"/>
                <a:gd name="T16" fmla="*/ 0 w 3521"/>
                <a:gd name="T17" fmla="*/ 0 h 961"/>
                <a:gd name="T18" fmla="*/ 0 w 3521"/>
                <a:gd name="T19" fmla="*/ 0 h 961"/>
                <a:gd name="T20" fmla="*/ 0 w 3521"/>
                <a:gd name="T21" fmla="*/ 0 h 961"/>
                <a:gd name="T22" fmla="*/ 0 w 3521"/>
                <a:gd name="T23" fmla="*/ 0 h 961"/>
                <a:gd name="T24" fmla="*/ 0 w 3521"/>
                <a:gd name="T25" fmla="*/ 0 h 961"/>
                <a:gd name="T26" fmla="*/ 0 w 3521"/>
                <a:gd name="T27" fmla="*/ 0 h 961"/>
                <a:gd name="T28" fmla="*/ 0 w 3521"/>
                <a:gd name="T29" fmla="*/ 0 h 961"/>
                <a:gd name="T30" fmla="*/ 0 w 3521"/>
                <a:gd name="T31" fmla="*/ 0 h 961"/>
                <a:gd name="T32" fmla="*/ 0 w 3521"/>
                <a:gd name="T33" fmla="*/ 0 h 961"/>
                <a:gd name="T34" fmla="*/ 0 w 3521"/>
                <a:gd name="T35" fmla="*/ 0 h 961"/>
                <a:gd name="T36" fmla="*/ 0 w 3521"/>
                <a:gd name="T37" fmla="*/ 0 h 961"/>
                <a:gd name="T38" fmla="*/ 0 w 3521"/>
                <a:gd name="T39" fmla="*/ 0 h 961"/>
                <a:gd name="T40" fmla="*/ 0 w 3521"/>
                <a:gd name="T41" fmla="*/ 0 h 961"/>
                <a:gd name="T42" fmla="*/ 0 w 3521"/>
                <a:gd name="T43" fmla="*/ 0 h 961"/>
                <a:gd name="T44" fmla="*/ 0 w 3521"/>
                <a:gd name="T45" fmla="*/ 0 h 961"/>
                <a:gd name="T46" fmla="*/ 0 w 3521"/>
                <a:gd name="T47" fmla="*/ 0 h 961"/>
                <a:gd name="T48" fmla="*/ 0 w 3521"/>
                <a:gd name="T49" fmla="*/ 0 h 961"/>
                <a:gd name="T50" fmla="*/ 0 w 3521"/>
                <a:gd name="T51" fmla="*/ 0 h 961"/>
                <a:gd name="T52" fmla="*/ 0 w 3521"/>
                <a:gd name="T53" fmla="*/ 0 h 961"/>
                <a:gd name="T54" fmla="*/ 0 w 3521"/>
                <a:gd name="T55" fmla="*/ 0 h 961"/>
                <a:gd name="T56" fmla="*/ 0 w 3521"/>
                <a:gd name="T57" fmla="*/ 0 h 961"/>
                <a:gd name="T58" fmla="*/ 0 w 3521"/>
                <a:gd name="T59" fmla="*/ 0 h 961"/>
                <a:gd name="T60" fmla="*/ 0 w 3521"/>
                <a:gd name="T61" fmla="*/ 0 h 961"/>
                <a:gd name="T62" fmla="*/ 0 w 3521"/>
                <a:gd name="T63" fmla="*/ 0 h 961"/>
                <a:gd name="T64" fmla="*/ 0 w 3521"/>
                <a:gd name="T65" fmla="*/ 0 h 961"/>
                <a:gd name="T66" fmla="*/ 0 w 3521"/>
                <a:gd name="T67" fmla="*/ 0 h 961"/>
                <a:gd name="T68" fmla="*/ 0 w 3521"/>
                <a:gd name="T69" fmla="*/ 0 h 961"/>
                <a:gd name="T70" fmla="*/ 0 w 3521"/>
                <a:gd name="T71" fmla="*/ 0 h 961"/>
                <a:gd name="T72" fmla="*/ 0 w 3521"/>
                <a:gd name="T73" fmla="*/ 0 h 961"/>
                <a:gd name="T74" fmla="*/ 0 w 3521"/>
                <a:gd name="T75" fmla="*/ 0 h 961"/>
                <a:gd name="T76" fmla="*/ 0 w 3521"/>
                <a:gd name="T77" fmla="*/ 0 h 961"/>
                <a:gd name="T78" fmla="*/ 0 w 3521"/>
                <a:gd name="T79" fmla="*/ 0 h 961"/>
                <a:gd name="T80" fmla="*/ 0 w 3521"/>
                <a:gd name="T81" fmla="*/ 0 h 961"/>
                <a:gd name="T82" fmla="*/ 0 w 3521"/>
                <a:gd name="T83" fmla="*/ 0 h 961"/>
                <a:gd name="T84" fmla="*/ 0 w 3521"/>
                <a:gd name="T85" fmla="*/ 0 h 961"/>
                <a:gd name="T86" fmla="*/ 0 w 3521"/>
                <a:gd name="T87" fmla="*/ 0 h 961"/>
                <a:gd name="T88" fmla="*/ 0 w 3521"/>
                <a:gd name="T89" fmla="*/ 0 h 96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521"/>
                <a:gd name="T136" fmla="*/ 0 h 961"/>
                <a:gd name="T137" fmla="*/ 3521 w 3521"/>
                <a:gd name="T138" fmla="*/ 961 h 96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521" h="961">
                  <a:moveTo>
                    <a:pt x="3040" y="321"/>
                  </a:moveTo>
                  <a:lnTo>
                    <a:pt x="3020" y="324"/>
                  </a:lnTo>
                  <a:lnTo>
                    <a:pt x="3000" y="331"/>
                  </a:lnTo>
                  <a:lnTo>
                    <a:pt x="2985" y="343"/>
                  </a:lnTo>
                  <a:lnTo>
                    <a:pt x="2972" y="360"/>
                  </a:lnTo>
                  <a:lnTo>
                    <a:pt x="2964" y="379"/>
                  </a:lnTo>
                  <a:lnTo>
                    <a:pt x="2961" y="400"/>
                  </a:lnTo>
                  <a:lnTo>
                    <a:pt x="2964" y="422"/>
                  </a:lnTo>
                  <a:lnTo>
                    <a:pt x="2972" y="441"/>
                  </a:lnTo>
                  <a:lnTo>
                    <a:pt x="2985" y="457"/>
                  </a:lnTo>
                  <a:lnTo>
                    <a:pt x="3000" y="470"/>
                  </a:lnTo>
                  <a:lnTo>
                    <a:pt x="3020" y="478"/>
                  </a:lnTo>
                  <a:lnTo>
                    <a:pt x="3040" y="481"/>
                  </a:lnTo>
                  <a:lnTo>
                    <a:pt x="3201" y="481"/>
                  </a:lnTo>
                  <a:lnTo>
                    <a:pt x="3221" y="478"/>
                  </a:lnTo>
                  <a:lnTo>
                    <a:pt x="3241" y="470"/>
                  </a:lnTo>
                  <a:lnTo>
                    <a:pt x="3257" y="457"/>
                  </a:lnTo>
                  <a:lnTo>
                    <a:pt x="3269" y="441"/>
                  </a:lnTo>
                  <a:lnTo>
                    <a:pt x="3278" y="422"/>
                  </a:lnTo>
                  <a:lnTo>
                    <a:pt x="3280" y="400"/>
                  </a:lnTo>
                  <a:lnTo>
                    <a:pt x="3278" y="379"/>
                  </a:lnTo>
                  <a:lnTo>
                    <a:pt x="3269" y="360"/>
                  </a:lnTo>
                  <a:lnTo>
                    <a:pt x="3257" y="343"/>
                  </a:lnTo>
                  <a:lnTo>
                    <a:pt x="3241" y="331"/>
                  </a:lnTo>
                  <a:lnTo>
                    <a:pt x="3221" y="324"/>
                  </a:lnTo>
                  <a:lnTo>
                    <a:pt x="3201" y="321"/>
                  </a:lnTo>
                  <a:lnTo>
                    <a:pt x="3040" y="321"/>
                  </a:lnTo>
                  <a:close/>
                  <a:moveTo>
                    <a:pt x="321" y="321"/>
                  </a:moveTo>
                  <a:lnTo>
                    <a:pt x="300" y="324"/>
                  </a:lnTo>
                  <a:lnTo>
                    <a:pt x="280" y="331"/>
                  </a:lnTo>
                  <a:lnTo>
                    <a:pt x="264" y="343"/>
                  </a:lnTo>
                  <a:lnTo>
                    <a:pt x="252" y="360"/>
                  </a:lnTo>
                  <a:lnTo>
                    <a:pt x="243" y="379"/>
                  </a:lnTo>
                  <a:lnTo>
                    <a:pt x="241" y="400"/>
                  </a:lnTo>
                  <a:lnTo>
                    <a:pt x="243" y="422"/>
                  </a:lnTo>
                  <a:lnTo>
                    <a:pt x="252" y="441"/>
                  </a:lnTo>
                  <a:lnTo>
                    <a:pt x="264" y="457"/>
                  </a:lnTo>
                  <a:lnTo>
                    <a:pt x="280" y="470"/>
                  </a:lnTo>
                  <a:lnTo>
                    <a:pt x="300" y="478"/>
                  </a:lnTo>
                  <a:lnTo>
                    <a:pt x="321" y="481"/>
                  </a:lnTo>
                  <a:lnTo>
                    <a:pt x="2721" y="481"/>
                  </a:lnTo>
                  <a:lnTo>
                    <a:pt x="2741" y="478"/>
                  </a:lnTo>
                  <a:lnTo>
                    <a:pt x="2761" y="470"/>
                  </a:lnTo>
                  <a:lnTo>
                    <a:pt x="2777" y="457"/>
                  </a:lnTo>
                  <a:lnTo>
                    <a:pt x="2789" y="441"/>
                  </a:lnTo>
                  <a:lnTo>
                    <a:pt x="2798" y="422"/>
                  </a:lnTo>
                  <a:lnTo>
                    <a:pt x="2800" y="400"/>
                  </a:lnTo>
                  <a:lnTo>
                    <a:pt x="2798" y="379"/>
                  </a:lnTo>
                  <a:lnTo>
                    <a:pt x="2789" y="360"/>
                  </a:lnTo>
                  <a:lnTo>
                    <a:pt x="2777" y="343"/>
                  </a:lnTo>
                  <a:lnTo>
                    <a:pt x="2761" y="331"/>
                  </a:lnTo>
                  <a:lnTo>
                    <a:pt x="2741" y="324"/>
                  </a:lnTo>
                  <a:lnTo>
                    <a:pt x="2721" y="321"/>
                  </a:lnTo>
                  <a:lnTo>
                    <a:pt x="321" y="321"/>
                  </a:lnTo>
                  <a:close/>
                  <a:moveTo>
                    <a:pt x="160" y="0"/>
                  </a:moveTo>
                  <a:lnTo>
                    <a:pt x="3361" y="0"/>
                  </a:lnTo>
                  <a:lnTo>
                    <a:pt x="3393" y="3"/>
                  </a:lnTo>
                  <a:lnTo>
                    <a:pt x="3423" y="13"/>
                  </a:lnTo>
                  <a:lnTo>
                    <a:pt x="3451" y="27"/>
                  </a:lnTo>
                  <a:lnTo>
                    <a:pt x="3475" y="47"/>
                  </a:lnTo>
                  <a:lnTo>
                    <a:pt x="3494" y="71"/>
                  </a:lnTo>
                  <a:lnTo>
                    <a:pt x="3508" y="98"/>
                  </a:lnTo>
                  <a:lnTo>
                    <a:pt x="3518" y="128"/>
                  </a:lnTo>
                  <a:lnTo>
                    <a:pt x="3521" y="160"/>
                  </a:lnTo>
                  <a:lnTo>
                    <a:pt x="3521" y="801"/>
                  </a:lnTo>
                  <a:lnTo>
                    <a:pt x="3518" y="833"/>
                  </a:lnTo>
                  <a:lnTo>
                    <a:pt x="3508" y="863"/>
                  </a:lnTo>
                  <a:lnTo>
                    <a:pt x="3494" y="890"/>
                  </a:lnTo>
                  <a:lnTo>
                    <a:pt x="3475" y="914"/>
                  </a:lnTo>
                  <a:lnTo>
                    <a:pt x="3451" y="934"/>
                  </a:lnTo>
                  <a:lnTo>
                    <a:pt x="3423" y="949"/>
                  </a:lnTo>
                  <a:lnTo>
                    <a:pt x="3393" y="958"/>
                  </a:lnTo>
                  <a:lnTo>
                    <a:pt x="3361" y="961"/>
                  </a:lnTo>
                  <a:lnTo>
                    <a:pt x="160" y="961"/>
                  </a:lnTo>
                  <a:lnTo>
                    <a:pt x="129" y="958"/>
                  </a:lnTo>
                  <a:lnTo>
                    <a:pt x="98" y="949"/>
                  </a:lnTo>
                  <a:lnTo>
                    <a:pt x="71" y="934"/>
                  </a:lnTo>
                  <a:lnTo>
                    <a:pt x="47" y="914"/>
                  </a:lnTo>
                  <a:lnTo>
                    <a:pt x="27" y="890"/>
                  </a:lnTo>
                  <a:lnTo>
                    <a:pt x="13" y="863"/>
                  </a:lnTo>
                  <a:lnTo>
                    <a:pt x="3" y="833"/>
                  </a:lnTo>
                  <a:lnTo>
                    <a:pt x="0" y="801"/>
                  </a:lnTo>
                  <a:lnTo>
                    <a:pt x="0" y="160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7"/>
                  </a:lnTo>
                  <a:lnTo>
                    <a:pt x="98" y="13"/>
                  </a:lnTo>
                  <a:lnTo>
                    <a:pt x="129" y="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7" name="Freeform 181"/>
            <p:cNvSpPr>
              <a:spLocks/>
            </p:cNvSpPr>
            <p:nvPr/>
          </p:nvSpPr>
          <p:spPr bwMode="gray">
            <a:xfrm>
              <a:off x="10157" y="3005"/>
              <a:ext cx="224" cy="201"/>
            </a:xfrm>
            <a:custGeom>
              <a:avLst/>
              <a:gdLst>
                <a:gd name="T0" fmla="*/ 0 w 2241"/>
                <a:gd name="T1" fmla="*/ 0 h 2013"/>
                <a:gd name="T2" fmla="*/ 0 w 2241"/>
                <a:gd name="T3" fmla="*/ 0 h 2013"/>
                <a:gd name="T4" fmla="*/ 0 w 2241"/>
                <a:gd name="T5" fmla="*/ 0 h 2013"/>
                <a:gd name="T6" fmla="*/ 0 w 2241"/>
                <a:gd name="T7" fmla="*/ 0 h 2013"/>
                <a:gd name="T8" fmla="*/ 0 w 2241"/>
                <a:gd name="T9" fmla="*/ 0 h 2013"/>
                <a:gd name="T10" fmla="*/ 0 w 2241"/>
                <a:gd name="T11" fmla="*/ 0 h 2013"/>
                <a:gd name="T12" fmla="*/ 0 w 2241"/>
                <a:gd name="T13" fmla="*/ 0 h 2013"/>
                <a:gd name="T14" fmla="*/ 0 w 2241"/>
                <a:gd name="T15" fmla="*/ 0 h 2013"/>
                <a:gd name="T16" fmla="*/ 0 w 2241"/>
                <a:gd name="T17" fmla="*/ 0 h 2013"/>
                <a:gd name="T18" fmla="*/ 0 w 2241"/>
                <a:gd name="T19" fmla="*/ 0 h 2013"/>
                <a:gd name="T20" fmla="*/ 0 w 2241"/>
                <a:gd name="T21" fmla="*/ 0 h 2013"/>
                <a:gd name="T22" fmla="*/ 0 w 2241"/>
                <a:gd name="T23" fmla="*/ 0 h 2013"/>
                <a:gd name="T24" fmla="*/ 0 w 2241"/>
                <a:gd name="T25" fmla="*/ 0 h 2013"/>
                <a:gd name="T26" fmla="*/ 0 w 2241"/>
                <a:gd name="T27" fmla="*/ 0 h 2013"/>
                <a:gd name="T28" fmla="*/ 0 w 2241"/>
                <a:gd name="T29" fmla="*/ 0 h 2013"/>
                <a:gd name="T30" fmla="*/ 0 w 2241"/>
                <a:gd name="T31" fmla="*/ 0 h 2013"/>
                <a:gd name="T32" fmla="*/ 0 w 2241"/>
                <a:gd name="T33" fmla="*/ 0 h 2013"/>
                <a:gd name="T34" fmla="*/ 0 w 2241"/>
                <a:gd name="T35" fmla="*/ 0 h 2013"/>
                <a:gd name="T36" fmla="*/ 0 w 2241"/>
                <a:gd name="T37" fmla="*/ 0 h 2013"/>
                <a:gd name="T38" fmla="*/ 0 w 2241"/>
                <a:gd name="T39" fmla="*/ 0 h 2013"/>
                <a:gd name="T40" fmla="*/ 0 w 2241"/>
                <a:gd name="T41" fmla="*/ 0 h 2013"/>
                <a:gd name="T42" fmla="*/ 0 w 2241"/>
                <a:gd name="T43" fmla="*/ 0 h 2013"/>
                <a:gd name="T44" fmla="*/ 0 w 2241"/>
                <a:gd name="T45" fmla="*/ 0 h 2013"/>
                <a:gd name="T46" fmla="*/ 0 w 2241"/>
                <a:gd name="T47" fmla="*/ 0 h 2013"/>
                <a:gd name="T48" fmla="*/ 0 w 2241"/>
                <a:gd name="T49" fmla="*/ 0 h 2013"/>
                <a:gd name="T50" fmla="*/ 0 w 2241"/>
                <a:gd name="T51" fmla="*/ 0 h 2013"/>
                <a:gd name="T52" fmla="*/ 0 w 2241"/>
                <a:gd name="T53" fmla="*/ 0 h 2013"/>
                <a:gd name="T54" fmla="*/ 0 w 2241"/>
                <a:gd name="T55" fmla="*/ 0 h 2013"/>
                <a:gd name="T56" fmla="*/ 0 w 2241"/>
                <a:gd name="T57" fmla="*/ 0 h 2013"/>
                <a:gd name="T58" fmla="*/ 0 w 2241"/>
                <a:gd name="T59" fmla="*/ 0 h 2013"/>
                <a:gd name="T60" fmla="*/ 0 w 2241"/>
                <a:gd name="T61" fmla="*/ 0 h 2013"/>
                <a:gd name="T62" fmla="*/ 0 w 2241"/>
                <a:gd name="T63" fmla="*/ 0 h 2013"/>
                <a:gd name="T64" fmla="*/ 0 w 2241"/>
                <a:gd name="T65" fmla="*/ 0 h 2013"/>
                <a:gd name="T66" fmla="*/ 0 w 2241"/>
                <a:gd name="T67" fmla="*/ 0 h 2013"/>
                <a:gd name="T68" fmla="*/ 0 w 2241"/>
                <a:gd name="T69" fmla="*/ 0 h 2013"/>
                <a:gd name="T70" fmla="*/ 0 w 2241"/>
                <a:gd name="T71" fmla="*/ 0 h 2013"/>
                <a:gd name="T72" fmla="*/ 0 w 2241"/>
                <a:gd name="T73" fmla="*/ 0 h 2013"/>
                <a:gd name="T74" fmla="*/ 0 w 2241"/>
                <a:gd name="T75" fmla="*/ 0 h 201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41"/>
                <a:gd name="T115" fmla="*/ 0 h 2013"/>
                <a:gd name="T116" fmla="*/ 2241 w 2241"/>
                <a:gd name="T117" fmla="*/ 2013 h 201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41" h="2013">
                  <a:moveTo>
                    <a:pt x="801" y="0"/>
                  </a:moveTo>
                  <a:lnTo>
                    <a:pt x="1440" y="0"/>
                  </a:lnTo>
                  <a:lnTo>
                    <a:pt x="1473" y="3"/>
                  </a:lnTo>
                  <a:lnTo>
                    <a:pt x="1503" y="12"/>
                  </a:lnTo>
                  <a:lnTo>
                    <a:pt x="1530" y="27"/>
                  </a:lnTo>
                  <a:lnTo>
                    <a:pt x="1554" y="47"/>
                  </a:lnTo>
                  <a:lnTo>
                    <a:pt x="1573" y="70"/>
                  </a:lnTo>
                  <a:lnTo>
                    <a:pt x="1588" y="97"/>
                  </a:lnTo>
                  <a:lnTo>
                    <a:pt x="1597" y="128"/>
                  </a:lnTo>
                  <a:lnTo>
                    <a:pt x="1601" y="159"/>
                  </a:lnTo>
                  <a:lnTo>
                    <a:pt x="1601" y="759"/>
                  </a:lnTo>
                  <a:lnTo>
                    <a:pt x="1604" y="776"/>
                  </a:lnTo>
                  <a:lnTo>
                    <a:pt x="1613" y="788"/>
                  </a:lnTo>
                  <a:lnTo>
                    <a:pt x="1625" y="797"/>
                  </a:lnTo>
                  <a:lnTo>
                    <a:pt x="1641" y="800"/>
                  </a:lnTo>
                  <a:lnTo>
                    <a:pt x="2081" y="800"/>
                  </a:lnTo>
                  <a:lnTo>
                    <a:pt x="2113" y="801"/>
                  </a:lnTo>
                  <a:lnTo>
                    <a:pt x="2143" y="806"/>
                  </a:lnTo>
                  <a:lnTo>
                    <a:pt x="2170" y="814"/>
                  </a:lnTo>
                  <a:lnTo>
                    <a:pt x="2194" y="824"/>
                  </a:lnTo>
                  <a:lnTo>
                    <a:pt x="2214" y="835"/>
                  </a:lnTo>
                  <a:lnTo>
                    <a:pt x="2228" y="849"/>
                  </a:lnTo>
                  <a:lnTo>
                    <a:pt x="2238" y="864"/>
                  </a:lnTo>
                  <a:lnTo>
                    <a:pt x="2241" y="879"/>
                  </a:lnTo>
                  <a:lnTo>
                    <a:pt x="2239" y="896"/>
                  </a:lnTo>
                  <a:lnTo>
                    <a:pt x="2233" y="914"/>
                  </a:lnTo>
                  <a:lnTo>
                    <a:pt x="2226" y="935"/>
                  </a:lnTo>
                  <a:lnTo>
                    <a:pt x="2214" y="958"/>
                  </a:lnTo>
                  <a:lnTo>
                    <a:pt x="2201" y="981"/>
                  </a:lnTo>
                  <a:lnTo>
                    <a:pt x="2184" y="1005"/>
                  </a:lnTo>
                  <a:lnTo>
                    <a:pt x="2167" y="1029"/>
                  </a:lnTo>
                  <a:lnTo>
                    <a:pt x="2148" y="1052"/>
                  </a:lnTo>
                  <a:lnTo>
                    <a:pt x="2128" y="1073"/>
                  </a:lnTo>
                  <a:lnTo>
                    <a:pt x="1234" y="1967"/>
                  </a:lnTo>
                  <a:lnTo>
                    <a:pt x="1215" y="1984"/>
                  </a:lnTo>
                  <a:lnTo>
                    <a:pt x="1193" y="1997"/>
                  </a:lnTo>
                  <a:lnTo>
                    <a:pt x="1170" y="2007"/>
                  </a:lnTo>
                  <a:lnTo>
                    <a:pt x="1146" y="2012"/>
                  </a:lnTo>
                  <a:lnTo>
                    <a:pt x="1121" y="2013"/>
                  </a:lnTo>
                  <a:lnTo>
                    <a:pt x="1097" y="2012"/>
                  </a:lnTo>
                  <a:lnTo>
                    <a:pt x="1073" y="2007"/>
                  </a:lnTo>
                  <a:lnTo>
                    <a:pt x="1049" y="1997"/>
                  </a:lnTo>
                  <a:lnTo>
                    <a:pt x="1027" y="1984"/>
                  </a:lnTo>
                  <a:lnTo>
                    <a:pt x="1007" y="1967"/>
                  </a:lnTo>
                  <a:lnTo>
                    <a:pt x="114" y="1073"/>
                  </a:lnTo>
                  <a:lnTo>
                    <a:pt x="94" y="1052"/>
                  </a:lnTo>
                  <a:lnTo>
                    <a:pt x="75" y="1029"/>
                  </a:lnTo>
                  <a:lnTo>
                    <a:pt x="57" y="1005"/>
                  </a:lnTo>
                  <a:lnTo>
                    <a:pt x="41" y="981"/>
                  </a:lnTo>
                  <a:lnTo>
                    <a:pt x="28" y="958"/>
                  </a:lnTo>
                  <a:lnTo>
                    <a:pt x="17" y="935"/>
                  </a:lnTo>
                  <a:lnTo>
                    <a:pt x="8" y="914"/>
                  </a:lnTo>
                  <a:lnTo>
                    <a:pt x="3" y="896"/>
                  </a:lnTo>
                  <a:lnTo>
                    <a:pt x="0" y="879"/>
                  </a:lnTo>
                  <a:lnTo>
                    <a:pt x="4" y="864"/>
                  </a:lnTo>
                  <a:lnTo>
                    <a:pt x="13" y="849"/>
                  </a:lnTo>
                  <a:lnTo>
                    <a:pt x="29" y="835"/>
                  </a:lnTo>
                  <a:lnTo>
                    <a:pt x="47" y="824"/>
                  </a:lnTo>
                  <a:lnTo>
                    <a:pt x="71" y="814"/>
                  </a:lnTo>
                  <a:lnTo>
                    <a:pt x="99" y="806"/>
                  </a:lnTo>
                  <a:lnTo>
                    <a:pt x="129" y="801"/>
                  </a:lnTo>
                  <a:lnTo>
                    <a:pt x="161" y="800"/>
                  </a:lnTo>
                  <a:lnTo>
                    <a:pt x="600" y="800"/>
                  </a:lnTo>
                  <a:lnTo>
                    <a:pt x="617" y="797"/>
                  </a:lnTo>
                  <a:lnTo>
                    <a:pt x="629" y="788"/>
                  </a:lnTo>
                  <a:lnTo>
                    <a:pt x="637" y="776"/>
                  </a:lnTo>
                  <a:lnTo>
                    <a:pt x="641" y="759"/>
                  </a:lnTo>
                  <a:lnTo>
                    <a:pt x="641" y="159"/>
                  </a:lnTo>
                  <a:lnTo>
                    <a:pt x="644" y="128"/>
                  </a:lnTo>
                  <a:lnTo>
                    <a:pt x="654" y="97"/>
                  </a:lnTo>
                  <a:lnTo>
                    <a:pt x="668" y="70"/>
                  </a:lnTo>
                  <a:lnTo>
                    <a:pt x="688" y="47"/>
                  </a:lnTo>
                  <a:lnTo>
                    <a:pt x="712" y="27"/>
                  </a:lnTo>
                  <a:lnTo>
                    <a:pt x="739" y="12"/>
                  </a:lnTo>
                  <a:lnTo>
                    <a:pt x="768" y="3"/>
                  </a:lnTo>
                  <a:lnTo>
                    <a:pt x="801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38" name="Freeform 182"/>
            <p:cNvSpPr>
              <a:spLocks/>
            </p:cNvSpPr>
            <p:nvPr/>
          </p:nvSpPr>
          <p:spPr bwMode="gray">
            <a:xfrm>
              <a:off x="10099" y="3165"/>
              <a:ext cx="340" cy="82"/>
            </a:xfrm>
            <a:custGeom>
              <a:avLst/>
              <a:gdLst>
                <a:gd name="T0" fmla="*/ 0 w 3401"/>
                <a:gd name="T1" fmla="*/ 0 h 818"/>
                <a:gd name="T2" fmla="*/ 0 w 3401"/>
                <a:gd name="T3" fmla="*/ 0 h 818"/>
                <a:gd name="T4" fmla="*/ 0 w 3401"/>
                <a:gd name="T5" fmla="*/ 0 h 818"/>
                <a:gd name="T6" fmla="*/ 0 w 3401"/>
                <a:gd name="T7" fmla="*/ 0 h 818"/>
                <a:gd name="T8" fmla="*/ 0 w 3401"/>
                <a:gd name="T9" fmla="*/ 0 h 818"/>
                <a:gd name="T10" fmla="*/ 0 w 3401"/>
                <a:gd name="T11" fmla="*/ 0 h 818"/>
                <a:gd name="T12" fmla="*/ 0 w 3401"/>
                <a:gd name="T13" fmla="*/ 0 h 818"/>
                <a:gd name="T14" fmla="*/ 0 w 3401"/>
                <a:gd name="T15" fmla="*/ 0 h 818"/>
                <a:gd name="T16" fmla="*/ 0 w 3401"/>
                <a:gd name="T17" fmla="*/ 0 h 818"/>
                <a:gd name="T18" fmla="*/ 0 w 3401"/>
                <a:gd name="T19" fmla="*/ 0 h 818"/>
                <a:gd name="T20" fmla="*/ 0 w 3401"/>
                <a:gd name="T21" fmla="*/ 0 h 818"/>
                <a:gd name="T22" fmla="*/ 0 w 3401"/>
                <a:gd name="T23" fmla="*/ 0 h 818"/>
                <a:gd name="T24" fmla="*/ 0 w 3401"/>
                <a:gd name="T25" fmla="*/ 0 h 818"/>
                <a:gd name="T26" fmla="*/ 0 w 3401"/>
                <a:gd name="T27" fmla="*/ 0 h 818"/>
                <a:gd name="T28" fmla="*/ 0 w 3401"/>
                <a:gd name="T29" fmla="*/ 0 h 818"/>
                <a:gd name="T30" fmla="*/ 0 w 3401"/>
                <a:gd name="T31" fmla="*/ 0 h 818"/>
                <a:gd name="T32" fmla="*/ 0 w 3401"/>
                <a:gd name="T33" fmla="*/ 0 h 818"/>
                <a:gd name="T34" fmla="*/ 0 w 3401"/>
                <a:gd name="T35" fmla="*/ 0 h 818"/>
                <a:gd name="T36" fmla="*/ 0 w 3401"/>
                <a:gd name="T37" fmla="*/ 0 h 818"/>
                <a:gd name="T38" fmla="*/ 0 w 3401"/>
                <a:gd name="T39" fmla="*/ 0 h 818"/>
                <a:gd name="T40" fmla="*/ 0 w 3401"/>
                <a:gd name="T41" fmla="*/ 0 h 818"/>
                <a:gd name="T42" fmla="*/ 0 w 3401"/>
                <a:gd name="T43" fmla="*/ 0 h 818"/>
                <a:gd name="T44" fmla="*/ 0 w 3401"/>
                <a:gd name="T45" fmla="*/ 0 h 818"/>
                <a:gd name="T46" fmla="*/ 0 w 3401"/>
                <a:gd name="T47" fmla="*/ 0 h 818"/>
                <a:gd name="T48" fmla="*/ 0 w 3401"/>
                <a:gd name="T49" fmla="*/ 0 h 818"/>
                <a:gd name="T50" fmla="*/ 0 w 3401"/>
                <a:gd name="T51" fmla="*/ 0 h 818"/>
                <a:gd name="T52" fmla="*/ 0 w 3401"/>
                <a:gd name="T53" fmla="*/ 0 h 818"/>
                <a:gd name="T54" fmla="*/ 0 w 3401"/>
                <a:gd name="T55" fmla="*/ 0 h 818"/>
                <a:gd name="T56" fmla="*/ 0 w 3401"/>
                <a:gd name="T57" fmla="*/ 0 h 818"/>
                <a:gd name="T58" fmla="*/ 0 w 3401"/>
                <a:gd name="T59" fmla="*/ 0 h 818"/>
                <a:gd name="T60" fmla="*/ 0 w 3401"/>
                <a:gd name="T61" fmla="*/ 0 h 818"/>
                <a:gd name="T62" fmla="*/ 0 w 3401"/>
                <a:gd name="T63" fmla="*/ 0 h 818"/>
                <a:gd name="T64" fmla="*/ 0 w 3401"/>
                <a:gd name="T65" fmla="*/ 0 h 818"/>
                <a:gd name="T66" fmla="*/ 0 w 3401"/>
                <a:gd name="T67" fmla="*/ 0 h 818"/>
                <a:gd name="T68" fmla="*/ 0 w 3401"/>
                <a:gd name="T69" fmla="*/ 0 h 818"/>
                <a:gd name="T70" fmla="*/ 0 w 3401"/>
                <a:gd name="T71" fmla="*/ 0 h 818"/>
                <a:gd name="T72" fmla="*/ 0 w 3401"/>
                <a:gd name="T73" fmla="*/ 0 h 818"/>
                <a:gd name="T74" fmla="*/ 0 w 3401"/>
                <a:gd name="T75" fmla="*/ 0 h 818"/>
                <a:gd name="T76" fmla="*/ 0 w 3401"/>
                <a:gd name="T77" fmla="*/ 0 h 818"/>
                <a:gd name="T78" fmla="*/ 0 w 3401"/>
                <a:gd name="T79" fmla="*/ 0 h 818"/>
                <a:gd name="T80" fmla="*/ 0 w 3401"/>
                <a:gd name="T81" fmla="*/ 0 h 818"/>
                <a:gd name="T82" fmla="*/ 0 w 3401"/>
                <a:gd name="T83" fmla="*/ 0 h 818"/>
                <a:gd name="T84" fmla="*/ 0 w 3401"/>
                <a:gd name="T85" fmla="*/ 0 h 818"/>
                <a:gd name="T86" fmla="*/ 0 w 3401"/>
                <a:gd name="T87" fmla="*/ 0 h 818"/>
                <a:gd name="T88" fmla="*/ 0 w 3401"/>
                <a:gd name="T89" fmla="*/ 0 h 818"/>
                <a:gd name="T90" fmla="*/ 0 w 3401"/>
                <a:gd name="T91" fmla="*/ 0 h 818"/>
                <a:gd name="T92" fmla="*/ 0 w 3401"/>
                <a:gd name="T93" fmla="*/ 0 h 818"/>
                <a:gd name="T94" fmla="*/ 0 w 3401"/>
                <a:gd name="T95" fmla="*/ 0 h 818"/>
                <a:gd name="T96" fmla="*/ 0 w 3401"/>
                <a:gd name="T97" fmla="*/ 0 h 818"/>
                <a:gd name="T98" fmla="*/ 0 w 3401"/>
                <a:gd name="T99" fmla="*/ 0 h 818"/>
                <a:gd name="T100" fmla="*/ 0 w 3401"/>
                <a:gd name="T101" fmla="*/ 0 h 818"/>
                <a:gd name="T102" fmla="*/ 0 w 3401"/>
                <a:gd name="T103" fmla="*/ 0 h 818"/>
                <a:gd name="T104" fmla="*/ 0 w 3401"/>
                <a:gd name="T105" fmla="*/ 0 h 818"/>
                <a:gd name="T106" fmla="*/ 0 w 3401"/>
                <a:gd name="T107" fmla="*/ 0 h 81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01"/>
                <a:gd name="T163" fmla="*/ 0 h 818"/>
                <a:gd name="T164" fmla="*/ 3401 w 3401"/>
                <a:gd name="T165" fmla="*/ 818 h 81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01" h="818">
                  <a:moveTo>
                    <a:pt x="741" y="0"/>
                  </a:moveTo>
                  <a:lnTo>
                    <a:pt x="996" y="0"/>
                  </a:lnTo>
                  <a:lnTo>
                    <a:pt x="1476" y="480"/>
                  </a:lnTo>
                  <a:lnTo>
                    <a:pt x="1508" y="508"/>
                  </a:lnTo>
                  <a:lnTo>
                    <a:pt x="1543" y="531"/>
                  </a:lnTo>
                  <a:lnTo>
                    <a:pt x="1580" y="549"/>
                  </a:lnTo>
                  <a:lnTo>
                    <a:pt x="1619" y="563"/>
                  </a:lnTo>
                  <a:lnTo>
                    <a:pt x="1659" y="570"/>
                  </a:lnTo>
                  <a:lnTo>
                    <a:pt x="1702" y="573"/>
                  </a:lnTo>
                  <a:lnTo>
                    <a:pt x="1743" y="570"/>
                  </a:lnTo>
                  <a:lnTo>
                    <a:pt x="1785" y="563"/>
                  </a:lnTo>
                  <a:lnTo>
                    <a:pt x="1824" y="549"/>
                  </a:lnTo>
                  <a:lnTo>
                    <a:pt x="1861" y="531"/>
                  </a:lnTo>
                  <a:lnTo>
                    <a:pt x="1896" y="508"/>
                  </a:lnTo>
                  <a:lnTo>
                    <a:pt x="1928" y="480"/>
                  </a:lnTo>
                  <a:lnTo>
                    <a:pt x="2408" y="0"/>
                  </a:lnTo>
                  <a:lnTo>
                    <a:pt x="2661" y="0"/>
                  </a:lnTo>
                  <a:lnTo>
                    <a:pt x="2699" y="2"/>
                  </a:lnTo>
                  <a:lnTo>
                    <a:pt x="2739" y="10"/>
                  </a:lnTo>
                  <a:lnTo>
                    <a:pt x="2781" y="22"/>
                  </a:lnTo>
                  <a:lnTo>
                    <a:pt x="2823" y="39"/>
                  </a:lnTo>
                  <a:lnTo>
                    <a:pt x="2864" y="58"/>
                  </a:lnTo>
                  <a:lnTo>
                    <a:pt x="2903" y="81"/>
                  </a:lnTo>
                  <a:lnTo>
                    <a:pt x="2940" y="108"/>
                  </a:lnTo>
                  <a:lnTo>
                    <a:pt x="2974" y="135"/>
                  </a:lnTo>
                  <a:lnTo>
                    <a:pt x="3002" y="164"/>
                  </a:lnTo>
                  <a:lnTo>
                    <a:pt x="3026" y="195"/>
                  </a:lnTo>
                  <a:lnTo>
                    <a:pt x="3311" y="623"/>
                  </a:lnTo>
                  <a:lnTo>
                    <a:pt x="3336" y="664"/>
                  </a:lnTo>
                  <a:lnTo>
                    <a:pt x="3359" y="711"/>
                  </a:lnTo>
                  <a:lnTo>
                    <a:pt x="3382" y="763"/>
                  </a:lnTo>
                  <a:lnTo>
                    <a:pt x="3401" y="818"/>
                  </a:lnTo>
                  <a:lnTo>
                    <a:pt x="3369" y="809"/>
                  </a:lnTo>
                  <a:lnTo>
                    <a:pt x="3336" y="803"/>
                  </a:lnTo>
                  <a:lnTo>
                    <a:pt x="3301" y="800"/>
                  </a:lnTo>
                  <a:lnTo>
                    <a:pt x="100" y="800"/>
                  </a:lnTo>
                  <a:lnTo>
                    <a:pt x="65" y="803"/>
                  </a:lnTo>
                  <a:lnTo>
                    <a:pt x="33" y="809"/>
                  </a:lnTo>
                  <a:lnTo>
                    <a:pt x="0" y="818"/>
                  </a:lnTo>
                  <a:lnTo>
                    <a:pt x="21" y="763"/>
                  </a:lnTo>
                  <a:lnTo>
                    <a:pt x="43" y="711"/>
                  </a:lnTo>
                  <a:lnTo>
                    <a:pt x="65" y="664"/>
                  </a:lnTo>
                  <a:lnTo>
                    <a:pt x="91" y="623"/>
                  </a:lnTo>
                  <a:lnTo>
                    <a:pt x="375" y="195"/>
                  </a:lnTo>
                  <a:lnTo>
                    <a:pt x="399" y="164"/>
                  </a:lnTo>
                  <a:lnTo>
                    <a:pt x="428" y="135"/>
                  </a:lnTo>
                  <a:lnTo>
                    <a:pt x="461" y="108"/>
                  </a:lnTo>
                  <a:lnTo>
                    <a:pt x="499" y="81"/>
                  </a:lnTo>
                  <a:lnTo>
                    <a:pt x="538" y="58"/>
                  </a:lnTo>
                  <a:lnTo>
                    <a:pt x="579" y="39"/>
                  </a:lnTo>
                  <a:lnTo>
                    <a:pt x="621" y="22"/>
                  </a:lnTo>
                  <a:lnTo>
                    <a:pt x="662" y="10"/>
                  </a:lnTo>
                  <a:lnTo>
                    <a:pt x="703" y="2"/>
                  </a:lnTo>
                  <a:lnTo>
                    <a:pt x="741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39" name="Group 184"/>
          <p:cNvGrpSpPr>
            <a:grpSpLocks/>
          </p:cNvGrpSpPr>
          <p:nvPr/>
        </p:nvGrpSpPr>
        <p:grpSpPr bwMode="auto">
          <a:xfrm>
            <a:off x="6249144" y="5170298"/>
            <a:ext cx="868388" cy="920940"/>
            <a:chOff x="3734" y="1502"/>
            <a:chExt cx="670" cy="712"/>
          </a:xfrm>
        </p:grpSpPr>
        <p:sp>
          <p:nvSpPr>
            <p:cNvPr id="40" name="Oval 53"/>
            <p:cNvSpPr>
              <a:spLocks noChangeArrowheads="1"/>
            </p:cNvSpPr>
            <p:nvPr/>
          </p:nvSpPr>
          <p:spPr bwMode="gray">
            <a:xfrm>
              <a:off x="3851" y="2080"/>
              <a:ext cx="437" cy="134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en-US" altLang="ko-KR" sz="9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1" name="Oval 186"/>
            <p:cNvSpPr>
              <a:spLocks noChangeArrowheads="1"/>
            </p:cNvSpPr>
            <p:nvPr/>
          </p:nvSpPr>
          <p:spPr bwMode="gray">
            <a:xfrm>
              <a:off x="3734" y="1502"/>
              <a:ext cx="670" cy="670"/>
            </a:xfrm>
            <a:prstGeom prst="ellipse">
              <a:avLst/>
            </a:pr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8826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en-US" altLang="ko-KR" sz="9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grpSp>
          <p:nvGrpSpPr>
            <p:cNvPr id="42" name="Group 187"/>
            <p:cNvGrpSpPr>
              <a:grpSpLocks/>
            </p:cNvGrpSpPr>
            <p:nvPr/>
          </p:nvGrpSpPr>
          <p:grpSpPr bwMode="auto">
            <a:xfrm>
              <a:off x="3758" y="1700"/>
              <a:ext cx="621" cy="446"/>
              <a:chOff x="3758" y="1700"/>
              <a:chExt cx="621" cy="446"/>
            </a:xfrm>
          </p:grpSpPr>
          <p:pic>
            <p:nvPicPr>
              <p:cNvPr id="43" name="Picture 188" descr="구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2646"/>
              <a:stretch>
                <a:fillRect/>
              </a:stretch>
            </p:blipFill>
            <p:spPr bwMode="auto">
              <a:xfrm>
                <a:off x="3758" y="1977"/>
                <a:ext cx="621" cy="169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12700" dir="16200000" algn="ctr" rotWithShape="0">
                  <a:srgbClr val="0096F2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AutoShape 110"/>
              <p:cNvSpPr>
                <a:spLocks noChangeArrowheads="1"/>
              </p:cNvSpPr>
              <p:nvPr/>
            </p:nvSpPr>
            <p:spPr bwMode="gray">
              <a:xfrm rot="10800000" flipH="1" flipV="1">
                <a:off x="3878" y="1700"/>
                <a:ext cx="396" cy="1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맑은 고딕" panose="020B0503020000020004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r>
                  <a:rPr lang="ko-KR" altLang="en-US" sz="110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Times New Roman" panose="02020603050405020304" pitchFamily="18" charset="0"/>
                  </a:rPr>
                  <a:t>전산반영</a:t>
                </a:r>
                <a:endParaRPr lang="ko-KR" altLang="en-US" sz="11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45" name="Group 190"/>
          <p:cNvGrpSpPr>
            <a:grpSpLocks/>
          </p:cNvGrpSpPr>
          <p:nvPr/>
        </p:nvGrpSpPr>
        <p:grpSpPr bwMode="auto">
          <a:xfrm>
            <a:off x="6844610" y="4919663"/>
            <a:ext cx="309409" cy="308923"/>
            <a:chOff x="10093" y="3005"/>
            <a:chExt cx="352" cy="352"/>
          </a:xfrm>
        </p:grpSpPr>
        <p:sp>
          <p:nvSpPr>
            <p:cNvPr id="46" name="Freeform 191"/>
            <p:cNvSpPr>
              <a:spLocks noEditPoints="1"/>
            </p:cNvSpPr>
            <p:nvPr/>
          </p:nvSpPr>
          <p:spPr bwMode="gray">
            <a:xfrm>
              <a:off x="10093" y="3261"/>
              <a:ext cx="352" cy="96"/>
            </a:xfrm>
            <a:custGeom>
              <a:avLst/>
              <a:gdLst>
                <a:gd name="T0" fmla="*/ 0 w 3521"/>
                <a:gd name="T1" fmla="*/ 0 h 961"/>
                <a:gd name="T2" fmla="*/ 0 w 3521"/>
                <a:gd name="T3" fmla="*/ 0 h 961"/>
                <a:gd name="T4" fmla="*/ 0 w 3521"/>
                <a:gd name="T5" fmla="*/ 0 h 961"/>
                <a:gd name="T6" fmla="*/ 0 w 3521"/>
                <a:gd name="T7" fmla="*/ 0 h 961"/>
                <a:gd name="T8" fmla="*/ 0 w 3521"/>
                <a:gd name="T9" fmla="*/ 0 h 961"/>
                <a:gd name="T10" fmla="*/ 0 w 3521"/>
                <a:gd name="T11" fmla="*/ 0 h 961"/>
                <a:gd name="T12" fmla="*/ 0 w 3521"/>
                <a:gd name="T13" fmla="*/ 0 h 961"/>
                <a:gd name="T14" fmla="*/ 0 w 3521"/>
                <a:gd name="T15" fmla="*/ 0 h 961"/>
                <a:gd name="T16" fmla="*/ 0 w 3521"/>
                <a:gd name="T17" fmla="*/ 0 h 961"/>
                <a:gd name="T18" fmla="*/ 0 w 3521"/>
                <a:gd name="T19" fmla="*/ 0 h 961"/>
                <a:gd name="T20" fmla="*/ 0 w 3521"/>
                <a:gd name="T21" fmla="*/ 0 h 961"/>
                <a:gd name="T22" fmla="*/ 0 w 3521"/>
                <a:gd name="T23" fmla="*/ 0 h 961"/>
                <a:gd name="T24" fmla="*/ 0 w 3521"/>
                <a:gd name="T25" fmla="*/ 0 h 961"/>
                <a:gd name="T26" fmla="*/ 0 w 3521"/>
                <a:gd name="T27" fmla="*/ 0 h 961"/>
                <a:gd name="T28" fmla="*/ 0 w 3521"/>
                <a:gd name="T29" fmla="*/ 0 h 961"/>
                <a:gd name="T30" fmla="*/ 0 w 3521"/>
                <a:gd name="T31" fmla="*/ 0 h 961"/>
                <a:gd name="T32" fmla="*/ 0 w 3521"/>
                <a:gd name="T33" fmla="*/ 0 h 961"/>
                <a:gd name="T34" fmla="*/ 0 w 3521"/>
                <a:gd name="T35" fmla="*/ 0 h 961"/>
                <a:gd name="T36" fmla="*/ 0 w 3521"/>
                <a:gd name="T37" fmla="*/ 0 h 961"/>
                <a:gd name="T38" fmla="*/ 0 w 3521"/>
                <a:gd name="T39" fmla="*/ 0 h 961"/>
                <a:gd name="T40" fmla="*/ 0 w 3521"/>
                <a:gd name="T41" fmla="*/ 0 h 961"/>
                <a:gd name="T42" fmla="*/ 0 w 3521"/>
                <a:gd name="T43" fmla="*/ 0 h 961"/>
                <a:gd name="T44" fmla="*/ 0 w 3521"/>
                <a:gd name="T45" fmla="*/ 0 h 961"/>
                <a:gd name="T46" fmla="*/ 0 w 3521"/>
                <a:gd name="T47" fmla="*/ 0 h 961"/>
                <a:gd name="T48" fmla="*/ 0 w 3521"/>
                <a:gd name="T49" fmla="*/ 0 h 961"/>
                <a:gd name="T50" fmla="*/ 0 w 3521"/>
                <a:gd name="T51" fmla="*/ 0 h 961"/>
                <a:gd name="T52" fmla="*/ 0 w 3521"/>
                <a:gd name="T53" fmla="*/ 0 h 961"/>
                <a:gd name="T54" fmla="*/ 0 w 3521"/>
                <a:gd name="T55" fmla="*/ 0 h 961"/>
                <a:gd name="T56" fmla="*/ 0 w 3521"/>
                <a:gd name="T57" fmla="*/ 0 h 961"/>
                <a:gd name="T58" fmla="*/ 0 w 3521"/>
                <a:gd name="T59" fmla="*/ 0 h 961"/>
                <a:gd name="T60" fmla="*/ 0 w 3521"/>
                <a:gd name="T61" fmla="*/ 0 h 961"/>
                <a:gd name="T62" fmla="*/ 0 w 3521"/>
                <a:gd name="T63" fmla="*/ 0 h 961"/>
                <a:gd name="T64" fmla="*/ 0 w 3521"/>
                <a:gd name="T65" fmla="*/ 0 h 961"/>
                <a:gd name="T66" fmla="*/ 0 w 3521"/>
                <a:gd name="T67" fmla="*/ 0 h 961"/>
                <a:gd name="T68" fmla="*/ 0 w 3521"/>
                <a:gd name="T69" fmla="*/ 0 h 961"/>
                <a:gd name="T70" fmla="*/ 0 w 3521"/>
                <a:gd name="T71" fmla="*/ 0 h 961"/>
                <a:gd name="T72" fmla="*/ 0 w 3521"/>
                <a:gd name="T73" fmla="*/ 0 h 961"/>
                <a:gd name="T74" fmla="*/ 0 w 3521"/>
                <a:gd name="T75" fmla="*/ 0 h 961"/>
                <a:gd name="T76" fmla="*/ 0 w 3521"/>
                <a:gd name="T77" fmla="*/ 0 h 961"/>
                <a:gd name="T78" fmla="*/ 0 w 3521"/>
                <a:gd name="T79" fmla="*/ 0 h 961"/>
                <a:gd name="T80" fmla="*/ 0 w 3521"/>
                <a:gd name="T81" fmla="*/ 0 h 961"/>
                <a:gd name="T82" fmla="*/ 0 w 3521"/>
                <a:gd name="T83" fmla="*/ 0 h 961"/>
                <a:gd name="T84" fmla="*/ 0 w 3521"/>
                <a:gd name="T85" fmla="*/ 0 h 961"/>
                <a:gd name="T86" fmla="*/ 0 w 3521"/>
                <a:gd name="T87" fmla="*/ 0 h 961"/>
                <a:gd name="T88" fmla="*/ 0 w 3521"/>
                <a:gd name="T89" fmla="*/ 0 h 96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521"/>
                <a:gd name="T136" fmla="*/ 0 h 961"/>
                <a:gd name="T137" fmla="*/ 3521 w 3521"/>
                <a:gd name="T138" fmla="*/ 961 h 96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521" h="961">
                  <a:moveTo>
                    <a:pt x="3040" y="321"/>
                  </a:moveTo>
                  <a:lnTo>
                    <a:pt x="3020" y="324"/>
                  </a:lnTo>
                  <a:lnTo>
                    <a:pt x="3000" y="331"/>
                  </a:lnTo>
                  <a:lnTo>
                    <a:pt x="2985" y="343"/>
                  </a:lnTo>
                  <a:lnTo>
                    <a:pt x="2972" y="360"/>
                  </a:lnTo>
                  <a:lnTo>
                    <a:pt x="2964" y="379"/>
                  </a:lnTo>
                  <a:lnTo>
                    <a:pt x="2961" y="400"/>
                  </a:lnTo>
                  <a:lnTo>
                    <a:pt x="2964" y="422"/>
                  </a:lnTo>
                  <a:lnTo>
                    <a:pt x="2972" y="441"/>
                  </a:lnTo>
                  <a:lnTo>
                    <a:pt x="2985" y="457"/>
                  </a:lnTo>
                  <a:lnTo>
                    <a:pt x="3000" y="470"/>
                  </a:lnTo>
                  <a:lnTo>
                    <a:pt x="3020" y="478"/>
                  </a:lnTo>
                  <a:lnTo>
                    <a:pt x="3040" y="481"/>
                  </a:lnTo>
                  <a:lnTo>
                    <a:pt x="3201" y="481"/>
                  </a:lnTo>
                  <a:lnTo>
                    <a:pt x="3221" y="478"/>
                  </a:lnTo>
                  <a:lnTo>
                    <a:pt x="3241" y="470"/>
                  </a:lnTo>
                  <a:lnTo>
                    <a:pt x="3257" y="457"/>
                  </a:lnTo>
                  <a:lnTo>
                    <a:pt x="3269" y="441"/>
                  </a:lnTo>
                  <a:lnTo>
                    <a:pt x="3278" y="422"/>
                  </a:lnTo>
                  <a:lnTo>
                    <a:pt x="3280" y="400"/>
                  </a:lnTo>
                  <a:lnTo>
                    <a:pt x="3278" y="379"/>
                  </a:lnTo>
                  <a:lnTo>
                    <a:pt x="3269" y="360"/>
                  </a:lnTo>
                  <a:lnTo>
                    <a:pt x="3257" y="343"/>
                  </a:lnTo>
                  <a:lnTo>
                    <a:pt x="3241" y="331"/>
                  </a:lnTo>
                  <a:lnTo>
                    <a:pt x="3221" y="324"/>
                  </a:lnTo>
                  <a:lnTo>
                    <a:pt x="3201" y="321"/>
                  </a:lnTo>
                  <a:lnTo>
                    <a:pt x="3040" y="321"/>
                  </a:lnTo>
                  <a:close/>
                  <a:moveTo>
                    <a:pt x="321" y="321"/>
                  </a:moveTo>
                  <a:lnTo>
                    <a:pt x="300" y="324"/>
                  </a:lnTo>
                  <a:lnTo>
                    <a:pt x="280" y="331"/>
                  </a:lnTo>
                  <a:lnTo>
                    <a:pt x="264" y="343"/>
                  </a:lnTo>
                  <a:lnTo>
                    <a:pt x="252" y="360"/>
                  </a:lnTo>
                  <a:lnTo>
                    <a:pt x="243" y="379"/>
                  </a:lnTo>
                  <a:lnTo>
                    <a:pt x="241" y="400"/>
                  </a:lnTo>
                  <a:lnTo>
                    <a:pt x="243" y="422"/>
                  </a:lnTo>
                  <a:lnTo>
                    <a:pt x="252" y="441"/>
                  </a:lnTo>
                  <a:lnTo>
                    <a:pt x="264" y="457"/>
                  </a:lnTo>
                  <a:lnTo>
                    <a:pt x="280" y="470"/>
                  </a:lnTo>
                  <a:lnTo>
                    <a:pt x="300" y="478"/>
                  </a:lnTo>
                  <a:lnTo>
                    <a:pt x="321" y="481"/>
                  </a:lnTo>
                  <a:lnTo>
                    <a:pt x="2721" y="481"/>
                  </a:lnTo>
                  <a:lnTo>
                    <a:pt x="2741" y="478"/>
                  </a:lnTo>
                  <a:lnTo>
                    <a:pt x="2761" y="470"/>
                  </a:lnTo>
                  <a:lnTo>
                    <a:pt x="2777" y="457"/>
                  </a:lnTo>
                  <a:lnTo>
                    <a:pt x="2789" y="441"/>
                  </a:lnTo>
                  <a:lnTo>
                    <a:pt x="2798" y="422"/>
                  </a:lnTo>
                  <a:lnTo>
                    <a:pt x="2800" y="400"/>
                  </a:lnTo>
                  <a:lnTo>
                    <a:pt x="2798" y="379"/>
                  </a:lnTo>
                  <a:lnTo>
                    <a:pt x="2789" y="360"/>
                  </a:lnTo>
                  <a:lnTo>
                    <a:pt x="2777" y="343"/>
                  </a:lnTo>
                  <a:lnTo>
                    <a:pt x="2761" y="331"/>
                  </a:lnTo>
                  <a:lnTo>
                    <a:pt x="2741" y="324"/>
                  </a:lnTo>
                  <a:lnTo>
                    <a:pt x="2721" y="321"/>
                  </a:lnTo>
                  <a:lnTo>
                    <a:pt x="321" y="321"/>
                  </a:lnTo>
                  <a:close/>
                  <a:moveTo>
                    <a:pt x="160" y="0"/>
                  </a:moveTo>
                  <a:lnTo>
                    <a:pt x="3361" y="0"/>
                  </a:lnTo>
                  <a:lnTo>
                    <a:pt x="3393" y="3"/>
                  </a:lnTo>
                  <a:lnTo>
                    <a:pt x="3423" y="13"/>
                  </a:lnTo>
                  <a:lnTo>
                    <a:pt x="3451" y="27"/>
                  </a:lnTo>
                  <a:lnTo>
                    <a:pt x="3475" y="47"/>
                  </a:lnTo>
                  <a:lnTo>
                    <a:pt x="3494" y="71"/>
                  </a:lnTo>
                  <a:lnTo>
                    <a:pt x="3508" y="98"/>
                  </a:lnTo>
                  <a:lnTo>
                    <a:pt x="3518" y="128"/>
                  </a:lnTo>
                  <a:lnTo>
                    <a:pt x="3521" y="160"/>
                  </a:lnTo>
                  <a:lnTo>
                    <a:pt x="3521" y="801"/>
                  </a:lnTo>
                  <a:lnTo>
                    <a:pt x="3518" y="833"/>
                  </a:lnTo>
                  <a:lnTo>
                    <a:pt x="3508" y="863"/>
                  </a:lnTo>
                  <a:lnTo>
                    <a:pt x="3494" y="890"/>
                  </a:lnTo>
                  <a:lnTo>
                    <a:pt x="3475" y="914"/>
                  </a:lnTo>
                  <a:lnTo>
                    <a:pt x="3451" y="934"/>
                  </a:lnTo>
                  <a:lnTo>
                    <a:pt x="3423" y="949"/>
                  </a:lnTo>
                  <a:lnTo>
                    <a:pt x="3393" y="958"/>
                  </a:lnTo>
                  <a:lnTo>
                    <a:pt x="3361" y="961"/>
                  </a:lnTo>
                  <a:lnTo>
                    <a:pt x="160" y="961"/>
                  </a:lnTo>
                  <a:lnTo>
                    <a:pt x="129" y="958"/>
                  </a:lnTo>
                  <a:lnTo>
                    <a:pt x="98" y="949"/>
                  </a:lnTo>
                  <a:lnTo>
                    <a:pt x="71" y="934"/>
                  </a:lnTo>
                  <a:lnTo>
                    <a:pt x="47" y="914"/>
                  </a:lnTo>
                  <a:lnTo>
                    <a:pt x="27" y="890"/>
                  </a:lnTo>
                  <a:lnTo>
                    <a:pt x="13" y="863"/>
                  </a:lnTo>
                  <a:lnTo>
                    <a:pt x="3" y="833"/>
                  </a:lnTo>
                  <a:lnTo>
                    <a:pt x="0" y="801"/>
                  </a:lnTo>
                  <a:lnTo>
                    <a:pt x="0" y="160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7"/>
                  </a:lnTo>
                  <a:lnTo>
                    <a:pt x="98" y="13"/>
                  </a:lnTo>
                  <a:lnTo>
                    <a:pt x="129" y="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7" name="Freeform 192"/>
            <p:cNvSpPr>
              <a:spLocks/>
            </p:cNvSpPr>
            <p:nvPr/>
          </p:nvSpPr>
          <p:spPr bwMode="gray">
            <a:xfrm>
              <a:off x="10157" y="3005"/>
              <a:ext cx="224" cy="201"/>
            </a:xfrm>
            <a:custGeom>
              <a:avLst/>
              <a:gdLst>
                <a:gd name="T0" fmla="*/ 0 w 2241"/>
                <a:gd name="T1" fmla="*/ 0 h 2013"/>
                <a:gd name="T2" fmla="*/ 0 w 2241"/>
                <a:gd name="T3" fmla="*/ 0 h 2013"/>
                <a:gd name="T4" fmla="*/ 0 w 2241"/>
                <a:gd name="T5" fmla="*/ 0 h 2013"/>
                <a:gd name="T6" fmla="*/ 0 w 2241"/>
                <a:gd name="T7" fmla="*/ 0 h 2013"/>
                <a:gd name="T8" fmla="*/ 0 w 2241"/>
                <a:gd name="T9" fmla="*/ 0 h 2013"/>
                <a:gd name="T10" fmla="*/ 0 w 2241"/>
                <a:gd name="T11" fmla="*/ 0 h 2013"/>
                <a:gd name="T12" fmla="*/ 0 w 2241"/>
                <a:gd name="T13" fmla="*/ 0 h 2013"/>
                <a:gd name="T14" fmla="*/ 0 w 2241"/>
                <a:gd name="T15" fmla="*/ 0 h 2013"/>
                <a:gd name="T16" fmla="*/ 0 w 2241"/>
                <a:gd name="T17" fmla="*/ 0 h 2013"/>
                <a:gd name="T18" fmla="*/ 0 w 2241"/>
                <a:gd name="T19" fmla="*/ 0 h 2013"/>
                <a:gd name="T20" fmla="*/ 0 w 2241"/>
                <a:gd name="T21" fmla="*/ 0 h 2013"/>
                <a:gd name="T22" fmla="*/ 0 w 2241"/>
                <a:gd name="T23" fmla="*/ 0 h 2013"/>
                <a:gd name="T24" fmla="*/ 0 w 2241"/>
                <a:gd name="T25" fmla="*/ 0 h 2013"/>
                <a:gd name="T26" fmla="*/ 0 w 2241"/>
                <a:gd name="T27" fmla="*/ 0 h 2013"/>
                <a:gd name="T28" fmla="*/ 0 w 2241"/>
                <a:gd name="T29" fmla="*/ 0 h 2013"/>
                <a:gd name="T30" fmla="*/ 0 w 2241"/>
                <a:gd name="T31" fmla="*/ 0 h 2013"/>
                <a:gd name="T32" fmla="*/ 0 w 2241"/>
                <a:gd name="T33" fmla="*/ 0 h 2013"/>
                <a:gd name="T34" fmla="*/ 0 w 2241"/>
                <a:gd name="T35" fmla="*/ 0 h 2013"/>
                <a:gd name="T36" fmla="*/ 0 w 2241"/>
                <a:gd name="T37" fmla="*/ 0 h 2013"/>
                <a:gd name="T38" fmla="*/ 0 w 2241"/>
                <a:gd name="T39" fmla="*/ 0 h 2013"/>
                <a:gd name="T40" fmla="*/ 0 w 2241"/>
                <a:gd name="T41" fmla="*/ 0 h 2013"/>
                <a:gd name="T42" fmla="*/ 0 w 2241"/>
                <a:gd name="T43" fmla="*/ 0 h 2013"/>
                <a:gd name="T44" fmla="*/ 0 w 2241"/>
                <a:gd name="T45" fmla="*/ 0 h 2013"/>
                <a:gd name="T46" fmla="*/ 0 w 2241"/>
                <a:gd name="T47" fmla="*/ 0 h 2013"/>
                <a:gd name="T48" fmla="*/ 0 w 2241"/>
                <a:gd name="T49" fmla="*/ 0 h 2013"/>
                <a:gd name="T50" fmla="*/ 0 w 2241"/>
                <a:gd name="T51" fmla="*/ 0 h 2013"/>
                <a:gd name="T52" fmla="*/ 0 w 2241"/>
                <a:gd name="T53" fmla="*/ 0 h 2013"/>
                <a:gd name="T54" fmla="*/ 0 w 2241"/>
                <a:gd name="T55" fmla="*/ 0 h 2013"/>
                <a:gd name="T56" fmla="*/ 0 w 2241"/>
                <a:gd name="T57" fmla="*/ 0 h 2013"/>
                <a:gd name="T58" fmla="*/ 0 w 2241"/>
                <a:gd name="T59" fmla="*/ 0 h 2013"/>
                <a:gd name="T60" fmla="*/ 0 w 2241"/>
                <a:gd name="T61" fmla="*/ 0 h 2013"/>
                <a:gd name="T62" fmla="*/ 0 w 2241"/>
                <a:gd name="T63" fmla="*/ 0 h 2013"/>
                <a:gd name="T64" fmla="*/ 0 w 2241"/>
                <a:gd name="T65" fmla="*/ 0 h 2013"/>
                <a:gd name="T66" fmla="*/ 0 w 2241"/>
                <a:gd name="T67" fmla="*/ 0 h 2013"/>
                <a:gd name="T68" fmla="*/ 0 w 2241"/>
                <a:gd name="T69" fmla="*/ 0 h 2013"/>
                <a:gd name="T70" fmla="*/ 0 w 2241"/>
                <a:gd name="T71" fmla="*/ 0 h 2013"/>
                <a:gd name="T72" fmla="*/ 0 w 2241"/>
                <a:gd name="T73" fmla="*/ 0 h 2013"/>
                <a:gd name="T74" fmla="*/ 0 w 2241"/>
                <a:gd name="T75" fmla="*/ 0 h 201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41"/>
                <a:gd name="T115" fmla="*/ 0 h 2013"/>
                <a:gd name="T116" fmla="*/ 2241 w 2241"/>
                <a:gd name="T117" fmla="*/ 2013 h 201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41" h="2013">
                  <a:moveTo>
                    <a:pt x="801" y="0"/>
                  </a:moveTo>
                  <a:lnTo>
                    <a:pt x="1440" y="0"/>
                  </a:lnTo>
                  <a:lnTo>
                    <a:pt x="1473" y="3"/>
                  </a:lnTo>
                  <a:lnTo>
                    <a:pt x="1503" y="12"/>
                  </a:lnTo>
                  <a:lnTo>
                    <a:pt x="1530" y="27"/>
                  </a:lnTo>
                  <a:lnTo>
                    <a:pt x="1554" y="47"/>
                  </a:lnTo>
                  <a:lnTo>
                    <a:pt x="1573" y="70"/>
                  </a:lnTo>
                  <a:lnTo>
                    <a:pt x="1588" y="97"/>
                  </a:lnTo>
                  <a:lnTo>
                    <a:pt x="1597" y="128"/>
                  </a:lnTo>
                  <a:lnTo>
                    <a:pt x="1601" y="159"/>
                  </a:lnTo>
                  <a:lnTo>
                    <a:pt x="1601" y="759"/>
                  </a:lnTo>
                  <a:lnTo>
                    <a:pt x="1604" y="776"/>
                  </a:lnTo>
                  <a:lnTo>
                    <a:pt x="1613" y="788"/>
                  </a:lnTo>
                  <a:lnTo>
                    <a:pt x="1625" y="797"/>
                  </a:lnTo>
                  <a:lnTo>
                    <a:pt x="1641" y="800"/>
                  </a:lnTo>
                  <a:lnTo>
                    <a:pt x="2081" y="800"/>
                  </a:lnTo>
                  <a:lnTo>
                    <a:pt x="2113" y="801"/>
                  </a:lnTo>
                  <a:lnTo>
                    <a:pt x="2143" y="806"/>
                  </a:lnTo>
                  <a:lnTo>
                    <a:pt x="2170" y="814"/>
                  </a:lnTo>
                  <a:lnTo>
                    <a:pt x="2194" y="824"/>
                  </a:lnTo>
                  <a:lnTo>
                    <a:pt x="2214" y="835"/>
                  </a:lnTo>
                  <a:lnTo>
                    <a:pt x="2228" y="849"/>
                  </a:lnTo>
                  <a:lnTo>
                    <a:pt x="2238" y="864"/>
                  </a:lnTo>
                  <a:lnTo>
                    <a:pt x="2241" y="879"/>
                  </a:lnTo>
                  <a:lnTo>
                    <a:pt x="2239" y="896"/>
                  </a:lnTo>
                  <a:lnTo>
                    <a:pt x="2233" y="914"/>
                  </a:lnTo>
                  <a:lnTo>
                    <a:pt x="2226" y="935"/>
                  </a:lnTo>
                  <a:lnTo>
                    <a:pt x="2214" y="958"/>
                  </a:lnTo>
                  <a:lnTo>
                    <a:pt x="2201" y="981"/>
                  </a:lnTo>
                  <a:lnTo>
                    <a:pt x="2184" y="1005"/>
                  </a:lnTo>
                  <a:lnTo>
                    <a:pt x="2167" y="1029"/>
                  </a:lnTo>
                  <a:lnTo>
                    <a:pt x="2148" y="1052"/>
                  </a:lnTo>
                  <a:lnTo>
                    <a:pt x="2128" y="1073"/>
                  </a:lnTo>
                  <a:lnTo>
                    <a:pt x="1234" y="1967"/>
                  </a:lnTo>
                  <a:lnTo>
                    <a:pt x="1215" y="1984"/>
                  </a:lnTo>
                  <a:lnTo>
                    <a:pt x="1193" y="1997"/>
                  </a:lnTo>
                  <a:lnTo>
                    <a:pt x="1170" y="2007"/>
                  </a:lnTo>
                  <a:lnTo>
                    <a:pt x="1146" y="2012"/>
                  </a:lnTo>
                  <a:lnTo>
                    <a:pt x="1121" y="2013"/>
                  </a:lnTo>
                  <a:lnTo>
                    <a:pt x="1097" y="2012"/>
                  </a:lnTo>
                  <a:lnTo>
                    <a:pt x="1073" y="2007"/>
                  </a:lnTo>
                  <a:lnTo>
                    <a:pt x="1049" y="1997"/>
                  </a:lnTo>
                  <a:lnTo>
                    <a:pt x="1027" y="1984"/>
                  </a:lnTo>
                  <a:lnTo>
                    <a:pt x="1007" y="1967"/>
                  </a:lnTo>
                  <a:lnTo>
                    <a:pt x="114" y="1073"/>
                  </a:lnTo>
                  <a:lnTo>
                    <a:pt x="94" y="1052"/>
                  </a:lnTo>
                  <a:lnTo>
                    <a:pt x="75" y="1029"/>
                  </a:lnTo>
                  <a:lnTo>
                    <a:pt x="57" y="1005"/>
                  </a:lnTo>
                  <a:lnTo>
                    <a:pt x="41" y="981"/>
                  </a:lnTo>
                  <a:lnTo>
                    <a:pt x="28" y="958"/>
                  </a:lnTo>
                  <a:lnTo>
                    <a:pt x="17" y="935"/>
                  </a:lnTo>
                  <a:lnTo>
                    <a:pt x="8" y="914"/>
                  </a:lnTo>
                  <a:lnTo>
                    <a:pt x="3" y="896"/>
                  </a:lnTo>
                  <a:lnTo>
                    <a:pt x="0" y="879"/>
                  </a:lnTo>
                  <a:lnTo>
                    <a:pt x="4" y="864"/>
                  </a:lnTo>
                  <a:lnTo>
                    <a:pt x="13" y="849"/>
                  </a:lnTo>
                  <a:lnTo>
                    <a:pt x="29" y="835"/>
                  </a:lnTo>
                  <a:lnTo>
                    <a:pt x="47" y="824"/>
                  </a:lnTo>
                  <a:lnTo>
                    <a:pt x="71" y="814"/>
                  </a:lnTo>
                  <a:lnTo>
                    <a:pt x="99" y="806"/>
                  </a:lnTo>
                  <a:lnTo>
                    <a:pt x="129" y="801"/>
                  </a:lnTo>
                  <a:lnTo>
                    <a:pt x="161" y="800"/>
                  </a:lnTo>
                  <a:lnTo>
                    <a:pt x="600" y="800"/>
                  </a:lnTo>
                  <a:lnTo>
                    <a:pt x="617" y="797"/>
                  </a:lnTo>
                  <a:lnTo>
                    <a:pt x="629" y="788"/>
                  </a:lnTo>
                  <a:lnTo>
                    <a:pt x="637" y="776"/>
                  </a:lnTo>
                  <a:lnTo>
                    <a:pt x="641" y="759"/>
                  </a:lnTo>
                  <a:lnTo>
                    <a:pt x="641" y="159"/>
                  </a:lnTo>
                  <a:lnTo>
                    <a:pt x="644" y="128"/>
                  </a:lnTo>
                  <a:lnTo>
                    <a:pt x="654" y="97"/>
                  </a:lnTo>
                  <a:lnTo>
                    <a:pt x="668" y="70"/>
                  </a:lnTo>
                  <a:lnTo>
                    <a:pt x="688" y="47"/>
                  </a:lnTo>
                  <a:lnTo>
                    <a:pt x="712" y="27"/>
                  </a:lnTo>
                  <a:lnTo>
                    <a:pt x="739" y="12"/>
                  </a:lnTo>
                  <a:lnTo>
                    <a:pt x="768" y="3"/>
                  </a:lnTo>
                  <a:lnTo>
                    <a:pt x="801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8" name="Freeform 193"/>
            <p:cNvSpPr>
              <a:spLocks/>
            </p:cNvSpPr>
            <p:nvPr/>
          </p:nvSpPr>
          <p:spPr bwMode="gray">
            <a:xfrm>
              <a:off x="10099" y="3165"/>
              <a:ext cx="340" cy="82"/>
            </a:xfrm>
            <a:custGeom>
              <a:avLst/>
              <a:gdLst>
                <a:gd name="T0" fmla="*/ 0 w 3401"/>
                <a:gd name="T1" fmla="*/ 0 h 818"/>
                <a:gd name="T2" fmla="*/ 0 w 3401"/>
                <a:gd name="T3" fmla="*/ 0 h 818"/>
                <a:gd name="T4" fmla="*/ 0 w 3401"/>
                <a:gd name="T5" fmla="*/ 0 h 818"/>
                <a:gd name="T6" fmla="*/ 0 w 3401"/>
                <a:gd name="T7" fmla="*/ 0 h 818"/>
                <a:gd name="T8" fmla="*/ 0 w 3401"/>
                <a:gd name="T9" fmla="*/ 0 h 818"/>
                <a:gd name="T10" fmla="*/ 0 w 3401"/>
                <a:gd name="T11" fmla="*/ 0 h 818"/>
                <a:gd name="T12" fmla="*/ 0 w 3401"/>
                <a:gd name="T13" fmla="*/ 0 h 818"/>
                <a:gd name="T14" fmla="*/ 0 w 3401"/>
                <a:gd name="T15" fmla="*/ 0 h 818"/>
                <a:gd name="T16" fmla="*/ 0 w 3401"/>
                <a:gd name="T17" fmla="*/ 0 h 818"/>
                <a:gd name="T18" fmla="*/ 0 w 3401"/>
                <a:gd name="T19" fmla="*/ 0 h 818"/>
                <a:gd name="T20" fmla="*/ 0 w 3401"/>
                <a:gd name="T21" fmla="*/ 0 h 818"/>
                <a:gd name="T22" fmla="*/ 0 w 3401"/>
                <a:gd name="T23" fmla="*/ 0 h 818"/>
                <a:gd name="T24" fmla="*/ 0 w 3401"/>
                <a:gd name="T25" fmla="*/ 0 h 818"/>
                <a:gd name="T26" fmla="*/ 0 w 3401"/>
                <a:gd name="T27" fmla="*/ 0 h 818"/>
                <a:gd name="T28" fmla="*/ 0 w 3401"/>
                <a:gd name="T29" fmla="*/ 0 h 818"/>
                <a:gd name="T30" fmla="*/ 0 w 3401"/>
                <a:gd name="T31" fmla="*/ 0 h 818"/>
                <a:gd name="T32" fmla="*/ 0 w 3401"/>
                <a:gd name="T33" fmla="*/ 0 h 818"/>
                <a:gd name="T34" fmla="*/ 0 w 3401"/>
                <a:gd name="T35" fmla="*/ 0 h 818"/>
                <a:gd name="T36" fmla="*/ 0 w 3401"/>
                <a:gd name="T37" fmla="*/ 0 h 818"/>
                <a:gd name="T38" fmla="*/ 0 w 3401"/>
                <a:gd name="T39" fmla="*/ 0 h 818"/>
                <a:gd name="T40" fmla="*/ 0 w 3401"/>
                <a:gd name="T41" fmla="*/ 0 h 818"/>
                <a:gd name="T42" fmla="*/ 0 w 3401"/>
                <a:gd name="T43" fmla="*/ 0 h 818"/>
                <a:gd name="T44" fmla="*/ 0 w 3401"/>
                <a:gd name="T45" fmla="*/ 0 h 818"/>
                <a:gd name="T46" fmla="*/ 0 w 3401"/>
                <a:gd name="T47" fmla="*/ 0 h 818"/>
                <a:gd name="T48" fmla="*/ 0 w 3401"/>
                <a:gd name="T49" fmla="*/ 0 h 818"/>
                <a:gd name="T50" fmla="*/ 0 w 3401"/>
                <a:gd name="T51" fmla="*/ 0 h 818"/>
                <a:gd name="T52" fmla="*/ 0 w 3401"/>
                <a:gd name="T53" fmla="*/ 0 h 818"/>
                <a:gd name="T54" fmla="*/ 0 w 3401"/>
                <a:gd name="T55" fmla="*/ 0 h 818"/>
                <a:gd name="T56" fmla="*/ 0 w 3401"/>
                <a:gd name="T57" fmla="*/ 0 h 818"/>
                <a:gd name="T58" fmla="*/ 0 w 3401"/>
                <a:gd name="T59" fmla="*/ 0 h 818"/>
                <a:gd name="T60" fmla="*/ 0 w 3401"/>
                <a:gd name="T61" fmla="*/ 0 h 818"/>
                <a:gd name="T62" fmla="*/ 0 w 3401"/>
                <a:gd name="T63" fmla="*/ 0 h 818"/>
                <a:gd name="T64" fmla="*/ 0 w 3401"/>
                <a:gd name="T65" fmla="*/ 0 h 818"/>
                <a:gd name="T66" fmla="*/ 0 w 3401"/>
                <a:gd name="T67" fmla="*/ 0 h 818"/>
                <a:gd name="T68" fmla="*/ 0 w 3401"/>
                <a:gd name="T69" fmla="*/ 0 h 818"/>
                <a:gd name="T70" fmla="*/ 0 w 3401"/>
                <a:gd name="T71" fmla="*/ 0 h 818"/>
                <a:gd name="T72" fmla="*/ 0 w 3401"/>
                <a:gd name="T73" fmla="*/ 0 h 818"/>
                <a:gd name="T74" fmla="*/ 0 w 3401"/>
                <a:gd name="T75" fmla="*/ 0 h 818"/>
                <a:gd name="T76" fmla="*/ 0 w 3401"/>
                <a:gd name="T77" fmla="*/ 0 h 818"/>
                <a:gd name="T78" fmla="*/ 0 w 3401"/>
                <a:gd name="T79" fmla="*/ 0 h 818"/>
                <a:gd name="T80" fmla="*/ 0 w 3401"/>
                <a:gd name="T81" fmla="*/ 0 h 818"/>
                <a:gd name="T82" fmla="*/ 0 w 3401"/>
                <a:gd name="T83" fmla="*/ 0 h 818"/>
                <a:gd name="T84" fmla="*/ 0 w 3401"/>
                <a:gd name="T85" fmla="*/ 0 h 818"/>
                <a:gd name="T86" fmla="*/ 0 w 3401"/>
                <a:gd name="T87" fmla="*/ 0 h 818"/>
                <a:gd name="T88" fmla="*/ 0 w 3401"/>
                <a:gd name="T89" fmla="*/ 0 h 818"/>
                <a:gd name="T90" fmla="*/ 0 w 3401"/>
                <a:gd name="T91" fmla="*/ 0 h 818"/>
                <a:gd name="T92" fmla="*/ 0 w 3401"/>
                <a:gd name="T93" fmla="*/ 0 h 818"/>
                <a:gd name="T94" fmla="*/ 0 w 3401"/>
                <a:gd name="T95" fmla="*/ 0 h 818"/>
                <a:gd name="T96" fmla="*/ 0 w 3401"/>
                <a:gd name="T97" fmla="*/ 0 h 818"/>
                <a:gd name="T98" fmla="*/ 0 w 3401"/>
                <a:gd name="T99" fmla="*/ 0 h 818"/>
                <a:gd name="T100" fmla="*/ 0 w 3401"/>
                <a:gd name="T101" fmla="*/ 0 h 818"/>
                <a:gd name="T102" fmla="*/ 0 w 3401"/>
                <a:gd name="T103" fmla="*/ 0 h 818"/>
                <a:gd name="T104" fmla="*/ 0 w 3401"/>
                <a:gd name="T105" fmla="*/ 0 h 818"/>
                <a:gd name="T106" fmla="*/ 0 w 3401"/>
                <a:gd name="T107" fmla="*/ 0 h 81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01"/>
                <a:gd name="T163" fmla="*/ 0 h 818"/>
                <a:gd name="T164" fmla="*/ 3401 w 3401"/>
                <a:gd name="T165" fmla="*/ 818 h 81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01" h="818">
                  <a:moveTo>
                    <a:pt x="741" y="0"/>
                  </a:moveTo>
                  <a:lnTo>
                    <a:pt x="996" y="0"/>
                  </a:lnTo>
                  <a:lnTo>
                    <a:pt x="1476" y="480"/>
                  </a:lnTo>
                  <a:lnTo>
                    <a:pt x="1508" y="508"/>
                  </a:lnTo>
                  <a:lnTo>
                    <a:pt x="1543" y="531"/>
                  </a:lnTo>
                  <a:lnTo>
                    <a:pt x="1580" y="549"/>
                  </a:lnTo>
                  <a:lnTo>
                    <a:pt x="1619" y="563"/>
                  </a:lnTo>
                  <a:lnTo>
                    <a:pt x="1659" y="570"/>
                  </a:lnTo>
                  <a:lnTo>
                    <a:pt x="1702" y="573"/>
                  </a:lnTo>
                  <a:lnTo>
                    <a:pt x="1743" y="570"/>
                  </a:lnTo>
                  <a:lnTo>
                    <a:pt x="1785" y="563"/>
                  </a:lnTo>
                  <a:lnTo>
                    <a:pt x="1824" y="549"/>
                  </a:lnTo>
                  <a:lnTo>
                    <a:pt x="1861" y="531"/>
                  </a:lnTo>
                  <a:lnTo>
                    <a:pt x="1896" y="508"/>
                  </a:lnTo>
                  <a:lnTo>
                    <a:pt x="1928" y="480"/>
                  </a:lnTo>
                  <a:lnTo>
                    <a:pt x="2408" y="0"/>
                  </a:lnTo>
                  <a:lnTo>
                    <a:pt x="2661" y="0"/>
                  </a:lnTo>
                  <a:lnTo>
                    <a:pt x="2699" y="2"/>
                  </a:lnTo>
                  <a:lnTo>
                    <a:pt x="2739" y="10"/>
                  </a:lnTo>
                  <a:lnTo>
                    <a:pt x="2781" y="22"/>
                  </a:lnTo>
                  <a:lnTo>
                    <a:pt x="2823" y="39"/>
                  </a:lnTo>
                  <a:lnTo>
                    <a:pt x="2864" y="58"/>
                  </a:lnTo>
                  <a:lnTo>
                    <a:pt x="2903" y="81"/>
                  </a:lnTo>
                  <a:lnTo>
                    <a:pt x="2940" y="108"/>
                  </a:lnTo>
                  <a:lnTo>
                    <a:pt x="2974" y="135"/>
                  </a:lnTo>
                  <a:lnTo>
                    <a:pt x="3002" y="164"/>
                  </a:lnTo>
                  <a:lnTo>
                    <a:pt x="3026" y="195"/>
                  </a:lnTo>
                  <a:lnTo>
                    <a:pt x="3311" y="623"/>
                  </a:lnTo>
                  <a:lnTo>
                    <a:pt x="3336" y="664"/>
                  </a:lnTo>
                  <a:lnTo>
                    <a:pt x="3359" y="711"/>
                  </a:lnTo>
                  <a:lnTo>
                    <a:pt x="3382" y="763"/>
                  </a:lnTo>
                  <a:lnTo>
                    <a:pt x="3401" y="818"/>
                  </a:lnTo>
                  <a:lnTo>
                    <a:pt x="3369" y="809"/>
                  </a:lnTo>
                  <a:lnTo>
                    <a:pt x="3336" y="803"/>
                  </a:lnTo>
                  <a:lnTo>
                    <a:pt x="3301" y="800"/>
                  </a:lnTo>
                  <a:lnTo>
                    <a:pt x="100" y="800"/>
                  </a:lnTo>
                  <a:lnTo>
                    <a:pt x="65" y="803"/>
                  </a:lnTo>
                  <a:lnTo>
                    <a:pt x="33" y="809"/>
                  </a:lnTo>
                  <a:lnTo>
                    <a:pt x="0" y="818"/>
                  </a:lnTo>
                  <a:lnTo>
                    <a:pt x="21" y="763"/>
                  </a:lnTo>
                  <a:lnTo>
                    <a:pt x="43" y="711"/>
                  </a:lnTo>
                  <a:lnTo>
                    <a:pt x="65" y="664"/>
                  </a:lnTo>
                  <a:lnTo>
                    <a:pt x="91" y="623"/>
                  </a:lnTo>
                  <a:lnTo>
                    <a:pt x="375" y="195"/>
                  </a:lnTo>
                  <a:lnTo>
                    <a:pt x="399" y="164"/>
                  </a:lnTo>
                  <a:lnTo>
                    <a:pt x="428" y="135"/>
                  </a:lnTo>
                  <a:lnTo>
                    <a:pt x="461" y="108"/>
                  </a:lnTo>
                  <a:lnTo>
                    <a:pt x="499" y="81"/>
                  </a:lnTo>
                  <a:lnTo>
                    <a:pt x="538" y="58"/>
                  </a:lnTo>
                  <a:lnTo>
                    <a:pt x="579" y="39"/>
                  </a:lnTo>
                  <a:lnTo>
                    <a:pt x="621" y="22"/>
                  </a:lnTo>
                  <a:lnTo>
                    <a:pt x="662" y="10"/>
                  </a:lnTo>
                  <a:lnTo>
                    <a:pt x="703" y="2"/>
                  </a:lnTo>
                  <a:lnTo>
                    <a:pt x="741" y="0"/>
                  </a:lnTo>
                  <a:close/>
                </a:path>
              </a:pathLst>
            </a:custGeom>
            <a:solidFill>
              <a:srgbClr val="2FB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endParaRPr lang="ko-KR" altLang="en-US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49" name="Group 231"/>
          <p:cNvGrpSpPr>
            <a:grpSpLocks/>
          </p:cNvGrpSpPr>
          <p:nvPr/>
        </p:nvGrpSpPr>
        <p:grpSpPr bwMode="auto">
          <a:xfrm>
            <a:off x="7914431" y="2565400"/>
            <a:ext cx="1636712" cy="3473450"/>
            <a:chOff x="5083" y="1769"/>
            <a:chExt cx="1031" cy="2188"/>
          </a:xfrm>
        </p:grpSpPr>
        <p:pic>
          <p:nvPicPr>
            <p:cNvPr id="50" name="Picture 212" descr="도형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312"/>
            <a:stretch>
              <a:fillRect/>
            </a:stretch>
          </p:blipFill>
          <p:spPr bwMode="auto">
            <a:xfrm>
              <a:off x="5083" y="1769"/>
              <a:ext cx="771" cy="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213" descr="도형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018" r="73312"/>
            <a:stretch>
              <a:fillRect/>
            </a:stretch>
          </p:blipFill>
          <p:spPr bwMode="auto">
            <a:xfrm>
              <a:off x="5083" y="3859"/>
              <a:ext cx="771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214" descr="도형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510" r="73312" b="28070"/>
            <a:stretch>
              <a:fillRect/>
            </a:stretch>
          </p:blipFill>
          <p:spPr bwMode="auto">
            <a:xfrm>
              <a:off x="5083" y="1893"/>
              <a:ext cx="771" cy="2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215" descr="도형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427"/>
            <a:stretch>
              <a:fillRect/>
            </a:stretch>
          </p:blipFill>
          <p:spPr bwMode="auto">
            <a:xfrm>
              <a:off x="5433" y="1769"/>
              <a:ext cx="681" cy="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216" descr="도형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427" t="57018"/>
            <a:stretch>
              <a:fillRect/>
            </a:stretch>
          </p:blipFill>
          <p:spPr bwMode="auto">
            <a:xfrm>
              <a:off x="5433" y="3859"/>
              <a:ext cx="681" cy="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217" descr="도형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427" t="47510" b="28070"/>
            <a:stretch>
              <a:fillRect/>
            </a:stretch>
          </p:blipFill>
          <p:spPr bwMode="auto">
            <a:xfrm>
              <a:off x="5433" y="1893"/>
              <a:ext cx="681" cy="2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6" name="Group 218"/>
          <p:cNvGrpSpPr>
            <a:grpSpLocks/>
          </p:cNvGrpSpPr>
          <p:nvPr/>
        </p:nvGrpSpPr>
        <p:grpSpPr bwMode="auto">
          <a:xfrm>
            <a:off x="7925543" y="2655888"/>
            <a:ext cx="327025" cy="209550"/>
            <a:chOff x="164" y="1211"/>
            <a:chExt cx="227" cy="145"/>
          </a:xfrm>
        </p:grpSpPr>
        <p:grpSp>
          <p:nvGrpSpPr>
            <p:cNvPr id="57" name="Group 586"/>
            <p:cNvGrpSpPr>
              <a:grpSpLocks/>
            </p:cNvGrpSpPr>
            <p:nvPr/>
          </p:nvGrpSpPr>
          <p:grpSpPr bwMode="auto">
            <a:xfrm flipH="1">
              <a:off x="241" y="1211"/>
              <a:ext cx="150" cy="144"/>
              <a:chOff x="10410" y="3554"/>
              <a:chExt cx="352" cy="339"/>
            </a:xfrm>
          </p:grpSpPr>
          <p:sp>
            <p:nvSpPr>
              <p:cNvPr id="63" name="Freeform 587"/>
              <p:cNvSpPr>
                <a:spLocks/>
              </p:cNvSpPr>
              <p:nvPr/>
            </p:nvSpPr>
            <p:spPr bwMode="auto">
              <a:xfrm>
                <a:off x="10460" y="3554"/>
                <a:ext cx="86" cy="161"/>
              </a:xfrm>
              <a:custGeom>
                <a:avLst/>
                <a:gdLst>
                  <a:gd name="T0" fmla="*/ 0 w 860"/>
                  <a:gd name="T1" fmla="*/ 0 h 1616"/>
                  <a:gd name="T2" fmla="*/ 0 w 860"/>
                  <a:gd name="T3" fmla="*/ 0 h 1616"/>
                  <a:gd name="T4" fmla="*/ 0 w 860"/>
                  <a:gd name="T5" fmla="*/ 0 h 1616"/>
                  <a:gd name="T6" fmla="*/ 0 w 860"/>
                  <a:gd name="T7" fmla="*/ 0 h 1616"/>
                  <a:gd name="T8" fmla="*/ 0 w 860"/>
                  <a:gd name="T9" fmla="*/ 0 h 1616"/>
                  <a:gd name="T10" fmla="*/ 0 w 860"/>
                  <a:gd name="T11" fmla="*/ 0 h 1616"/>
                  <a:gd name="T12" fmla="*/ 0 w 860"/>
                  <a:gd name="T13" fmla="*/ 0 h 1616"/>
                  <a:gd name="T14" fmla="*/ 0 w 860"/>
                  <a:gd name="T15" fmla="*/ 0 h 1616"/>
                  <a:gd name="T16" fmla="*/ 0 w 860"/>
                  <a:gd name="T17" fmla="*/ 0 h 1616"/>
                  <a:gd name="T18" fmla="*/ 0 w 860"/>
                  <a:gd name="T19" fmla="*/ 0 h 1616"/>
                  <a:gd name="T20" fmla="*/ 0 w 860"/>
                  <a:gd name="T21" fmla="*/ 0 h 1616"/>
                  <a:gd name="T22" fmla="*/ 0 w 860"/>
                  <a:gd name="T23" fmla="*/ 0 h 1616"/>
                  <a:gd name="T24" fmla="*/ 0 w 860"/>
                  <a:gd name="T25" fmla="*/ 0 h 1616"/>
                  <a:gd name="T26" fmla="*/ 0 w 860"/>
                  <a:gd name="T27" fmla="*/ 0 h 1616"/>
                  <a:gd name="T28" fmla="*/ 0 w 860"/>
                  <a:gd name="T29" fmla="*/ 0 h 1616"/>
                  <a:gd name="T30" fmla="*/ 0 w 860"/>
                  <a:gd name="T31" fmla="*/ 0 h 1616"/>
                  <a:gd name="T32" fmla="*/ 0 w 860"/>
                  <a:gd name="T33" fmla="*/ 0 h 1616"/>
                  <a:gd name="T34" fmla="*/ 0 w 860"/>
                  <a:gd name="T35" fmla="*/ 0 h 1616"/>
                  <a:gd name="T36" fmla="*/ 0 w 860"/>
                  <a:gd name="T37" fmla="*/ 0 h 1616"/>
                  <a:gd name="T38" fmla="*/ 0 w 860"/>
                  <a:gd name="T39" fmla="*/ 0 h 1616"/>
                  <a:gd name="T40" fmla="*/ 0 w 860"/>
                  <a:gd name="T41" fmla="*/ 0 h 1616"/>
                  <a:gd name="T42" fmla="*/ 0 w 860"/>
                  <a:gd name="T43" fmla="*/ 0 h 1616"/>
                  <a:gd name="T44" fmla="*/ 0 w 860"/>
                  <a:gd name="T45" fmla="*/ 0 h 1616"/>
                  <a:gd name="T46" fmla="*/ 0 w 860"/>
                  <a:gd name="T47" fmla="*/ 0 h 1616"/>
                  <a:gd name="T48" fmla="*/ 0 w 860"/>
                  <a:gd name="T49" fmla="*/ 0 h 1616"/>
                  <a:gd name="T50" fmla="*/ 0 w 860"/>
                  <a:gd name="T51" fmla="*/ 0 h 1616"/>
                  <a:gd name="T52" fmla="*/ 0 w 860"/>
                  <a:gd name="T53" fmla="*/ 0 h 1616"/>
                  <a:gd name="T54" fmla="*/ 0 w 860"/>
                  <a:gd name="T55" fmla="*/ 0 h 1616"/>
                  <a:gd name="T56" fmla="*/ 0 w 860"/>
                  <a:gd name="T57" fmla="*/ 0 h 1616"/>
                  <a:gd name="T58" fmla="*/ 0 w 860"/>
                  <a:gd name="T59" fmla="*/ 0 h 1616"/>
                  <a:gd name="T60" fmla="*/ 0 w 860"/>
                  <a:gd name="T61" fmla="*/ 0 h 1616"/>
                  <a:gd name="T62" fmla="*/ 0 w 860"/>
                  <a:gd name="T63" fmla="*/ 0 h 1616"/>
                  <a:gd name="T64" fmla="*/ 0 w 860"/>
                  <a:gd name="T65" fmla="*/ 0 h 1616"/>
                  <a:gd name="T66" fmla="*/ 0 w 860"/>
                  <a:gd name="T67" fmla="*/ 0 h 1616"/>
                  <a:gd name="T68" fmla="*/ 0 w 860"/>
                  <a:gd name="T69" fmla="*/ 0 h 161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860"/>
                  <a:gd name="T106" fmla="*/ 0 h 1616"/>
                  <a:gd name="T107" fmla="*/ 860 w 860"/>
                  <a:gd name="T108" fmla="*/ 1616 h 161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860" h="1616">
                    <a:moveTo>
                      <a:pt x="140" y="0"/>
                    </a:moveTo>
                    <a:lnTo>
                      <a:pt x="620" y="0"/>
                    </a:lnTo>
                    <a:lnTo>
                      <a:pt x="660" y="3"/>
                    </a:lnTo>
                    <a:lnTo>
                      <a:pt x="697" y="12"/>
                    </a:lnTo>
                    <a:lnTo>
                      <a:pt x="731" y="26"/>
                    </a:lnTo>
                    <a:lnTo>
                      <a:pt x="762" y="46"/>
                    </a:lnTo>
                    <a:lnTo>
                      <a:pt x="791" y="70"/>
                    </a:lnTo>
                    <a:lnTo>
                      <a:pt x="815" y="98"/>
                    </a:lnTo>
                    <a:lnTo>
                      <a:pt x="834" y="130"/>
                    </a:lnTo>
                    <a:lnTo>
                      <a:pt x="848" y="163"/>
                    </a:lnTo>
                    <a:lnTo>
                      <a:pt x="858" y="201"/>
                    </a:lnTo>
                    <a:lnTo>
                      <a:pt x="860" y="240"/>
                    </a:lnTo>
                    <a:lnTo>
                      <a:pt x="860" y="1520"/>
                    </a:lnTo>
                    <a:lnTo>
                      <a:pt x="860" y="1546"/>
                    </a:lnTo>
                    <a:lnTo>
                      <a:pt x="857" y="1569"/>
                    </a:lnTo>
                    <a:lnTo>
                      <a:pt x="854" y="1586"/>
                    </a:lnTo>
                    <a:lnTo>
                      <a:pt x="851" y="1599"/>
                    </a:lnTo>
                    <a:lnTo>
                      <a:pt x="846" y="1609"/>
                    </a:lnTo>
                    <a:lnTo>
                      <a:pt x="843" y="1616"/>
                    </a:lnTo>
                    <a:lnTo>
                      <a:pt x="837" y="1613"/>
                    </a:lnTo>
                    <a:lnTo>
                      <a:pt x="831" y="1610"/>
                    </a:lnTo>
                    <a:lnTo>
                      <a:pt x="821" y="1605"/>
                    </a:lnTo>
                    <a:lnTo>
                      <a:pt x="810" y="1595"/>
                    </a:lnTo>
                    <a:lnTo>
                      <a:pt x="797" y="1583"/>
                    </a:lnTo>
                    <a:lnTo>
                      <a:pt x="768" y="1553"/>
                    </a:lnTo>
                    <a:lnTo>
                      <a:pt x="738" y="1524"/>
                    </a:lnTo>
                    <a:lnTo>
                      <a:pt x="710" y="1496"/>
                    </a:lnTo>
                    <a:lnTo>
                      <a:pt x="683" y="1468"/>
                    </a:lnTo>
                    <a:lnTo>
                      <a:pt x="656" y="1442"/>
                    </a:lnTo>
                    <a:lnTo>
                      <a:pt x="633" y="1419"/>
                    </a:lnTo>
                    <a:lnTo>
                      <a:pt x="612" y="1397"/>
                    </a:lnTo>
                    <a:lnTo>
                      <a:pt x="593" y="1379"/>
                    </a:lnTo>
                    <a:lnTo>
                      <a:pt x="578" y="1364"/>
                    </a:lnTo>
                    <a:lnTo>
                      <a:pt x="566" y="1352"/>
                    </a:lnTo>
                    <a:lnTo>
                      <a:pt x="557" y="1343"/>
                    </a:lnTo>
                    <a:lnTo>
                      <a:pt x="536" y="1327"/>
                    </a:lnTo>
                    <a:lnTo>
                      <a:pt x="513" y="1313"/>
                    </a:lnTo>
                    <a:lnTo>
                      <a:pt x="487" y="1306"/>
                    </a:lnTo>
                    <a:lnTo>
                      <a:pt x="461" y="1304"/>
                    </a:lnTo>
                    <a:lnTo>
                      <a:pt x="434" y="1306"/>
                    </a:lnTo>
                    <a:lnTo>
                      <a:pt x="409" y="1313"/>
                    </a:lnTo>
                    <a:lnTo>
                      <a:pt x="385" y="1327"/>
                    </a:lnTo>
                    <a:lnTo>
                      <a:pt x="364" y="1343"/>
                    </a:lnTo>
                    <a:lnTo>
                      <a:pt x="242" y="1466"/>
                    </a:lnTo>
                    <a:lnTo>
                      <a:pt x="124" y="1583"/>
                    </a:lnTo>
                    <a:lnTo>
                      <a:pt x="111" y="1595"/>
                    </a:lnTo>
                    <a:lnTo>
                      <a:pt x="100" y="1605"/>
                    </a:lnTo>
                    <a:lnTo>
                      <a:pt x="91" y="1610"/>
                    </a:lnTo>
                    <a:lnTo>
                      <a:pt x="84" y="1613"/>
                    </a:lnTo>
                    <a:lnTo>
                      <a:pt x="79" y="1616"/>
                    </a:lnTo>
                    <a:lnTo>
                      <a:pt x="75" y="1609"/>
                    </a:lnTo>
                    <a:lnTo>
                      <a:pt x="72" y="1599"/>
                    </a:lnTo>
                    <a:lnTo>
                      <a:pt x="67" y="1586"/>
                    </a:lnTo>
                    <a:lnTo>
                      <a:pt x="64" y="1569"/>
                    </a:lnTo>
                    <a:lnTo>
                      <a:pt x="62" y="1546"/>
                    </a:lnTo>
                    <a:lnTo>
                      <a:pt x="61" y="1520"/>
                    </a:lnTo>
                    <a:lnTo>
                      <a:pt x="61" y="399"/>
                    </a:lnTo>
                    <a:lnTo>
                      <a:pt x="61" y="364"/>
                    </a:lnTo>
                    <a:lnTo>
                      <a:pt x="59" y="324"/>
                    </a:lnTo>
                    <a:lnTo>
                      <a:pt x="55" y="280"/>
                    </a:lnTo>
                    <a:lnTo>
                      <a:pt x="51" y="233"/>
                    </a:lnTo>
                    <a:lnTo>
                      <a:pt x="44" y="185"/>
                    </a:lnTo>
                    <a:lnTo>
                      <a:pt x="37" y="138"/>
                    </a:lnTo>
                    <a:lnTo>
                      <a:pt x="27" y="93"/>
                    </a:lnTo>
                    <a:lnTo>
                      <a:pt x="14" y="49"/>
                    </a:lnTo>
                    <a:lnTo>
                      <a:pt x="0" y="10"/>
                    </a:lnTo>
                    <a:lnTo>
                      <a:pt x="26" y="6"/>
                    </a:lnTo>
                    <a:lnTo>
                      <a:pt x="57" y="3"/>
                    </a:lnTo>
                    <a:lnTo>
                      <a:pt x="96" y="1"/>
                    </a:lnTo>
                    <a:lnTo>
                      <a:pt x="14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endParaRPr>
              </a:p>
            </p:txBody>
          </p:sp>
          <p:sp>
            <p:nvSpPr>
              <p:cNvPr id="64" name="Freeform 588"/>
              <p:cNvSpPr>
                <a:spLocks noEditPoints="1"/>
              </p:cNvSpPr>
              <p:nvPr/>
            </p:nvSpPr>
            <p:spPr bwMode="auto">
              <a:xfrm>
                <a:off x="10410" y="3554"/>
                <a:ext cx="352" cy="339"/>
              </a:xfrm>
              <a:custGeom>
                <a:avLst/>
                <a:gdLst>
                  <a:gd name="T0" fmla="*/ 0 w 3521"/>
                  <a:gd name="T1" fmla="*/ 0 h 3394"/>
                  <a:gd name="T2" fmla="*/ 0 w 3521"/>
                  <a:gd name="T3" fmla="*/ 0 h 3394"/>
                  <a:gd name="T4" fmla="*/ 0 w 3521"/>
                  <a:gd name="T5" fmla="*/ 0 h 3394"/>
                  <a:gd name="T6" fmla="*/ 0 w 3521"/>
                  <a:gd name="T7" fmla="*/ 0 h 3394"/>
                  <a:gd name="T8" fmla="*/ 0 w 3521"/>
                  <a:gd name="T9" fmla="*/ 0 h 3394"/>
                  <a:gd name="T10" fmla="*/ 0 w 3521"/>
                  <a:gd name="T11" fmla="*/ 0 h 3394"/>
                  <a:gd name="T12" fmla="*/ 0 w 3521"/>
                  <a:gd name="T13" fmla="*/ 0 h 3394"/>
                  <a:gd name="T14" fmla="*/ 0 w 3521"/>
                  <a:gd name="T15" fmla="*/ 0 h 3394"/>
                  <a:gd name="T16" fmla="*/ 0 w 3521"/>
                  <a:gd name="T17" fmla="*/ 0 h 3394"/>
                  <a:gd name="T18" fmla="*/ 0 w 3521"/>
                  <a:gd name="T19" fmla="*/ 0 h 3394"/>
                  <a:gd name="T20" fmla="*/ 0 w 3521"/>
                  <a:gd name="T21" fmla="*/ 0 h 3394"/>
                  <a:gd name="T22" fmla="*/ 0 w 3521"/>
                  <a:gd name="T23" fmla="*/ 0 h 3394"/>
                  <a:gd name="T24" fmla="*/ 0 w 3521"/>
                  <a:gd name="T25" fmla="*/ 0 h 3394"/>
                  <a:gd name="T26" fmla="*/ 0 w 3521"/>
                  <a:gd name="T27" fmla="*/ 0 h 3394"/>
                  <a:gd name="T28" fmla="*/ 0 w 3521"/>
                  <a:gd name="T29" fmla="*/ 0 h 3394"/>
                  <a:gd name="T30" fmla="*/ 0 w 3521"/>
                  <a:gd name="T31" fmla="*/ 0 h 3394"/>
                  <a:gd name="T32" fmla="*/ 0 w 3521"/>
                  <a:gd name="T33" fmla="*/ 0 h 3394"/>
                  <a:gd name="T34" fmla="*/ 0 w 3521"/>
                  <a:gd name="T35" fmla="*/ 0 h 3394"/>
                  <a:gd name="T36" fmla="*/ 0 w 3521"/>
                  <a:gd name="T37" fmla="*/ 0 h 3394"/>
                  <a:gd name="T38" fmla="*/ 0 w 3521"/>
                  <a:gd name="T39" fmla="*/ 0 h 3394"/>
                  <a:gd name="T40" fmla="*/ 0 w 3521"/>
                  <a:gd name="T41" fmla="*/ 0 h 3394"/>
                  <a:gd name="T42" fmla="*/ 0 w 3521"/>
                  <a:gd name="T43" fmla="*/ 0 h 3394"/>
                  <a:gd name="T44" fmla="*/ 0 w 3521"/>
                  <a:gd name="T45" fmla="*/ 0 h 3394"/>
                  <a:gd name="T46" fmla="*/ 0 w 3521"/>
                  <a:gd name="T47" fmla="*/ 0 h 3394"/>
                  <a:gd name="T48" fmla="*/ 0 w 3521"/>
                  <a:gd name="T49" fmla="*/ 0 h 3394"/>
                  <a:gd name="T50" fmla="*/ 0 w 3521"/>
                  <a:gd name="T51" fmla="*/ 0 h 3394"/>
                  <a:gd name="T52" fmla="*/ 0 w 3521"/>
                  <a:gd name="T53" fmla="*/ 0 h 3394"/>
                  <a:gd name="T54" fmla="*/ 0 w 3521"/>
                  <a:gd name="T55" fmla="*/ 0 h 3394"/>
                  <a:gd name="T56" fmla="*/ 0 w 3521"/>
                  <a:gd name="T57" fmla="*/ 0 h 3394"/>
                  <a:gd name="T58" fmla="*/ 0 w 3521"/>
                  <a:gd name="T59" fmla="*/ 0 h 3394"/>
                  <a:gd name="T60" fmla="*/ 0 w 3521"/>
                  <a:gd name="T61" fmla="*/ 0 h 3394"/>
                  <a:gd name="T62" fmla="*/ 0 w 3521"/>
                  <a:gd name="T63" fmla="*/ 0 h 3394"/>
                  <a:gd name="T64" fmla="*/ 0 w 3521"/>
                  <a:gd name="T65" fmla="*/ 0 h 3394"/>
                  <a:gd name="T66" fmla="*/ 0 w 3521"/>
                  <a:gd name="T67" fmla="*/ 0 h 3394"/>
                  <a:gd name="T68" fmla="*/ 0 w 3521"/>
                  <a:gd name="T69" fmla="*/ 0 h 3394"/>
                  <a:gd name="T70" fmla="*/ 0 w 3521"/>
                  <a:gd name="T71" fmla="*/ 0 h 3394"/>
                  <a:gd name="T72" fmla="*/ 0 w 3521"/>
                  <a:gd name="T73" fmla="*/ 0 h 3394"/>
                  <a:gd name="T74" fmla="*/ 0 w 3521"/>
                  <a:gd name="T75" fmla="*/ 0 h 3394"/>
                  <a:gd name="T76" fmla="*/ 0 w 3521"/>
                  <a:gd name="T77" fmla="*/ 0 h 3394"/>
                  <a:gd name="T78" fmla="*/ 0 w 3521"/>
                  <a:gd name="T79" fmla="*/ 0 h 3394"/>
                  <a:gd name="T80" fmla="*/ 0 w 3521"/>
                  <a:gd name="T81" fmla="*/ 0 h 3394"/>
                  <a:gd name="T82" fmla="*/ 0 w 3521"/>
                  <a:gd name="T83" fmla="*/ 0 h 3394"/>
                  <a:gd name="T84" fmla="*/ 0 w 3521"/>
                  <a:gd name="T85" fmla="*/ 0 h 3394"/>
                  <a:gd name="T86" fmla="*/ 0 w 3521"/>
                  <a:gd name="T87" fmla="*/ 0 h 3394"/>
                  <a:gd name="T88" fmla="*/ 0 w 3521"/>
                  <a:gd name="T89" fmla="*/ 0 h 3394"/>
                  <a:gd name="T90" fmla="*/ 0 w 3521"/>
                  <a:gd name="T91" fmla="*/ 0 h 3394"/>
                  <a:gd name="T92" fmla="*/ 0 w 3521"/>
                  <a:gd name="T93" fmla="*/ 0 h 3394"/>
                  <a:gd name="T94" fmla="*/ 0 w 3521"/>
                  <a:gd name="T95" fmla="*/ 0 h 3394"/>
                  <a:gd name="T96" fmla="*/ 0 w 3521"/>
                  <a:gd name="T97" fmla="*/ 0 h 3394"/>
                  <a:gd name="T98" fmla="*/ 0 w 3521"/>
                  <a:gd name="T99" fmla="*/ 0 h 3394"/>
                  <a:gd name="T100" fmla="*/ 0 w 3521"/>
                  <a:gd name="T101" fmla="*/ 0 h 3394"/>
                  <a:gd name="T102" fmla="*/ 0 w 3521"/>
                  <a:gd name="T103" fmla="*/ 0 h 3394"/>
                  <a:gd name="T104" fmla="*/ 0 w 3521"/>
                  <a:gd name="T105" fmla="*/ 0 h 339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521"/>
                  <a:gd name="T160" fmla="*/ 0 h 3394"/>
                  <a:gd name="T161" fmla="*/ 3521 w 3521"/>
                  <a:gd name="T162" fmla="*/ 3394 h 339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521" h="3394">
                    <a:moveTo>
                      <a:pt x="2320" y="159"/>
                    </a:moveTo>
                    <a:lnTo>
                      <a:pt x="2293" y="160"/>
                    </a:lnTo>
                    <a:lnTo>
                      <a:pt x="2263" y="163"/>
                    </a:lnTo>
                    <a:lnTo>
                      <a:pt x="2229" y="168"/>
                    </a:lnTo>
                    <a:lnTo>
                      <a:pt x="2195" y="174"/>
                    </a:lnTo>
                    <a:lnTo>
                      <a:pt x="2160" y="181"/>
                    </a:lnTo>
                    <a:lnTo>
                      <a:pt x="2127" y="190"/>
                    </a:lnTo>
                    <a:lnTo>
                      <a:pt x="2098" y="198"/>
                    </a:lnTo>
                    <a:lnTo>
                      <a:pt x="2072" y="207"/>
                    </a:lnTo>
                    <a:lnTo>
                      <a:pt x="1969" y="249"/>
                    </a:lnTo>
                    <a:lnTo>
                      <a:pt x="1925" y="263"/>
                    </a:lnTo>
                    <a:lnTo>
                      <a:pt x="1883" y="274"/>
                    </a:lnTo>
                    <a:lnTo>
                      <a:pt x="1840" y="279"/>
                    </a:lnTo>
                    <a:lnTo>
                      <a:pt x="1840" y="2834"/>
                    </a:lnTo>
                    <a:lnTo>
                      <a:pt x="1846" y="2833"/>
                    </a:lnTo>
                    <a:lnTo>
                      <a:pt x="1850" y="2832"/>
                    </a:lnTo>
                    <a:lnTo>
                      <a:pt x="1953" y="2791"/>
                    </a:lnTo>
                    <a:lnTo>
                      <a:pt x="1993" y="2776"/>
                    </a:lnTo>
                    <a:lnTo>
                      <a:pt x="2038" y="2762"/>
                    </a:lnTo>
                    <a:lnTo>
                      <a:pt x="2085" y="2750"/>
                    </a:lnTo>
                    <a:lnTo>
                      <a:pt x="2134" y="2740"/>
                    </a:lnTo>
                    <a:lnTo>
                      <a:pt x="2183" y="2732"/>
                    </a:lnTo>
                    <a:lnTo>
                      <a:pt x="2232" y="2725"/>
                    </a:lnTo>
                    <a:lnTo>
                      <a:pt x="2278" y="2721"/>
                    </a:lnTo>
                    <a:lnTo>
                      <a:pt x="2320" y="2720"/>
                    </a:lnTo>
                    <a:lnTo>
                      <a:pt x="3280" y="2720"/>
                    </a:lnTo>
                    <a:lnTo>
                      <a:pt x="3280" y="159"/>
                    </a:lnTo>
                    <a:lnTo>
                      <a:pt x="2320" y="159"/>
                    </a:lnTo>
                    <a:close/>
                    <a:moveTo>
                      <a:pt x="241" y="0"/>
                    </a:moveTo>
                    <a:lnTo>
                      <a:pt x="400" y="0"/>
                    </a:lnTo>
                    <a:lnTo>
                      <a:pt x="412" y="14"/>
                    </a:lnTo>
                    <a:lnTo>
                      <a:pt x="423" y="34"/>
                    </a:lnTo>
                    <a:lnTo>
                      <a:pt x="433" y="59"/>
                    </a:lnTo>
                    <a:lnTo>
                      <a:pt x="443" y="89"/>
                    </a:lnTo>
                    <a:lnTo>
                      <a:pt x="452" y="123"/>
                    </a:lnTo>
                    <a:lnTo>
                      <a:pt x="459" y="159"/>
                    </a:lnTo>
                    <a:lnTo>
                      <a:pt x="241" y="159"/>
                    </a:lnTo>
                    <a:lnTo>
                      <a:pt x="241" y="2720"/>
                    </a:lnTo>
                    <a:lnTo>
                      <a:pt x="1201" y="2720"/>
                    </a:lnTo>
                    <a:lnTo>
                      <a:pt x="1244" y="2721"/>
                    </a:lnTo>
                    <a:lnTo>
                      <a:pt x="1289" y="2725"/>
                    </a:lnTo>
                    <a:lnTo>
                      <a:pt x="1339" y="2732"/>
                    </a:lnTo>
                    <a:lnTo>
                      <a:pt x="1388" y="2740"/>
                    </a:lnTo>
                    <a:lnTo>
                      <a:pt x="1437" y="2750"/>
                    </a:lnTo>
                    <a:lnTo>
                      <a:pt x="1484" y="2762"/>
                    </a:lnTo>
                    <a:lnTo>
                      <a:pt x="1528" y="2776"/>
                    </a:lnTo>
                    <a:lnTo>
                      <a:pt x="1569" y="2791"/>
                    </a:lnTo>
                    <a:lnTo>
                      <a:pt x="1671" y="2832"/>
                    </a:lnTo>
                    <a:lnTo>
                      <a:pt x="1676" y="2833"/>
                    </a:lnTo>
                    <a:lnTo>
                      <a:pt x="1681" y="2834"/>
                    </a:lnTo>
                    <a:lnTo>
                      <a:pt x="1681" y="279"/>
                    </a:lnTo>
                    <a:lnTo>
                      <a:pt x="1640" y="274"/>
                    </a:lnTo>
                    <a:lnTo>
                      <a:pt x="1596" y="263"/>
                    </a:lnTo>
                    <a:lnTo>
                      <a:pt x="1552" y="249"/>
                    </a:lnTo>
                    <a:lnTo>
                      <a:pt x="1450" y="207"/>
                    </a:lnTo>
                    <a:lnTo>
                      <a:pt x="1443" y="205"/>
                    </a:lnTo>
                    <a:lnTo>
                      <a:pt x="1437" y="203"/>
                    </a:lnTo>
                    <a:lnTo>
                      <a:pt x="1429" y="160"/>
                    </a:lnTo>
                    <a:lnTo>
                      <a:pt x="1416" y="120"/>
                    </a:lnTo>
                    <a:lnTo>
                      <a:pt x="1399" y="82"/>
                    </a:lnTo>
                    <a:lnTo>
                      <a:pt x="1376" y="47"/>
                    </a:lnTo>
                    <a:lnTo>
                      <a:pt x="1348" y="15"/>
                    </a:lnTo>
                    <a:lnTo>
                      <a:pt x="1392" y="24"/>
                    </a:lnTo>
                    <a:lnTo>
                      <a:pt x="1435" y="35"/>
                    </a:lnTo>
                    <a:lnTo>
                      <a:pt x="1474" y="47"/>
                    </a:lnTo>
                    <a:lnTo>
                      <a:pt x="1510" y="59"/>
                    </a:lnTo>
                    <a:lnTo>
                      <a:pt x="1612" y="100"/>
                    </a:lnTo>
                    <a:lnTo>
                      <a:pt x="1645" y="111"/>
                    </a:lnTo>
                    <a:lnTo>
                      <a:pt x="1681" y="119"/>
                    </a:lnTo>
                    <a:lnTo>
                      <a:pt x="1720" y="123"/>
                    </a:lnTo>
                    <a:lnTo>
                      <a:pt x="1761" y="124"/>
                    </a:lnTo>
                    <a:lnTo>
                      <a:pt x="1801" y="123"/>
                    </a:lnTo>
                    <a:lnTo>
                      <a:pt x="1840" y="119"/>
                    </a:lnTo>
                    <a:lnTo>
                      <a:pt x="1876" y="111"/>
                    </a:lnTo>
                    <a:lnTo>
                      <a:pt x="1909" y="100"/>
                    </a:lnTo>
                    <a:lnTo>
                      <a:pt x="2013" y="59"/>
                    </a:lnTo>
                    <a:lnTo>
                      <a:pt x="2045" y="47"/>
                    </a:lnTo>
                    <a:lnTo>
                      <a:pt x="2083" y="36"/>
                    </a:lnTo>
                    <a:lnTo>
                      <a:pt x="2123" y="26"/>
                    </a:lnTo>
                    <a:lnTo>
                      <a:pt x="2164" y="17"/>
                    </a:lnTo>
                    <a:lnTo>
                      <a:pt x="2206" y="10"/>
                    </a:lnTo>
                    <a:lnTo>
                      <a:pt x="2247" y="4"/>
                    </a:lnTo>
                    <a:lnTo>
                      <a:pt x="2285" y="1"/>
                    </a:lnTo>
                    <a:lnTo>
                      <a:pt x="2320" y="0"/>
                    </a:lnTo>
                    <a:lnTo>
                      <a:pt x="3280" y="0"/>
                    </a:lnTo>
                    <a:lnTo>
                      <a:pt x="3312" y="3"/>
                    </a:lnTo>
                    <a:lnTo>
                      <a:pt x="3341" y="12"/>
                    </a:lnTo>
                    <a:lnTo>
                      <a:pt x="3368" y="26"/>
                    </a:lnTo>
                    <a:lnTo>
                      <a:pt x="3391" y="45"/>
                    </a:lnTo>
                    <a:lnTo>
                      <a:pt x="3410" y="66"/>
                    </a:lnTo>
                    <a:lnTo>
                      <a:pt x="3425" y="93"/>
                    </a:lnTo>
                    <a:lnTo>
                      <a:pt x="3453" y="108"/>
                    </a:lnTo>
                    <a:lnTo>
                      <a:pt x="3476" y="127"/>
                    </a:lnTo>
                    <a:lnTo>
                      <a:pt x="3494" y="150"/>
                    </a:lnTo>
                    <a:lnTo>
                      <a:pt x="3509" y="178"/>
                    </a:lnTo>
                    <a:lnTo>
                      <a:pt x="3518" y="207"/>
                    </a:lnTo>
                    <a:lnTo>
                      <a:pt x="3521" y="240"/>
                    </a:lnTo>
                    <a:lnTo>
                      <a:pt x="3521" y="3120"/>
                    </a:lnTo>
                    <a:lnTo>
                      <a:pt x="3518" y="3152"/>
                    </a:lnTo>
                    <a:lnTo>
                      <a:pt x="3508" y="3182"/>
                    </a:lnTo>
                    <a:lnTo>
                      <a:pt x="3494" y="3210"/>
                    </a:lnTo>
                    <a:lnTo>
                      <a:pt x="3475" y="3234"/>
                    </a:lnTo>
                    <a:lnTo>
                      <a:pt x="3451" y="3253"/>
                    </a:lnTo>
                    <a:lnTo>
                      <a:pt x="3423" y="3269"/>
                    </a:lnTo>
                    <a:lnTo>
                      <a:pt x="3393" y="3277"/>
                    </a:lnTo>
                    <a:lnTo>
                      <a:pt x="3361" y="3281"/>
                    </a:lnTo>
                    <a:lnTo>
                      <a:pt x="2481" y="3281"/>
                    </a:lnTo>
                    <a:lnTo>
                      <a:pt x="2421" y="3282"/>
                    </a:lnTo>
                    <a:lnTo>
                      <a:pt x="2357" y="3285"/>
                    </a:lnTo>
                    <a:lnTo>
                      <a:pt x="2293" y="3290"/>
                    </a:lnTo>
                    <a:lnTo>
                      <a:pt x="2229" y="3298"/>
                    </a:lnTo>
                    <a:lnTo>
                      <a:pt x="2165" y="3307"/>
                    </a:lnTo>
                    <a:lnTo>
                      <a:pt x="2104" y="3318"/>
                    </a:lnTo>
                    <a:lnTo>
                      <a:pt x="2047" y="3330"/>
                    </a:lnTo>
                    <a:lnTo>
                      <a:pt x="1992" y="3343"/>
                    </a:lnTo>
                    <a:lnTo>
                      <a:pt x="1944" y="3357"/>
                    </a:lnTo>
                    <a:lnTo>
                      <a:pt x="1901" y="3372"/>
                    </a:lnTo>
                    <a:lnTo>
                      <a:pt x="1880" y="3380"/>
                    </a:lnTo>
                    <a:lnTo>
                      <a:pt x="1853" y="3385"/>
                    </a:lnTo>
                    <a:lnTo>
                      <a:pt x="1824" y="3390"/>
                    </a:lnTo>
                    <a:lnTo>
                      <a:pt x="1793" y="3393"/>
                    </a:lnTo>
                    <a:lnTo>
                      <a:pt x="1761" y="3394"/>
                    </a:lnTo>
                    <a:lnTo>
                      <a:pt x="1728" y="3393"/>
                    </a:lnTo>
                    <a:lnTo>
                      <a:pt x="1697" y="3390"/>
                    </a:lnTo>
                    <a:lnTo>
                      <a:pt x="1668" y="3385"/>
                    </a:lnTo>
                    <a:lnTo>
                      <a:pt x="1642" y="3380"/>
                    </a:lnTo>
                    <a:lnTo>
                      <a:pt x="1620" y="3372"/>
                    </a:lnTo>
                    <a:lnTo>
                      <a:pt x="1577" y="3357"/>
                    </a:lnTo>
                    <a:lnTo>
                      <a:pt x="1529" y="3343"/>
                    </a:lnTo>
                    <a:lnTo>
                      <a:pt x="1475" y="3330"/>
                    </a:lnTo>
                    <a:lnTo>
                      <a:pt x="1417" y="3318"/>
                    </a:lnTo>
                    <a:lnTo>
                      <a:pt x="1356" y="3307"/>
                    </a:lnTo>
                    <a:lnTo>
                      <a:pt x="1293" y="3298"/>
                    </a:lnTo>
                    <a:lnTo>
                      <a:pt x="1228" y="3290"/>
                    </a:lnTo>
                    <a:lnTo>
                      <a:pt x="1164" y="3285"/>
                    </a:lnTo>
                    <a:lnTo>
                      <a:pt x="1102" y="3282"/>
                    </a:lnTo>
                    <a:lnTo>
                      <a:pt x="1041" y="3281"/>
                    </a:lnTo>
                    <a:lnTo>
                      <a:pt x="160" y="3281"/>
                    </a:lnTo>
                    <a:lnTo>
                      <a:pt x="129" y="3277"/>
                    </a:lnTo>
                    <a:lnTo>
                      <a:pt x="98" y="3269"/>
                    </a:lnTo>
                    <a:lnTo>
                      <a:pt x="71" y="3253"/>
                    </a:lnTo>
                    <a:lnTo>
                      <a:pt x="47" y="3234"/>
                    </a:lnTo>
                    <a:lnTo>
                      <a:pt x="27" y="3210"/>
                    </a:lnTo>
                    <a:lnTo>
                      <a:pt x="13" y="3182"/>
                    </a:lnTo>
                    <a:lnTo>
                      <a:pt x="3" y="3152"/>
                    </a:lnTo>
                    <a:lnTo>
                      <a:pt x="0" y="3120"/>
                    </a:lnTo>
                    <a:lnTo>
                      <a:pt x="0" y="240"/>
                    </a:lnTo>
                    <a:lnTo>
                      <a:pt x="3" y="207"/>
                    </a:lnTo>
                    <a:lnTo>
                      <a:pt x="12" y="178"/>
                    </a:lnTo>
                    <a:lnTo>
                      <a:pt x="27" y="150"/>
                    </a:lnTo>
                    <a:lnTo>
                      <a:pt x="46" y="127"/>
                    </a:lnTo>
                    <a:lnTo>
                      <a:pt x="70" y="108"/>
                    </a:lnTo>
                    <a:lnTo>
                      <a:pt x="96" y="93"/>
                    </a:lnTo>
                    <a:lnTo>
                      <a:pt x="111" y="66"/>
                    </a:lnTo>
                    <a:lnTo>
                      <a:pt x="131" y="45"/>
                    </a:lnTo>
                    <a:lnTo>
                      <a:pt x="154" y="26"/>
                    </a:lnTo>
                    <a:lnTo>
                      <a:pt x="180" y="12"/>
                    </a:lnTo>
                    <a:lnTo>
                      <a:pt x="209" y="3"/>
                    </a:lnTo>
                    <a:lnTo>
                      <a:pt x="24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endParaRPr>
              </a:p>
            </p:txBody>
          </p:sp>
        </p:grpSp>
        <p:grpSp>
          <p:nvGrpSpPr>
            <p:cNvPr id="58" name="Group 589"/>
            <p:cNvGrpSpPr>
              <a:grpSpLocks/>
            </p:cNvGrpSpPr>
            <p:nvPr/>
          </p:nvGrpSpPr>
          <p:grpSpPr bwMode="auto">
            <a:xfrm>
              <a:off x="164" y="1243"/>
              <a:ext cx="116" cy="113"/>
              <a:chOff x="10747" y="2191"/>
              <a:chExt cx="984" cy="958"/>
            </a:xfrm>
          </p:grpSpPr>
          <p:sp>
            <p:nvSpPr>
              <p:cNvPr id="60" name="Freeform 590"/>
              <p:cNvSpPr>
                <a:spLocks noEditPoints="1"/>
              </p:cNvSpPr>
              <p:nvPr/>
            </p:nvSpPr>
            <p:spPr bwMode="auto">
              <a:xfrm>
                <a:off x="11104" y="2191"/>
                <a:ext cx="627" cy="613"/>
              </a:xfrm>
              <a:custGeom>
                <a:avLst/>
                <a:gdLst>
                  <a:gd name="T0" fmla="*/ 0 w 2508"/>
                  <a:gd name="T1" fmla="*/ 0 h 2449"/>
                  <a:gd name="T2" fmla="*/ 0 w 2508"/>
                  <a:gd name="T3" fmla="*/ 0 h 2449"/>
                  <a:gd name="T4" fmla="*/ 0 w 2508"/>
                  <a:gd name="T5" fmla="*/ 0 h 2449"/>
                  <a:gd name="T6" fmla="*/ 0 w 2508"/>
                  <a:gd name="T7" fmla="*/ 0 h 2449"/>
                  <a:gd name="T8" fmla="*/ 0 w 2508"/>
                  <a:gd name="T9" fmla="*/ 0 h 2449"/>
                  <a:gd name="T10" fmla="*/ 0 w 2508"/>
                  <a:gd name="T11" fmla="*/ 0 h 2449"/>
                  <a:gd name="T12" fmla="*/ 0 w 2508"/>
                  <a:gd name="T13" fmla="*/ 0 h 2449"/>
                  <a:gd name="T14" fmla="*/ 0 w 2508"/>
                  <a:gd name="T15" fmla="*/ 0 h 2449"/>
                  <a:gd name="T16" fmla="*/ 0 w 2508"/>
                  <a:gd name="T17" fmla="*/ 0 h 2449"/>
                  <a:gd name="T18" fmla="*/ 0 w 2508"/>
                  <a:gd name="T19" fmla="*/ 0 h 2449"/>
                  <a:gd name="T20" fmla="*/ 0 w 2508"/>
                  <a:gd name="T21" fmla="*/ 0 h 2449"/>
                  <a:gd name="T22" fmla="*/ 0 w 2508"/>
                  <a:gd name="T23" fmla="*/ 0 h 2449"/>
                  <a:gd name="T24" fmla="*/ 0 w 2508"/>
                  <a:gd name="T25" fmla="*/ 0 h 2449"/>
                  <a:gd name="T26" fmla="*/ 0 w 2508"/>
                  <a:gd name="T27" fmla="*/ 0 h 2449"/>
                  <a:gd name="T28" fmla="*/ 0 w 2508"/>
                  <a:gd name="T29" fmla="*/ 0 h 2449"/>
                  <a:gd name="T30" fmla="*/ 0 w 2508"/>
                  <a:gd name="T31" fmla="*/ 0 h 2449"/>
                  <a:gd name="T32" fmla="*/ 0 w 2508"/>
                  <a:gd name="T33" fmla="*/ 0 h 2449"/>
                  <a:gd name="T34" fmla="*/ 0 w 2508"/>
                  <a:gd name="T35" fmla="*/ 0 h 2449"/>
                  <a:gd name="T36" fmla="*/ 0 w 2508"/>
                  <a:gd name="T37" fmla="*/ 0 h 2449"/>
                  <a:gd name="T38" fmla="*/ 0 w 2508"/>
                  <a:gd name="T39" fmla="*/ 0 h 2449"/>
                  <a:gd name="T40" fmla="*/ 0 w 2508"/>
                  <a:gd name="T41" fmla="*/ 0 h 2449"/>
                  <a:gd name="T42" fmla="*/ 0 w 2508"/>
                  <a:gd name="T43" fmla="*/ 0 h 2449"/>
                  <a:gd name="T44" fmla="*/ 0 w 2508"/>
                  <a:gd name="T45" fmla="*/ 0 h 2449"/>
                  <a:gd name="T46" fmla="*/ 0 w 2508"/>
                  <a:gd name="T47" fmla="*/ 0 h 2449"/>
                  <a:gd name="T48" fmla="*/ 0 w 2508"/>
                  <a:gd name="T49" fmla="*/ 0 h 2449"/>
                  <a:gd name="T50" fmla="*/ 0 w 2508"/>
                  <a:gd name="T51" fmla="*/ 0 h 2449"/>
                  <a:gd name="T52" fmla="*/ 0 w 2508"/>
                  <a:gd name="T53" fmla="*/ 0 h 2449"/>
                  <a:gd name="T54" fmla="*/ 0 w 2508"/>
                  <a:gd name="T55" fmla="*/ 0 h 2449"/>
                  <a:gd name="T56" fmla="*/ 0 w 2508"/>
                  <a:gd name="T57" fmla="*/ 0 h 2449"/>
                  <a:gd name="T58" fmla="*/ 0 w 2508"/>
                  <a:gd name="T59" fmla="*/ 0 h 2449"/>
                  <a:gd name="T60" fmla="*/ 0 w 2508"/>
                  <a:gd name="T61" fmla="*/ 0 h 2449"/>
                  <a:gd name="T62" fmla="*/ 0 w 2508"/>
                  <a:gd name="T63" fmla="*/ 0 h 2449"/>
                  <a:gd name="T64" fmla="*/ 0 w 2508"/>
                  <a:gd name="T65" fmla="*/ 0 h 2449"/>
                  <a:gd name="T66" fmla="*/ 0 w 2508"/>
                  <a:gd name="T67" fmla="*/ 0 h 2449"/>
                  <a:gd name="T68" fmla="*/ 0 w 2508"/>
                  <a:gd name="T69" fmla="*/ 0 h 2449"/>
                  <a:gd name="T70" fmla="*/ 0 w 2508"/>
                  <a:gd name="T71" fmla="*/ 0 h 2449"/>
                  <a:gd name="T72" fmla="*/ 0 w 2508"/>
                  <a:gd name="T73" fmla="*/ 0 h 2449"/>
                  <a:gd name="T74" fmla="*/ 0 w 2508"/>
                  <a:gd name="T75" fmla="*/ 0 h 2449"/>
                  <a:gd name="T76" fmla="*/ 0 w 2508"/>
                  <a:gd name="T77" fmla="*/ 0 h 2449"/>
                  <a:gd name="T78" fmla="*/ 0 w 2508"/>
                  <a:gd name="T79" fmla="*/ 0 h 2449"/>
                  <a:gd name="T80" fmla="*/ 0 w 2508"/>
                  <a:gd name="T81" fmla="*/ 0 h 2449"/>
                  <a:gd name="T82" fmla="*/ 0 w 2508"/>
                  <a:gd name="T83" fmla="*/ 0 h 2449"/>
                  <a:gd name="T84" fmla="*/ 0 w 2508"/>
                  <a:gd name="T85" fmla="*/ 0 h 2449"/>
                  <a:gd name="T86" fmla="*/ 0 w 2508"/>
                  <a:gd name="T87" fmla="*/ 0 h 2449"/>
                  <a:gd name="T88" fmla="*/ 0 w 2508"/>
                  <a:gd name="T89" fmla="*/ 0 h 2449"/>
                  <a:gd name="T90" fmla="*/ 0 w 2508"/>
                  <a:gd name="T91" fmla="*/ 0 h 2449"/>
                  <a:gd name="T92" fmla="*/ 0 w 2508"/>
                  <a:gd name="T93" fmla="*/ 0 h 2449"/>
                  <a:gd name="T94" fmla="*/ 0 w 2508"/>
                  <a:gd name="T95" fmla="*/ 0 h 2449"/>
                  <a:gd name="T96" fmla="*/ 0 w 2508"/>
                  <a:gd name="T97" fmla="*/ 0 h 2449"/>
                  <a:gd name="T98" fmla="*/ 0 w 2508"/>
                  <a:gd name="T99" fmla="*/ 0 h 2449"/>
                  <a:gd name="T100" fmla="*/ 0 w 2508"/>
                  <a:gd name="T101" fmla="*/ 0 h 2449"/>
                  <a:gd name="T102" fmla="*/ 0 w 2508"/>
                  <a:gd name="T103" fmla="*/ 0 h 2449"/>
                  <a:gd name="T104" fmla="*/ 0 w 2508"/>
                  <a:gd name="T105" fmla="*/ 0 h 2449"/>
                  <a:gd name="T106" fmla="*/ 0 w 2508"/>
                  <a:gd name="T107" fmla="*/ 0 h 2449"/>
                  <a:gd name="T108" fmla="*/ 0 w 2508"/>
                  <a:gd name="T109" fmla="*/ 0 h 2449"/>
                  <a:gd name="T110" fmla="*/ 0 w 2508"/>
                  <a:gd name="T111" fmla="*/ 0 h 244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508"/>
                  <a:gd name="T169" fmla="*/ 0 h 2449"/>
                  <a:gd name="T170" fmla="*/ 2508 w 2508"/>
                  <a:gd name="T171" fmla="*/ 2449 h 244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508" h="2449">
                    <a:moveTo>
                      <a:pt x="1219" y="371"/>
                    </a:moveTo>
                    <a:lnTo>
                      <a:pt x="1148" y="377"/>
                    </a:lnTo>
                    <a:lnTo>
                      <a:pt x="1078" y="388"/>
                    </a:lnTo>
                    <a:lnTo>
                      <a:pt x="1010" y="405"/>
                    </a:lnTo>
                    <a:lnTo>
                      <a:pt x="942" y="427"/>
                    </a:lnTo>
                    <a:lnTo>
                      <a:pt x="876" y="454"/>
                    </a:lnTo>
                    <a:lnTo>
                      <a:pt x="811" y="488"/>
                    </a:lnTo>
                    <a:lnTo>
                      <a:pt x="750" y="526"/>
                    </a:lnTo>
                    <a:lnTo>
                      <a:pt x="691" y="571"/>
                    </a:lnTo>
                    <a:lnTo>
                      <a:pt x="636" y="620"/>
                    </a:lnTo>
                    <a:lnTo>
                      <a:pt x="585" y="675"/>
                    </a:lnTo>
                    <a:lnTo>
                      <a:pt x="540" y="732"/>
                    </a:lnTo>
                    <a:lnTo>
                      <a:pt x="500" y="792"/>
                    </a:lnTo>
                    <a:lnTo>
                      <a:pt x="466" y="855"/>
                    </a:lnTo>
                    <a:lnTo>
                      <a:pt x="437" y="920"/>
                    </a:lnTo>
                    <a:lnTo>
                      <a:pt x="415" y="986"/>
                    </a:lnTo>
                    <a:lnTo>
                      <a:pt x="398" y="1053"/>
                    </a:lnTo>
                    <a:lnTo>
                      <a:pt x="387" y="1122"/>
                    </a:lnTo>
                    <a:lnTo>
                      <a:pt x="381" y="1190"/>
                    </a:lnTo>
                    <a:lnTo>
                      <a:pt x="381" y="1259"/>
                    </a:lnTo>
                    <a:lnTo>
                      <a:pt x="387" y="1327"/>
                    </a:lnTo>
                    <a:lnTo>
                      <a:pt x="398" y="1396"/>
                    </a:lnTo>
                    <a:lnTo>
                      <a:pt x="415" y="1463"/>
                    </a:lnTo>
                    <a:lnTo>
                      <a:pt x="437" y="1529"/>
                    </a:lnTo>
                    <a:lnTo>
                      <a:pt x="466" y="1594"/>
                    </a:lnTo>
                    <a:lnTo>
                      <a:pt x="500" y="1657"/>
                    </a:lnTo>
                    <a:lnTo>
                      <a:pt x="540" y="1717"/>
                    </a:lnTo>
                    <a:lnTo>
                      <a:pt x="585" y="1774"/>
                    </a:lnTo>
                    <a:lnTo>
                      <a:pt x="636" y="1829"/>
                    </a:lnTo>
                    <a:lnTo>
                      <a:pt x="691" y="1878"/>
                    </a:lnTo>
                    <a:lnTo>
                      <a:pt x="750" y="1923"/>
                    </a:lnTo>
                    <a:lnTo>
                      <a:pt x="811" y="1961"/>
                    </a:lnTo>
                    <a:lnTo>
                      <a:pt x="876" y="1995"/>
                    </a:lnTo>
                    <a:lnTo>
                      <a:pt x="942" y="2022"/>
                    </a:lnTo>
                    <a:lnTo>
                      <a:pt x="1010" y="2044"/>
                    </a:lnTo>
                    <a:lnTo>
                      <a:pt x="1078" y="2061"/>
                    </a:lnTo>
                    <a:lnTo>
                      <a:pt x="1148" y="2072"/>
                    </a:lnTo>
                    <a:lnTo>
                      <a:pt x="1219" y="2078"/>
                    </a:lnTo>
                    <a:lnTo>
                      <a:pt x="1289" y="2078"/>
                    </a:lnTo>
                    <a:lnTo>
                      <a:pt x="1360" y="2072"/>
                    </a:lnTo>
                    <a:lnTo>
                      <a:pt x="1429" y="2061"/>
                    </a:lnTo>
                    <a:lnTo>
                      <a:pt x="1498" y="2044"/>
                    </a:lnTo>
                    <a:lnTo>
                      <a:pt x="1566" y="2022"/>
                    </a:lnTo>
                    <a:lnTo>
                      <a:pt x="1633" y="1995"/>
                    </a:lnTo>
                    <a:lnTo>
                      <a:pt x="1696" y="1961"/>
                    </a:lnTo>
                    <a:lnTo>
                      <a:pt x="1758" y="1923"/>
                    </a:lnTo>
                    <a:lnTo>
                      <a:pt x="1817" y="1878"/>
                    </a:lnTo>
                    <a:lnTo>
                      <a:pt x="1872" y="1829"/>
                    </a:lnTo>
                    <a:lnTo>
                      <a:pt x="1922" y="1774"/>
                    </a:lnTo>
                    <a:lnTo>
                      <a:pt x="1968" y="1717"/>
                    </a:lnTo>
                    <a:lnTo>
                      <a:pt x="2008" y="1657"/>
                    </a:lnTo>
                    <a:lnTo>
                      <a:pt x="2041" y="1594"/>
                    </a:lnTo>
                    <a:lnTo>
                      <a:pt x="2070" y="1529"/>
                    </a:lnTo>
                    <a:lnTo>
                      <a:pt x="2093" y="1463"/>
                    </a:lnTo>
                    <a:lnTo>
                      <a:pt x="2110" y="1396"/>
                    </a:lnTo>
                    <a:lnTo>
                      <a:pt x="2121" y="1327"/>
                    </a:lnTo>
                    <a:lnTo>
                      <a:pt x="2127" y="1259"/>
                    </a:lnTo>
                    <a:lnTo>
                      <a:pt x="2127" y="1190"/>
                    </a:lnTo>
                    <a:lnTo>
                      <a:pt x="2121" y="1122"/>
                    </a:lnTo>
                    <a:lnTo>
                      <a:pt x="2110" y="1053"/>
                    </a:lnTo>
                    <a:lnTo>
                      <a:pt x="2093" y="986"/>
                    </a:lnTo>
                    <a:lnTo>
                      <a:pt x="2070" y="920"/>
                    </a:lnTo>
                    <a:lnTo>
                      <a:pt x="2041" y="855"/>
                    </a:lnTo>
                    <a:lnTo>
                      <a:pt x="2008" y="792"/>
                    </a:lnTo>
                    <a:lnTo>
                      <a:pt x="1968" y="732"/>
                    </a:lnTo>
                    <a:lnTo>
                      <a:pt x="1922" y="675"/>
                    </a:lnTo>
                    <a:lnTo>
                      <a:pt x="1872" y="620"/>
                    </a:lnTo>
                    <a:lnTo>
                      <a:pt x="1817" y="571"/>
                    </a:lnTo>
                    <a:lnTo>
                      <a:pt x="1758" y="526"/>
                    </a:lnTo>
                    <a:lnTo>
                      <a:pt x="1696" y="488"/>
                    </a:lnTo>
                    <a:lnTo>
                      <a:pt x="1633" y="454"/>
                    </a:lnTo>
                    <a:lnTo>
                      <a:pt x="1566" y="427"/>
                    </a:lnTo>
                    <a:lnTo>
                      <a:pt x="1498" y="405"/>
                    </a:lnTo>
                    <a:lnTo>
                      <a:pt x="1429" y="388"/>
                    </a:lnTo>
                    <a:lnTo>
                      <a:pt x="1360" y="377"/>
                    </a:lnTo>
                    <a:lnTo>
                      <a:pt x="1289" y="371"/>
                    </a:lnTo>
                    <a:lnTo>
                      <a:pt x="1219" y="371"/>
                    </a:lnTo>
                    <a:close/>
                    <a:moveTo>
                      <a:pt x="1212" y="0"/>
                    </a:moveTo>
                    <a:lnTo>
                      <a:pt x="1296" y="0"/>
                    </a:lnTo>
                    <a:lnTo>
                      <a:pt x="1379" y="4"/>
                    </a:lnTo>
                    <a:lnTo>
                      <a:pt x="1463" y="15"/>
                    </a:lnTo>
                    <a:lnTo>
                      <a:pt x="1545" y="32"/>
                    </a:lnTo>
                    <a:lnTo>
                      <a:pt x="1627" y="54"/>
                    </a:lnTo>
                    <a:lnTo>
                      <a:pt x="1706" y="80"/>
                    </a:lnTo>
                    <a:lnTo>
                      <a:pt x="1784" y="113"/>
                    </a:lnTo>
                    <a:lnTo>
                      <a:pt x="1861" y="151"/>
                    </a:lnTo>
                    <a:lnTo>
                      <a:pt x="1936" y="194"/>
                    </a:lnTo>
                    <a:lnTo>
                      <a:pt x="2007" y="244"/>
                    </a:lnTo>
                    <a:lnTo>
                      <a:pt x="2075" y="298"/>
                    </a:lnTo>
                    <a:lnTo>
                      <a:pt x="2141" y="358"/>
                    </a:lnTo>
                    <a:lnTo>
                      <a:pt x="2203" y="422"/>
                    </a:lnTo>
                    <a:lnTo>
                      <a:pt x="2258" y="489"/>
                    </a:lnTo>
                    <a:lnTo>
                      <a:pt x="2308" y="559"/>
                    </a:lnTo>
                    <a:lnTo>
                      <a:pt x="2353" y="631"/>
                    </a:lnTo>
                    <a:lnTo>
                      <a:pt x="2391" y="706"/>
                    </a:lnTo>
                    <a:lnTo>
                      <a:pt x="2425" y="783"/>
                    </a:lnTo>
                    <a:lnTo>
                      <a:pt x="2453" y="861"/>
                    </a:lnTo>
                    <a:lnTo>
                      <a:pt x="2474" y="940"/>
                    </a:lnTo>
                    <a:lnTo>
                      <a:pt x="2491" y="1021"/>
                    </a:lnTo>
                    <a:lnTo>
                      <a:pt x="2502" y="1102"/>
                    </a:lnTo>
                    <a:lnTo>
                      <a:pt x="2508" y="1183"/>
                    </a:lnTo>
                    <a:lnTo>
                      <a:pt x="2508" y="1266"/>
                    </a:lnTo>
                    <a:lnTo>
                      <a:pt x="2502" y="1347"/>
                    </a:lnTo>
                    <a:lnTo>
                      <a:pt x="2491" y="1428"/>
                    </a:lnTo>
                    <a:lnTo>
                      <a:pt x="2474" y="1509"/>
                    </a:lnTo>
                    <a:lnTo>
                      <a:pt x="2453" y="1588"/>
                    </a:lnTo>
                    <a:lnTo>
                      <a:pt x="2425" y="1666"/>
                    </a:lnTo>
                    <a:lnTo>
                      <a:pt x="2391" y="1743"/>
                    </a:lnTo>
                    <a:lnTo>
                      <a:pt x="2353" y="1818"/>
                    </a:lnTo>
                    <a:lnTo>
                      <a:pt x="2308" y="1890"/>
                    </a:lnTo>
                    <a:lnTo>
                      <a:pt x="2258" y="1960"/>
                    </a:lnTo>
                    <a:lnTo>
                      <a:pt x="2203" y="2027"/>
                    </a:lnTo>
                    <a:lnTo>
                      <a:pt x="2141" y="2091"/>
                    </a:lnTo>
                    <a:lnTo>
                      <a:pt x="2075" y="2151"/>
                    </a:lnTo>
                    <a:lnTo>
                      <a:pt x="2007" y="2205"/>
                    </a:lnTo>
                    <a:lnTo>
                      <a:pt x="1936" y="2255"/>
                    </a:lnTo>
                    <a:lnTo>
                      <a:pt x="1861" y="2298"/>
                    </a:lnTo>
                    <a:lnTo>
                      <a:pt x="1784" y="2336"/>
                    </a:lnTo>
                    <a:lnTo>
                      <a:pt x="1706" y="2369"/>
                    </a:lnTo>
                    <a:lnTo>
                      <a:pt x="1627" y="2395"/>
                    </a:lnTo>
                    <a:lnTo>
                      <a:pt x="1545" y="2417"/>
                    </a:lnTo>
                    <a:lnTo>
                      <a:pt x="1463" y="2434"/>
                    </a:lnTo>
                    <a:lnTo>
                      <a:pt x="1379" y="2445"/>
                    </a:lnTo>
                    <a:lnTo>
                      <a:pt x="1296" y="2449"/>
                    </a:lnTo>
                    <a:lnTo>
                      <a:pt x="1212" y="2449"/>
                    </a:lnTo>
                    <a:lnTo>
                      <a:pt x="1129" y="2445"/>
                    </a:lnTo>
                    <a:lnTo>
                      <a:pt x="1046" y="2434"/>
                    </a:lnTo>
                    <a:lnTo>
                      <a:pt x="963" y="2417"/>
                    </a:lnTo>
                    <a:lnTo>
                      <a:pt x="881" y="2395"/>
                    </a:lnTo>
                    <a:lnTo>
                      <a:pt x="802" y="2369"/>
                    </a:lnTo>
                    <a:lnTo>
                      <a:pt x="724" y="2336"/>
                    </a:lnTo>
                    <a:lnTo>
                      <a:pt x="647" y="2298"/>
                    </a:lnTo>
                    <a:lnTo>
                      <a:pt x="573" y="2255"/>
                    </a:lnTo>
                    <a:lnTo>
                      <a:pt x="501" y="2205"/>
                    </a:lnTo>
                    <a:lnTo>
                      <a:pt x="433" y="2151"/>
                    </a:lnTo>
                    <a:lnTo>
                      <a:pt x="366" y="2091"/>
                    </a:lnTo>
                    <a:lnTo>
                      <a:pt x="306" y="2027"/>
                    </a:lnTo>
                    <a:lnTo>
                      <a:pt x="250" y="1960"/>
                    </a:lnTo>
                    <a:lnTo>
                      <a:pt x="200" y="1890"/>
                    </a:lnTo>
                    <a:lnTo>
                      <a:pt x="156" y="1818"/>
                    </a:lnTo>
                    <a:lnTo>
                      <a:pt x="116" y="1743"/>
                    </a:lnTo>
                    <a:lnTo>
                      <a:pt x="84" y="1666"/>
                    </a:lnTo>
                    <a:lnTo>
                      <a:pt x="56" y="1588"/>
                    </a:lnTo>
                    <a:lnTo>
                      <a:pt x="33" y="1509"/>
                    </a:lnTo>
                    <a:lnTo>
                      <a:pt x="17" y="1428"/>
                    </a:lnTo>
                    <a:lnTo>
                      <a:pt x="6" y="1348"/>
                    </a:lnTo>
                    <a:lnTo>
                      <a:pt x="0" y="1266"/>
                    </a:lnTo>
                    <a:lnTo>
                      <a:pt x="0" y="1184"/>
                    </a:lnTo>
                    <a:lnTo>
                      <a:pt x="6" y="1102"/>
                    </a:lnTo>
                    <a:lnTo>
                      <a:pt x="17" y="1021"/>
                    </a:lnTo>
                    <a:lnTo>
                      <a:pt x="33" y="940"/>
                    </a:lnTo>
                    <a:lnTo>
                      <a:pt x="56" y="861"/>
                    </a:lnTo>
                    <a:lnTo>
                      <a:pt x="84" y="783"/>
                    </a:lnTo>
                    <a:lnTo>
                      <a:pt x="116" y="706"/>
                    </a:lnTo>
                    <a:lnTo>
                      <a:pt x="156" y="631"/>
                    </a:lnTo>
                    <a:lnTo>
                      <a:pt x="200" y="559"/>
                    </a:lnTo>
                    <a:lnTo>
                      <a:pt x="250" y="489"/>
                    </a:lnTo>
                    <a:lnTo>
                      <a:pt x="306" y="422"/>
                    </a:lnTo>
                    <a:lnTo>
                      <a:pt x="366" y="358"/>
                    </a:lnTo>
                    <a:lnTo>
                      <a:pt x="433" y="298"/>
                    </a:lnTo>
                    <a:lnTo>
                      <a:pt x="501" y="244"/>
                    </a:lnTo>
                    <a:lnTo>
                      <a:pt x="573" y="194"/>
                    </a:lnTo>
                    <a:lnTo>
                      <a:pt x="647" y="151"/>
                    </a:lnTo>
                    <a:lnTo>
                      <a:pt x="724" y="113"/>
                    </a:lnTo>
                    <a:lnTo>
                      <a:pt x="802" y="80"/>
                    </a:lnTo>
                    <a:lnTo>
                      <a:pt x="881" y="54"/>
                    </a:lnTo>
                    <a:lnTo>
                      <a:pt x="963" y="32"/>
                    </a:lnTo>
                    <a:lnTo>
                      <a:pt x="1046" y="15"/>
                    </a:lnTo>
                    <a:lnTo>
                      <a:pt x="1129" y="4"/>
                    </a:lnTo>
                    <a:lnTo>
                      <a:pt x="121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endParaRPr>
              </a:p>
            </p:txBody>
          </p:sp>
          <p:sp>
            <p:nvSpPr>
              <p:cNvPr id="61" name="Freeform 591"/>
              <p:cNvSpPr>
                <a:spLocks/>
              </p:cNvSpPr>
              <p:nvPr/>
            </p:nvSpPr>
            <p:spPr bwMode="auto">
              <a:xfrm>
                <a:off x="11062" y="2732"/>
                <a:ext cx="112" cy="109"/>
              </a:xfrm>
              <a:custGeom>
                <a:avLst/>
                <a:gdLst>
                  <a:gd name="T0" fmla="*/ 0 w 449"/>
                  <a:gd name="T1" fmla="*/ 0 h 438"/>
                  <a:gd name="T2" fmla="*/ 0 w 449"/>
                  <a:gd name="T3" fmla="*/ 0 h 438"/>
                  <a:gd name="T4" fmla="*/ 0 w 449"/>
                  <a:gd name="T5" fmla="*/ 0 h 438"/>
                  <a:gd name="T6" fmla="*/ 0 w 449"/>
                  <a:gd name="T7" fmla="*/ 0 h 438"/>
                  <a:gd name="T8" fmla="*/ 0 w 449"/>
                  <a:gd name="T9" fmla="*/ 0 h 438"/>
                  <a:gd name="T10" fmla="*/ 0 w 449"/>
                  <a:gd name="T11" fmla="*/ 0 h 438"/>
                  <a:gd name="T12" fmla="*/ 0 w 449"/>
                  <a:gd name="T13" fmla="*/ 0 h 438"/>
                  <a:gd name="T14" fmla="*/ 0 w 449"/>
                  <a:gd name="T15" fmla="*/ 0 h 438"/>
                  <a:gd name="T16" fmla="*/ 0 w 449"/>
                  <a:gd name="T17" fmla="*/ 0 h 438"/>
                  <a:gd name="T18" fmla="*/ 0 w 449"/>
                  <a:gd name="T19" fmla="*/ 0 h 438"/>
                  <a:gd name="T20" fmla="*/ 0 w 449"/>
                  <a:gd name="T21" fmla="*/ 0 h 438"/>
                  <a:gd name="T22" fmla="*/ 0 w 449"/>
                  <a:gd name="T23" fmla="*/ 0 h 438"/>
                  <a:gd name="T24" fmla="*/ 0 w 449"/>
                  <a:gd name="T25" fmla="*/ 0 h 438"/>
                  <a:gd name="T26" fmla="*/ 0 w 449"/>
                  <a:gd name="T27" fmla="*/ 0 h 438"/>
                  <a:gd name="T28" fmla="*/ 0 w 449"/>
                  <a:gd name="T29" fmla="*/ 0 h 438"/>
                  <a:gd name="T30" fmla="*/ 0 w 449"/>
                  <a:gd name="T31" fmla="*/ 0 h 438"/>
                  <a:gd name="T32" fmla="*/ 0 w 449"/>
                  <a:gd name="T33" fmla="*/ 0 h 438"/>
                  <a:gd name="T34" fmla="*/ 0 w 449"/>
                  <a:gd name="T35" fmla="*/ 0 h 438"/>
                  <a:gd name="T36" fmla="*/ 0 w 449"/>
                  <a:gd name="T37" fmla="*/ 0 h 438"/>
                  <a:gd name="T38" fmla="*/ 0 w 449"/>
                  <a:gd name="T39" fmla="*/ 0 h 438"/>
                  <a:gd name="T40" fmla="*/ 0 w 449"/>
                  <a:gd name="T41" fmla="*/ 0 h 438"/>
                  <a:gd name="T42" fmla="*/ 0 w 449"/>
                  <a:gd name="T43" fmla="*/ 0 h 438"/>
                  <a:gd name="T44" fmla="*/ 0 w 449"/>
                  <a:gd name="T45" fmla="*/ 0 h 438"/>
                  <a:gd name="T46" fmla="*/ 0 w 449"/>
                  <a:gd name="T47" fmla="*/ 0 h 43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49"/>
                  <a:gd name="T73" fmla="*/ 0 h 438"/>
                  <a:gd name="T74" fmla="*/ 449 w 449"/>
                  <a:gd name="T75" fmla="*/ 438 h 43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49" h="438">
                    <a:moveTo>
                      <a:pt x="194" y="0"/>
                    </a:moveTo>
                    <a:lnTo>
                      <a:pt x="232" y="2"/>
                    </a:lnTo>
                    <a:lnTo>
                      <a:pt x="271" y="11"/>
                    </a:lnTo>
                    <a:lnTo>
                      <a:pt x="308" y="25"/>
                    </a:lnTo>
                    <a:lnTo>
                      <a:pt x="342" y="45"/>
                    </a:lnTo>
                    <a:lnTo>
                      <a:pt x="374" y="72"/>
                    </a:lnTo>
                    <a:lnTo>
                      <a:pt x="401" y="103"/>
                    </a:lnTo>
                    <a:lnTo>
                      <a:pt x="421" y="137"/>
                    </a:lnTo>
                    <a:lnTo>
                      <a:pt x="437" y="173"/>
                    </a:lnTo>
                    <a:lnTo>
                      <a:pt x="445" y="210"/>
                    </a:lnTo>
                    <a:lnTo>
                      <a:pt x="449" y="249"/>
                    </a:lnTo>
                    <a:lnTo>
                      <a:pt x="445" y="287"/>
                    </a:lnTo>
                    <a:lnTo>
                      <a:pt x="437" y="324"/>
                    </a:lnTo>
                    <a:lnTo>
                      <a:pt x="421" y="361"/>
                    </a:lnTo>
                    <a:lnTo>
                      <a:pt x="401" y="394"/>
                    </a:lnTo>
                    <a:lnTo>
                      <a:pt x="374" y="425"/>
                    </a:lnTo>
                    <a:lnTo>
                      <a:pt x="361" y="438"/>
                    </a:lnTo>
                    <a:lnTo>
                      <a:pt x="0" y="85"/>
                    </a:lnTo>
                    <a:lnTo>
                      <a:pt x="13" y="72"/>
                    </a:lnTo>
                    <a:lnTo>
                      <a:pt x="45" y="45"/>
                    </a:lnTo>
                    <a:lnTo>
                      <a:pt x="80" y="25"/>
                    </a:lnTo>
                    <a:lnTo>
                      <a:pt x="116" y="11"/>
                    </a:lnTo>
                    <a:lnTo>
                      <a:pt x="154" y="2"/>
                    </a:lnTo>
                    <a:lnTo>
                      <a:pt x="194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endParaRPr>
              </a:p>
            </p:txBody>
          </p:sp>
          <p:sp>
            <p:nvSpPr>
              <p:cNvPr id="62" name="Freeform 592"/>
              <p:cNvSpPr>
                <a:spLocks/>
              </p:cNvSpPr>
              <p:nvPr/>
            </p:nvSpPr>
            <p:spPr bwMode="auto">
              <a:xfrm>
                <a:off x="10747" y="2782"/>
                <a:ext cx="376" cy="367"/>
              </a:xfrm>
              <a:custGeom>
                <a:avLst/>
                <a:gdLst>
                  <a:gd name="T0" fmla="*/ 0 w 1504"/>
                  <a:gd name="T1" fmla="*/ 0 h 1470"/>
                  <a:gd name="T2" fmla="*/ 0 w 1504"/>
                  <a:gd name="T3" fmla="*/ 0 h 1470"/>
                  <a:gd name="T4" fmla="*/ 0 w 1504"/>
                  <a:gd name="T5" fmla="*/ 0 h 1470"/>
                  <a:gd name="T6" fmla="*/ 0 w 1504"/>
                  <a:gd name="T7" fmla="*/ 0 h 1470"/>
                  <a:gd name="T8" fmla="*/ 0 w 1504"/>
                  <a:gd name="T9" fmla="*/ 0 h 1470"/>
                  <a:gd name="T10" fmla="*/ 0 w 1504"/>
                  <a:gd name="T11" fmla="*/ 0 h 1470"/>
                  <a:gd name="T12" fmla="*/ 0 w 1504"/>
                  <a:gd name="T13" fmla="*/ 0 h 1470"/>
                  <a:gd name="T14" fmla="*/ 0 w 1504"/>
                  <a:gd name="T15" fmla="*/ 0 h 1470"/>
                  <a:gd name="T16" fmla="*/ 0 w 1504"/>
                  <a:gd name="T17" fmla="*/ 0 h 1470"/>
                  <a:gd name="T18" fmla="*/ 0 w 1504"/>
                  <a:gd name="T19" fmla="*/ 0 h 1470"/>
                  <a:gd name="T20" fmla="*/ 0 w 1504"/>
                  <a:gd name="T21" fmla="*/ 0 h 1470"/>
                  <a:gd name="T22" fmla="*/ 0 w 1504"/>
                  <a:gd name="T23" fmla="*/ 0 h 1470"/>
                  <a:gd name="T24" fmla="*/ 0 w 1504"/>
                  <a:gd name="T25" fmla="*/ 0 h 1470"/>
                  <a:gd name="T26" fmla="*/ 0 w 1504"/>
                  <a:gd name="T27" fmla="*/ 0 h 1470"/>
                  <a:gd name="T28" fmla="*/ 0 w 1504"/>
                  <a:gd name="T29" fmla="*/ 0 h 1470"/>
                  <a:gd name="T30" fmla="*/ 0 w 1504"/>
                  <a:gd name="T31" fmla="*/ 0 h 1470"/>
                  <a:gd name="T32" fmla="*/ 0 w 1504"/>
                  <a:gd name="T33" fmla="*/ 0 h 1470"/>
                  <a:gd name="T34" fmla="*/ 0 w 1504"/>
                  <a:gd name="T35" fmla="*/ 0 h 1470"/>
                  <a:gd name="T36" fmla="*/ 0 w 1504"/>
                  <a:gd name="T37" fmla="*/ 0 h 1470"/>
                  <a:gd name="T38" fmla="*/ 0 w 1504"/>
                  <a:gd name="T39" fmla="*/ 0 h 1470"/>
                  <a:gd name="T40" fmla="*/ 0 w 1504"/>
                  <a:gd name="T41" fmla="*/ 0 h 1470"/>
                  <a:gd name="T42" fmla="*/ 0 w 1504"/>
                  <a:gd name="T43" fmla="*/ 0 h 1470"/>
                  <a:gd name="T44" fmla="*/ 0 w 1504"/>
                  <a:gd name="T45" fmla="*/ 0 h 1470"/>
                  <a:gd name="T46" fmla="*/ 0 w 1504"/>
                  <a:gd name="T47" fmla="*/ 0 h 1470"/>
                  <a:gd name="T48" fmla="*/ 0 w 1504"/>
                  <a:gd name="T49" fmla="*/ 0 h 1470"/>
                  <a:gd name="T50" fmla="*/ 0 w 1504"/>
                  <a:gd name="T51" fmla="*/ 0 h 147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504"/>
                  <a:gd name="T79" fmla="*/ 0 h 1470"/>
                  <a:gd name="T80" fmla="*/ 1504 w 1504"/>
                  <a:gd name="T81" fmla="*/ 1470 h 147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504" h="1470">
                    <a:moveTo>
                      <a:pt x="1144" y="0"/>
                    </a:moveTo>
                    <a:lnTo>
                      <a:pt x="1504" y="353"/>
                    </a:lnTo>
                    <a:lnTo>
                      <a:pt x="435" y="1397"/>
                    </a:lnTo>
                    <a:lnTo>
                      <a:pt x="404" y="1423"/>
                    </a:lnTo>
                    <a:lnTo>
                      <a:pt x="369" y="1444"/>
                    </a:lnTo>
                    <a:lnTo>
                      <a:pt x="333" y="1458"/>
                    </a:lnTo>
                    <a:lnTo>
                      <a:pt x="295" y="1466"/>
                    </a:lnTo>
                    <a:lnTo>
                      <a:pt x="256" y="1470"/>
                    </a:lnTo>
                    <a:lnTo>
                      <a:pt x="255" y="1470"/>
                    </a:lnTo>
                    <a:lnTo>
                      <a:pt x="216" y="1466"/>
                    </a:lnTo>
                    <a:lnTo>
                      <a:pt x="178" y="1458"/>
                    </a:lnTo>
                    <a:lnTo>
                      <a:pt x="141" y="1444"/>
                    </a:lnTo>
                    <a:lnTo>
                      <a:pt x="107" y="1423"/>
                    </a:lnTo>
                    <a:lnTo>
                      <a:pt x="75" y="1397"/>
                    </a:lnTo>
                    <a:lnTo>
                      <a:pt x="48" y="1365"/>
                    </a:lnTo>
                    <a:lnTo>
                      <a:pt x="26" y="1332"/>
                    </a:lnTo>
                    <a:lnTo>
                      <a:pt x="12" y="1296"/>
                    </a:lnTo>
                    <a:lnTo>
                      <a:pt x="2" y="1258"/>
                    </a:lnTo>
                    <a:lnTo>
                      <a:pt x="0" y="1220"/>
                    </a:lnTo>
                    <a:lnTo>
                      <a:pt x="2" y="1183"/>
                    </a:lnTo>
                    <a:lnTo>
                      <a:pt x="12" y="1145"/>
                    </a:lnTo>
                    <a:lnTo>
                      <a:pt x="26" y="1109"/>
                    </a:lnTo>
                    <a:lnTo>
                      <a:pt x="48" y="1076"/>
                    </a:lnTo>
                    <a:lnTo>
                      <a:pt x="75" y="1044"/>
                    </a:lnTo>
                    <a:lnTo>
                      <a:pt x="1144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2C6E8"/>
                  </a:gs>
                  <a:gs pos="100000">
                    <a:srgbClr val="219DD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/>
                <a:endParaRPr lang="ko-KR" altLang="en-US" dirty="0">
                  <a:solidFill>
                    <a:srgbClr val="0000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endParaRPr>
              </a:p>
            </p:txBody>
          </p:sp>
        </p:grpSp>
        <p:sp>
          <p:nvSpPr>
            <p:cNvPr id="59" name="Oval 226"/>
            <p:cNvSpPr>
              <a:spLocks noChangeArrowheads="1"/>
            </p:cNvSpPr>
            <p:nvPr/>
          </p:nvSpPr>
          <p:spPr bwMode="auto">
            <a:xfrm>
              <a:off x="217" y="1253"/>
              <a:ext cx="52" cy="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ko-KR" altLang="en-US" sz="900" i="1" dirty="0">
                <a:solidFill>
                  <a:srgbClr val="5F5F5F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</p:grpSp>
      <p:sp>
        <p:nvSpPr>
          <p:cNvPr id="65" name="Rectangle 227"/>
          <p:cNvSpPr>
            <a:spLocks noChangeArrowheads="1"/>
          </p:cNvSpPr>
          <p:nvPr/>
        </p:nvSpPr>
        <p:spPr bwMode="auto">
          <a:xfrm>
            <a:off x="8352581" y="2681288"/>
            <a:ext cx="839787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3985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3985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3985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3985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3985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3985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3985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3985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3985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buClr>
                <a:srgbClr val="000000"/>
              </a:buClr>
              <a:buSzPct val="80000"/>
            </a:pPr>
            <a:r>
              <a: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세부 </a:t>
            </a:r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선 </a:t>
            </a:r>
            <a:r>
              <a: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항목</a:t>
            </a:r>
          </a:p>
        </p:txBody>
      </p:sp>
      <p:sp>
        <p:nvSpPr>
          <p:cNvPr id="66" name="Rectangle 78"/>
          <p:cNvSpPr>
            <a:spLocks noChangeArrowheads="1"/>
          </p:cNvSpPr>
          <p:nvPr/>
        </p:nvSpPr>
        <p:spPr bwMode="gray">
          <a:xfrm>
            <a:off x="8119218" y="2958840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프로세스 설계서</a:t>
            </a:r>
          </a:p>
        </p:txBody>
      </p:sp>
      <p:sp>
        <p:nvSpPr>
          <p:cNvPr id="67" name="Rectangle 78"/>
          <p:cNvSpPr>
            <a:spLocks noChangeArrowheads="1"/>
          </p:cNvSpPr>
          <p:nvPr/>
        </p:nvSpPr>
        <p:spPr bwMode="gray">
          <a:xfrm>
            <a:off x="8119218" y="3329265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지침</a:t>
            </a:r>
          </a:p>
        </p:txBody>
      </p:sp>
      <p:sp>
        <p:nvSpPr>
          <p:cNvPr id="68" name="Rectangle 78"/>
          <p:cNvSpPr>
            <a:spLocks noChangeArrowheads="1"/>
          </p:cNvSpPr>
          <p:nvPr/>
        </p:nvSpPr>
        <p:spPr bwMode="gray">
          <a:xfrm>
            <a:off x="8119218" y="3699690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소스코드</a:t>
            </a:r>
          </a:p>
        </p:txBody>
      </p:sp>
      <p:sp>
        <p:nvSpPr>
          <p:cNvPr id="69" name="Rectangle 78"/>
          <p:cNvSpPr>
            <a:spLocks noChangeArrowheads="1"/>
          </p:cNvSpPr>
          <p:nvPr/>
        </p:nvSpPr>
        <p:spPr bwMode="gray">
          <a:xfrm>
            <a:off x="8119218" y="4070115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테스트 결과</a:t>
            </a:r>
          </a:p>
        </p:txBody>
      </p:sp>
      <p:sp>
        <p:nvSpPr>
          <p:cNvPr id="70" name="Rectangle 78"/>
          <p:cNvSpPr>
            <a:spLocks noChangeArrowheads="1"/>
          </p:cNvSpPr>
          <p:nvPr/>
        </p:nvSpPr>
        <p:spPr bwMode="gray">
          <a:xfrm>
            <a:off x="8119218" y="4440540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용자 요구사항</a:t>
            </a:r>
          </a:p>
        </p:txBody>
      </p:sp>
      <p:sp>
        <p:nvSpPr>
          <p:cNvPr id="71" name="Rectangle 78"/>
          <p:cNvSpPr>
            <a:spLocks noChangeArrowheads="1"/>
          </p:cNvSpPr>
          <p:nvPr/>
        </p:nvSpPr>
        <p:spPr bwMode="gray">
          <a:xfrm>
            <a:off x="8119218" y="4810965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en-US" altLang="ko-KR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DD/EDD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보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72" name="AutoShape 241"/>
          <p:cNvCxnSpPr>
            <a:cxnSpLocks noChangeShapeType="1"/>
            <a:stCxn id="20" idx="6"/>
            <a:endCxn id="66" idx="1"/>
          </p:cNvCxnSpPr>
          <p:nvPr/>
        </p:nvCxnSpPr>
        <p:spPr bwMode="auto">
          <a:xfrm>
            <a:off x="7117532" y="3000106"/>
            <a:ext cx="1001686" cy="112722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AutoShape 242"/>
          <p:cNvCxnSpPr>
            <a:cxnSpLocks noChangeShapeType="1"/>
            <a:stCxn id="31" idx="6"/>
            <a:endCxn id="66" idx="1"/>
          </p:cNvCxnSpPr>
          <p:nvPr/>
        </p:nvCxnSpPr>
        <p:spPr bwMode="auto">
          <a:xfrm flipV="1">
            <a:off x="7117532" y="3112828"/>
            <a:ext cx="1001686" cy="118902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AutoShape 244"/>
          <p:cNvCxnSpPr>
            <a:cxnSpLocks noChangeShapeType="1"/>
            <a:stCxn id="41" idx="6"/>
            <a:endCxn id="69" idx="1"/>
          </p:cNvCxnSpPr>
          <p:nvPr/>
        </p:nvCxnSpPr>
        <p:spPr bwMode="auto">
          <a:xfrm flipV="1">
            <a:off x="7117532" y="4224103"/>
            <a:ext cx="1001686" cy="1379503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AutoShape 245"/>
          <p:cNvCxnSpPr>
            <a:cxnSpLocks noChangeShapeType="1"/>
            <a:stCxn id="20" idx="6"/>
            <a:endCxn id="67" idx="1"/>
          </p:cNvCxnSpPr>
          <p:nvPr/>
        </p:nvCxnSpPr>
        <p:spPr bwMode="auto">
          <a:xfrm>
            <a:off x="7117532" y="3000106"/>
            <a:ext cx="1001686" cy="483147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AutoShape 246"/>
          <p:cNvCxnSpPr>
            <a:cxnSpLocks noChangeShapeType="1"/>
            <a:stCxn id="31" idx="6"/>
            <a:endCxn id="67" idx="1"/>
          </p:cNvCxnSpPr>
          <p:nvPr/>
        </p:nvCxnSpPr>
        <p:spPr bwMode="auto">
          <a:xfrm flipV="1">
            <a:off x="7117532" y="3483253"/>
            <a:ext cx="1001686" cy="818603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AutoShape 248"/>
          <p:cNvCxnSpPr>
            <a:cxnSpLocks noChangeShapeType="1"/>
            <a:stCxn id="31" idx="6"/>
            <a:endCxn id="71" idx="1"/>
          </p:cNvCxnSpPr>
          <p:nvPr/>
        </p:nvCxnSpPr>
        <p:spPr bwMode="auto">
          <a:xfrm>
            <a:off x="7117532" y="4301856"/>
            <a:ext cx="1001686" cy="663097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AutoShape 249"/>
          <p:cNvCxnSpPr>
            <a:cxnSpLocks noChangeShapeType="1"/>
            <a:stCxn id="41" idx="6"/>
            <a:endCxn id="68" idx="1"/>
          </p:cNvCxnSpPr>
          <p:nvPr/>
        </p:nvCxnSpPr>
        <p:spPr bwMode="auto">
          <a:xfrm flipV="1">
            <a:off x="7117532" y="3853678"/>
            <a:ext cx="1001686" cy="174992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AutoShape 250"/>
          <p:cNvCxnSpPr>
            <a:cxnSpLocks noChangeShapeType="1"/>
            <a:stCxn id="41" idx="6"/>
            <a:endCxn id="70" idx="1"/>
          </p:cNvCxnSpPr>
          <p:nvPr/>
        </p:nvCxnSpPr>
        <p:spPr bwMode="auto">
          <a:xfrm flipV="1">
            <a:off x="7117532" y="4594528"/>
            <a:ext cx="1001686" cy="100907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AutoShape 250"/>
          <p:cNvCxnSpPr>
            <a:cxnSpLocks noChangeShapeType="1"/>
            <a:stCxn id="41" idx="6"/>
            <a:endCxn id="71" idx="1"/>
          </p:cNvCxnSpPr>
          <p:nvPr/>
        </p:nvCxnSpPr>
        <p:spPr bwMode="auto">
          <a:xfrm flipV="1">
            <a:off x="7117532" y="4964953"/>
            <a:ext cx="1001686" cy="638653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" name="AutoShape 249"/>
          <p:cNvCxnSpPr>
            <a:cxnSpLocks noChangeShapeType="1"/>
            <a:stCxn id="41" idx="6"/>
            <a:endCxn id="66" idx="1"/>
          </p:cNvCxnSpPr>
          <p:nvPr/>
        </p:nvCxnSpPr>
        <p:spPr bwMode="auto">
          <a:xfrm flipV="1">
            <a:off x="7117532" y="3112828"/>
            <a:ext cx="1001686" cy="249077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Rectangle 78"/>
          <p:cNvSpPr>
            <a:spLocks noChangeArrowheads="1"/>
          </p:cNvSpPr>
          <p:nvPr/>
        </p:nvSpPr>
        <p:spPr bwMode="gray">
          <a:xfrm>
            <a:off x="8119218" y="5181390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프로파일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3" name="Rectangle 78"/>
          <p:cNvSpPr>
            <a:spLocks noChangeArrowheads="1"/>
          </p:cNvSpPr>
          <p:nvPr/>
        </p:nvSpPr>
        <p:spPr bwMode="gray">
          <a:xfrm>
            <a:off x="8119218" y="5551813"/>
            <a:ext cx="1227138" cy="307975"/>
          </a:xfrm>
          <a:prstGeom prst="roundRect">
            <a:avLst>
              <a:gd name="adj" fmla="val 0"/>
            </a:avLst>
          </a:prstGeom>
          <a:solidFill>
            <a:srgbClr val="D3F2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8826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8826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lang="en-US" altLang="ko-KR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YC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 필요 자료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84" name="AutoShape 250"/>
          <p:cNvCxnSpPr>
            <a:cxnSpLocks noChangeShapeType="1"/>
            <a:stCxn id="41" idx="6"/>
            <a:endCxn id="82" idx="1"/>
          </p:cNvCxnSpPr>
          <p:nvPr/>
        </p:nvCxnSpPr>
        <p:spPr bwMode="auto">
          <a:xfrm flipV="1">
            <a:off x="7117532" y="5335378"/>
            <a:ext cx="1001686" cy="26822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5" name="AutoShape 250"/>
          <p:cNvCxnSpPr>
            <a:cxnSpLocks noChangeShapeType="1"/>
            <a:stCxn id="41" idx="6"/>
            <a:endCxn id="83" idx="1"/>
          </p:cNvCxnSpPr>
          <p:nvPr/>
        </p:nvCxnSpPr>
        <p:spPr bwMode="auto">
          <a:xfrm>
            <a:off x="7117532" y="5603606"/>
            <a:ext cx="1001686" cy="10219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928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.6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039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.6.3 </a:t>
            </a:r>
            <a:r>
              <a:rPr lang="ko-KR" altLang="en-US" dirty="0" smtClean="0"/>
              <a:t>고객확인 수행정보 </a:t>
            </a:r>
            <a:r>
              <a:rPr lang="en-US" altLang="ko-KR" dirty="0"/>
              <a:t>3</a:t>
            </a:r>
            <a:r>
              <a:rPr lang="ko-KR" altLang="en-US" dirty="0"/>
              <a:t>자 검증</a:t>
            </a:r>
            <a:r>
              <a:rPr lang="ko-KR" altLang="en-US" dirty="0" smtClean="0"/>
              <a:t> </a:t>
            </a:r>
            <a:r>
              <a:rPr lang="en-US" altLang="ko-KR" dirty="0" smtClean="0"/>
              <a:t>(1/2)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영업점 창구에서 수행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입력내용 검증을 위해 준법감시담당자가 수행한 고객확인정보의 적정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적정 여부를 판단하고 부적정의 경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직원에게 피드백 할 수 있는 검증 절차 및 기능을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YC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수행 결과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3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 검증 확인 절차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738890"/>
              </p:ext>
            </p:extLst>
          </p:nvPr>
        </p:nvGraphicFramePr>
        <p:xfrm>
          <a:off x="412117" y="2219221"/>
          <a:ext cx="6354777" cy="4251429"/>
        </p:xfrm>
        <a:graphic>
          <a:graphicData uri="http://schemas.openxmlformats.org/drawingml/2006/table">
            <a:tbl>
              <a:tblPr/>
              <a:tblGrid>
                <a:gridCol w="3820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39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318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 담당자 또는 보고 책임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00" marR="90000" marT="17997" marB="17997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KYC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수행 처리 직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00" marR="90000" marT="17997" marB="17997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3824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0000" marR="90000" marT="17997" marB="17997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0000" marR="90000" marT="17997" marB="17997" anchor="ctr" horzOverflow="overflow">
                    <a:lnL w="6350" cap="flat" cmpd="sng" algn="ctr">
                      <a:solidFill>
                        <a:srgbClr val="96969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1" name="순서도: 판단 40"/>
          <p:cNvSpPr/>
          <p:nvPr/>
        </p:nvSpPr>
        <p:spPr>
          <a:xfrm>
            <a:off x="2423975" y="5012601"/>
            <a:ext cx="1365001" cy="540000"/>
          </a:xfrm>
          <a:prstGeom prst="flowChartDecision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</a:t>
            </a:r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 검증확인</a:t>
            </a:r>
            <a:r>
              <a:rPr lang="en-US" altLang="ko-KR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?</a:t>
            </a:r>
          </a:p>
        </p:txBody>
      </p:sp>
      <p:cxnSp>
        <p:nvCxnSpPr>
          <p:cNvPr id="45" name="직선 화살표 연결선 44"/>
          <p:cNvCxnSpPr>
            <a:stCxn id="53" idx="2"/>
            <a:endCxn id="58" idx="0"/>
          </p:cNvCxnSpPr>
          <p:nvPr/>
        </p:nvCxnSpPr>
        <p:spPr>
          <a:xfrm flipH="1">
            <a:off x="1116512" y="3860988"/>
            <a:ext cx="6" cy="97215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Box 119"/>
          <p:cNvSpPr txBox="1">
            <a:spLocks noChangeArrowheads="1"/>
          </p:cNvSpPr>
          <p:nvPr/>
        </p:nvSpPr>
        <p:spPr bwMode="auto">
          <a:xfrm>
            <a:off x="1560933" y="5383186"/>
            <a:ext cx="102730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28700"/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적정 </a:t>
            </a:r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3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검증결과 </a:t>
            </a:r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확인</a:t>
            </a:r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7" name="Text Box 119"/>
          <p:cNvSpPr txBox="1">
            <a:spLocks noChangeArrowheads="1"/>
          </p:cNvSpPr>
          <p:nvPr/>
        </p:nvSpPr>
        <p:spPr bwMode="auto">
          <a:xfrm>
            <a:off x="3822368" y="5376687"/>
            <a:ext cx="244651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28700"/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적정 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3</a:t>
            </a: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검증결과 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확인중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</a:p>
          <a:p>
            <a:pPr defTabSz="1028700"/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YC</a:t>
            </a: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 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직원에게 </a:t>
            </a: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확인 요청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구두요청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b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메일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SMS </a:t>
            </a: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 메시지 발송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48" name="꺾인 연결선 47"/>
          <p:cNvCxnSpPr>
            <a:stCxn id="41" idx="3"/>
            <a:endCxn id="65" idx="2"/>
          </p:cNvCxnSpPr>
          <p:nvPr/>
        </p:nvCxnSpPr>
        <p:spPr>
          <a:xfrm flipV="1">
            <a:off x="3788976" y="4822703"/>
            <a:ext cx="2114505" cy="459898"/>
          </a:xfrm>
          <a:prstGeom prst="bentConnector2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Box 119"/>
          <p:cNvSpPr txBox="1">
            <a:spLocks noChangeArrowheads="1"/>
          </p:cNvSpPr>
          <p:nvPr/>
        </p:nvSpPr>
        <p:spPr bwMode="auto">
          <a:xfrm>
            <a:off x="735803" y="3176972"/>
            <a:ext cx="7614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YC</a:t>
            </a:r>
            <a:r>
              <a:rPr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정보 화면</a:t>
            </a:r>
            <a:endParaRPr lang="ko-KR" altLang="en-US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726517" y="3320988"/>
            <a:ext cx="780001" cy="540000"/>
            <a:chOff x="1912339" y="3795041"/>
            <a:chExt cx="720000" cy="540000"/>
          </a:xfrm>
        </p:grpSpPr>
        <p:pic>
          <p:nvPicPr>
            <p:cNvPr id="53" name="그림 5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12339" y="3795041"/>
              <a:ext cx="720000" cy="540000"/>
            </a:xfrm>
            <a:prstGeom prst="rect">
              <a:avLst/>
            </a:prstGeom>
          </p:spPr>
        </p:pic>
        <p:pic>
          <p:nvPicPr>
            <p:cNvPr id="54" name="그림 53"/>
            <p:cNvPicPr>
              <a:picLocks noChangeAspect="1"/>
            </p:cNvPicPr>
            <p:nvPr/>
          </p:nvPicPr>
          <p:blipFill rotWithShape="1">
            <a:blip r:embed="rId3"/>
            <a:srcRect l="68824" t="32501" r="15302" b="10431"/>
            <a:stretch/>
          </p:blipFill>
          <p:spPr>
            <a:xfrm>
              <a:off x="2504833" y="3970469"/>
              <a:ext cx="112978" cy="307838"/>
            </a:xfrm>
            <a:prstGeom prst="rect">
              <a:avLst/>
            </a:prstGeom>
          </p:spPr>
        </p:pic>
      </p:grpSp>
      <p:grpSp>
        <p:nvGrpSpPr>
          <p:cNvPr id="55" name="그룹 54"/>
          <p:cNvGrpSpPr/>
          <p:nvPr/>
        </p:nvGrpSpPr>
        <p:grpSpPr>
          <a:xfrm>
            <a:off x="713357" y="4833142"/>
            <a:ext cx="806310" cy="873254"/>
            <a:chOff x="1099720" y="4899843"/>
            <a:chExt cx="744286" cy="873254"/>
          </a:xfrm>
        </p:grpSpPr>
        <p:pic>
          <p:nvPicPr>
            <p:cNvPr id="56" name="그림 55"/>
            <p:cNvPicPr preferRelativeResize="0"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11859" y="5079303"/>
              <a:ext cx="720000" cy="540000"/>
            </a:xfrm>
            <a:prstGeom prst="rect">
              <a:avLst/>
            </a:prstGeom>
          </p:spPr>
        </p:pic>
        <p:sp>
          <p:nvSpPr>
            <p:cNvPr id="57" name="Text Box 119"/>
            <p:cNvSpPr txBox="1">
              <a:spLocks noChangeArrowheads="1"/>
            </p:cNvSpPr>
            <p:nvPr/>
          </p:nvSpPr>
          <p:spPr bwMode="auto">
            <a:xfrm>
              <a:off x="1146332" y="5649986"/>
              <a:ext cx="651065" cy="123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적정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부적정 판단</a:t>
              </a:r>
              <a:endPara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58" name="Text Box 119"/>
            <p:cNvSpPr txBox="1">
              <a:spLocks noChangeArrowheads="1"/>
            </p:cNvSpPr>
            <p:nvPr/>
          </p:nvSpPr>
          <p:spPr bwMode="auto">
            <a:xfrm>
              <a:off x="1099720" y="4899843"/>
              <a:ext cx="744286" cy="123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3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자검증확인 화면</a:t>
              </a:r>
              <a:endPara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59" name="타원 58"/>
          <p:cNvSpPr>
            <a:spLocks noChangeAspect="1"/>
          </p:cNvSpPr>
          <p:nvPr/>
        </p:nvSpPr>
        <p:spPr>
          <a:xfrm>
            <a:off x="2808550" y="5760051"/>
            <a:ext cx="595850" cy="550015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lang="en-US" altLang="ko-KR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</a:t>
            </a:r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</a:t>
            </a:r>
            <a:endParaRPr lang="en-US" altLang="ko-KR" sz="800" dirty="0" smtClean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증확</a:t>
            </a:r>
            <a:r>
              <a:rPr lang="ko-KR" altLang="en-US" sz="8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</a:t>
            </a:r>
            <a:endParaRPr lang="en-US" altLang="ko-KR" sz="800" dirty="0" smtClean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종</a:t>
            </a:r>
            <a:r>
              <a:rPr lang="ko-KR" altLang="en-US" sz="8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료</a:t>
            </a:r>
          </a:p>
        </p:txBody>
      </p:sp>
      <p:grpSp>
        <p:nvGrpSpPr>
          <p:cNvPr id="63" name="그룹 62"/>
          <p:cNvGrpSpPr/>
          <p:nvPr/>
        </p:nvGrpSpPr>
        <p:grpSpPr>
          <a:xfrm>
            <a:off x="5413763" y="3949449"/>
            <a:ext cx="979435" cy="873254"/>
            <a:chOff x="6479577" y="4251523"/>
            <a:chExt cx="904094" cy="873254"/>
          </a:xfrm>
        </p:grpSpPr>
        <p:pic>
          <p:nvPicPr>
            <p:cNvPr id="64" name="그림 63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71616" y="4426087"/>
              <a:ext cx="720000" cy="540000"/>
            </a:xfrm>
            <a:prstGeom prst="rect">
              <a:avLst/>
            </a:prstGeom>
          </p:spPr>
        </p:pic>
        <p:sp>
          <p:nvSpPr>
            <p:cNvPr id="65" name="Text Box 119"/>
            <p:cNvSpPr txBox="1">
              <a:spLocks noChangeArrowheads="1"/>
            </p:cNvSpPr>
            <p:nvPr/>
          </p:nvSpPr>
          <p:spPr bwMode="auto">
            <a:xfrm>
              <a:off x="6479577" y="5001666"/>
              <a:ext cx="904094" cy="123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en-US" altLang="ko-KR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부적정 사유 확인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변경</a:t>
              </a:r>
              <a:r>
                <a:rPr lang="en-US" altLang="ko-KR" sz="8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  <a:endPara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66" name="Text Box 119"/>
            <p:cNvSpPr txBox="1">
              <a:spLocks noChangeArrowheads="1"/>
            </p:cNvSpPr>
            <p:nvPr/>
          </p:nvSpPr>
          <p:spPr bwMode="auto">
            <a:xfrm>
              <a:off x="6580193" y="4251523"/>
              <a:ext cx="702856" cy="123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en-US" altLang="ko-KR" sz="8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KYC</a:t>
              </a:r>
              <a:r>
                <a:rPr lang="ko-KR" altLang="en-US" sz="8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수행정보 화면</a:t>
              </a:r>
            </a:p>
          </p:txBody>
        </p:sp>
      </p:grpSp>
      <p:cxnSp>
        <p:nvCxnSpPr>
          <p:cNvPr id="67" name="직선 화살표 연결선 66"/>
          <p:cNvCxnSpPr>
            <a:stCxn id="56" idx="3"/>
            <a:endCxn id="41" idx="1"/>
          </p:cNvCxnSpPr>
          <p:nvPr/>
        </p:nvCxnSpPr>
        <p:spPr>
          <a:xfrm>
            <a:off x="1506511" y="5282602"/>
            <a:ext cx="917465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화살표 연결선 67"/>
          <p:cNvCxnSpPr>
            <a:stCxn id="41" idx="2"/>
            <a:endCxn id="59" idx="0"/>
          </p:cNvCxnSpPr>
          <p:nvPr/>
        </p:nvCxnSpPr>
        <p:spPr>
          <a:xfrm flipH="1">
            <a:off x="3106475" y="5552601"/>
            <a:ext cx="1" cy="2074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 Box 119"/>
          <p:cNvSpPr txBox="1">
            <a:spLocks noChangeArrowheads="1"/>
          </p:cNvSpPr>
          <p:nvPr/>
        </p:nvSpPr>
        <p:spPr bwMode="auto">
          <a:xfrm>
            <a:off x="1226016" y="4116783"/>
            <a:ext cx="176650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28700"/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최초 </a:t>
            </a:r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검증결과 </a:t>
            </a:r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확인</a:t>
            </a:r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</a:p>
          <a:p>
            <a:pPr defTabSz="1028700"/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KYC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 처리 직원 요청에 </a:t>
            </a:r>
            <a:endParaRPr lang="en-US" altLang="ko-KR" sz="80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defTabSz="1028700"/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한 확인의 경우 </a:t>
            </a:r>
            <a:r>
              <a:rPr lang="en-US" altLang="ko-KR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확인중 또는 재확인</a:t>
            </a:r>
            <a:r>
              <a:rPr lang="en-US" altLang="ko-KR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2" name="Text Box 119"/>
          <p:cNvSpPr txBox="1">
            <a:spLocks noChangeArrowheads="1"/>
          </p:cNvSpPr>
          <p:nvPr/>
        </p:nvSpPr>
        <p:spPr bwMode="auto">
          <a:xfrm>
            <a:off x="4412665" y="3681028"/>
            <a:ext cx="101951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1028700"/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적정 사유 확인 후 조치</a:t>
            </a:r>
            <a:endParaRPr lang="en-US" altLang="ko-KR" sz="80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defTabSz="1028700"/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정보 변경 또는</a:t>
            </a:r>
            <a:endParaRPr lang="en-US" altLang="ko-KR" sz="800" dirty="0" smtClean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defTabSz="1028700"/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징구 서류 재 확인 등 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74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37878" y="214244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7" name="그룹 8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9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수행 내용</a:t>
                </a:r>
              </a:p>
            </p:txBody>
          </p:sp>
          <p:sp>
            <p:nvSpPr>
              <p:cNvPr id="9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44" name="그룹 43"/>
          <p:cNvGrpSpPr/>
          <p:nvPr/>
        </p:nvGrpSpPr>
        <p:grpSpPr>
          <a:xfrm>
            <a:off x="7113487" y="2573308"/>
            <a:ext cx="2454781" cy="338554"/>
            <a:chOff x="7113487" y="2573308"/>
            <a:chExt cx="2454781" cy="338554"/>
          </a:xfrm>
        </p:grpSpPr>
        <p:pic>
          <p:nvPicPr>
            <p:cNvPr id="102" name="그림 101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  <p:sp>
          <p:nvSpPr>
            <p:cNvPr id="105" name="Rectangle 262"/>
            <p:cNvSpPr>
              <a:spLocks noChangeArrowheads="1"/>
            </p:cNvSpPr>
            <p:nvPr/>
          </p:nvSpPr>
          <p:spPr bwMode="auto">
            <a:xfrm>
              <a:off x="7360248" y="2573308"/>
              <a:ext cx="220802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prstDash val="dash"/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85725" indent="-857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hangingPunct="1">
                <a:lnSpc>
                  <a:spcPct val="110000"/>
                </a:lnSpc>
                <a:spcBef>
                  <a:spcPct val="90000"/>
                </a:spcBef>
                <a:buClr>
                  <a:srgbClr val="969696"/>
                </a:buClr>
                <a:buSzPct val="80000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보고 담당자 또는 보고 책임자가 영업점 창구에서 수행한 고객확인정보를 확인</a:t>
              </a:r>
              <a:endParaRPr lang="en-US" altLang="ko-KR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endParaRPr>
            </a:p>
          </p:txBody>
        </p:sp>
      </p:grpSp>
      <p:cxnSp>
        <p:nvCxnSpPr>
          <p:cNvPr id="20" name="꺾인 연결선 19"/>
          <p:cNvCxnSpPr/>
          <p:nvPr/>
        </p:nvCxnSpPr>
        <p:spPr>
          <a:xfrm rot="16200000" flipV="1">
            <a:off x="3525770" y="1602010"/>
            <a:ext cx="358461" cy="4396963"/>
          </a:xfrm>
          <a:prstGeom prst="bentConnector2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2916" y="2857683"/>
            <a:ext cx="930224" cy="62651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Text Box 119"/>
          <p:cNvSpPr txBox="1">
            <a:spLocks noChangeArrowheads="1"/>
          </p:cNvSpPr>
          <p:nvPr/>
        </p:nvSpPr>
        <p:spPr bwMode="auto">
          <a:xfrm>
            <a:off x="5253841" y="2702896"/>
            <a:ext cx="62837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거래확인서</a:t>
            </a:r>
            <a:endParaRPr lang="ko-KR" altLang="en-US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0" name="꺾인 연결선 29"/>
          <p:cNvCxnSpPr>
            <a:stCxn id="61" idx="1"/>
            <a:endCxn id="34" idx="0"/>
          </p:cNvCxnSpPr>
          <p:nvPr/>
        </p:nvCxnSpPr>
        <p:spPr>
          <a:xfrm rot="10800000">
            <a:off x="1128442" y="3140969"/>
            <a:ext cx="3974474" cy="29973"/>
          </a:xfrm>
          <a:prstGeom prst="bentConnector4">
            <a:avLst>
              <a:gd name="adj1" fmla="val 48432"/>
              <a:gd name="adj2" fmla="val 862686"/>
            </a:avLst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직사각형 33"/>
          <p:cNvSpPr/>
          <p:nvPr/>
        </p:nvSpPr>
        <p:spPr>
          <a:xfrm>
            <a:off x="1003786" y="3140968"/>
            <a:ext cx="249312" cy="102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84" name="그림 83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8564" y="3960526"/>
            <a:ext cx="318769" cy="318769"/>
          </a:xfrm>
          <a:prstGeom prst="rect">
            <a:avLst/>
          </a:prstGeom>
        </p:spPr>
      </p:pic>
      <p:pic>
        <p:nvPicPr>
          <p:cNvPr id="92" name="그림 9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0822" y="2863527"/>
            <a:ext cx="424515" cy="300199"/>
          </a:xfrm>
          <a:prstGeom prst="rect">
            <a:avLst/>
          </a:prstGeom>
        </p:spPr>
      </p:pic>
      <p:sp>
        <p:nvSpPr>
          <p:cNvPr id="93" name="직사각형 92"/>
          <p:cNvSpPr/>
          <p:nvPr/>
        </p:nvSpPr>
        <p:spPr>
          <a:xfrm>
            <a:off x="6168426" y="3227816"/>
            <a:ext cx="269304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101889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3767698" algn="l"/>
              </a:tabLst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 w="0"/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업점</a:t>
            </a:r>
          </a:p>
        </p:txBody>
      </p:sp>
      <p:pic>
        <p:nvPicPr>
          <p:cNvPr id="94" name="그림 93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6418" y="4993912"/>
            <a:ext cx="318769" cy="318769"/>
          </a:xfrm>
          <a:prstGeom prst="rect">
            <a:avLst/>
          </a:prstGeom>
        </p:spPr>
      </p:pic>
      <p:pic>
        <p:nvPicPr>
          <p:cNvPr id="96" name="그림 95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28833" y="5189345"/>
            <a:ext cx="320400" cy="314112"/>
          </a:xfrm>
          <a:prstGeom prst="rect">
            <a:avLst/>
          </a:prstGeom>
        </p:spPr>
      </p:pic>
      <p:pic>
        <p:nvPicPr>
          <p:cNvPr id="97" name="그림 96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30788" y="3537012"/>
            <a:ext cx="320400" cy="320400"/>
          </a:xfrm>
          <a:prstGeom prst="rect">
            <a:avLst/>
          </a:prstGeom>
        </p:spPr>
      </p:pic>
      <p:sp>
        <p:nvSpPr>
          <p:cNvPr id="100" name="Text Box 119"/>
          <p:cNvSpPr txBox="1">
            <a:spLocks noChangeArrowheads="1"/>
          </p:cNvSpPr>
          <p:nvPr/>
        </p:nvSpPr>
        <p:spPr bwMode="auto">
          <a:xfrm>
            <a:off x="2333489" y="3449905"/>
            <a:ext cx="1827423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담당자 또는 보고책임자에게 재확인 요청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01" name="그룹 100"/>
          <p:cNvGrpSpPr/>
          <p:nvPr/>
        </p:nvGrpSpPr>
        <p:grpSpPr>
          <a:xfrm>
            <a:off x="7113487" y="3147936"/>
            <a:ext cx="2454781" cy="677108"/>
            <a:chOff x="7113487" y="3796008"/>
            <a:chExt cx="2454781" cy="677108"/>
          </a:xfrm>
        </p:grpSpPr>
        <p:pic>
          <p:nvPicPr>
            <p:cNvPr id="103" name="그림 102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113487" y="3796008"/>
              <a:ext cx="318769" cy="318769"/>
            </a:xfrm>
            <a:prstGeom prst="rect">
              <a:avLst/>
            </a:prstGeom>
          </p:spPr>
        </p:pic>
        <p:sp>
          <p:nvSpPr>
            <p:cNvPr id="104" name="Rectangle 262"/>
            <p:cNvSpPr>
              <a:spLocks noChangeArrowheads="1"/>
            </p:cNvSpPr>
            <p:nvPr/>
          </p:nvSpPr>
          <p:spPr bwMode="auto">
            <a:xfrm>
              <a:off x="7360248" y="3796008"/>
              <a:ext cx="2208020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prstDash val="dash"/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85725" indent="-857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hangingPunct="1">
                <a:lnSpc>
                  <a:spcPct val="110000"/>
                </a:lnSpc>
                <a:spcBef>
                  <a:spcPct val="90000"/>
                </a:spcBef>
                <a:buClr>
                  <a:srgbClr val="969696"/>
                </a:buClr>
                <a:buSzPct val="80000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고객확인결과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실소유자 확인결과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,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요주의리스트 필터링 동일인</a:t>
              </a:r>
              <a:r>
                <a:rPr lang="en-US" altLang="ko-KR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/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동명이인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판단결과의 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입력내용 및 징구서류 등을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확인하여 적정하게 수행되었는지 판단</a:t>
              </a:r>
              <a:endPara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06" name="그룹 105"/>
          <p:cNvGrpSpPr/>
          <p:nvPr/>
        </p:nvGrpSpPr>
        <p:grpSpPr>
          <a:xfrm>
            <a:off x="7113487" y="4077072"/>
            <a:ext cx="2454781" cy="677108"/>
            <a:chOff x="7113487" y="4599819"/>
            <a:chExt cx="2454781" cy="677108"/>
          </a:xfrm>
        </p:grpSpPr>
        <p:pic>
          <p:nvPicPr>
            <p:cNvPr id="107" name="그림 106">
              <a:extLst>
                <a:ext uri="{FF2B5EF4-FFF2-40B4-BE49-F238E27FC236}">
                  <a16:creationId xmlns:a16="http://schemas.microsoft.com/office/drawing/2014/main" id="{ABA4C402-3787-418C-A5B2-8C1F7D264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113487" y="4599819"/>
              <a:ext cx="320400" cy="320400"/>
            </a:xfrm>
            <a:prstGeom prst="rect">
              <a:avLst/>
            </a:prstGeom>
          </p:spPr>
        </p:pic>
        <p:sp>
          <p:nvSpPr>
            <p:cNvPr id="108" name="Rectangle 262"/>
            <p:cNvSpPr>
              <a:spLocks noChangeArrowheads="1"/>
            </p:cNvSpPr>
            <p:nvPr/>
          </p:nvSpPr>
          <p:spPr bwMode="auto">
            <a:xfrm>
              <a:off x="7360248" y="4599819"/>
              <a:ext cx="2208020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prstDash val="dash"/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85725" indent="-857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hangingPunct="1">
                <a:lnSpc>
                  <a:spcPct val="110000"/>
                </a:lnSpc>
                <a:spcBef>
                  <a:spcPct val="90000"/>
                </a:spcBef>
                <a:buClr>
                  <a:srgbClr val="969696"/>
                </a:buClr>
                <a:buSzPct val="80000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부적정으로 판단한 경우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KYC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수행 처리 직원에게 구두요청 또는 이메일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,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메시지 발송 등으로 입력 내용 및 징구서류 재확인 요청</a:t>
              </a:r>
              <a:endPara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09" name="그룹 108"/>
          <p:cNvGrpSpPr/>
          <p:nvPr/>
        </p:nvGrpSpPr>
        <p:grpSpPr>
          <a:xfrm>
            <a:off x="7113487" y="4993912"/>
            <a:ext cx="2454781" cy="812530"/>
            <a:chOff x="7113487" y="5358698"/>
            <a:chExt cx="2454781" cy="812530"/>
          </a:xfrm>
        </p:grpSpPr>
        <p:pic>
          <p:nvPicPr>
            <p:cNvPr id="110" name="그림 109">
              <a:extLst>
                <a:ext uri="{FF2B5EF4-FFF2-40B4-BE49-F238E27FC236}">
                  <a16:creationId xmlns:a16="http://schemas.microsoft.com/office/drawing/2014/main" id="{1B4D65A0-3DC0-42CA-9156-D7554D0D2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113487" y="5358698"/>
              <a:ext cx="320400" cy="320400"/>
            </a:xfrm>
            <a:prstGeom prst="rect">
              <a:avLst/>
            </a:prstGeom>
          </p:spPr>
        </p:pic>
        <p:sp>
          <p:nvSpPr>
            <p:cNvPr id="114" name="Rectangle 262"/>
            <p:cNvSpPr>
              <a:spLocks noChangeArrowheads="1"/>
            </p:cNvSpPr>
            <p:nvPr/>
          </p:nvSpPr>
          <p:spPr bwMode="auto">
            <a:xfrm>
              <a:off x="7360248" y="5358698"/>
              <a:ext cx="2208020" cy="812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prstDash val="dash"/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85725" indent="-85725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hangingPunct="1">
                <a:lnSpc>
                  <a:spcPct val="110000"/>
                </a:lnSpc>
                <a:spcBef>
                  <a:spcPct val="90000"/>
                </a:spcBef>
                <a:buClr>
                  <a:srgbClr val="969696"/>
                </a:buClr>
                <a:buSzPct val="80000"/>
              </a:pPr>
              <a:r>
                <a:rPr lang="en-US" altLang="ko-KR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KYC</a:t>
              </a:r>
              <a:r>
                <a:rPr lang="ko-KR" altLang="en-US" sz="1000" dirty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수행 처리 직원은 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입력 내용 및 징구서류 등 부적정 판단 사유를 확인 정정 조치 후 고객확인정보 재확인 요청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/>
              </a:r>
              <a:br>
                <a:rPr lang="en-US" altLang="ko-KR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</a:br>
              <a:r>
                <a:rPr lang="en-US" altLang="ko-KR" sz="9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-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보고 담당자 또는 보고 책임자는 재확인  </a:t>
              </a:r>
              <a:r>
                <a:rPr lang="en-US" altLang="ko-KR" sz="9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/>
              </a:r>
              <a:br>
                <a:rPr lang="en-US" altLang="ko-KR" sz="9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</a:br>
              <a:r>
                <a:rPr lang="en-US" altLang="ko-KR" sz="9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  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anose="020B0604020202020204" pitchFamily="34" charset="0"/>
                </a:rPr>
                <a:t>요청 건에 대해 적정할 때까지 절차를 반복 수행</a:t>
              </a:r>
              <a:endParaRPr lang="ko-KR" altLang="en-US" sz="9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endParaRPr>
            </a:p>
          </p:txBody>
        </p:sp>
      </p:grpSp>
      <p:sp>
        <p:nvSpPr>
          <p:cNvPr id="6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928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.6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129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9" name="Rectangle 131"/>
          <p:cNvSpPr>
            <a:spLocks noChangeArrowheads="1"/>
          </p:cNvSpPr>
          <p:nvPr/>
        </p:nvSpPr>
        <p:spPr bwMode="auto">
          <a:xfrm>
            <a:off x="345010" y="2129680"/>
            <a:ext cx="6506677" cy="42156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grpSp>
        <p:nvGrpSpPr>
          <p:cNvPr id="131" name="그룹 130"/>
          <p:cNvGrpSpPr/>
          <p:nvPr/>
        </p:nvGrpSpPr>
        <p:grpSpPr>
          <a:xfrm>
            <a:off x="538658" y="2987665"/>
            <a:ext cx="3564520" cy="2925611"/>
            <a:chOff x="452376" y="2758210"/>
            <a:chExt cx="3564520" cy="2925611"/>
          </a:xfrm>
        </p:grpSpPr>
        <p:pic>
          <p:nvPicPr>
            <p:cNvPr id="11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76" y="2949030"/>
              <a:ext cx="3564520" cy="27347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23" name="그룹 122"/>
            <p:cNvGrpSpPr/>
            <p:nvPr/>
          </p:nvGrpSpPr>
          <p:grpSpPr>
            <a:xfrm>
              <a:off x="452376" y="2758210"/>
              <a:ext cx="1569472" cy="188600"/>
              <a:chOff x="725602" y="2673774"/>
              <a:chExt cx="1569472" cy="188600"/>
            </a:xfrm>
          </p:grpSpPr>
          <p:sp>
            <p:nvSpPr>
              <p:cNvPr id="119" name="Text Box 358" descr="도식1"/>
              <p:cNvSpPr>
                <a:spLocks noChangeArrowheads="1"/>
              </p:cNvSpPr>
              <p:nvPr/>
            </p:nvSpPr>
            <p:spPr bwMode="auto">
              <a:xfrm>
                <a:off x="725602" y="2673774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20" name="Rt40" descr="도식1"/>
              <p:cNvSpPr>
                <a:spLocks noChangeArrowheads="1"/>
              </p:cNvSpPr>
              <p:nvPr/>
            </p:nvSpPr>
            <p:spPr bwMode="auto">
              <a:xfrm>
                <a:off x="1081535" y="2691130"/>
                <a:ext cx="857607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en-US" altLang="ko-KR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3</a:t>
                </a:r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자검증확인화면</a:t>
                </a:r>
              </a:p>
            </p:txBody>
          </p:sp>
        </p:grpSp>
      </p:grp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.6.3 </a:t>
            </a:r>
            <a:r>
              <a:rPr lang="ko-KR" altLang="en-US" dirty="0" smtClean="0"/>
              <a:t>고객확인 </a:t>
            </a:r>
            <a:r>
              <a:rPr lang="ko-KR" altLang="en-US" dirty="0"/>
              <a:t>수행정보 </a:t>
            </a:r>
            <a:r>
              <a:rPr lang="en-US" altLang="ko-KR" dirty="0"/>
              <a:t>3</a:t>
            </a:r>
            <a:r>
              <a:rPr lang="ko-KR" altLang="en-US" dirty="0"/>
              <a:t>자 검증 </a:t>
            </a:r>
            <a:r>
              <a:rPr lang="en-US" altLang="ko-KR" dirty="0" smtClean="0"/>
              <a:t>(2/2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영업점 창구에서 수행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입력내용 검증을 위해 준법감시담당자가 수행한 고객확인정보의 적정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적정 여부를 판단하고 부적정의 경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직원에게 피드백 할 수 있는 검증 절차 및 기능을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3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검증확인화면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87" name="그룹 8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9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수행 내용</a:t>
                </a:r>
              </a:p>
            </p:txBody>
          </p:sp>
          <p:sp>
            <p:nvSpPr>
              <p:cNvPr id="9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pic>
        <p:nvPicPr>
          <p:cNvPr id="74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647398" y="312115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그림 1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9119" y="2800314"/>
            <a:ext cx="2140065" cy="1750966"/>
          </a:xfrm>
          <a:prstGeom prst="rect">
            <a:avLst/>
          </a:prstGeom>
        </p:spPr>
      </p:pic>
      <p:sp>
        <p:nvSpPr>
          <p:cNvPr id="125" name="Text Box 358" descr="도식1"/>
          <p:cNvSpPr>
            <a:spLocks noChangeArrowheads="1"/>
          </p:cNvSpPr>
          <p:nvPr/>
        </p:nvSpPr>
        <p:spPr bwMode="auto">
          <a:xfrm>
            <a:off x="4468057" y="2611714"/>
            <a:ext cx="1569472" cy="188600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2060"/>
              </a:gs>
              <a:gs pos="100000">
                <a:srgbClr val="0070C0"/>
              </a:gs>
            </a:gsLst>
            <a:lin ang="1080000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12700" dir="5400000" sx="99000" sy="99000" algn="t" rotWithShape="0">
              <a:prstClr val="black">
                <a:alpha val="2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tIns="180000"/>
          <a:lstStyle/>
          <a:p>
            <a:pPr algn="ctr" latinLnBrk="0"/>
            <a:endParaRPr lang="ko-KR" altLang="en-US" sz="1000" b="1" dirty="0">
              <a:gradFill>
                <a:gsLst>
                  <a:gs pos="0">
                    <a:prstClr val="white"/>
                  </a:gs>
                  <a:gs pos="100000">
                    <a:prstClr val="white"/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6" name="Rt40" descr="도식1"/>
          <p:cNvSpPr>
            <a:spLocks noChangeArrowheads="1"/>
          </p:cNvSpPr>
          <p:nvPr/>
        </p:nvSpPr>
        <p:spPr bwMode="auto">
          <a:xfrm>
            <a:off x="4747851" y="2639594"/>
            <a:ext cx="1009893" cy="153888"/>
          </a:xfrm>
          <a:prstGeom prst="rect">
            <a:avLst/>
          </a:prstGeom>
          <a:noFill/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pAutoFit/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latinLnBrk="0"/>
            <a:r>
              <a:rPr lang="ko-KR" altLang="en-US" sz="100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확인거래서화면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4526195" y="4803194"/>
            <a:ext cx="2003845" cy="1108006"/>
            <a:chOff x="4526195" y="4803194"/>
            <a:chExt cx="2003845" cy="1108006"/>
          </a:xfrm>
        </p:grpSpPr>
        <p:pic>
          <p:nvPicPr>
            <p:cNvPr id="117" name="그림 1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26195" y="5042085"/>
              <a:ext cx="2003845" cy="869115"/>
            </a:xfrm>
            <a:prstGeom prst="rect">
              <a:avLst/>
            </a:prstGeom>
          </p:spPr>
        </p:pic>
        <p:grpSp>
          <p:nvGrpSpPr>
            <p:cNvPr id="139" name="그룹 138"/>
            <p:cNvGrpSpPr/>
            <p:nvPr/>
          </p:nvGrpSpPr>
          <p:grpSpPr>
            <a:xfrm>
              <a:off x="4526195" y="4803194"/>
              <a:ext cx="1569472" cy="188600"/>
              <a:chOff x="4599297" y="4791655"/>
              <a:chExt cx="1569472" cy="188600"/>
            </a:xfrm>
          </p:grpSpPr>
          <p:sp>
            <p:nvSpPr>
              <p:cNvPr id="127" name="Text Box 358" descr="도식1"/>
              <p:cNvSpPr>
                <a:spLocks noChangeArrowheads="1"/>
              </p:cNvSpPr>
              <p:nvPr/>
            </p:nvSpPr>
            <p:spPr bwMode="auto">
              <a:xfrm>
                <a:off x="4599297" y="479165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Light" panose="00000300000000000000" pitchFamily="2" charset="-127"/>
                  <a:ea typeface="KoPub돋움체 Light" panose="00000300000000000000" pitchFamily="2" charset="-127"/>
                </a:endParaRPr>
              </a:p>
            </p:txBody>
          </p:sp>
          <p:sp>
            <p:nvSpPr>
              <p:cNvPr id="128" name="Rt40" descr="도식1"/>
              <p:cNvSpPr>
                <a:spLocks noChangeArrowheads="1"/>
              </p:cNvSpPr>
              <p:nvPr/>
            </p:nvSpPr>
            <p:spPr bwMode="auto">
              <a:xfrm>
                <a:off x="4753257" y="4810834"/>
                <a:ext cx="1261564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요주의리스트 필터링 결과화면</a:t>
                </a:r>
                <a:endParaRPr lang="ko-KR" altLang="en-US" sz="1000" spc="-150" dirty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</p:grpSp>
      <p:cxnSp>
        <p:nvCxnSpPr>
          <p:cNvPr id="133" name="꺾인 연결선 132"/>
          <p:cNvCxnSpPr>
            <a:stCxn id="134" idx="0"/>
          </p:cNvCxnSpPr>
          <p:nvPr/>
        </p:nvCxnSpPr>
        <p:spPr bwMode="auto">
          <a:xfrm rot="5400000" flipH="1" flipV="1">
            <a:off x="2665657" y="2420169"/>
            <a:ext cx="508180" cy="3015080"/>
          </a:xfrm>
          <a:prstGeom prst="bentConnector2">
            <a:avLst/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134" name="Rectangle 127"/>
          <p:cNvSpPr>
            <a:spLocks noChangeArrowheads="1"/>
          </p:cNvSpPr>
          <p:nvPr/>
        </p:nvSpPr>
        <p:spPr bwMode="gray">
          <a:xfrm>
            <a:off x="645958" y="4181799"/>
            <a:ext cx="1532497" cy="322092"/>
          </a:xfrm>
          <a:prstGeom prst="rect">
            <a:avLst/>
          </a:prstGeom>
          <a:noFill/>
          <a:ln w="28575" algn="ctr">
            <a:solidFill>
              <a:srgbClr val="FF66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l" eaLnBrk="1" hangingPunct="1"/>
            <a:endParaRPr kumimoji="0" lang="ko-KR" altLang="en-US" dirty="0">
              <a:latin typeface="나눔바른고딕" pitchFamily="50" charset="-127"/>
              <a:ea typeface="나눔바른고딕" pitchFamily="50" charset="-127"/>
            </a:endParaRPr>
          </a:p>
        </p:txBody>
      </p:sp>
      <p:cxnSp>
        <p:nvCxnSpPr>
          <p:cNvPr id="141" name="꺾인 연결선 140"/>
          <p:cNvCxnSpPr>
            <a:stCxn id="151" idx="2"/>
          </p:cNvCxnSpPr>
          <p:nvPr/>
        </p:nvCxnSpPr>
        <p:spPr bwMode="auto">
          <a:xfrm rot="16200000" flipH="1">
            <a:off x="2816282" y="3848212"/>
            <a:ext cx="654269" cy="2602590"/>
          </a:xfrm>
          <a:prstGeom prst="bentConnector2">
            <a:avLst/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151" name="Rectangle 127"/>
          <p:cNvSpPr>
            <a:spLocks noChangeArrowheads="1"/>
          </p:cNvSpPr>
          <p:nvPr/>
        </p:nvSpPr>
        <p:spPr bwMode="gray">
          <a:xfrm>
            <a:off x="647335" y="4500281"/>
            <a:ext cx="2389572" cy="322092"/>
          </a:xfrm>
          <a:prstGeom prst="rect">
            <a:avLst/>
          </a:prstGeom>
          <a:noFill/>
          <a:ln w="28575" algn="ctr">
            <a:solidFill>
              <a:srgbClr val="FF66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l" eaLnBrk="1" hangingPunct="1"/>
            <a:endParaRPr kumimoji="0" lang="ko-KR" altLang="en-US" dirty="0">
              <a:latin typeface="나눔바른고딕" pitchFamily="50" charset="-127"/>
              <a:ea typeface="나눔바른고딕" pitchFamily="50" charset="-127"/>
            </a:endParaRPr>
          </a:p>
        </p:txBody>
      </p:sp>
      <p:pic>
        <p:nvPicPr>
          <p:cNvPr id="165" name="그림 164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041" y="4098451"/>
            <a:ext cx="318769" cy="318769"/>
          </a:xfrm>
          <a:prstGeom prst="rect">
            <a:avLst/>
          </a:prstGeom>
        </p:spPr>
      </p:pic>
      <p:pic>
        <p:nvPicPr>
          <p:cNvPr id="166" name="그림 165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9041" y="4445089"/>
            <a:ext cx="318769" cy="318769"/>
          </a:xfrm>
          <a:prstGeom prst="rect">
            <a:avLst/>
          </a:prstGeom>
        </p:spPr>
      </p:pic>
      <p:pic>
        <p:nvPicPr>
          <p:cNvPr id="170" name="그림 169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87054" y="4097802"/>
            <a:ext cx="320400" cy="314112"/>
          </a:xfrm>
          <a:prstGeom prst="rect">
            <a:avLst/>
          </a:prstGeom>
        </p:spPr>
      </p:pic>
      <p:pic>
        <p:nvPicPr>
          <p:cNvPr id="171" name="그림 170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041" y="5133446"/>
            <a:ext cx="320400" cy="320400"/>
          </a:xfrm>
          <a:prstGeom prst="rect">
            <a:avLst/>
          </a:prstGeom>
        </p:spPr>
      </p:pic>
      <p:sp>
        <p:nvSpPr>
          <p:cNvPr id="172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106279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확인거래서 </a:t>
            </a: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확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3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05537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 결과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실소유자 확인 결과 검증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74" name="그림 173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sp>
        <p:nvSpPr>
          <p:cNvPr id="175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345651"/>
            <a:ext cx="184762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주의리스트 필터링 결과 화면 확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6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3625279"/>
            <a:ext cx="2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리스트 필터링 동일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동명이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판단결과 검증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7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286201"/>
            <a:ext cx="75212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검증 결과 입력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8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561383"/>
            <a:ext cx="21823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결과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실소유자 확인 결과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리스트 필터링 판단 결과의 적정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적정 입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9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206037"/>
            <a:ext cx="60497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적정 사유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80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435352"/>
            <a:ext cx="2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증 결과 부적정 판단의 경우 상세사유 입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81" name="그림 180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3487" y="3343468"/>
            <a:ext cx="318769" cy="318769"/>
          </a:xfrm>
          <a:prstGeom prst="rect">
            <a:avLst/>
          </a:prstGeom>
        </p:spPr>
      </p:pic>
      <p:pic>
        <p:nvPicPr>
          <p:cNvPr id="182" name="그림 181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3487" y="4286859"/>
            <a:ext cx="320400" cy="320400"/>
          </a:xfrm>
          <a:prstGeom prst="rect">
            <a:avLst/>
          </a:prstGeom>
        </p:spPr>
      </p:pic>
      <p:pic>
        <p:nvPicPr>
          <p:cNvPr id="183" name="그림 182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13262" y="5196832"/>
            <a:ext cx="320400" cy="320400"/>
          </a:xfrm>
          <a:prstGeom prst="rect">
            <a:avLst/>
          </a:prstGeom>
        </p:spPr>
      </p:pic>
      <p:cxnSp>
        <p:nvCxnSpPr>
          <p:cNvPr id="184" name="직선 연결선 183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17697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5" name="직선 연결선 184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083977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6" name="직선 연결선 185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40649" y="5013176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0" name="Rectangle 132"/>
          <p:cNvSpPr>
            <a:spLocks noChangeArrowheads="1"/>
          </p:cNvSpPr>
          <p:nvPr/>
        </p:nvSpPr>
        <p:spPr bwMode="gray">
          <a:xfrm>
            <a:off x="345010" y="2123331"/>
            <a:ext cx="6506677" cy="25400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1" name="AutoShape 133"/>
          <p:cNvSpPr>
            <a:spLocks noChangeArrowheads="1"/>
          </p:cNvSpPr>
          <p:nvPr/>
        </p:nvSpPr>
        <p:spPr bwMode="gray">
          <a:xfrm>
            <a:off x="1648762" y="2123331"/>
            <a:ext cx="3899173" cy="216000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2" name="Rectangle 11"/>
          <p:cNvSpPr>
            <a:spLocks noChangeAspect="1" noChangeArrowheads="1"/>
          </p:cNvSpPr>
          <p:nvPr/>
        </p:nvSpPr>
        <p:spPr bwMode="auto">
          <a:xfrm>
            <a:off x="3063750" y="2146693"/>
            <a:ext cx="106920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r>
              <a:rPr kumimoji="0" lang="ko-KR" altLang="en-US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 검증 확인 내용</a:t>
            </a:r>
            <a:endParaRPr kumimoji="0" lang="en-US" altLang="en-US" sz="1100" kern="0" dirty="0" smtClean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73" name="직선 연결선 72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236918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63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24129" y="272948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49317" y="485331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5928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.6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62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.6.4 </a:t>
            </a:r>
            <a:r>
              <a:rPr lang="ko-KR" altLang="en-US" dirty="0" smtClean="0"/>
              <a:t>주요기능 </a:t>
            </a:r>
            <a:r>
              <a:rPr lang="en-US" altLang="ko-KR" dirty="0" smtClean="0"/>
              <a:t>(1/2)</a:t>
            </a:r>
            <a:r>
              <a:rPr lang="ko-KR" altLang="en-US" dirty="0" smtClean="0"/>
              <a:t> </a:t>
            </a:r>
            <a:r>
              <a:rPr lang="en-US" altLang="ko-KR" dirty="0"/>
              <a:t>&gt; KYC </a:t>
            </a:r>
            <a:r>
              <a:rPr lang="ko-KR" altLang="en-US" dirty="0" smtClean="0"/>
              <a:t>수행 현황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창구 직원들이 계정계 단말에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C)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한 결과를 모니터링 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YC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수행현황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9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3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5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6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7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05537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업점에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창구 직원들이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정계단말에서 고객확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YC)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한 결과에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해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회하는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887578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152099"/>
            <a:ext cx="2201264" cy="666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검증결과 조건에 해당하는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객확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KYC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행 정보 조회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검증확인 화면 호출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확인거래서 화면 호출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64502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1" name="그림 3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881999"/>
            <a:ext cx="318769" cy="318769"/>
          </a:xfrm>
          <a:prstGeom prst="rect">
            <a:avLst/>
          </a:prstGeom>
        </p:spPr>
      </p:pic>
      <p:grpSp>
        <p:nvGrpSpPr>
          <p:cNvPr id="3" name="그룹 2"/>
          <p:cNvGrpSpPr/>
          <p:nvPr/>
        </p:nvGrpSpPr>
        <p:grpSpPr>
          <a:xfrm>
            <a:off x="427657" y="2286397"/>
            <a:ext cx="1569472" cy="188600"/>
            <a:chOff x="361442" y="2178385"/>
            <a:chExt cx="1569472" cy="188600"/>
          </a:xfrm>
        </p:grpSpPr>
        <p:sp>
          <p:nvSpPr>
            <p:cNvPr id="46" name="Text Box 358" descr="도식1"/>
            <p:cNvSpPr>
              <a:spLocks noChangeArrowheads="1"/>
            </p:cNvSpPr>
            <p:nvPr/>
          </p:nvSpPr>
          <p:spPr bwMode="auto">
            <a:xfrm>
              <a:off x="361442" y="2178385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바른고딕" pitchFamily="50" charset="-127"/>
                <a:ea typeface="나눔바른고딕" pitchFamily="50" charset="-127"/>
              </a:endParaRPr>
            </a:p>
          </p:txBody>
        </p:sp>
        <p:sp>
          <p:nvSpPr>
            <p:cNvPr id="47" name="Rt40" descr="도식1"/>
            <p:cNvSpPr>
              <a:spLocks noChangeArrowheads="1"/>
            </p:cNvSpPr>
            <p:nvPr/>
          </p:nvSpPr>
          <p:spPr bwMode="auto">
            <a:xfrm>
              <a:off x="782298" y="2195741"/>
              <a:ext cx="727763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en-US" altLang="ko-KR" sz="100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YC </a:t>
              </a:r>
              <a:r>
                <a:rPr lang="ko-KR" altLang="en-US" sz="100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수행정보</a:t>
              </a:r>
            </a:p>
          </p:txBody>
        </p:sp>
      </p:grpSp>
      <p:pic>
        <p:nvPicPr>
          <p:cNvPr id="36" name="그림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657" y="2478722"/>
            <a:ext cx="6109610" cy="3837374"/>
          </a:xfrm>
          <a:prstGeom prst="rect">
            <a:avLst/>
          </a:prstGeom>
        </p:spPr>
      </p:pic>
      <p:pic>
        <p:nvPicPr>
          <p:cNvPr id="35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64209" y="244237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847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.6.4 </a:t>
            </a:r>
            <a:r>
              <a:rPr lang="ko-KR" altLang="en-US" dirty="0" smtClean="0"/>
              <a:t>주요기능 </a:t>
            </a:r>
            <a:r>
              <a:rPr lang="en-US" altLang="ko-KR" dirty="0" smtClean="0"/>
              <a:t>(2/2)</a:t>
            </a:r>
            <a:r>
              <a:rPr lang="ko-KR" altLang="en-US" dirty="0" smtClean="0"/>
              <a:t> </a:t>
            </a:r>
            <a:r>
              <a:rPr lang="en-US" altLang="ko-KR" dirty="0" smtClean="0"/>
              <a:t>&gt; </a:t>
            </a:r>
            <a:r>
              <a:rPr lang="ko-KR" altLang="en-US" dirty="0"/>
              <a:t>재확인주기도래고객리스트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의무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KYC)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재확인 주기가 도래한 고객을 모니터링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en-US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재확인주기도래고객리스트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0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44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45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46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7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확인의무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KYC)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 재확인 주기가 도래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스트를 조회하는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면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887578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9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152099"/>
            <a:ext cx="2055371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DD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상 고객의 경우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 </a:t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CDD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행일로 부터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 이상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EDD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상 고객의 경우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:</a:t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EDD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행일로 부터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 이상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50" name="직선 연결선 4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64502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1" name="그림 5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52" name="그림 5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881999"/>
            <a:ext cx="318769" cy="318769"/>
          </a:xfrm>
          <a:prstGeom prst="rect">
            <a:avLst/>
          </a:prstGeom>
        </p:spPr>
      </p:pic>
      <p:grpSp>
        <p:nvGrpSpPr>
          <p:cNvPr id="7" name="그룹 6"/>
          <p:cNvGrpSpPr/>
          <p:nvPr/>
        </p:nvGrpSpPr>
        <p:grpSpPr>
          <a:xfrm>
            <a:off x="416496" y="2269771"/>
            <a:ext cx="6136223" cy="4019087"/>
            <a:chOff x="416496" y="2269771"/>
            <a:chExt cx="6136223" cy="4019087"/>
          </a:xfrm>
        </p:grpSpPr>
        <p:grpSp>
          <p:nvGrpSpPr>
            <p:cNvPr id="64" name="그룹 63"/>
            <p:cNvGrpSpPr/>
            <p:nvPr/>
          </p:nvGrpSpPr>
          <p:grpSpPr>
            <a:xfrm>
              <a:off x="416496" y="2269771"/>
              <a:ext cx="1569472" cy="188600"/>
              <a:chOff x="361442" y="2178385"/>
              <a:chExt cx="1569472" cy="188600"/>
            </a:xfrm>
          </p:grpSpPr>
          <p:sp>
            <p:nvSpPr>
              <p:cNvPr id="65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66" name="Rt40" descr="도식1"/>
              <p:cNvSpPr>
                <a:spLocks noChangeArrowheads="1"/>
              </p:cNvSpPr>
              <p:nvPr/>
            </p:nvSpPr>
            <p:spPr bwMode="auto">
              <a:xfrm>
                <a:off x="472921" y="2195741"/>
                <a:ext cx="1346523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재확인주기도래고객리스트</a:t>
                </a:r>
              </a:p>
            </p:txBody>
          </p:sp>
        </p:grpSp>
        <p:pic>
          <p:nvPicPr>
            <p:cNvPr id="34" name="그림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8144" y="2469333"/>
              <a:ext cx="6124575" cy="3819525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32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10443" y="237781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14055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프로세스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038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2 </a:t>
            </a:r>
            <a:r>
              <a:rPr lang="ko-KR" altLang="en-US" dirty="0" smtClean="0"/>
              <a:t>고객위험평가 </a:t>
            </a:r>
            <a:r>
              <a:rPr lang="ko-KR" altLang="en-US" dirty="0"/>
              <a:t>구축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는 고위험 국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 등에 대한 사전 고위험 대상 필터링 단계와 고객위험도 산출을 통한 위험평가 등 크게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단계로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위험평가 구축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Framework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7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21214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484719" y="2146281"/>
            <a:ext cx="9112797" cy="4163039"/>
            <a:chOff x="530550" y="2074273"/>
            <a:chExt cx="9112797" cy="4163039"/>
          </a:xfrm>
        </p:grpSpPr>
        <p:sp>
          <p:nvSpPr>
            <p:cNvPr id="14" name="직사각형 13"/>
            <p:cNvSpPr/>
            <p:nvPr/>
          </p:nvSpPr>
          <p:spPr bwMode="ltGray">
            <a:xfrm>
              <a:off x="1544309" y="2456731"/>
              <a:ext cx="2093172" cy="378058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8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" name="직사각형 14"/>
            <p:cNvSpPr/>
            <p:nvPr/>
          </p:nvSpPr>
          <p:spPr bwMode="ltGray">
            <a:xfrm>
              <a:off x="3713349" y="2465069"/>
              <a:ext cx="2036735" cy="3772243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8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6" name="Picture 203" descr="icon_사람과돈자루_짙은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425" y="4032457"/>
              <a:ext cx="452571" cy="4581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직사각형 16"/>
            <p:cNvSpPr/>
            <p:nvPr/>
          </p:nvSpPr>
          <p:spPr bwMode="ltGray">
            <a:xfrm>
              <a:off x="588071" y="2782912"/>
              <a:ext cx="809803" cy="574748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CDD </a:t>
              </a:r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대상</a:t>
              </a:r>
              <a:r>
                <a:rPr lang="en-US" altLang="ko-KR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/>
              </a:r>
              <a:br>
                <a:rPr lang="en-US" altLang="ko-KR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</a:br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 여부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18" name="직사각형 17"/>
            <p:cNvSpPr/>
            <p:nvPr/>
          </p:nvSpPr>
          <p:spPr bwMode="ltGray">
            <a:xfrm>
              <a:off x="1914538" y="2782912"/>
              <a:ext cx="1419435" cy="57474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금융거래제한 대상자 여부  필터링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30550" y="4500621"/>
              <a:ext cx="876320" cy="31024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indent="-269574" algn="ctr" latinLnBrk="0">
                <a:spcAft>
                  <a:spcPts val="884"/>
                </a:spcAft>
              </a:pPr>
              <a:r>
                <a:rPr lang="ko-KR" altLang="en-US" sz="1032" spc="-1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 신청</a:t>
              </a:r>
              <a:endParaRPr lang="ko-KR" altLang="en-US" sz="1032" spc="-1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0" name="Text Box 380"/>
            <p:cNvSpPr txBox="1">
              <a:spLocks noChangeArrowheads="1"/>
            </p:cNvSpPr>
            <p:nvPr/>
          </p:nvSpPr>
          <p:spPr bwMode="auto">
            <a:xfrm>
              <a:off x="1588159" y="2298875"/>
              <a:ext cx="2000418" cy="246221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1200" dirty="0"/>
                <a:t>1</a:t>
              </a:r>
              <a:r>
                <a:rPr lang="ko-KR" altLang="en-US" sz="1200" dirty="0"/>
                <a:t>단계 </a:t>
              </a:r>
              <a:r>
                <a:rPr lang="en-US" altLang="ko-KR" sz="1200" dirty="0"/>
                <a:t>: </a:t>
              </a:r>
              <a:r>
                <a:rPr lang="ko-KR" altLang="en-US" sz="1200" dirty="0"/>
                <a:t>고위험 대상</a:t>
              </a:r>
              <a:r>
                <a:rPr lang="en-US" altLang="ko-KR" sz="1200" dirty="0"/>
                <a:t> </a:t>
              </a:r>
              <a:r>
                <a:rPr lang="ko-KR" altLang="en-US" sz="1200" dirty="0"/>
                <a:t>필터링</a:t>
              </a:r>
            </a:p>
          </p:txBody>
        </p:sp>
        <p:sp>
          <p:nvSpPr>
            <p:cNvPr id="21" name="Text Box 382"/>
            <p:cNvSpPr txBox="1">
              <a:spLocks noChangeArrowheads="1"/>
            </p:cNvSpPr>
            <p:nvPr/>
          </p:nvSpPr>
          <p:spPr bwMode="auto">
            <a:xfrm>
              <a:off x="3770568" y="2294008"/>
              <a:ext cx="1898823" cy="246221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1200" dirty="0"/>
                <a:t>2</a:t>
              </a:r>
              <a:r>
                <a:rPr lang="ko-KR" altLang="en-US" sz="1200" dirty="0"/>
                <a:t>단계 </a:t>
              </a:r>
              <a:r>
                <a:rPr lang="en-US" altLang="ko-KR" sz="1200" dirty="0"/>
                <a:t>: </a:t>
              </a:r>
              <a:r>
                <a:rPr lang="ko-KR" altLang="en-US" sz="1200" dirty="0"/>
                <a:t>고객위험 평가</a:t>
              </a:r>
            </a:p>
          </p:txBody>
        </p:sp>
        <p:sp>
          <p:nvSpPr>
            <p:cNvPr id="22" name="직사각형 21"/>
            <p:cNvSpPr/>
            <p:nvPr/>
          </p:nvSpPr>
          <p:spPr bwMode="ltGray">
            <a:xfrm>
              <a:off x="1914538" y="3574825"/>
              <a:ext cx="1419435" cy="57474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위험 고객여부 필터링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PEP, UN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재자 등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3" name="직사각형 22"/>
            <p:cNvSpPr/>
            <p:nvPr/>
          </p:nvSpPr>
          <p:spPr bwMode="ltGray">
            <a:xfrm>
              <a:off x="1913252" y="4426058"/>
              <a:ext cx="1419435" cy="57474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위험 업종여부 필터링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대부업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카지노 등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5" name="직사각형 24"/>
            <p:cNvSpPr/>
            <p:nvPr/>
          </p:nvSpPr>
          <p:spPr bwMode="ltGray">
            <a:xfrm>
              <a:off x="1913252" y="5306161"/>
              <a:ext cx="1419435" cy="57474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위험 상품여부 필터링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cxnSp>
          <p:nvCxnSpPr>
            <p:cNvPr id="26" name="직선 화살표 연결선 25"/>
            <p:cNvCxnSpPr>
              <a:endCxn id="17" idx="2"/>
            </p:cNvCxnSpPr>
            <p:nvPr/>
          </p:nvCxnSpPr>
          <p:spPr>
            <a:xfrm flipV="1">
              <a:off x="992976" y="3357660"/>
              <a:ext cx="1" cy="642918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꺾인 연결선 26"/>
            <p:cNvCxnSpPr>
              <a:stCxn id="17" idx="3"/>
              <a:endCxn id="22" idx="1"/>
            </p:cNvCxnSpPr>
            <p:nvPr/>
          </p:nvCxnSpPr>
          <p:spPr>
            <a:xfrm>
              <a:off x="1397874" y="3070286"/>
              <a:ext cx="516663" cy="791913"/>
            </a:xfrm>
            <a:prstGeom prst="bentConnector3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직선 화살표 연결선 27"/>
            <p:cNvCxnSpPr>
              <a:stCxn id="17" idx="3"/>
              <a:endCxn id="18" idx="1"/>
            </p:cNvCxnSpPr>
            <p:nvPr/>
          </p:nvCxnSpPr>
          <p:spPr>
            <a:xfrm>
              <a:off x="1397874" y="3070286"/>
              <a:ext cx="516663" cy="0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꺾인 연결선 28"/>
            <p:cNvCxnSpPr>
              <a:stCxn id="17" idx="3"/>
              <a:endCxn id="23" idx="1"/>
            </p:cNvCxnSpPr>
            <p:nvPr/>
          </p:nvCxnSpPr>
          <p:spPr>
            <a:xfrm>
              <a:off x="1397874" y="3070286"/>
              <a:ext cx="515378" cy="1643147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꺾인 연결선 29"/>
            <p:cNvCxnSpPr>
              <a:stCxn id="17" idx="3"/>
              <a:endCxn id="25" idx="1"/>
            </p:cNvCxnSpPr>
            <p:nvPr/>
          </p:nvCxnSpPr>
          <p:spPr>
            <a:xfrm>
              <a:off x="1397874" y="3070286"/>
              <a:ext cx="515378" cy="2523250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" name="직사각형 30"/>
            <p:cNvSpPr/>
            <p:nvPr/>
          </p:nvSpPr>
          <p:spPr bwMode="ltGray">
            <a:xfrm>
              <a:off x="4420244" y="5060993"/>
              <a:ext cx="1026829" cy="385254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Initial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모델 </a:t>
              </a:r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수행</a:t>
              </a:r>
              <a:r>
                <a:rPr lang="en-US" altLang="ko-KR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/>
              </a:r>
              <a:br>
                <a:rPr lang="en-US" altLang="ko-KR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1000" spc="-50" dirty="0">
                  <a:ln>
                    <a:solidFill>
                      <a:srgbClr val="4472C4">
                        <a:shade val="50000"/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lang="ko-KR" altLang="en-US" sz="1000" spc="-50" dirty="0">
                  <a:ln>
                    <a:solidFill>
                      <a:srgbClr val="4472C4">
                        <a:shade val="50000"/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신규고객</a:t>
              </a:r>
              <a:r>
                <a:rPr lang="en-US" altLang="ko-KR" sz="1000" spc="-50" dirty="0" smtClean="0">
                  <a:ln>
                    <a:solidFill>
                      <a:srgbClr val="4472C4">
                        <a:shade val="50000"/>
                        <a:alpha val="0"/>
                      </a:srgb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  <a:endParaRPr lang="ko-KR" altLang="en-US" sz="1000" spc="-5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2" name="직사각형 31"/>
            <p:cNvSpPr/>
            <p:nvPr/>
          </p:nvSpPr>
          <p:spPr bwMode="ltGray">
            <a:xfrm>
              <a:off x="3932933" y="2782912"/>
              <a:ext cx="1514141" cy="287374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 유형 구분</a:t>
              </a:r>
            </a:p>
          </p:txBody>
        </p:sp>
        <p:sp>
          <p:nvSpPr>
            <p:cNvPr id="33" name="직사각형 32"/>
            <p:cNvSpPr/>
            <p:nvPr/>
          </p:nvSpPr>
          <p:spPr bwMode="ltGray">
            <a:xfrm>
              <a:off x="4420244" y="5636204"/>
              <a:ext cx="1026829" cy="385254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altLang="ko-KR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I + B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모델 </a:t>
              </a:r>
              <a:r>
                <a:rPr lang="ko-KR" altLang="en-US" sz="10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수행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/>
              </a:r>
              <a:b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기존고객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)</a:t>
              </a:r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34" name="직사각형 33"/>
            <p:cNvSpPr/>
            <p:nvPr/>
          </p:nvSpPr>
          <p:spPr bwMode="ltGray">
            <a:xfrm>
              <a:off x="5859227" y="2465069"/>
              <a:ext cx="3528298" cy="3772243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81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5" name="Text Box 382"/>
            <p:cNvSpPr txBox="1">
              <a:spLocks noChangeArrowheads="1"/>
            </p:cNvSpPr>
            <p:nvPr/>
          </p:nvSpPr>
          <p:spPr bwMode="auto">
            <a:xfrm>
              <a:off x="5898838" y="2294008"/>
              <a:ext cx="3412256" cy="246221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000" spc="-5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ko-KR" sz="1200" dirty="0"/>
                <a:t>3</a:t>
              </a:r>
              <a:r>
                <a:rPr lang="ko-KR" altLang="en-US" sz="1200" dirty="0"/>
                <a:t>단계 </a:t>
              </a:r>
              <a:r>
                <a:rPr lang="en-US" altLang="ko-KR" sz="1200" dirty="0"/>
                <a:t>: </a:t>
              </a:r>
              <a:r>
                <a:rPr lang="ko-KR" altLang="en-US" sz="1200" dirty="0"/>
                <a:t>최종등급</a:t>
              </a:r>
            </a:p>
          </p:txBody>
        </p:sp>
        <p:sp>
          <p:nvSpPr>
            <p:cNvPr id="36" name="직사각형 35"/>
            <p:cNvSpPr/>
            <p:nvPr/>
          </p:nvSpPr>
          <p:spPr bwMode="ltGray">
            <a:xfrm>
              <a:off x="3932933" y="4608974"/>
              <a:ext cx="1514141" cy="287374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평가모델 구분</a:t>
              </a:r>
            </a:p>
          </p:txBody>
        </p:sp>
        <p:sp>
          <p:nvSpPr>
            <p:cNvPr id="37" name="직사각형 36"/>
            <p:cNvSpPr/>
            <p:nvPr/>
          </p:nvSpPr>
          <p:spPr bwMode="ltGray">
            <a:xfrm>
              <a:off x="4420244" y="3149961"/>
              <a:ext cx="1026829" cy="25678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개인</a:t>
              </a:r>
            </a:p>
          </p:txBody>
        </p:sp>
        <p:sp>
          <p:nvSpPr>
            <p:cNvPr id="38" name="직사각형 37"/>
            <p:cNvSpPr/>
            <p:nvPr/>
          </p:nvSpPr>
          <p:spPr bwMode="ltGray">
            <a:xfrm>
              <a:off x="4420244" y="3455979"/>
              <a:ext cx="1026829" cy="25678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법인</a:t>
              </a:r>
            </a:p>
          </p:txBody>
        </p:sp>
        <p:cxnSp>
          <p:nvCxnSpPr>
            <p:cNvPr id="44" name="꺾인 연결선 43"/>
            <p:cNvCxnSpPr/>
            <p:nvPr/>
          </p:nvCxnSpPr>
          <p:spPr>
            <a:xfrm>
              <a:off x="4083294" y="3059976"/>
              <a:ext cx="338861" cy="209512"/>
            </a:xfrm>
            <a:prstGeom prst="bentConnector3">
              <a:avLst>
                <a:gd name="adj1" fmla="val -750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꺾인 연결선 44"/>
            <p:cNvCxnSpPr/>
            <p:nvPr/>
          </p:nvCxnSpPr>
          <p:spPr>
            <a:xfrm rot="16200000" flipH="1">
              <a:off x="3993059" y="3146547"/>
              <a:ext cx="514084" cy="340287"/>
            </a:xfrm>
            <a:prstGeom prst="bentConnector2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꺾인 연결선 45"/>
            <p:cNvCxnSpPr/>
            <p:nvPr/>
          </p:nvCxnSpPr>
          <p:spPr>
            <a:xfrm rot="16200000" flipH="1">
              <a:off x="4077057" y="4900976"/>
              <a:ext cx="346087" cy="340288"/>
            </a:xfrm>
            <a:prstGeom prst="bentConnector2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꺾인 연결선 46"/>
            <p:cNvCxnSpPr>
              <a:endCxn id="33" idx="1"/>
            </p:cNvCxnSpPr>
            <p:nvPr/>
          </p:nvCxnSpPr>
          <p:spPr>
            <a:xfrm rot="16200000" flipH="1">
              <a:off x="3782478" y="5191065"/>
              <a:ext cx="935243" cy="340289"/>
            </a:xfrm>
            <a:prstGeom prst="bentConnector2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" name="직사각형 48"/>
            <p:cNvSpPr/>
            <p:nvPr/>
          </p:nvSpPr>
          <p:spPr bwMode="ltGray">
            <a:xfrm>
              <a:off x="6153269" y="2785954"/>
              <a:ext cx="2950380" cy="285966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인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법인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Initial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모델</a:t>
              </a:r>
            </a:p>
          </p:txBody>
        </p:sp>
        <p:sp>
          <p:nvSpPr>
            <p:cNvPr id="50" name="직사각형 49"/>
            <p:cNvSpPr/>
            <p:nvPr/>
          </p:nvSpPr>
          <p:spPr bwMode="ltGray">
            <a:xfrm>
              <a:off x="6124822" y="5695407"/>
              <a:ext cx="3007276" cy="326050"/>
            </a:xfrm>
            <a:prstGeom prst="rect">
              <a:avLst/>
            </a:prstGeom>
            <a:solidFill>
              <a:srgbClr val="BDE9FF"/>
            </a:solidFill>
            <a:ln w="6350">
              <a:solidFill>
                <a:srgbClr val="22A8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동일자 다수 거래시 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Max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등급 부여</a:t>
              </a:r>
            </a:p>
          </p:txBody>
        </p:sp>
        <p:sp>
          <p:nvSpPr>
            <p:cNvPr id="51" name="오른쪽 화살표 설명선 50"/>
            <p:cNvSpPr/>
            <p:nvPr/>
          </p:nvSpPr>
          <p:spPr bwMode="ltGray">
            <a:xfrm rot="5400000">
              <a:off x="6142236" y="2543928"/>
              <a:ext cx="2974486" cy="3220967"/>
            </a:xfrm>
            <a:prstGeom prst="rightArrowCallout">
              <a:avLst>
                <a:gd name="adj1" fmla="val 53611"/>
                <a:gd name="adj2" fmla="val 30821"/>
                <a:gd name="adj3" fmla="val 4420"/>
                <a:gd name="adj4" fmla="val 90904"/>
              </a:avLst>
            </a:prstGeom>
            <a:noFill/>
            <a:ln w="285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72" spc="-100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 bwMode="ltGray">
            <a:xfrm>
              <a:off x="6153269" y="3374294"/>
              <a:ext cx="815554" cy="22796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위험</a:t>
              </a:r>
            </a:p>
          </p:txBody>
        </p:sp>
        <p:sp>
          <p:nvSpPr>
            <p:cNvPr id="53" name="직사각형 52"/>
            <p:cNvSpPr/>
            <p:nvPr/>
          </p:nvSpPr>
          <p:spPr bwMode="ltGray">
            <a:xfrm>
              <a:off x="7222978" y="3374294"/>
              <a:ext cx="815554" cy="22796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중위험</a:t>
              </a:r>
            </a:p>
          </p:txBody>
        </p:sp>
        <p:sp>
          <p:nvSpPr>
            <p:cNvPr id="55" name="직사각형 54"/>
            <p:cNvSpPr/>
            <p:nvPr/>
          </p:nvSpPr>
          <p:spPr bwMode="ltGray">
            <a:xfrm>
              <a:off x="8288095" y="3374294"/>
              <a:ext cx="815554" cy="22796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저위험</a:t>
              </a:r>
            </a:p>
          </p:txBody>
        </p:sp>
        <p:sp>
          <p:nvSpPr>
            <p:cNvPr id="56" name="직사각형 55"/>
            <p:cNvSpPr/>
            <p:nvPr/>
          </p:nvSpPr>
          <p:spPr bwMode="ltGray">
            <a:xfrm>
              <a:off x="7222978" y="4445395"/>
              <a:ext cx="519862" cy="22796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위험</a:t>
              </a:r>
            </a:p>
          </p:txBody>
        </p:sp>
        <p:sp>
          <p:nvSpPr>
            <p:cNvPr id="57" name="직사각형 56"/>
            <p:cNvSpPr/>
            <p:nvPr/>
          </p:nvSpPr>
          <p:spPr bwMode="ltGray">
            <a:xfrm>
              <a:off x="7904847" y="4445395"/>
              <a:ext cx="519862" cy="22796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중위험</a:t>
              </a:r>
            </a:p>
          </p:txBody>
        </p:sp>
        <p:sp>
          <p:nvSpPr>
            <p:cNvPr id="58" name="직사각형 57"/>
            <p:cNvSpPr/>
            <p:nvPr/>
          </p:nvSpPr>
          <p:spPr bwMode="ltGray">
            <a:xfrm>
              <a:off x="8583788" y="4445395"/>
              <a:ext cx="519862" cy="22796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저위험</a:t>
              </a:r>
            </a:p>
          </p:txBody>
        </p:sp>
        <p:sp>
          <p:nvSpPr>
            <p:cNvPr id="59" name="직사각형 58"/>
            <p:cNvSpPr/>
            <p:nvPr/>
          </p:nvSpPr>
          <p:spPr bwMode="ltGray">
            <a:xfrm>
              <a:off x="7222978" y="3913280"/>
              <a:ext cx="1880671" cy="285966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인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법인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Behavior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모델</a:t>
              </a:r>
            </a:p>
          </p:txBody>
        </p:sp>
        <p:sp>
          <p:nvSpPr>
            <p:cNvPr id="60" name="직사각형 59"/>
            <p:cNvSpPr/>
            <p:nvPr/>
          </p:nvSpPr>
          <p:spPr bwMode="ltGray">
            <a:xfrm>
              <a:off x="6153268" y="5015172"/>
              <a:ext cx="1583464" cy="261507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EDD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수행</a:t>
              </a:r>
            </a:p>
          </p:txBody>
        </p:sp>
        <p:sp>
          <p:nvSpPr>
            <p:cNvPr id="61" name="직사각형 60"/>
            <p:cNvSpPr/>
            <p:nvPr/>
          </p:nvSpPr>
          <p:spPr bwMode="ltGray">
            <a:xfrm>
              <a:off x="7904847" y="5015172"/>
              <a:ext cx="1198803" cy="261507"/>
            </a:xfrm>
            <a:prstGeom prst="rect">
              <a:avLst/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CDD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수행</a:t>
              </a:r>
            </a:p>
          </p:txBody>
        </p:sp>
        <p:cxnSp>
          <p:nvCxnSpPr>
            <p:cNvPr id="62" name="직선 화살표 연결선 61"/>
            <p:cNvCxnSpPr>
              <a:stCxn id="52" idx="2"/>
            </p:cNvCxnSpPr>
            <p:nvPr/>
          </p:nvCxnSpPr>
          <p:spPr>
            <a:xfrm flipH="1">
              <a:off x="6555570" y="3602259"/>
              <a:ext cx="5477" cy="1438854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직선 화살표 연결선 62"/>
            <p:cNvCxnSpPr>
              <a:stCxn id="56" idx="2"/>
            </p:cNvCxnSpPr>
            <p:nvPr/>
          </p:nvCxnSpPr>
          <p:spPr>
            <a:xfrm>
              <a:off x="7482910" y="4673360"/>
              <a:ext cx="0" cy="348455"/>
            </a:xfrm>
            <a:prstGeom prst="straightConnector1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꺾인 연결선 63"/>
            <p:cNvCxnSpPr>
              <a:stCxn id="49" idx="2"/>
              <a:endCxn id="53" idx="0"/>
            </p:cNvCxnSpPr>
            <p:nvPr/>
          </p:nvCxnSpPr>
          <p:spPr>
            <a:xfrm rot="16200000" flipH="1">
              <a:off x="7478421" y="3221958"/>
              <a:ext cx="302374" cy="229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꺾인 연결선 64"/>
            <p:cNvCxnSpPr>
              <a:stCxn id="49" idx="2"/>
              <a:endCxn id="55" idx="0"/>
            </p:cNvCxnSpPr>
            <p:nvPr/>
          </p:nvCxnSpPr>
          <p:spPr>
            <a:xfrm rot="16200000" flipH="1">
              <a:off x="8010980" y="2689400"/>
              <a:ext cx="302374" cy="106741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꺾인 연결선 65"/>
            <p:cNvCxnSpPr>
              <a:stCxn id="49" idx="2"/>
              <a:endCxn id="52" idx="0"/>
            </p:cNvCxnSpPr>
            <p:nvPr/>
          </p:nvCxnSpPr>
          <p:spPr>
            <a:xfrm rot="5400000">
              <a:off x="6943567" y="2689400"/>
              <a:ext cx="302374" cy="1067413"/>
            </a:xfrm>
            <a:prstGeom prst="bentConnector3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꺾인 연결선 66"/>
            <p:cNvCxnSpPr>
              <a:stCxn id="53" idx="2"/>
              <a:endCxn id="59" idx="0"/>
            </p:cNvCxnSpPr>
            <p:nvPr/>
          </p:nvCxnSpPr>
          <p:spPr>
            <a:xfrm rot="16200000" flipH="1">
              <a:off x="7741524" y="3491490"/>
              <a:ext cx="311021" cy="532558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꺾인 연결선 67"/>
            <p:cNvCxnSpPr>
              <a:stCxn id="55" idx="2"/>
              <a:endCxn id="59" idx="0"/>
            </p:cNvCxnSpPr>
            <p:nvPr/>
          </p:nvCxnSpPr>
          <p:spPr>
            <a:xfrm rot="5400000">
              <a:off x="8274083" y="3491490"/>
              <a:ext cx="311021" cy="532559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꺾인 연결선 68"/>
            <p:cNvCxnSpPr>
              <a:stCxn id="59" idx="2"/>
              <a:endCxn id="58" idx="0"/>
            </p:cNvCxnSpPr>
            <p:nvPr/>
          </p:nvCxnSpPr>
          <p:spPr>
            <a:xfrm rot="16200000" flipH="1">
              <a:off x="8380442" y="3982117"/>
              <a:ext cx="246148" cy="680405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꺾인 연결선 69"/>
            <p:cNvCxnSpPr>
              <a:stCxn id="59" idx="2"/>
              <a:endCxn id="57" idx="0"/>
            </p:cNvCxnSpPr>
            <p:nvPr/>
          </p:nvCxnSpPr>
          <p:spPr>
            <a:xfrm rot="16200000" flipH="1">
              <a:off x="8040972" y="4321588"/>
              <a:ext cx="246148" cy="146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꺾인 연결선 70"/>
            <p:cNvCxnSpPr>
              <a:stCxn id="59" idx="2"/>
              <a:endCxn id="56" idx="0"/>
            </p:cNvCxnSpPr>
            <p:nvPr/>
          </p:nvCxnSpPr>
          <p:spPr>
            <a:xfrm rot="5400000">
              <a:off x="7700038" y="3982118"/>
              <a:ext cx="246148" cy="680404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꺾인 연결선 71"/>
            <p:cNvCxnSpPr>
              <a:stCxn id="58" idx="2"/>
              <a:endCxn id="61" idx="0"/>
            </p:cNvCxnSpPr>
            <p:nvPr/>
          </p:nvCxnSpPr>
          <p:spPr>
            <a:xfrm rot="5400000">
              <a:off x="8503078" y="4674530"/>
              <a:ext cx="341812" cy="33947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꺾인 연결선 72"/>
            <p:cNvCxnSpPr>
              <a:stCxn id="57" idx="2"/>
              <a:endCxn id="61" idx="0"/>
            </p:cNvCxnSpPr>
            <p:nvPr/>
          </p:nvCxnSpPr>
          <p:spPr>
            <a:xfrm rot="16200000" flipH="1">
              <a:off x="8163607" y="4674530"/>
              <a:ext cx="341812" cy="3394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77" name="Picture 88" descr="예시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28177">
              <a:off x="9263612" y="2074273"/>
              <a:ext cx="379735" cy="206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8092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2.1 </a:t>
            </a:r>
            <a:r>
              <a:rPr lang="ko-KR" altLang="en-US" dirty="0"/>
              <a:t>고객위험평가 구축 절차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모델 고도화는 다음과 같은 절차에 따라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모델 고도화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Approach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7" name="TextBox 76"/>
          <p:cNvSpPr txBox="1"/>
          <p:nvPr/>
        </p:nvSpPr>
        <p:spPr>
          <a:xfrm>
            <a:off x="2454484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232559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010635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788709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</a:endParaRPr>
          </a:p>
        </p:txBody>
      </p:sp>
      <p:grpSp>
        <p:nvGrpSpPr>
          <p:cNvPr id="81" name="그룹 80"/>
          <p:cNvGrpSpPr/>
          <p:nvPr/>
        </p:nvGrpSpPr>
        <p:grpSpPr>
          <a:xfrm>
            <a:off x="2473693" y="5472613"/>
            <a:ext cx="6979807" cy="651141"/>
            <a:chOff x="2774290" y="5298481"/>
            <a:chExt cx="5960707" cy="590550"/>
          </a:xfrm>
        </p:grpSpPr>
        <p:sp>
          <p:nvSpPr>
            <p:cNvPr id="82" name="직사각형 81"/>
            <p:cNvSpPr/>
            <p:nvPr/>
          </p:nvSpPr>
          <p:spPr bwMode="auto">
            <a:xfrm>
              <a:off x="2774290" y="5298481"/>
              <a:ext cx="1351872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위험평가모델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/>
              </a:r>
              <a:b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</a:b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유효성 검증 보고서</a:t>
              </a:r>
            </a:p>
          </p:txBody>
        </p:sp>
        <p:sp>
          <p:nvSpPr>
            <p:cNvPr id="83" name="직사각형 82"/>
            <p:cNvSpPr/>
            <p:nvPr/>
          </p:nvSpPr>
          <p:spPr bwMode="auto">
            <a:xfrm>
              <a:off x="4320045" y="5298481"/>
              <a:ext cx="1292625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설계서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5725" indent="-85725" latinLnBrk="0">
                <a:spcBef>
                  <a:spcPct val="50000"/>
                </a:spcBef>
                <a:buFont typeface="Wingdings" pitchFamily="2" charset="2"/>
                <a:buChar char="§"/>
                <a:defRPr/>
              </a:pPr>
              <a:endParaRPr lang="ko-KR" altLang="en-US" sz="10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84" name="직사각형 83"/>
            <p:cNvSpPr/>
            <p:nvPr/>
          </p:nvSpPr>
          <p:spPr bwMode="auto">
            <a:xfrm>
              <a:off x="5860522" y="5298481"/>
              <a:ext cx="1259068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테스트 결과서 </a:t>
              </a:r>
            </a:p>
          </p:txBody>
        </p:sp>
        <p:sp>
          <p:nvSpPr>
            <p:cNvPr id="85" name="직사각형 84"/>
            <p:cNvSpPr/>
            <p:nvPr/>
          </p:nvSpPr>
          <p:spPr bwMode="auto">
            <a:xfrm>
              <a:off x="7344302" y="5298481"/>
              <a:ext cx="1390695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모델 정의서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델 적용방안</a:t>
              </a:r>
            </a:p>
          </p:txBody>
        </p:sp>
      </p:grpSp>
      <p:sp>
        <p:nvSpPr>
          <p:cNvPr id="86" name="직사각형 85"/>
          <p:cNvSpPr/>
          <p:nvPr/>
        </p:nvSpPr>
        <p:spPr bwMode="ltGray">
          <a:xfrm>
            <a:off x="518331" y="2304994"/>
            <a:ext cx="1662539" cy="3926880"/>
          </a:xfrm>
          <a:prstGeom prst="rect">
            <a:avLst/>
          </a:prstGeom>
          <a:solidFill>
            <a:srgbClr val="D3EDFD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이터 분석에 기반한 객관적이고 실효성 있는 위험평가모델 개발</a:t>
            </a:r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를 위해</a:t>
            </a:r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algn="ctr"/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산은행 內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축적된 </a:t>
            </a: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고 데이터와 </a:t>
            </a:r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oFIU</a:t>
            </a: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공 데이터를</a:t>
            </a:r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계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석하여</a:t>
            </a:r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o-Be </a:t>
            </a: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평가모델을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적화 함</a:t>
            </a:r>
          </a:p>
        </p:txBody>
      </p:sp>
      <p:sp>
        <p:nvSpPr>
          <p:cNvPr id="88" name="직사각형 87"/>
          <p:cNvSpPr/>
          <p:nvPr/>
        </p:nvSpPr>
        <p:spPr>
          <a:xfrm>
            <a:off x="2473693" y="2944739"/>
            <a:ext cx="1568041" cy="351175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평가모델 유효성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검증용 기초 데이터 수집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core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분포 안정성 분석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위험등급 분류 적정성 분석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상관관계 분석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항목 유효성 분석</a:t>
            </a:r>
          </a:p>
        </p:txBody>
      </p:sp>
      <p:sp>
        <p:nvSpPr>
          <p:cNvPr id="89" name="오각형 88"/>
          <p:cNvSpPr/>
          <p:nvPr/>
        </p:nvSpPr>
        <p:spPr bwMode="ltGray">
          <a:xfrm>
            <a:off x="2406390" y="2303910"/>
            <a:ext cx="1771919" cy="477018"/>
          </a:xfrm>
          <a:prstGeom prst="homePlate">
            <a:avLst>
              <a:gd name="adj" fmla="val 23753"/>
            </a:avLst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존 모델 </a:t>
            </a:r>
            <a:r>
              <a:rPr lang="en-US" altLang="ko-KR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유효성검증</a:t>
            </a:r>
            <a:endParaRPr lang="ko-KR" altLang="en-US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430743" y="2370945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b="1" i="1" dirty="0" smtClean="0"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</a:t>
            </a:r>
            <a:endParaRPr lang="ko-KR" altLang="en-US" sz="2400" b="1" i="1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1" name="갈매기형 수장 90"/>
          <p:cNvSpPr/>
          <p:nvPr/>
        </p:nvSpPr>
        <p:spPr bwMode="ltGray">
          <a:xfrm>
            <a:off x="4191528" y="2303910"/>
            <a:ext cx="1748908" cy="477018"/>
          </a:xfrm>
          <a:prstGeom prst="chevron">
            <a:avLst>
              <a:gd name="adj" fmla="val 23752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To-Be</a:t>
            </a:r>
            <a:b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델 설계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248142" y="2370945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b="1" i="1" dirty="0" smtClean="0"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</a:t>
            </a:r>
            <a:endParaRPr lang="ko-KR" altLang="en-US" sz="2400" b="1" i="1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4295791" y="2944739"/>
            <a:ext cx="1564812" cy="30836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모델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설계 전략 수립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I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설계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I+B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설계</a:t>
            </a:r>
          </a:p>
        </p:txBody>
      </p:sp>
      <p:cxnSp>
        <p:nvCxnSpPr>
          <p:cNvPr id="94" name="직선 연결선 93"/>
          <p:cNvCxnSpPr/>
          <p:nvPr/>
        </p:nvCxnSpPr>
        <p:spPr>
          <a:xfrm>
            <a:off x="4155044" y="2900856"/>
            <a:ext cx="0" cy="230222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갈매기형 수장 94"/>
          <p:cNvSpPr/>
          <p:nvPr/>
        </p:nvSpPr>
        <p:spPr bwMode="ltGray">
          <a:xfrm>
            <a:off x="5948976" y="2304995"/>
            <a:ext cx="1748907" cy="477018"/>
          </a:xfrm>
          <a:prstGeom prst="chevron">
            <a:avLst>
              <a:gd name="adj" fmla="val 23752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델 평가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및 테스트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6029943" y="2370945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b="1" i="1" dirty="0"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  <a:endParaRPr lang="ko-KR" altLang="en-US" sz="2400" b="1" i="1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6067097" y="2944739"/>
            <a:ext cx="1564812" cy="30836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검증 및 테스트 설계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To-Be I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평가 및 테스트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o-Be I+B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평가 및 테스트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5725" indent="-85725" latinLnBrk="0">
              <a:buFont typeface="Wingdings" pitchFamily="2" charset="2"/>
              <a:buChar char="§"/>
            </a:pPr>
            <a:endParaRPr lang="ko-KR" altLang="en-US" sz="10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98" name="직선 연결선 97"/>
          <p:cNvCxnSpPr/>
          <p:nvPr/>
        </p:nvCxnSpPr>
        <p:spPr>
          <a:xfrm>
            <a:off x="5911055" y="2890970"/>
            <a:ext cx="0" cy="230222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갈매기형 수장 98"/>
          <p:cNvSpPr/>
          <p:nvPr/>
        </p:nvSpPr>
        <p:spPr bwMode="ltGray">
          <a:xfrm>
            <a:off x="7704593" y="2304993"/>
            <a:ext cx="1748907" cy="477018"/>
          </a:xfrm>
          <a:prstGeom prst="chevron">
            <a:avLst>
              <a:gd name="adj" fmla="val 23752"/>
            </a:avLst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델 적용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방안 수립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7785561" y="2370943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b="1" i="1" dirty="0"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4</a:t>
            </a:r>
            <a:endParaRPr lang="ko-KR" altLang="en-US" sz="2400" b="1" i="1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7822714" y="2944739"/>
            <a:ext cx="1564812" cy="30836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 산출 최종 모델 결과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eview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종 모델 정의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변경에 대한 근거 작성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적용방안 수립</a:t>
            </a:r>
          </a:p>
        </p:txBody>
      </p:sp>
      <p:cxnSp>
        <p:nvCxnSpPr>
          <p:cNvPr id="102" name="직선 연결선 101"/>
          <p:cNvCxnSpPr/>
          <p:nvPr/>
        </p:nvCxnSpPr>
        <p:spPr>
          <a:xfrm>
            <a:off x="7666672" y="2890968"/>
            <a:ext cx="0" cy="230222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0381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2.2 </a:t>
            </a:r>
            <a:r>
              <a:rPr lang="ko-KR" altLang="en-US" dirty="0" smtClean="0"/>
              <a:t>기존 모델 유효성 검증 방안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존모델의 유효성 검증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cor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포 안정성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등급 분류 적정성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S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관관계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항목 유효성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가지 차원에서 수행되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석결과를 통해 모델 변경에 대한 근거와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설계방향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모델 고도화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기존 모델 유효성 검증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513036" y="2303910"/>
            <a:ext cx="8940464" cy="3933401"/>
            <a:chOff x="513036" y="2303910"/>
            <a:chExt cx="8940464" cy="3933401"/>
          </a:xfrm>
        </p:grpSpPr>
        <p:sp>
          <p:nvSpPr>
            <p:cNvPr id="132" name="직사각형 131"/>
            <p:cNvSpPr/>
            <p:nvPr/>
          </p:nvSpPr>
          <p:spPr>
            <a:xfrm>
              <a:off x="572538" y="3175672"/>
              <a:ext cx="1581495" cy="143967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20403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10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33" name="원통 132"/>
            <p:cNvSpPr/>
            <p:nvPr/>
          </p:nvSpPr>
          <p:spPr bwMode="ltGray">
            <a:xfrm>
              <a:off x="712302" y="4960202"/>
              <a:ext cx="1324227" cy="446048"/>
            </a:xfrm>
            <a:prstGeom prst="can">
              <a:avLst/>
            </a:prstGeom>
            <a:solidFill>
              <a:srgbClr val="E2E7EA"/>
            </a:solidFill>
            <a:ln w="3175">
              <a:solidFill>
                <a:srgbClr val="3368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유효성 검증</a:t>
              </a:r>
              <a:endPara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latinLnBrk="0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기초 데이터 </a:t>
              </a: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591810" y="5522045"/>
              <a:ext cx="1840910" cy="71526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noAutofit/>
            </a:bodyPr>
            <a:lstStyle/>
            <a:p>
              <a:pPr marL="174625" indent="-171450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최근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1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년 고객위험평가 데이터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174625" indent="-171450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최근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3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TR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데이터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174625" indent="-171450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최근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3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년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KoFIU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공 데이터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</a:p>
          </p:txBody>
        </p:sp>
        <p:sp>
          <p:nvSpPr>
            <p:cNvPr id="135" name="직사각형 134"/>
            <p:cNvSpPr/>
            <p:nvPr/>
          </p:nvSpPr>
          <p:spPr>
            <a:xfrm>
              <a:off x="2851702" y="2957132"/>
              <a:ext cx="337334" cy="582788"/>
            </a:xfrm>
            <a:prstGeom prst="rect">
              <a:avLst/>
            </a:prstGeom>
            <a:solidFill>
              <a:srgbClr val="22A8F0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1</a:t>
              </a:r>
              <a:endPara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6" name="직사각형 135"/>
            <p:cNvSpPr/>
            <p:nvPr/>
          </p:nvSpPr>
          <p:spPr>
            <a:xfrm>
              <a:off x="2851702" y="3810000"/>
              <a:ext cx="337338" cy="582788"/>
            </a:xfrm>
            <a:prstGeom prst="rect">
              <a:avLst/>
            </a:prstGeom>
            <a:solidFill>
              <a:srgbClr val="22A8F0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2</a:t>
              </a:r>
              <a:endPara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7" name="직사각형 136"/>
            <p:cNvSpPr/>
            <p:nvPr/>
          </p:nvSpPr>
          <p:spPr>
            <a:xfrm>
              <a:off x="2851702" y="4666888"/>
              <a:ext cx="337338" cy="582788"/>
            </a:xfrm>
            <a:prstGeom prst="rect">
              <a:avLst/>
            </a:prstGeom>
            <a:solidFill>
              <a:srgbClr val="22A8F0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3</a:t>
              </a:r>
              <a:endPara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8" name="직사각형 137"/>
            <p:cNvSpPr/>
            <p:nvPr/>
          </p:nvSpPr>
          <p:spPr>
            <a:xfrm>
              <a:off x="2851702" y="5514938"/>
              <a:ext cx="337338" cy="582788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4</a:t>
              </a:r>
              <a:endPara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39" name="모서리가 둥근 직사각형 138"/>
            <p:cNvSpPr/>
            <p:nvPr/>
          </p:nvSpPr>
          <p:spPr>
            <a:xfrm>
              <a:off x="760223" y="3380833"/>
              <a:ext cx="1252863" cy="461731"/>
            </a:xfrm>
            <a:prstGeom prst="round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Initial 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</a:t>
              </a:r>
            </a:p>
          </p:txBody>
        </p:sp>
        <p:sp>
          <p:nvSpPr>
            <p:cNvPr id="140" name="모서리가 둥근 직사각형 139"/>
            <p:cNvSpPr/>
            <p:nvPr/>
          </p:nvSpPr>
          <p:spPr>
            <a:xfrm>
              <a:off x="767534" y="3980482"/>
              <a:ext cx="1252863" cy="461731"/>
            </a:xfrm>
            <a:prstGeom prst="roundRect">
              <a:avLst/>
            </a:prstGeom>
            <a:solidFill>
              <a:srgbClr val="79C9F9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I + B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</a:t>
              </a:r>
            </a:p>
          </p:txBody>
        </p:sp>
        <p:sp>
          <p:nvSpPr>
            <p:cNvPr id="141" name="위쪽 화살표 140"/>
            <p:cNvSpPr/>
            <p:nvPr/>
          </p:nvSpPr>
          <p:spPr>
            <a:xfrm>
              <a:off x="1119541" y="4661574"/>
              <a:ext cx="534231" cy="210637"/>
            </a:xfrm>
            <a:prstGeom prst="up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10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971495" y="2889332"/>
              <a:ext cx="88678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검증대상모델</a:t>
              </a:r>
            </a:p>
          </p:txBody>
        </p:sp>
        <p:cxnSp>
          <p:nvCxnSpPr>
            <p:cNvPr id="143" name="꺾인 연결선 142"/>
            <p:cNvCxnSpPr>
              <a:stCxn id="138" idx="1"/>
              <a:endCxn id="135" idx="1"/>
            </p:cNvCxnSpPr>
            <p:nvPr/>
          </p:nvCxnSpPr>
          <p:spPr>
            <a:xfrm rot="10800000">
              <a:off x="2851702" y="3248527"/>
              <a:ext cx="13636" cy="2557806"/>
            </a:xfrm>
            <a:prstGeom prst="bentConnector3">
              <a:avLst>
                <a:gd name="adj1" fmla="val 1800000"/>
              </a:avLst>
            </a:prstGeom>
            <a:ln w="3175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직사각형 143"/>
            <p:cNvSpPr/>
            <p:nvPr/>
          </p:nvSpPr>
          <p:spPr>
            <a:xfrm>
              <a:off x="4726063" y="2957132"/>
              <a:ext cx="2774442" cy="58278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모델 개발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시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Risk Scor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분포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대비 최근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Risk Scor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분포 차이를 분석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분포 차이 발생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시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원인 분석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45" name="직사각형 144"/>
            <p:cNvSpPr/>
            <p:nvPr/>
          </p:nvSpPr>
          <p:spPr>
            <a:xfrm>
              <a:off x="4726059" y="3810000"/>
              <a:ext cx="2774442" cy="58278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등급별 고객 분포 추세 분석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등급 분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hreshold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적정성 분석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46" name="직사각형 145"/>
            <p:cNvSpPr/>
            <p:nvPr/>
          </p:nvSpPr>
          <p:spPr>
            <a:xfrm>
              <a:off x="4726059" y="4666888"/>
              <a:ext cx="2774442" cy="58278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Risk Score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와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STR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율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STR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공률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간 상관관계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분석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등급과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TR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율 상관관계 분석</a:t>
              </a:r>
            </a:p>
          </p:txBody>
        </p:sp>
        <p:sp>
          <p:nvSpPr>
            <p:cNvPr id="147" name="직사각형 146"/>
            <p:cNvSpPr/>
            <p:nvPr/>
          </p:nvSpPr>
          <p:spPr>
            <a:xfrm>
              <a:off x="4726059" y="5514938"/>
              <a:ext cx="2774442" cy="582788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평가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항목별 유효성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분석</a:t>
              </a:r>
            </a:p>
          </p:txBody>
        </p:sp>
        <p:sp>
          <p:nvSpPr>
            <p:cNvPr id="148" name="모서리가 둥근 직사각형 147"/>
            <p:cNvSpPr/>
            <p:nvPr/>
          </p:nvSpPr>
          <p:spPr>
            <a:xfrm>
              <a:off x="8055755" y="3608682"/>
              <a:ext cx="1331771" cy="693490"/>
            </a:xfrm>
            <a:prstGeom prst="roundRect">
              <a:avLst>
                <a:gd name="adj" fmla="val 14000"/>
              </a:avLst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s-Is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모델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변경 근거 마련</a:t>
              </a:r>
            </a:p>
          </p:txBody>
        </p:sp>
        <p:sp>
          <p:nvSpPr>
            <p:cNvPr id="149" name="모서리가 둥근 직사각형 148"/>
            <p:cNvSpPr/>
            <p:nvPr/>
          </p:nvSpPr>
          <p:spPr>
            <a:xfrm>
              <a:off x="8055754" y="4721054"/>
              <a:ext cx="1331771" cy="693490"/>
            </a:xfrm>
            <a:prstGeom prst="roundRect">
              <a:avLst>
                <a:gd name="adj" fmla="val 14000"/>
              </a:avLst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To-Be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모델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설계방향 수립</a:t>
              </a:r>
            </a:p>
          </p:txBody>
        </p:sp>
        <p:sp>
          <p:nvSpPr>
            <p:cNvPr id="150" name="이등변 삼각형 149"/>
            <p:cNvSpPr/>
            <p:nvPr/>
          </p:nvSpPr>
          <p:spPr>
            <a:xfrm rot="5400000">
              <a:off x="6615030" y="4392337"/>
              <a:ext cx="2408289" cy="26343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10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1" name="덧셈 기호 150"/>
            <p:cNvSpPr/>
            <p:nvPr/>
          </p:nvSpPr>
          <p:spPr>
            <a:xfrm>
              <a:off x="8516401" y="4353512"/>
              <a:ext cx="410476" cy="341086"/>
            </a:xfrm>
            <a:prstGeom prst="mathPlus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10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>
            <a:xfrm>
              <a:off x="3218570" y="2957132"/>
              <a:ext cx="1468838" cy="58329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core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분포 </a:t>
              </a:r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안정성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분석</a:t>
              </a:r>
            </a:p>
          </p:txBody>
        </p:sp>
        <p:sp>
          <p:nvSpPr>
            <p:cNvPr id="153" name="직사각형 152"/>
            <p:cNvSpPr/>
            <p:nvPr/>
          </p:nvSpPr>
          <p:spPr>
            <a:xfrm>
              <a:off x="3218570" y="3810000"/>
              <a:ext cx="1468838" cy="58329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등급 분류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적정성 분석</a:t>
              </a:r>
            </a:p>
          </p:txBody>
        </p:sp>
        <p:sp>
          <p:nvSpPr>
            <p:cNvPr id="154" name="직사각형 153"/>
            <p:cNvSpPr/>
            <p:nvPr/>
          </p:nvSpPr>
          <p:spPr>
            <a:xfrm>
              <a:off x="3218570" y="4666888"/>
              <a:ext cx="1468838" cy="58329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상관관계 분석</a:t>
              </a:r>
            </a:p>
          </p:txBody>
        </p:sp>
        <p:sp>
          <p:nvSpPr>
            <p:cNvPr id="155" name="직사각형 154"/>
            <p:cNvSpPr/>
            <p:nvPr/>
          </p:nvSpPr>
          <p:spPr>
            <a:xfrm>
              <a:off x="3218570" y="5514938"/>
              <a:ext cx="1468838" cy="583295"/>
            </a:xfrm>
            <a:prstGeom prst="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평가 항목별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유효성 분석</a:t>
              </a:r>
            </a:p>
          </p:txBody>
        </p:sp>
        <p:cxnSp>
          <p:nvCxnSpPr>
            <p:cNvPr id="156" name="직선 연결선 155"/>
            <p:cNvCxnSpPr>
              <a:stCxn id="132" idx="3"/>
            </p:cNvCxnSpPr>
            <p:nvPr/>
          </p:nvCxnSpPr>
          <p:spPr>
            <a:xfrm>
              <a:off x="2154033" y="3895510"/>
              <a:ext cx="473931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직선 화살표 연결선 156"/>
            <p:cNvCxnSpPr>
              <a:endCxn id="136" idx="1"/>
            </p:cNvCxnSpPr>
            <p:nvPr/>
          </p:nvCxnSpPr>
          <p:spPr>
            <a:xfrm flipV="1">
              <a:off x="2627964" y="4101395"/>
              <a:ext cx="223738" cy="0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직선 화살표 연결선 157"/>
            <p:cNvCxnSpPr>
              <a:endCxn id="137" idx="1"/>
            </p:cNvCxnSpPr>
            <p:nvPr/>
          </p:nvCxnSpPr>
          <p:spPr>
            <a:xfrm flipV="1">
              <a:off x="2627964" y="4958282"/>
              <a:ext cx="223738" cy="0"/>
            </a:xfrm>
            <a:prstGeom prst="straightConnector1">
              <a:avLst/>
            </a:prstGeom>
            <a:ln w="6350">
              <a:solidFill>
                <a:schemeClr val="tx1">
                  <a:lumMod val="50000"/>
                  <a:lumOff val="50000"/>
                </a:schemeClr>
              </a:solidFill>
              <a:headEnd w="sm" len="sm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오각형 182"/>
            <p:cNvSpPr/>
            <p:nvPr/>
          </p:nvSpPr>
          <p:spPr bwMode="ltGray">
            <a:xfrm>
              <a:off x="513036" y="2303910"/>
              <a:ext cx="2247982" cy="477018"/>
            </a:xfrm>
            <a:prstGeom prst="homePlate">
              <a:avLst>
                <a:gd name="adj" fmla="val 23753"/>
              </a:avLst>
            </a:prstGeom>
            <a:solidFill>
              <a:srgbClr val="ABDDFB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기존 모델 </a:t>
              </a:r>
              <a:r>
                <a:rPr lang="en-US" altLang="ko-KR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유효성검증</a:t>
              </a:r>
              <a:endPara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543932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1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85" name="갈매기형 수장 184"/>
            <p:cNvSpPr/>
            <p:nvPr/>
          </p:nvSpPr>
          <p:spPr bwMode="ltGray">
            <a:xfrm>
              <a:off x="2777789" y="2303910"/>
              <a:ext cx="2218789" cy="477018"/>
            </a:xfrm>
            <a:prstGeom prst="chevron">
              <a:avLst>
                <a:gd name="adj" fmla="val 23752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To-Be</a:t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설계</a:t>
              </a: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2849614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2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87" name="갈매기형 수장 186"/>
            <p:cNvSpPr/>
            <p:nvPr/>
          </p:nvSpPr>
          <p:spPr bwMode="ltGray">
            <a:xfrm>
              <a:off x="5007412" y="2304995"/>
              <a:ext cx="2218788" cy="477018"/>
            </a:xfrm>
            <a:prstGeom prst="chevron">
              <a:avLst>
                <a:gd name="adj" fmla="val 23752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평가</a:t>
              </a:r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및 테스트</a:t>
              </a: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5110132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3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89" name="갈매기형 수장 188"/>
            <p:cNvSpPr/>
            <p:nvPr/>
          </p:nvSpPr>
          <p:spPr bwMode="ltGray">
            <a:xfrm>
              <a:off x="7234712" y="2304993"/>
              <a:ext cx="2218788" cy="477018"/>
            </a:xfrm>
            <a:prstGeom prst="chevron">
              <a:avLst>
                <a:gd name="adj" fmla="val 23752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적용</a:t>
              </a:r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방안 수립</a:t>
              </a: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7337434" y="2370943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4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5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08288" y="6184171"/>
            <a:ext cx="2457478" cy="26916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3175" lvl="0">
              <a:spcBef>
                <a:spcPts val="600"/>
              </a:spcBef>
              <a:defRPr/>
            </a:pPr>
            <a:r>
              <a:rPr lang="en-US" altLang="ko-KR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※ I</a:t>
            </a:r>
            <a:r>
              <a:rPr lang="ko-KR" altLang="en-US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 </a:t>
            </a:r>
            <a:r>
              <a:rPr lang="en-US" altLang="ko-KR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Initial </a:t>
            </a:r>
            <a:r>
              <a:rPr lang="en-US" altLang="ko-KR" sz="8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odel(</a:t>
            </a:r>
            <a:r>
              <a:rPr lang="ko-KR" altLang="en-US" sz="8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초기고객위험평가모델</a:t>
            </a:r>
            <a:r>
              <a:rPr lang="en-US" altLang="ko-KR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br>
              <a:rPr lang="en-US" altLang="ko-KR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B</a:t>
            </a:r>
            <a:r>
              <a:rPr lang="ko-KR" altLang="en-US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 </a:t>
            </a:r>
            <a:r>
              <a:rPr lang="en-US" altLang="ko-KR" sz="800" spc="-7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Behavior </a:t>
            </a:r>
            <a:r>
              <a:rPr lang="en-US" altLang="ko-KR" sz="8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odel(</a:t>
            </a:r>
            <a:r>
              <a:rPr lang="ko-KR" altLang="en-US" sz="8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행동위험 반영 평가모델</a:t>
            </a:r>
            <a:r>
              <a:rPr lang="en-US" altLang="ko-KR" sz="800" spc="-7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black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kumimoji="0" lang="ko-KR" altLang="en-US" sz="800" b="0" i="0" u="none" strike="noStrike" kern="1200" cap="none" spc="-70" normalizeH="0" baseline="0" noProof="0" dirty="0">
              <a:ln w="1270">
                <a:solidFill>
                  <a:srgbClr val="4472C4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4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2.3 </a:t>
            </a:r>
            <a:r>
              <a:rPr lang="ko-KR" altLang="en-US" dirty="0"/>
              <a:t>고객위험평가 </a:t>
            </a:r>
            <a:r>
              <a:rPr lang="en-US" altLang="ko-KR" dirty="0" smtClean="0"/>
              <a:t>TO-BE </a:t>
            </a:r>
            <a:r>
              <a:rPr lang="ko-KR" altLang="en-US" dirty="0"/>
              <a:t>모델 설계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존모델에 대한 유효성 검증결과와 본 프로젝트 시 병행 수행하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감사결과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감독방향 등을 종합적으로 고려하여 고객위험평가 정교화를 위한 모델 설계전략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모델 고도화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TO-BE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델 설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513036" y="2303910"/>
            <a:ext cx="8940464" cy="3933402"/>
            <a:chOff x="513036" y="2303910"/>
            <a:chExt cx="8940464" cy="3933402"/>
          </a:xfrm>
        </p:grpSpPr>
        <p:sp>
          <p:nvSpPr>
            <p:cNvPr id="153" name="직사각형 152"/>
            <p:cNvSpPr/>
            <p:nvPr/>
          </p:nvSpPr>
          <p:spPr>
            <a:xfrm>
              <a:off x="530550" y="2965245"/>
              <a:ext cx="2035150" cy="341133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기존모델 유효성 검증결과</a:t>
              </a:r>
            </a:p>
          </p:txBody>
        </p:sp>
        <p:sp>
          <p:nvSpPr>
            <p:cNvPr id="154" name="직사각형 153"/>
            <p:cNvSpPr/>
            <p:nvPr/>
          </p:nvSpPr>
          <p:spPr>
            <a:xfrm>
              <a:off x="530550" y="4832876"/>
              <a:ext cx="2035150" cy="341133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AML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감사 및 정책변화 방향</a:t>
              </a:r>
            </a:p>
          </p:txBody>
        </p:sp>
        <p:sp>
          <p:nvSpPr>
            <p:cNvPr id="155" name="직사각형 154"/>
            <p:cNvSpPr/>
            <p:nvPr/>
          </p:nvSpPr>
          <p:spPr>
            <a:xfrm>
              <a:off x="530550" y="3306965"/>
              <a:ext cx="2035150" cy="1337682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6" name="직사각형 155"/>
            <p:cNvSpPr/>
            <p:nvPr/>
          </p:nvSpPr>
          <p:spPr>
            <a:xfrm>
              <a:off x="530550" y="5174596"/>
              <a:ext cx="2035150" cy="1062716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57" name="모서리가 둥근 직사각형 156"/>
            <p:cNvSpPr/>
            <p:nvPr/>
          </p:nvSpPr>
          <p:spPr>
            <a:xfrm>
              <a:off x="753136" y="3369123"/>
              <a:ext cx="1604011" cy="259930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core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분포 안정성</a:t>
              </a:r>
            </a:p>
          </p:txBody>
        </p:sp>
        <p:sp>
          <p:nvSpPr>
            <p:cNvPr id="158" name="모서리가 둥근 직사각형 157"/>
            <p:cNvSpPr/>
            <p:nvPr/>
          </p:nvSpPr>
          <p:spPr>
            <a:xfrm>
              <a:off x="753136" y="3683444"/>
              <a:ext cx="1604011" cy="259930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등급 분류 적정성</a:t>
              </a:r>
            </a:p>
          </p:txBody>
        </p:sp>
        <p:sp>
          <p:nvSpPr>
            <p:cNvPr id="159" name="모서리가 둥근 직사각형 158"/>
            <p:cNvSpPr/>
            <p:nvPr/>
          </p:nvSpPr>
          <p:spPr>
            <a:xfrm>
              <a:off x="753136" y="3997765"/>
              <a:ext cx="1604011" cy="259930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STR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상관관계</a:t>
              </a:r>
            </a:p>
          </p:txBody>
        </p:sp>
        <p:sp>
          <p:nvSpPr>
            <p:cNvPr id="160" name="모서리가 둥근 직사각형 159"/>
            <p:cNvSpPr/>
            <p:nvPr/>
          </p:nvSpPr>
          <p:spPr>
            <a:xfrm>
              <a:off x="753136" y="4312086"/>
              <a:ext cx="1604011" cy="259930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위험평가 항목 유효성</a:t>
              </a:r>
            </a:p>
          </p:txBody>
        </p:sp>
        <p:sp>
          <p:nvSpPr>
            <p:cNvPr id="161" name="모서리가 둥근 직사각형 160"/>
            <p:cNvSpPr/>
            <p:nvPr/>
          </p:nvSpPr>
          <p:spPr>
            <a:xfrm>
              <a:off x="764179" y="5248595"/>
              <a:ext cx="1604011" cy="259930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ML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감사결과</a:t>
              </a:r>
            </a:p>
          </p:txBody>
        </p:sp>
        <p:sp>
          <p:nvSpPr>
            <p:cNvPr id="162" name="모서리가 둥근 직사각형 161"/>
            <p:cNvSpPr/>
            <p:nvPr/>
          </p:nvSpPr>
          <p:spPr>
            <a:xfrm>
              <a:off x="746119" y="5569147"/>
              <a:ext cx="1604011" cy="259930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KoFIU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감독방향</a:t>
              </a:r>
            </a:p>
          </p:txBody>
        </p:sp>
        <p:sp>
          <p:nvSpPr>
            <p:cNvPr id="163" name="모서리가 둥근 직사각형 162"/>
            <p:cNvSpPr/>
            <p:nvPr/>
          </p:nvSpPr>
          <p:spPr>
            <a:xfrm>
              <a:off x="741347" y="5889698"/>
              <a:ext cx="1604011" cy="259930"/>
            </a:xfrm>
            <a:prstGeom prst="roundRect">
              <a:avLst/>
            </a:prstGeom>
            <a:solidFill>
              <a:srgbClr val="D3EDFD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국내외 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AML 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동향</a:t>
              </a:r>
            </a:p>
          </p:txBody>
        </p:sp>
        <p:sp>
          <p:nvSpPr>
            <p:cNvPr id="164" name="직사각형 163"/>
            <p:cNvSpPr/>
            <p:nvPr/>
          </p:nvSpPr>
          <p:spPr>
            <a:xfrm>
              <a:off x="3158518" y="4108694"/>
              <a:ext cx="2043204" cy="800488"/>
            </a:xfrm>
            <a:prstGeom prst="rect">
              <a:avLst/>
            </a:prstGeom>
            <a:solidFill>
              <a:sysClr val="window" lastClr="FFFFFF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TO-BE 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고객위험평가</a:t>
              </a:r>
              <a:endPara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설계전략 수립</a:t>
              </a:r>
            </a:p>
          </p:txBody>
        </p:sp>
        <p:cxnSp>
          <p:nvCxnSpPr>
            <p:cNvPr id="165" name="꺾인 연결선 164"/>
            <p:cNvCxnSpPr>
              <a:endCxn id="164" idx="0"/>
            </p:cNvCxnSpPr>
            <p:nvPr/>
          </p:nvCxnSpPr>
          <p:spPr>
            <a:xfrm>
              <a:off x="2584795" y="3741480"/>
              <a:ext cx="1595324" cy="367215"/>
            </a:xfrm>
            <a:prstGeom prst="bentConnector2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66" name="모서리가 둥근 직사각형 165"/>
            <p:cNvSpPr/>
            <p:nvPr/>
          </p:nvSpPr>
          <p:spPr>
            <a:xfrm>
              <a:off x="5716442" y="3240552"/>
              <a:ext cx="1498986" cy="507031"/>
            </a:xfrm>
            <a:prstGeom prst="roundRect">
              <a:avLst/>
            </a:prstGeom>
            <a:solidFill>
              <a:srgbClr val="79C9F9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분석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데이터 정의</a:t>
              </a:r>
            </a:p>
          </p:txBody>
        </p:sp>
        <p:sp>
          <p:nvSpPr>
            <p:cNvPr id="167" name="모서리가 둥근 직사각형 166"/>
            <p:cNvSpPr/>
            <p:nvPr/>
          </p:nvSpPr>
          <p:spPr>
            <a:xfrm>
              <a:off x="5716442" y="5315035"/>
              <a:ext cx="1498986" cy="507031"/>
            </a:xfrm>
            <a:prstGeom prst="roundRect">
              <a:avLst/>
            </a:prstGeom>
            <a:solidFill>
              <a:srgbClr val="79C9F9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I+B Model </a:t>
              </a: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설계 전략</a:t>
              </a:r>
            </a:p>
          </p:txBody>
        </p:sp>
        <p:cxnSp>
          <p:nvCxnSpPr>
            <p:cNvPr id="168" name="구부러진 연결선 167"/>
            <p:cNvCxnSpPr>
              <a:stCxn id="164" idx="3"/>
              <a:endCxn id="166" idx="1"/>
            </p:cNvCxnSpPr>
            <p:nvPr/>
          </p:nvCxnSpPr>
          <p:spPr>
            <a:xfrm flipV="1">
              <a:off x="5201722" y="3494068"/>
              <a:ext cx="514719" cy="1014871"/>
            </a:xfrm>
            <a:prstGeom prst="curvedConnector3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69" name="구부러진 연결선 168"/>
            <p:cNvCxnSpPr>
              <a:stCxn id="164" idx="3"/>
              <a:endCxn id="167" idx="1"/>
            </p:cNvCxnSpPr>
            <p:nvPr/>
          </p:nvCxnSpPr>
          <p:spPr>
            <a:xfrm>
              <a:off x="5201722" y="4508939"/>
              <a:ext cx="514719" cy="10596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70" name="모서리가 둥근 직사각형 169"/>
            <p:cNvSpPr/>
            <p:nvPr/>
          </p:nvSpPr>
          <p:spPr>
            <a:xfrm>
              <a:off x="5721217" y="4257092"/>
              <a:ext cx="1498986" cy="507031"/>
            </a:xfrm>
            <a:prstGeom prst="roundRect">
              <a:avLst/>
            </a:prstGeom>
            <a:solidFill>
              <a:srgbClr val="79C9F9"/>
            </a:solidFill>
            <a:ln w="6350">
              <a:solidFill>
                <a:srgbClr val="79C9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Initial Model </a:t>
              </a: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설계 전략</a:t>
              </a:r>
            </a:p>
          </p:txBody>
        </p:sp>
        <p:cxnSp>
          <p:nvCxnSpPr>
            <p:cNvPr id="171" name="구부러진 연결선 170"/>
            <p:cNvCxnSpPr>
              <a:stCxn id="164" idx="3"/>
              <a:endCxn id="170" idx="1"/>
            </p:cNvCxnSpPr>
            <p:nvPr/>
          </p:nvCxnSpPr>
          <p:spPr>
            <a:xfrm>
              <a:off x="5201722" y="4508938"/>
              <a:ext cx="519495" cy="1670"/>
            </a:xfrm>
            <a:prstGeom prst="curvedConnector3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72" name="TextBox 171"/>
            <p:cNvSpPr txBox="1"/>
            <p:nvPr/>
          </p:nvSpPr>
          <p:spPr>
            <a:xfrm>
              <a:off x="7321667" y="3216393"/>
              <a:ext cx="2061082" cy="579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4625" indent="-171450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평가모델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설계에 사용할 분석데이터의 범위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174625" indent="-171450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arget Variabl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정의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7321667" y="4283760"/>
              <a:ext cx="2061082" cy="605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4625" indent="-171450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cor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평가체계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174625" indent="-171450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ü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추가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외 평가항목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174625" indent="-171450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ü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평가항목 가중치 산출방식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7326444" y="5363046"/>
              <a:ext cx="2061082" cy="425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4625" indent="-171450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위험 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cor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평가체계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174625" indent="-171450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ü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평가항목 가중치 산출방식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cxnSp>
          <p:nvCxnSpPr>
            <p:cNvPr id="175" name="꺾인 연결선 174"/>
            <p:cNvCxnSpPr/>
            <p:nvPr/>
          </p:nvCxnSpPr>
          <p:spPr>
            <a:xfrm flipV="1">
              <a:off x="2570477" y="4911168"/>
              <a:ext cx="1595324" cy="367215"/>
            </a:xfrm>
            <a:prstGeom prst="bentConnector2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76" name="TextBox 175"/>
            <p:cNvSpPr txBox="1"/>
            <p:nvPr/>
          </p:nvSpPr>
          <p:spPr>
            <a:xfrm>
              <a:off x="2719323" y="5356101"/>
              <a:ext cx="1829027" cy="507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175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※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신규로 추가되어야 할 평가항목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/>
              </a:r>
              <a:b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  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또는 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o-Be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반영되어야 할 위험평가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b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  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방식에 대한 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Insight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확보</a:t>
              </a:r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2733647" y="3165589"/>
              <a:ext cx="1829027" cy="507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175">
                <a:spcBef>
                  <a:spcPts val="100"/>
                </a:spcBef>
                <a:spcAft>
                  <a:spcPts val="100"/>
                </a:spcAft>
                <a:defRPr/>
              </a:pP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※  To-Be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제외되어야 할 평가항목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/>
              </a:r>
              <a:b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  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또는 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o-Be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려되어야 할 위험평가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b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</a:b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   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체계에 대한 </a:t>
              </a:r>
              <a:r>
                <a:rPr lang="en-US" altLang="ko-KR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Insight </a:t>
              </a:r>
              <a:r>
                <a:rPr lang="ko-KR" altLang="en-US" sz="900" i="1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확보</a:t>
              </a:r>
            </a:p>
          </p:txBody>
        </p:sp>
        <p:sp>
          <p:nvSpPr>
            <p:cNvPr id="184" name="오각형 183"/>
            <p:cNvSpPr/>
            <p:nvPr/>
          </p:nvSpPr>
          <p:spPr bwMode="ltGray">
            <a:xfrm>
              <a:off x="513036" y="2303910"/>
              <a:ext cx="2247982" cy="477018"/>
            </a:xfrm>
            <a:prstGeom prst="homePlate">
              <a:avLst>
                <a:gd name="adj" fmla="val 23753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기존 모델 </a:t>
              </a:r>
              <a:r>
                <a:rPr lang="en-US" altLang="ko-KR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유효성검증</a:t>
              </a:r>
              <a:endPara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543932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1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86" name="갈매기형 수장 185"/>
            <p:cNvSpPr/>
            <p:nvPr/>
          </p:nvSpPr>
          <p:spPr bwMode="ltGray">
            <a:xfrm>
              <a:off x="2777789" y="2303910"/>
              <a:ext cx="2218789" cy="477018"/>
            </a:xfrm>
            <a:prstGeom prst="chevron">
              <a:avLst>
                <a:gd name="adj" fmla="val 23752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To-Be</a:t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설계</a:t>
              </a: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2849614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2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88" name="갈매기형 수장 187"/>
            <p:cNvSpPr/>
            <p:nvPr/>
          </p:nvSpPr>
          <p:spPr bwMode="ltGray">
            <a:xfrm>
              <a:off x="5007412" y="2304995"/>
              <a:ext cx="2218788" cy="477018"/>
            </a:xfrm>
            <a:prstGeom prst="chevron">
              <a:avLst>
                <a:gd name="adj" fmla="val 23752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평가</a:t>
              </a:r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및 테스트</a:t>
              </a:r>
            </a:p>
          </p:txBody>
        </p:sp>
        <p:sp>
          <p:nvSpPr>
            <p:cNvPr id="189" name="TextBox 188"/>
            <p:cNvSpPr txBox="1"/>
            <p:nvPr/>
          </p:nvSpPr>
          <p:spPr>
            <a:xfrm>
              <a:off x="5110132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3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92" name="갈매기형 수장 191"/>
            <p:cNvSpPr/>
            <p:nvPr/>
          </p:nvSpPr>
          <p:spPr bwMode="ltGray">
            <a:xfrm>
              <a:off x="7234712" y="2304993"/>
              <a:ext cx="2218788" cy="477018"/>
            </a:xfrm>
            <a:prstGeom prst="chevron">
              <a:avLst>
                <a:gd name="adj" fmla="val 23752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적용</a:t>
              </a:r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방안 수립</a:t>
              </a:r>
            </a:p>
          </p:txBody>
        </p:sp>
        <p:sp>
          <p:nvSpPr>
            <p:cNvPr id="193" name="TextBox 192"/>
            <p:cNvSpPr txBox="1"/>
            <p:nvPr/>
          </p:nvSpPr>
          <p:spPr>
            <a:xfrm>
              <a:off x="7337434" y="2370943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4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4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608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2.4 </a:t>
            </a:r>
            <a:r>
              <a:rPr lang="ko-KR" altLang="en-US" dirty="0"/>
              <a:t>고객위험평가 모델 적합성 검증 및 시뮬레이션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신규모델에 대한 평가의 완전성 및 신뢰성을 제고하기 위해 데이터 기반 평가와 사용자 기반 평가를 병행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모델 고도화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델 평가 및 테스트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" name="모서리가 둥근 직사각형 13"/>
          <p:cNvSpPr/>
          <p:nvPr/>
        </p:nvSpPr>
        <p:spPr>
          <a:xfrm>
            <a:off x="530550" y="2955135"/>
            <a:ext cx="873997" cy="1560548"/>
          </a:xfrm>
          <a:prstGeom prst="round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반 평가</a:t>
            </a:r>
          </a:p>
        </p:txBody>
      </p:sp>
      <p:sp>
        <p:nvSpPr>
          <p:cNvPr id="15" name="모서리가 둥근 직사각형 14"/>
          <p:cNvSpPr/>
          <p:nvPr/>
        </p:nvSpPr>
        <p:spPr>
          <a:xfrm>
            <a:off x="554638" y="4863132"/>
            <a:ext cx="873997" cy="1374180"/>
          </a:xfrm>
          <a:prstGeom prst="round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사용자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반 평가</a:t>
            </a:r>
          </a:p>
        </p:txBody>
      </p:sp>
      <p:sp>
        <p:nvSpPr>
          <p:cNvPr id="16" name="모서리가 둥근 직사각형 15"/>
          <p:cNvSpPr/>
          <p:nvPr/>
        </p:nvSpPr>
        <p:spPr>
          <a:xfrm>
            <a:off x="1536055" y="2955134"/>
            <a:ext cx="6293456" cy="1560548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79C9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1560142" y="4863131"/>
            <a:ext cx="6293456" cy="1374180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79C9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8271511" y="5126725"/>
            <a:ext cx="1116015" cy="759704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델 적용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8266572" y="3157462"/>
            <a:ext cx="1116015" cy="759704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델 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정 및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hreshold 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정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0" name="다이아몬드 19"/>
          <p:cNvSpPr/>
          <p:nvPr/>
        </p:nvSpPr>
        <p:spPr>
          <a:xfrm>
            <a:off x="8401118" y="4329100"/>
            <a:ext cx="846312" cy="389252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algn="ctr"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적합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?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cxnSp>
        <p:nvCxnSpPr>
          <p:cNvPr id="21" name="직선 화살표 연결선 20"/>
          <p:cNvCxnSpPr>
            <a:stCxn id="20" idx="0"/>
            <a:endCxn id="19" idx="2"/>
          </p:cNvCxnSpPr>
          <p:nvPr/>
        </p:nvCxnSpPr>
        <p:spPr>
          <a:xfrm flipV="1">
            <a:off x="8824274" y="3917166"/>
            <a:ext cx="306" cy="411934"/>
          </a:xfrm>
          <a:prstGeom prst="straightConnector1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" name="직선 화살표 연결선 21"/>
          <p:cNvCxnSpPr>
            <a:stCxn id="20" idx="2"/>
            <a:endCxn id="18" idx="0"/>
          </p:cNvCxnSpPr>
          <p:nvPr/>
        </p:nvCxnSpPr>
        <p:spPr>
          <a:xfrm>
            <a:off x="8824274" y="4718352"/>
            <a:ext cx="5245" cy="408373"/>
          </a:xfrm>
          <a:prstGeom prst="straightConnector1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" name="꺾인 연결선 22"/>
          <p:cNvCxnSpPr>
            <a:stCxn id="17" idx="3"/>
            <a:endCxn id="20" idx="1"/>
          </p:cNvCxnSpPr>
          <p:nvPr/>
        </p:nvCxnSpPr>
        <p:spPr>
          <a:xfrm flipV="1">
            <a:off x="7853598" y="4523726"/>
            <a:ext cx="547520" cy="1026495"/>
          </a:xfrm>
          <a:prstGeom prst="bentConnector3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25" name="아래쪽 화살표 24"/>
          <p:cNvSpPr/>
          <p:nvPr/>
        </p:nvSpPr>
        <p:spPr>
          <a:xfrm>
            <a:off x="846517" y="4573071"/>
            <a:ext cx="290237" cy="222825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" name="왼쪽 화살표 25"/>
          <p:cNvSpPr/>
          <p:nvPr/>
        </p:nvSpPr>
        <p:spPr>
          <a:xfrm>
            <a:off x="7915957" y="3416929"/>
            <a:ext cx="260404" cy="272476"/>
          </a:xfrm>
          <a:prstGeom prst="leftArrow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93359" y="3036102"/>
            <a:ext cx="18181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델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평가를 위해 모델 개발 초기에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est Set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을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별도로 분리 구성함</a:t>
            </a:r>
          </a:p>
        </p:txBody>
      </p:sp>
      <p:sp>
        <p:nvSpPr>
          <p:cNvPr id="28" name="모서리가 둥근 직사각형 27"/>
          <p:cNvSpPr/>
          <p:nvPr/>
        </p:nvSpPr>
        <p:spPr>
          <a:xfrm>
            <a:off x="1772075" y="3507047"/>
            <a:ext cx="481660" cy="897638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체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</a:t>
            </a:r>
          </a:p>
        </p:txBody>
      </p:sp>
      <p:sp>
        <p:nvSpPr>
          <p:cNvPr id="29" name="모서리가 둥근 직사각형 28"/>
          <p:cNvSpPr/>
          <p:nvPr/>
        </p:nvSpPr>
        <p:spPr>
          <a:xfrm>
            <a:off x="2718741" y="3507047"/>
            <a:ext cx="482105" cy="546912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algn="ctr">
              <a:defRPr/>
            </a:pP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Train</a:t>
            </a:r>
            <a:endParaRPr lang="ko-KR" altLang="en-US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2718741" y="4132213"/>
            <a:ext cx="482105" cy="273031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algn="ctr">
              <a:defRPr/>
            </a:pP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Test</a:t>
            </a:r>
            <a:endParaRPr lang="ko-KR" altLang="en-US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1" name="꺾인 연결선 30"/>
          <p:cNvCxnSpPr>
            <a:stCxn id="28" idx="3"/>
            <a:endCxn id="29" idx="1"/>
          </p:cNvCxnSpPr>
          <p:nvPr/>
        </p:nvCxnSpPr>
        <p:spPr>
          <a:xfrm flipV="1">
            <a:off x="2253734" y="3780502"/>
            <a:ext cx="465007" cy="175363"/>
          </a:xfrm>
          <a:prstGeom prst="bentConnector3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2" name="꺾인 연결선 31"/>
          <p:cNvCxnSpPr>
            <a:stCxn id="28" idx="3"/>
            <a:endCxn id="30" idx="1"/>
          </p:cNvCxnSpPr>
          <p:nvPr/>
        </p:nvCxnSpPr>
        <p:spPr>
          <a:xfrm>
            <a:off x="2253734" y="3955866"/>
            <a:ext cx="465007" cy="312864"/>
          </a:xfrm>
          <a:prstGeom prst="bentConnector3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33" name="TextBox 32"/>
          <p:cNvSpPr txBox="1"/>
          <p:nvPr/>
        </p:nvSpPr>
        <p:spPr>
          <a:xfrm>
            <a:off x="3258649" y="3673515"/>
            <a:ext cx="6447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설계용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254001" y="4156539"/>
            <a:ext cx="6447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평가용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464573" y="3036102"/>
            <a:ext cx="175721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습용 데이터를 이용하여 개발된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델을 평가용 데이터에 적용하여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적합성 평가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ko-KR" altLang="en-US" sz="1000" dirty="0"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36" name="그림 3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388789" y="3708804"/>
            <a:ext cx="874312" cy="584354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435658" y="3708803"/>
            <a:ext cx="956636" cy="588147"/>
          </a:xfrm>
          <a:prstGeom prst="rect">
            <a:avLst/>
          </a:prstGeom>
        </p:spPr>
      </p:pic>
      <p:sp>
        <p:nvSpPr>
          <p:cNvPr id="38" name="직사각형 37"/>
          <p:cNvSpPr/>
          <p:nvPr/>
        </p:nvSpPr>
        <p:spPr>
          <a:xfrm>
            <a:off x="4277189" y="3599830"/>
            <a:ext cx="2179566" cy="809173"/>
          </a:xfrm>
          <a:prstGeom prst="rect">
            <a:avLst/>
          </a:prstGeom>
          <a:noFill/>
          <a:ln w="12700" cap="flat" cmpd="sng" algn="ctr">
            <a:solidFill>
              <a:srgbClr val="37A76F">
                <a:lumMod val="50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44" name="꺾인 연결선 43"/>
          <p:cNvCxnSpPr>
            <a:stCxn id="34" idx="3"/>
            <a:endCxn id="38" idx="1"/>
          </p:cNvCxnSpPr>
          <p:nvPr/>
        </p:nvCxnSpPr>
        <p:spPr>
          <a:xfrm flipV="1">
            <a:off x="3898729" y="4004417"/>
            <a:ext cx="378460" cy="267538"/>
          </a:xfrm>
          <a:prstGeom prst="bentConnector3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pic>
        <p:nvPicPr>
          <p:cNvPr id="45" name="Picture 2" descr="http://usiamapan.com/wp-content/uploads/2012/03/rapa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614" y="5193539"/>
            <a:ext cx="1446679" cy="75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6707869" y="3036102"/>
            <a:ext cx="983461" cy="1368583"/>
          </a:xfrm>
          <a:prstGeom prst="rect">
            <a:avLst/>
          </a:prstGeom>
          <a:solidFill>
            <a:srgbClr val="79C9F9"/>
          </a:solidFill>
          <a:ln w="6350">
            <a:solidFill>
              <a:srgbClr val="79C9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1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체 데이터에 적용하여</a:t>
            </a:r>
            <a:endParaRPr lang="en-US" altLang="ko-KR" sz="1000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en-US" altLang="ko-KR" sz="10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Score </a:t>
            </a:r>
          </a:p>
          <a:p>
            <a:r>
              <a:rPr lang="ko-KR" altLang="en-US" sz="10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출 후</a:t>
            </a:r>
            <a:endParaRPr lang="en-US" altLang="ko-KR" sz="1000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ko-KR" altLang="en-US" sz="10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</a:t>
            </a:r>
            <a:r>
              <a:rPr lang="ko-KR" altLang="en-US" sz="100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 </a:t>
            </a:r>
            <a:endParaRPr lang="en-US" altLang="ko-KR" sz="1000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ko-KR" altLang="en-US" sz="10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등급 추출</a:t>
            </a:r>
          </a:p>
        </p:txBody>
      </p:sp>
      <p:cxnSp>
        <p:nvCxnSpPr>
          <p:cNvPr id="47" name="꺾인 연결선 46"/>
          <p:cNvCxnSpPr>
            <a:stCxn id="38" idx="3"/>
            <a:endCxn id="46" idx="1"/>
          </p:cNvCxnSpPr>
          <p:nvPr/>
        </p:nvCxnSpPr>
        <p:spPr>
          <a:xfrm flipV="1">
            <a:off x="6456756" y="3720393"/>
            <a:ext cx="251113" cy="284023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1863473" y="5049180"/>
            <a:ext cx="29079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규 위험평가 모델 결과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eview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규모델로부터 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위험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등급으로 분류된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들에 대해 상세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eview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수행하여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델 결과의 적합성 평가</a:t>
            </a:r>
          </a:p>
        </p:txBody>
      </p:sp>
      <p:cxnSp>
        <p:nvCxnSpPr>
          <p:cNvPr id="49" name="꺾인 연결선 48"/>
          <p:cNvCxnSpPr>
            <a:stCxn id="46" idx="2"/>
            <a:endCxn id="48" idx="0"/>
          </p:cNvCxnSpPr>
          <p:nvPr/>
        </p:nvCxnSpPr>
        <p:spPr>
          <a:xfrm rot="5400000">
            <a:off x="4936267" y="2785846"/>
            <a:ext cx="644495" cy="388217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50" name="TextBox 49"/>
          <p:cNvSpPr txBox="1"/>
          <p:nvPr/>
        </p:nvSpPr>
        <p:spPr>
          <a:xfrm>
            <a:off x="8830809" y="4082879"/>
            <a:ext cx="3337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No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821240" y="4761148"/>
            <a:ext cx="38023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Yes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13036" y="2303910"/>
            <a:ext cx="8940464" cy="478103"/>
            <a:chOff x="513036" y="2303910"/>
            <a:chExt cx="8940464" cy="478103"/>
          </a:xfrm>
        </p:grpSpPr>
        <p:sp>
          <p:nvSpPr>
            <p:cNvPr id="63" name="오각형 62"/>
            <p:cNvSpPr/>
            <p:nvPr/>
          </p:nvSpPr>
          <p:spPr bwMode="ltGray">
            <a:xfrm>
              <a:off x="513036" y="2303910"/>
              <a:ext cx="2247982" cy="477018"/>
            </a:xfrm>
            <a:prstGeom prst="homePlate">
              <a:avLst>
                <a:gd name="adj" fmla="val 23753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기존 모델 </a:t>
              </a:r>
              <a:r>
                <a:rPr lang="en-US" altLang="ko-KR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유효성검증</a:t>
              </a:r>
              <a:endPara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43932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1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5" name="갈매기형 수장 64"/>
            <p:cNvSpPr/>
            <p:nvPr/>
          </p:nvSpPr>
          <p:spPr bwMode="ltGray">
            <a:xfrm>
              <a:off x="2777789" y="2303910"/>
              <a:ext cx="2218789" cy="477018"/>
            </a:xfrm>
            <a:prstGeom prst="chevron">
              <a:avLst>
                <a:gd name="adj" fmla="val 23752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To-Be</a:t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설계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849614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 smtClean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2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7" name="갈매기형 수장 66"/>
            <p:cNvSpPr/>
            <p:nvPr/>
          </p:nvSpPr>
          <p:spPr bwMode="ltGray">
            <a:xfrm>
              <a:off x="5007412" y="2304995"/>
              <a:ext cx="2218788" cy="477018"/>
            </a:xfrm>
            <a:prstGeom prst="chevron">
              <a:avLst>
                <a:gd name="adj" fmla="val 23752"/>
              </a:avLst>
            </a:prstGeom>
            <a:solidFill>
              <a:srgbClr val="22A8F0"/>
            </a:solidFill>
            <a:ln w="6350">
              <a:solidFill>
                <a:srgbClr val="038CDC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평가</a:t>
              </a:r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및 테스트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5110132" y="2370945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3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69" name="갈매기형 수장 68"/>
            <p:cNvSpPr/>
            <p:nvPr/>
          </p:nvSpPr>
          <p:spPr bwMode="ltGray">
            <a:xfrm>
              <a:off x="7234712" y="2304993"/>
              <a:ext cx="2218788" cy="477018"/>
            </a:xfrm>
            <a:prstGeom prst="chevron">
              <a:avLst>
                <a:gd name="adj" fmla="val 23752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델 적용</a:t>
              </a:r>
              <a: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/>
              </a:r>
              <a:br>
                <a:rPr lang="en-US" altLang="ko-KR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</a:br>
              <a:r>
                <a:rPr lang="ko-KR" altLang="en-US" sz="1100" i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방안 수립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7337434" y="2370943"/>
              <a:ext cx="291947" cy="32804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i="1" dirty="0"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4</a:t>
              </a:r>
              <a:endParaRPr lang="ko-KR" altLang="en-US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5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54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76401" y="351643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3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054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1.4 </a:t>
            </a:r>
            <a:r>
              <a:rPr lang="ko-KR" altLang="en-US" dirty="0" smtClean="0"/>
              <a:t>수행 방법론 적용 방안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56514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구축전략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1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8" name="Rt3">
            <a:extLst>
              <a:ext uri="{FF2B5EF4-FFF2-40B4-BE49-F238E27FC236}">
                <a16:creationId xmlns:a16="http://schemas.microsoft.com/office/drawing/2014/main" id="{E17F1175-829D-4249-BDDB-8D39CD1DADC5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ED25B4E9-5BBB-46A8-9CD4-3F4A476006FE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수행 방법론 적용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BD80E6F9-342E-4989-AAA5-92BBBED14991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1" name="AutoShape 1602">
                <a:extLst>
                  <a:ext uri="{FF2B5EF4-FFF2-40B4-BE49-F238E27FC236}">
                    <a16:creationId xmlns:a16="http://schemas.microsoft.com/office/drawing/2014/main" id="{198C302C-AFEA-4A66-BC87-06DEA7C30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2" name="Freeform 1603">
                <a:extLst>
                  <a:ext uri="{FF2B5EF4-FFF2-40B4-BE49-F238E27FC236}">
                    <a16:creationId xmlns:a16="http://schemas.microsoft.com/office/drawing/2014/main" id="{DC4A6E03-1A0F-4642-B89F-31F451C63B6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" name="AutoShape 1604">
                <a:extLst>
                  <a:ext uri="{FF2B5EF4-FFF2-40B4-BE49-F238E27FC236}">
                    <a16:creationId xmlns:a16="http://schemas.microsoft.com/office/drawing/2014/main" id="{3E784D5F-66B0-4AB4-9D3F-EB6728DCFD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컴플라이언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련 다수의 프로젝트 수행 경험을 통해 시스템 구축 및 관리 역량이 집약된 수행방법론을 적용하고 체계적이며 효과적으로 수행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통제 함으로서 고객사에 최적화된 시스템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</a:p>
        </p:txBody>
      </p:sp>
      <p:sp>
        <p:nvSpPr>
          <p:cNvPr id="15" name="Text Box 99"/>
          <p:cNvSpPr txBox="1">
            <a:spLocks noChangeArrowheads="1"/>
          </p:cNvSpPr>
          <p:nvPr/>
        </p:nvSpPr>
        <p:spPr bwMode="auto">
          <a:xfrm>
            <a:off x="416370" y="6354498"/>
            <a:ext cx="358176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11125" indent="-111125" defTabSz="15097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defTabSz="15097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defTabSz="15097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defTabSz="15097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defTabSz="1509713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defTabSz="150971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marL="0" indent="0" algn="l" eaLnBrk="1" hangingPunct="1">
              <a:buClr>
                <a:srgbClr val="969696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ko-KR" sz="900" dirty="0">
                <a:ln>
                  <a:solidFill>
                    <a:srgbClr val="CC0000">
                      <a:alpha val="0"/>
                    </a:srgb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* SA2 : System’s Architectural </a:t>
            </a:r>
            <a:r>
              <a:rPr lang="en-US" altLang="ko-KR" sz="900" dirty="0" smtClean="0">
                <a:ln>
                  <a:solidFill>
                    <a:srgbClr val="CC0000">
                      <a:alpha val="0"/>
                    </a:srgbClr>
                  </a:solidFill>
                </a:ln>
                <a:solidFill>
                  <a:srgbClr val="4D4D4D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pproaches</a:t>
            </a:r>
          </a:p>
        </p:txBody>
      </p:sp>
      <p:sp>
        <p:nvSpPr>
          <p:cNvPr id="149" name="양쪽 모서리가 둥근 사각형 666"/>
          <p:cNvSpPr>
            <a:spLocks/>
          </p:cNvSpPr>
          <p:nvPr/>
        </p:nvSpPr>
        <p:spPr bwMode="auto">
          <a:xfrm>
            <a:off x="308485" y="2257649"/>
            <a:ext cx="4533144" cy="4051196"/>
          </a:xfrm>
          <a:custGeom>
            <a:avLst/>
            <a:gdLst>
              <a:gd name="T0" fmla="*/ 2 w 4239886"/>
              <a:gd name="T1" fmla="*/ 1 h 5400601"/>
              <a:gd name="T2" fmla="*/ 1 w 4239886"/>
              <a:gd name="T3" fmla="*/ 1 h 5400601"/>
              <a:gd name="T4" fmla="*/ 0 w 4239886"/>
              <a:gd name="T5" fmla="*/ 1 h 5400601"/>
              <a:gd name="T6" fmla="*/ 1 w 4239886"/>
              <a:gd name="T7" fmla="*/ 0 h 5400601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9375 w 4239886"/>
              <a:gd name="T13" fmla="*/ 18860 h 5400601"/>
              <a:gd name="T14" fmla="*/ 4220511 w 4239886"/>
              <a:gd name="T15" fmla="*/ 5400601 h 540060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239886" h="5400601">
                <a:moveTo>
                  <a:pt x="63598" y="0"/>
                </a:moveTo>
                <a:lnTo>
                  <a:pt x="4176288" y="0"/>
                </a:lnTo>
                <a:lnTo>
                  <a:pt x="4176287" y="0"/>
                </a:lnTo>
                <a:cubicBezTo>
                  <a:pt x="4211412" y="0"/>
                  <a:pt x="4239886" y="28473"/>
                  <a:pt x="4239886" y="63598"/>
                </a:cubicBezTo>
                <a:lnTo>
                  <a:pt x="4239886" y="5400601"/>
                </a:lnTo>
                <a:lnTo>
                  <a:pt x="0" y="5400601"/>
                </a:lnTo>
                <a:lnTo>
                  <a:pt x="0" y="63598"/>
                </a:lnTo>
                <a:cubicBezTo>
                  <a:pt x="0" y="28473"/>
                  <a:pt x="28473" y="0"/>
                  <a:pt x="63597" y="0"/>
                </a:cubicBezTo>
                <a:lnTo>
                  <a:pt x="6359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endParaRPr lang="ko-KR" altLang="en-US" sz="2000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57" name="Rectangle 6"/>
          <p:cNvSpPr>
            <a:spLocks noChangeArrowheads="1"/>
          </p:cNvSpPr>
          <p:nvPr/>
        </p:nvSpPr>
        <p:spPr bwMode="auto">
          <a:xfrm>
            <a:off x="773940" y="2621258"/>
            <a:ext cx="589722" cy="390358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innerShdw dist="25400" dir="5400000">
              <a:srgbClr val="1F6CA1">
                <a:alpha val="50000"/>
              </a:srgb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defTabSz="914400" latinLnBrk="0"/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착수</a:t>
            </a:r>
            <a: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b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획수립</a:t>
            </a:r>
            <a:endParaRPr lang="ko-KR" altLang="en-US" sz="9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8" name="Rectangle 7"/>
          <p:cNvSpPr>
            <a:spLocks noChangeArrowheads="1"/>
          </p:cNvSpPr>
          <p:nvPr/>
        </p:nvSpPr>
        <p:spPr bwMode="auto">
          <a:xfrm>
            <a:off x="1972263" y="3285190"/>
            <a:ext cx="467479" cy="485217"/>
          </a:xfrm>
          <a:prstGeom prst="rect">
            <a:avLst/>
          </a:prstGeom>
          <a:solidFill>
            <a:srgbClr val="C5E2F7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en-US" altLang="ko-KR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Gap</a:t>
            </a: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석 </a:t>
            </a:r>
            <a:endParaRPr lang="en-US" altLang="ko-KR" sz="900" spc="-10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</a:t>
            </a:r>
            <a:endParaRPr lang="en-US" altLang="ko-KR" sz="900" spc="-10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건정의</a:t>
            </a:r>
          </a:p>
        </p:txBody>
      </p:sp>
      <p:sp>
        <p:nvSpPr>
          <p:cNvPr id="159" name="Rectangle 8"/>
          <p:cNvSpPr>
            <a:spLocks noChangeArrowheads="1"/>
          </p:cNvSpPr>
          <p:nvPr/>
        </p:nvSpPr>
        <p:spPr bwMode="auto">
          <a:xfrm>
            <a:off x="2297170" y="3871261"/>
            <a:ext cx="476877" cy="382511"/>
          </a:xfrm>
          <a:prstGeom prst="rect">
            <a:avLst/>
          </a:prstGeom>
          <a:solidFill>
            <a:srgbClr val="C5E2F7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설치 및</a:t>
            </a:r>
            <a:endParaRPr lang="en-US" altLang="ko-KR" sz="900" spc="-10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환경 설정</a:t>
            </a:r>
          </a:p>
        </p:txBody>
      </p:sp>
      <p:sp>
        <p:nvSpPr>
          <p:cNvPr id="160" name="Rectangle 9"/>
          <p:cNvSpPr>
            <a:spLocks noChangeArrowheads="1"/>
          </p:cNvSpPr>
          <p:nvPr/>
        </p:nvSpPr>
        <p:spPr bwMode="auto">
          <a:xfrm>
            <a:off x="2974569" y="3285190"/>
            <a:ext cx="593054" cy="485217"/>
          </a:xfrm>
          <a:prstGeom prst="rect">
            <a:avLst/>
          </a:prstGeom>
          <a:solidFill>
            <a:srgbClr val="C5E2F7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발</a:t>
            </a:r>
            <a:endParaRPr lang="en-US" altLang="ko-KR" sz="900" spc="-10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61" name="AutoShape 20"/>
          <p:cNvCxnSpPr>
            <a:cxnSpLocks noChangeShapeType="1"/>
            <a:stCxn id="158" idx="2"/>
            <a:endCxn id="159" idx="1"/>
          </p:cNvCxnSpPr>
          <p:nvPr/>
        </p:nvCxnSpPr>
        <p:spPr bwMode="auto">
          <a:xfrm rot="16200000" flipH="1">
            <a:off x="2105532" y="3870879"/>
            <a:ext cx="292110" cy="91167"/>
          </a:xfrm>
          <a:prstGeom prst="bentConnector2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AutoShape 21"/>
          <p:cNvCxnSpPr>
            <a:cxnSpLocks noChangeShapeType="1"/>
            <a:stCxn id="159" idx="3"/>
            <a:endCxn id="160" idx="1"/>
          </p:cNvCxnSpPr>
          <p:nvPr/>
        </p:nvCxnSpPr>
        <p:spPr bwMode="auto">
          <a:xfrm flipV="1">
            <a:off x="2774047" y="3527799"/>
            <a:ext cx="200522" cy="534718"/>
          </a:xfrm>
          <a:prstGeom prst="bentConnector3">
            <a:avLst>
              <a:gd name="adj1" fmla="val 50000"/>
            </a:avLst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AutoShape 25"/>
          <p:cNvCxnSpPr>
            <a:cxnSpLocks noChangeShapeType="1"/>
            <a:stCxn id="158" idx="3"/>
            <a:endCxn id="160" idx="1"/>
          </p:cNvCxnSpPr>
          <p:nvPr/>
        </p:nvCxnSpPr>
        <p:spPr bwMode="auto">
          <a:xfrm>
            <a:off x="2439742" y="3527799"/>
            <a:ext cx="534827" cy="0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AutoShape 26"/>
          <p:cNvCxnSpPr>
            <a:cxnSpLocks noChangeShapeType="1"/>
            <a:stCxn id="157" idx="2"/>
            <a:endCxn id="188" idx="1"/>
          </p:cNvCxnSpPr>
          <p:nvPr/>
        </p:nvCxnSpPr>
        <p:spPr bwMode="auto">
          <a:xfrm rot="16200000" flipH="1">
            <a:off x="868182" y="3212235"/>
            <a:ext cx="516182" cy="114945"/>
          </a:xfrm>
          <a:prstGeom prst="bentConnector2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Rectangle 11"/>
          <p:cNvSpPr>
            <a:spLocks noChangeArrowheads="1"/>
          </p:cNvSpPr>
          <p:nvPr/>
        </p:nvSpPr>
        <p:spPr bwMode="auto">
          <a:xfrm>
            <a:off x="2539773" y="4775416"/>
            <a:ext cx="618042" cy="461253"/>
          </a:xfrm>
          <a:prstGeom prst="rect">
            <a:avLst/>
          </a:prstGeom>
          <a:solidFill>
            <a:srgbClr val="C5E2F7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이터</a:t>
            </a:r>
            <a:endParaRPr lang="en-US" altLang="ko-KR" sz="900" spc="-10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변환 설계</a:t>
            </a:r>
            <a:r>
              <a:rPr lang="en-US" altLang="ko-KR" sz="900" spc="-10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br>
              <a:rPr lang="en-US" altLang="ko-KR" sz="900" spc="-10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spc="-10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구현</a:t>
            </a:r>
            <a:endParaRPr lang="ko-KR" altLang="en-US" sz="900" spc="-10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66" name="AutoShape 31"/>
          <p:cNvCxnSpPr>
            <a:cxnSpLocks noChangeShapeType="1"/>
            <a:stCxn id="191" idx="0"/>
            <a:endCxn id="165" idx="1"/>
          </p:cNvCxnSpPr>
          <p:nvPr/>
        </p:nvCxnSpPr>
        <p:spPr bwMode="auto">
          <a:xfrm rot="5400000" flipH="1" flipV="1">
            <a:off x="2172248" y="5031230"/>
            <a:ext cx="392712" cy="342338"/>
          </a:xfrm>
          <a:prstGeom prst="bentConnector2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AutoShape 32"/>
          <p:cNvCxnSpPr>
            <a:cxnSpLocks noChangeShapeType="1"/>
            <a:stCxn id="165" idx="3"/>
            <a:endCxn id="190" idx="2"/>
          </p:cNvCxnSpPr>
          <p:nvPr/>
        </p:nvCxnSpPr>
        <p:spPr bwMode="auto">
          <a:xfrm flipV="1">
            <a:off x="3157815" y="3773978"/>
            <a:ext cx="1374353" cy="1232066"/>
          </a:xfrm>
          <a:prstGeom prst="bentConnector2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AutoShape 34"/>
          <p:cNvCxnSpPr>
            <a:cxnSpLocks noChangeShapeType="1"/>
            <a:stCxn id="165" idx="3"/>
            <a:endCxn id="160" idx="2"/>
          </p:cNvCxnSpPr>
          <p:nvPr/>
        </p:nvCxnSpPr>
        <p:spPr bwMode="auto">
          <a:xfrm flipV="1">
            <a:off x="3157815" y="3770407"/>
            <a:ext cx="113280" cy="1235636"/>
          </a:xfrm>
          <a:prstGeom prst="bentConnector2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Line 35"/>
          <p:cNvSpPr>
            <a:spLocks noChangeShapeType="1"/>
          </p:cNvSpPr>
          <p:nvPr/>
        </p:nvSpPr>
        <p:spPr bwMode="auto">
          <a:xfrm flipV="1">
            <a:off x="3345640" y="4659822"/>
            <a:ext cx="0" cy="294239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  <a:tailEnd type="triangl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rIns="54000" anchor="ctr"/>
          <a:lstStyle/>
          <a:p>
            <a:pPr defTabSz="914400"/>
            <a:endParaRPr lang="ko-KR" altLang="en-US" sz="750" dirty="0"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70" name="AutoShape 41"/>
          <p:cNvCxnSpPr>
            <a:cxnSpLocks noChangeShapeType="1"/>
            <a:stCxn id="202" idx="1"/>
            <a:endCxn id="160" idx="3"/>
          </p:cNvCxnSpPr>
          <p:nvPr/>
        </p:nvCxnSpPr>
        <p:spPr bwMode="auto">
          <a:xfrm flipH="1">
            <a:off x="3567623" y="3527798"/>
            <a:ext cx="133348" cy="1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AutoShape 29"/>
          <p:cNvCxnSpPr>
            <a:cxnSpLocks noChangeShapeType="1"/>
            <a:stCxn id="157" idx="2"/>
            <a:endCxn id="193" idx="1"/>
          </p:cNvCxnSpPr>
          <p:nvPr/>
        </p:nvCxnSpPr>
        <p:spPr bwMode="auto">
          <a:xfrm rot="16200000" flipH="1">
            <a:off x="-160425" y="4240842"/>
            <a:ext cx="2578395" cy="119943"/>
          </a:xfrm>
          <a:prstGeom prst="bentConnector2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AutoShape 38"/>
          <p:cNvCxnSpPr>
            <a:cxnSpLocks noChangeShapeType="1"/>
            <a:stCxn id="189" idx="3"/>
            <a:endCxn id="191" idx="1"/>
          </p:cNvCxnSpPr>
          <p:nvPr/>
        </p:nvCxnSpPr>
        <p:spPr bwMode="auto">
          <a:xfrm>
            <a:off x="1673515" y="4621571"/>
            <a:ext cx="301525" cy="968440"/>
          </a:xfrm>
          <a:prstGeom prst="bentConnector3">
            <a:avLst>
              <a:gd name="adj1" fmla="val 50000"/>
            </a:avLst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AutoShape 51"/>
          <p:cNvCxnSpPr>
            <a:cxnSpLocks noChangeShapeType="1"/>
            <a:stCxn id="190" idx="1"/>
            <a:endCxn id="202" idx="3"/>
          </p:cNvCxnSpPr>
          <p:nvPr/>
        </p:nvCxnSpPr>
        <p:spPr bwMode="auto">
          <a:xfrm flipH="1">
            <a:off x="4190772" y="3527798"/>
            <a:ext cx="96511" cy="0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0"/>
          <p:cNvSpPr>
            <a:spLocks noChangeArrowheads="1"/>
          </p:cNvSpPr>
          <p:nvPr/>
        </p:nvSpPr>
        <p:spPr bwMode="auto">
          <a:xfrm>
            <a:off x="3379377" y="5398755"/>
            <a:ext cx="444791" cy="382511"/>
          </a:xfrm>
          <a:prstGeom prst="rect">
            <a:avLst/>
          </a:prstGeom>
          <a:solidFill>
            <a:srgbClr val="C5E2F7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발</a:t>
            </a:r>
          </a:p>
        </p:txBody>
      </p:sp>
      <p:sp>
        <p:nvSpPr>
          <p:cNvPr id="175" name="Rectangle 10"/>
          <p:cNvSpPr>
            <a:spLocks noChangeArrowheads="1"/>
          </p:cNvSpPr>
          <p:nvPr/>
        </p:nvSpPr>
        <p:spPr bwMode="auto">
          <a:xfrm>
            <a:off x="2539773" y="5398755"/>
            <a:ext cx="618042" cy="382511"/>
          </a:xfrm>
          <a:prstGeom prst="rect">
            <a:avLst/>
          </a:prstGeom>
          <a:solidFill>
            <a:srgbClr val="C5E2F7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설계</a:t>
            </a:r>
          </a:p>
        </p:txBody>
      </p:sp>
      <p:cxnSp>
        <p:nvCxnSpPr>
          <p:cNvPr id="176" name="AutoShape 31"/>
          <p:cNvCxnSpPr>
            <a:cxnSpLocks noChangeShapeType="1"/>
            <a:stCxn id="191" idx="3"/>
            <a:endCxn id="175" idx="1"/>
          </p:cNvCxnSpPr>
          <p:nvPr/>
        </p:nvCxnSpPr>
        <p:spPr bwMode="auto">
          <a:xfrm>
            <a:off x="2419830" y="5590011"/>
            <a:ext cx="119944" cy="0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AutoShape 31"/>
          <p:cNvCxnSpPr>
            <a:cxnSpLocks noChangeShapeType="1"/>
            <a:stCxn id="175" idx="3"/>
            <a:endCxn id="174" idx="1"/>
          </p:cNvCxnSpPr>
          <p:nvPr/>
        </p:nvCxnSpPr>
        <p:spPr bwMode="auto">
          <a:xfrm>
            <a:off x="3157815" y="5590011"/>
            <a:ext cx="221562" cy="0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AutoShape 41"/>
          <p:cNvCxnSpPr>
            <a:cxnSpLocks noChangeShapeType="1"/>
            <a:stCxn id="202" idx="2"/>
            <a:endCxn id="174" idx="3"/>
          </p:cNvCxnSpPr>
          <p:nvPr/>
        </p:nvCxnSpPr>
        <p:spPr bwMode="auto">
          <a:xfrm rot="5400000">
            <a:off x="2977004" y="4621143"/>
            <a:ext cx="1816033" cy="121703"/>
          </a:xfrm>
          <a:prstGeom prst="bentConnector2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Line 35"/>
          <p:cNvSpPr>
            <a:spLocks noChangeShapeType="1"/>
          </p:cNvSpPr>
          <p:nvPr/>
        </p:nvSpPr>
        <p:spPr bwMode="auto">
          <a:xfrm>
            <a:off x="3345640" y="5058025"/>
            <a:ext cx="0" cy="211852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  <a:tailEnd type="triangl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rIns="54000" anchor="ctr"/>
          <a:lstStyle/>
          <a:p>
            <a:pPr defTabSz="914400"/>
            <a:endParaRPr lang="ko-KR" altLang="en-US" sz="750" dirty="0"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0" name="Rectangle 10"/>
          <p:cNvSpPr>
            <a:spLocks noChangeArrowheads="1"/>
          </p:cNvSpPr>
          <p:nvPr/>
        </p:nvSpPr>
        <p:spPr bwMode="auto">
          <a:xfrm>
            <a:off x="1476950" y="2627143"/>
            <a:ext cx="3250117" cy="382509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innerShdw dist="25400" dir="5400000">
              <a:srgbClr val="1F6CA1">
                <a:alpha val="50000"/>
              </a:srgb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defTabSz="914400" latinLnBrk="0"/>
            <a:r>
              <a:rPr lang="ko-KR" altLang="en-US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제안사</a:t>
            </a:r>
            <a:r>
              <a:rPr lang="en-US" altLang="ko-KR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발방법론</a:t>
            </a:r>
            <a:r>
              <a:rPr lang="en-US" altLang="ko-KR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SA2)</a:t>
            </a:r>
          </a:p>
          <a:p>
            <a:pPr algn="ctr" defTabSz="914400" latinLnBrk="0"/>
            <a:r>
              <a:rPr lang="ko-KR" altLang="en-US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분석 </a:t>
            </a:r>
            <a:r>
              <a:rPr lang="en-US" altLang="ko-KR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gt; </a:t>
            </a:r>
            <a:r>
              <a:rPr lang="ko-KR" altLang="en-US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설계 </a:t>
            </a:r>
            <a:r>
              <a:rPr lang="en-US" altLang="ko-KR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gt; </a:t>
            </a:r>
            <a:r>
              <a:rPr lang="ko-KR" altLang="en-US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발</a:t>
            </a:r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en-US" altLang="ko-KR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gt; </a:t>
            </a:r>
            <a:r>
              <a:rPr lang="ko-KR" altLang="en-US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테스트 </a:t>
            </a:r>
            <a:r>
              <a:rPr lang="en-US" altLang="ko-KR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&gt; </a:t>
            </a:r>
            <a:r>
              <a:rPr lang="ko-KR" altLang="en-US" sz="10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</a:t>
            </a:r>
            <a:endParaRPr lang="en-US" altLang="ko-KR" sz="1000" dirty="0" smtClean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81" name="AutoShape 31"/>
          <p:cNvCxnSpPr>
            <a:cxnSpLocks noChangeShapeType="1"/>
            <a:stCxn id="157" idx="3"/>
            <a:endCxn id="180" idx="1"/>
          </p:cNvCxnSpPr>
          <p:nvPr/>
        </p:nvCxnSpPr>
        <p:spPr bwMode="auto">
          <a:xfrm>
            <a:off x="1363662" y="2816437"/>
            <a:ext cx="113288" cy="1961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AutoShape 25"/>
          <p:cNvCxnSpPr>
            <a:cxnSpLocks noChangeShapeType="1"/>
          </p:cNvCxnSpPr>
          <p:nvPr/>
        </p:nvCxnSpPr>
        <p:spPr bwMode="auto">
          <a:xfrm>
            <a:off x="1650193" y="3526021"/>
            <a:ext cx="324848" cy="0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AutoShape 31"/>
          <p:cNvCxnSpPr>
            <a:cxnSpLocks noChangeShapeType="1"/>
            <a:stCxn id="189" idx="3"/>
            <a:endCxn id="158" idx="1"/>
          </p:cNvCxnSpPr>
          <p:nvPr/>
        </p:nvCxnSpPr>
        <p:spPr bwMode="auto">
          <a:xfrm flipV="1">
            <a:off x="1673515" y="3527799"/>
            <a:ext cx="298748" cy="1093771"/>
          </a:xfrm>
          <a:prstGeom prst="bentConnector3">
            <a:avLst>
              <a:gd name="adj1" fmla="val 50000"/>
            </a:avLst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AutoShape 34"/>
          <p:cNvCxnSpPr>
            <a:cxnSpLocks noChangeShapeType="1"/>
            <a:stCxn id="165" idx="3"/>
            <a:endCxn id="174" idx="1"/>
          </p:cNvCxnSpPr>
          <p:nvPr/>
        </p:nvCxnSpPr>
        <p:spPr bwMode="auto">
          <a:xfrm>
            <a:off x="3157815" y="5006043"/>
            <a:ext cx="221562" cy="583968"/>
          </a:xfrm>
          <a:prstGeom prst="bentConnector3">
            <a:avLst>
              <a:gd name="adj1" fmla="val 50000"/>
            </a:avLst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27"/>
          <p:cNvSpPr txBox="1">
            <a:spLocks noChangeArrowheads="1"/>
          </p:cNvSpPr>
          <p:nvPr/>
        </p:nvSpPr>
        <p:spPr bwMode="auto">
          <a:xfrm>
            <a:off x="3384828" y="4822102"/>
            <a:ext cx="479298" cy="369332"/>
          </a:xfrm>
          <a:prstGeom prst="rect">
            <a:avLst/>
          </a:prstGeom>
          <a:noFill/>
          <a:ln w="6350">
            <a:noFill/>
          </a:ln>
          <a:effectLst/>
          <a:scene3d>
            <a:camera prst="orthographicFront"/>
            <a:lightRig rig="threePt" dir="t"/>
          </a:scene3d>
          <a:sp3d>
            <a:bevelT w="0" h="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  <a:sp3d>
              <a:bevelT w="0" h="127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vl="0" indent="0" algn="ctr" defTabSz="914151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spc="0">
                <a:ln w="0"/>
                <a:solidFill>
                  <a:prstClr val="black"/>
                </a:solidFill>
                <a:effectLst/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  <a:lvl2pPr marL="457075" defTabSz="914151">
              <a:defRPr>
                <a:solidFill>
                  <a:schemeClr val="lt1"/>
                </a:solidFill>
              </a:defRPr>
            </a:lvl2pPr>
            <a:lvl3pPr marL="914151" defTabSz="914151">
              <a:defRPr>
                <a:solidFill>
                  <a:schemeClr val="lt1"/>
                </a:solidFill>
              </a:defRPr>
            </a:lvl3pPr>
            <a:lvl4pPr marL="1371226" defTabSz="914151">
              <a:defRPr>
                <a:solidFill>
                  <a:schemeClr val="lt1"/>
                </a:solidFill>
              </a:defRPr>
            </a:lvl4pPr>
            <a:lvl5pPr marL="1828301" defTabSz="914151">
              <a:defRPr>
                <a:solidFill>
                  <a:schemeClr val="lt1"/>
                </a:solidFill>
              </a:defRPr>
            </a:lvl5pPr>
            <a:lvl6pPr marL="2285376" defTabSz="914151">
              <a:defRPr>
                <a:solidFill>
                  <a:schemeClr val="lt1"/>
                </a:solidFill>
              </a:defRPr>
            </a:lvl6pPr>
            <a:lvl7pPr marL="2742452" defTabSz="914151">
              <a:defRPr>
                <a:solidFill>
                  <a:schemeClr val="lt1"/>
                </a:solidFill>
              </a:defRPr>
            </a:lvl7pPr>
            <a:lvl8pPr marL="3199527" defTabSz="914151">
              <a:defRPr>
                <a:solidFill>
                  <a:schemeClr val="lt1"/>
                </a:solidFill>
              </a:defRPr>
            </a:lvl8pPr>
            <a:lvl9pPr marL="3656603" defTabSz="914151"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테스트</a:t>
            </a:r>
            <a:endParaRPr lang="en-US" altLang="ko-KR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이터 제공</a:t>
            </a:r>
          </a:p>
        </p:txBody>
      </p:sp>
      <p:sp>
        <p:nvSpPr>
          <p:cNvPr id="186" name="Line 35"/>
          <p:cNvSpPr>
            <a:spLocks noChangeShapeType="1"/>
          </p:cNvSpPr>
          <p:nvPr/>
        </p:nvSpPr>
        <p:spPr bwMode="auto">
          <a:xfrm flipV="1">
            <a:off x="4592139" y="4663744"/>
            <a:ext cx="0" cy="294239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  <a:tailEnd type="triangl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rIns="54000" anchor="ctr"/>
          <a:lstStyle/>
          <a:p>
            <a:pPr defTabSz="914400"/>
            <a:endParaRPr lang="ko-KR" altLang="en-US" sz="750" dirty="0"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7" name="TextBox 129"/>
          <p:cNvSpPr txBox="1">
            <a:spLocks noChangeArrowheads="1"/>
          </p:cNvSpPr>
          <p:nvPr/>
        </p:nvSpPr>
        <p:spPr bwMode="auto">
          <a:xfrm>
            <a:off x="4462846" y="5063188"/>
            <a:ext cx="269306" cy="246221"/>
          </a:xfrm>
          <a:prstGeom prst="rect">
            <a:avLst/>
          </a:prstGeom>
          <a:noFill/>
          <a:ln w="6350">
            <a:noFill/>
          </a:ln>
          <a:effectLst/>
          <a:scene3d>
            <a:camera prst="orthographicFront"/>
            <a:lightRig rig="threePt" dir="t"/>
          </a:scene3d>
          <a:sp3d>
            <a:bevelT w="0" h="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  <a:sp3d>
              <a:bevelT w="0" h="127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vl="0" indent="0" algn="ctr" defTabSz="914151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spc="0">
                <a:ln w="0"/>
                <a:solidFill>
                  <a:prstClr val="black"/>
                </a:solidFill>
                <a:effectLst/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  <a:lvl2pPr marL="457075" defTabSz="914151">
              <a:defRPr>
                <a:solidFill>
                  <a:schemeClr val="lt1"/>
                </a:solidFill>
              </a:defRPr>
            </a:lvl2pPr>
            <a:lvl3pPr marL="914151" defTabSz="914151">
              <a:defRPr>
                <a:solidFill>
                  <a:schemeClr val="lt1"/>
                </a:solidFill>
              </a:defRPr>
            </a:lvl3pPr>
            <a:lvl4pPr marL="1371226" defTabSz="914151">
              <a:defRPr>
                <a:solidFill>
                  <a:schemeClr val="lt1"/>
                </a:solidFill>
              </a:defRPr>
            </a:lvl4pPr>
            <a:lvl5pPr marL="1828301" defTabSz="914151">
              <a:defRPr>
                <a:solidFill>
                  <a:schemeClr val="lt1"/>
                </a:solidFill>
              </a:defRPr>
            </a:lvl5pPr>
            <a:lvl6pPr marL="2285376" defTabSz="914151">
              <a:defRPr>
                <a:solidFill>
                  <a:schemeClr val="lt1"/>
                </a:solidFill>
              </a:defRPr>
            </a:lvl6pPr>
            <a:lvl7pPr marL="2742452" defTabSz="914151">
              <a:defRPr>
                <a:solidFill>
                  <a:schemeClr val="lt1"/>
                </a:solidFill>
              </a:defRPr>
            </a:lvl7pPr>
            <a:lvl8pPr marL="3199527" defTabSz="914151">
              <a:defRPr>
                <a:solidFill>
                  <a:schemeClr val="lt1"/>
                </a:solidFill>
              </a:defRPr>
            </a:lvl8pPr>
            <a:lvl9pPr marL="3656603" defTabSz="914151"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이터</a:t>
            </a:r>
            <a:endParaRPr lang="en-US" altLang="ko-KR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행</a:t>
            </a:r>
          </a:p>
        </p:txBody>
      </p:sp>
      <p:sp>
        <p:nvSpPr>
          <p:cNvPr id="188" name="Rectangle 10"/>
          <p:cNvSpPr>
            <a:spLocks noChangeArrowheads="1"/>
          </p:cNvSpPr>
          <p:nvPr/>
        </p:nvSpPr>
        <p:spPr bwMode="auto">
          <a:xfrm>
            <a:off x="1183746" y="3278860"/>
            <a:ext cx="489769" cy="49787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 요건</a:t>
            </a:r>
            <a:endParaRPr lang="en-US" altLang="ko-KR" sz="900" spc="-7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석</a:t>
            </a:r>
          </a:p>
        </p:txBody>
      </p:sp>
      <p:sp>
        <p:nvSpPr>
          <p:cNvPr id="189" name="Rectangle 10"/>
          <p:cNvSpPr>
            <a:spLocks noChangeArrowheads="1"/>
          </p:cNvSpPr>
          <p:nvPr/>
        </p:nvSpPr>
        <p:spPr bwMode="auto">
          <a:xfrm>
            <a:off x="1183746" y="4389122"/>
            <a:ext cx="489769" cy="46489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컨설팅</a:t>
            </a:r>
            <a:endParaRPr lang="en-US" altLang="ko-KR" sz="900" spc="-7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결과</a:t>
            </a:r>
          </a:p>
        </p:txBody>
      </p:sp>
      <p:sp>
        <p:nvSpPr>
          <p:cNvPr id="190" name="Rectangle 11"/>
          <p:cNvSpPr>
            <a:spLocks noChangeArrowheads="1"/>
          </p:cNvSpPr>
          <p:nvPr/>
        </p:nvSpPr>
        <p:spPr bwMode="auto">
          <a:xfrm>
            <a:off x="4287283" y="3281619"/>
            <a:ext cx="489769" cy="49235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환 및</a:t>
            </a:r>
            <a:endParaRPr lang="en-US" altLang="ko-KR" sz="900" spc="-7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안정화</a:t>
            </a:r>
          </a:p>
        </p:txBody>
      </p:sp>
      <p:sp>
        <p:nvSpPr>
          <p:cNvPr id="191" name="Rectangle 10"/>
          <p:cNvSpPr>
            <a:spLocks noChangeArrowheads="1"/>
          </p:cNvSpPr>
          <p:nvPr/>
        </p:nvSpPr>
        <p:spPr bwMode="auto">
          <a:xfrm>
            <a:off x="1975040" y="5398755"/>
            <a:ext cx="444790" cy="382511"/>
          </a:xfrm>
          <a:prstGeom prst="rect">
            <a:avLst/>
          </a:prstGeom>
          <a:solidFill>
            <a:srgbClr val="C5E2F7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선사항</a:t>
            </a:r>
            <a:endParaRPr lang="en-US" altLang="ko-KR" sz="900" spc="-10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9175" latinLnBrk="0">
              <a:buClr>
                <a:srgbClr val="000000"/>
              </a:buClr>
              <a:tabLst>
                <a:tab pos="3768725" algn="l"/>
              </a:tabLst>
            </a:pPr>
            <a:r>
              <a:rPr lang="ko-KR" altLang="en-US" sz="900" spc="-10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건 정의</a:t>
            </a:r>
          </a:p>
        </p:txBody>
      </p:sp>
      <p:cxnSp>
        <p:nvCxnSpPr>
          <p:cNvPr id="192" name="AutoShape 31"/>
          <p:cNvCxnSpPr>
            <a:cxnSpLocks noChangeShapeType="1"/>
          </p:cNvCxnSpPr>
          <p:nvPr/>
        </p:nvCxnSpPr>
        <p:spPr bwMode="auto">
          <a:xfrm>
            <a:off x="1058805" y="4621571"/>
            <a:ext cx="143266" cy="0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ectangle 10"/>
          <p:cNvSpPr>
            <a:spLocks noChangeArrowheads="1"/>
          </p:cNvSpPr>
          <p:nvPr/>
        </p:nvSpPr>
        <p:spPr bwMode="auto">
          <a:xfrm>
            <a:off x="1188744" y="5357562"/>
            <a:ext cx="489769" cy="464897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행</a:t>
            </a:r>
            <a:r>
              <a:rPr lang="en-US" altLang="ko-KR" sz="900" spc="-7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900" spc="-7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spc="-70" dirty="0" smtClean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스템</a:t>
            </a:r>
            <a:endParaRPr lang="en-US" altLang="ko-KR" sz="900" spc="-70" dirty="0">
              <a:ln w="0"/>
              <a:solidFill>
                <a:prstClr val="black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석</a:t>
            </a:r>
          </a:p>
        </p:txBody>
      </p:sp>
      <p:cxnSp>
        <p:nvCxnSpPr>
          <p:cNvPr id="194" name="AutoShape 25"/>
          <p:cNvCxnSpPr>
            <a:cxnSpLocks noChangeShapeType="1"/>
            <a:stCxn id="193" idx="3"/>
            <a:endCxn id="191" idx="1"/>
          </p:cNvCxnSpPr>
          <p:nvPr/>
        </p:nvCxnSpPr>
        <p:spPr bwMode="auto">
          <a:xfrm>
            <a:off x="1678513" y="5590011"/>
            <a:ext cx="296527" cy="0"/>
          </a:xfrm>
          <a:prstGeom prst="straightConnector1">
            <a:avLst/>
          </a:prstGeom>
          <a:ln w="6350">
            <a:solidFill>
              <a:schemeClr val="bg2">
                <a:lumMod val="50000"/>
              </a:schemeClr>
            </a:solidFill>
            <a:tailEnd type="non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직사각형 4"/>
          <p:cNvSpPr>
            <a:spLocks noChangeArrowheads="1"/>
          </p:cNvSpPr>
          <p:nvPr/>
        </p:nvSpPr>
        <p:spPr bwMode="auto">
          <a:xfrm>
            <a:off x="379126" y="3143511"/>
            <a:ext cx="621373" cy="2734460"/>
          </a:xfrm>
          <a:prstGeom prst="rect">
            <a:avLst/>
          </a:prstGeom>
          <a:solidFill>
            <a:srgbClr val="C0C0C0"/>
          </a:solidFill>
          <a:ln w="6350" algn="ctr">
            <a:noFill/>
            <a:round/>
            <a:headEnd/>
            <a:tailEnd/>
          </a:ln>
        </p:spPr>
        <p:txBody>
          <a:bodyPr lIns="89976" tIns="36000" rIns="89976" bIns="36000"/>
          <a:lstStyle/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endParaRPr lang="ko-KR" altLang="en-US" sz="1000" b="1" dirty="0">
              <a:ln w="0"/>
              <a:solidFill>
                <a:prstClr val="black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96" name="Rectangle 10"/>
          <p:cNvSpPr>
            <a:spLocks noChangeArrowheads="1"/>
          </p:cNvSpPr>
          <p:nvPr/>
        </p:nvSpPr>
        <p:spPr bwMode="auto">
          <a:xfrm>
            <a:off x="417441" y="3535830"/>
            <a:ext cx="538080" cy="460974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innerShdw dist="25400" dir="5400000">
              <a:srgbClr val="1F6CA1">
                <a:alpha val="50000"/>
              </a:srgb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defTabSz="914400" latinLnBrk="0"/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사업</a:t>
            </a:r>
            <a: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범위</a:t>
            </a:r>
            <a:endParaRPr lang="en-US" altLang="ko-KR" sz="9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7" name="Rectangle 10"/>
          <p:cNvSpPr>
            <a:spLocks noChangeArrowheads="1"/>
          </p:cNvSpPr>
          <p:nvPr/>
        </p:nvSpPr>
        <p:spPr bwMode="auto">
          <a:xfrm>
            <a:off x="424104" y="4110576"/>
            <a:ext cx="538080" cy="462936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innerShdw dist="25400" dir="5400000">
              <a:srgbClr val="1F6CA1">
                <a:alpha val="50000"/>
              </a:srgb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defTabSz="914400" latinLnBrk="0"/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</a:t>
            </a:r>
            <a: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요건</a:t>
            </a:r>
            <a:endParaRPr lang="ko-KR" altLang="en-US" sz="9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8" name="Rectangle 10"/>
          <p:cNvSpPr>
            <a:spLocks noChangeArrowheads="1"/>
          </p:cNvSpPr>
          <p:nvPr/>
        </p:nvSpPr>
        <p:spPr bwMode="auto">
          <a:xfrm>
            <a:off x="424104" y="4677477"/>
            <a:ext cx="538080" cy="462936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innerShdw dist="25400" dir="5400000">
              <a:srgbClr val="1F6CA1">
                <a:alpha val="50000"/>
              </a:srgb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defTabSz="914400" latinLnBrk="0"/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구축</a:t>
            </a:r>
            <a: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900" dirty="0" smtClean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간</a:t>
            </a:r>
            <a:endParaRPr lang="ko-KR" altLang="en-US" sz="9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9" name="Rectangle 10"/>
          <p:cNvSpPr>
            <a:spLocks noChangeArrowheads="1"/>
          </p:cNvSpPr>
          <p:nvPr/>
        </p:nvSpPr>
        <p:spPr bwMode="auto">
          <a:xfrm>
            <a:off x="424104" y="5252223"/>
            <a:ext cx="538080" cy="462936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innerShdw dist="25400" dir="5400000">
              <a:srgbClr val="1F6CA1">
                <a:alpha val="50000"/>
              </a:srgbClr>
            </a:inn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defTabSz="914400" latinLnBrk="0"/>
            <a:r>
              <a:rPr lang="ko-KR" altLang="en-US" sz="9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</a:t>
            </a:r>
            <a:endParaRPr lang="en-US" altLang="ko-KR" sz="9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defTabSz="914400" latinLnBrk="0"/>
            <a:r>
              <a:rPr lang="ko-KR" altLang="en-US" sz="9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연계</a:t>
            </a:r>
            <a:r>
              <a:rPr lang="en-US" altLang="ko-KR" sz="9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9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구축</a:t>
            </a:r>
          </a:p>
        </p:txBody>
      </p:sp>
      <p:sp>
        <p:nvSpPr>
          <p:cNvPr id="200" name="TextBox 5"/>
          <p:cNvSpPr txBox="1">
            <a:spLocks noChangeArrowheads="1"/>
          </p:cNvSpPr>
          <p:nvPr/>
        </p:nvSpPr>
        <p:spPr bwMode="auto">
          <a:xfrm>
            <a:off x="465392" y="3261987"/>
            <a:ext cx="44884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1000" b="0" dirty="0">
                <a:ln w="0"/>
                <a:solidFill>
                  <a:prstClr val="black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려사항</a:t>
            </a:r>
          </a:p>
        </p:txBody>
      </p:sp>
      <p:sp>
        <p:nvSpPr>
          <p:cNvPr id="201" name="TextBox 129"/>
          <p:cNvSpPr txBox="1">
            <a:spLocks noChangeArrowheads="1"/>
          </p:cNvSpPr>
          <p:nvPr/>
        </p:nvSpPr>
        <p:spPr bwMode="auto">
          <a:xfrm>
            <a:off x="4020807" y="3860750"/>
            <a:ext cx="359074" cy="369332"/>
          </a:xfrm>
          <a:prstGeom prst="rect">
            <a:avLst/>
          </a:prstGeom>
          <a:noFill/>
          <a:ln w="6350">
            <a:noFill/>
          </a:ln>
          <a:effectLst/>
          <a:scene3d>
            <a:camera prst="orthographicFront"/>
            <a:lightRig rig="threePt" dir="t"/>
          </a:scene3d>
          <a:sp3d>
            <a:bevelT w="0" h="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  <a:sp3d>
              <a:bevelT w="0" h="127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vl="0" indent="0" algn="ctr" defTabSz="914151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spc="0">
                <a:ln w="0"/>
                <a:solidFill>
                  <a:prstClr val="black"/>
                </a:solidFill>
                <a:effectLst/>
                <a:latin typeface="뫼비우스 Regular" panose="02000700060000000000" pitchFamily="2" charset="-127"/>
                <a:ea typeface="뫼비우스 Regular" panose="02000700060000000000" pitchFamily="2" charset="-127"/>
              </a:defRPr>
            </a:lvl1pPr>
            <a:lvl2pPr marL="457075" defTabSz="914151">
              <a:defRPr>
                <a:solidFill>
                  <a:schemeClr val="lt1"/>
                </a:solidFill>
              </a:defRPr>
            </a:lvl2pPr>
            <a:lvl3pPr marL="914151" defTabSz="914151">
              <a:defRPr>
                <a:solidFill>
                  <a:schemeClr val="lt1"/>
                </a:solidFill>
              </a:defRPr>
            </a:lvl3pPr>
            <a:lvl4pPr marL="1371226" defTabSz="914151">
              <a:defRPr>
                <a:solidFill>
                  <a:schemeClr val="lt1"/>
                </a:solidFill>
              </a:defRPr>
            </a:lvl4pPr>
            <a:lvl5pPr marL="1828301" defTabSz="914151">
              <a:defRPr>
                <a:solidFill>
                  <a:schemeClr val="lt1"/>
                </a:solidFill>
              </a:defRPr>
            </a:lvl5pPr>
            <a:lvl6pPr marL="2285376" defTabSz="914151">
              <a:defRPr>
                <a:solidFill>
                  <a:schemeClr val="lt1"/>
                </a:solidFill>
              </a:defRPr>
            </a:lvl6pPr>
            <a:lvl7pPr marL="2742452" defTabSz="914151">
              <a:defRPr>
                <a:solidFill>
                  <a:schemeClr val="lt1"/>
                </a:solidFill>
              </a:defRPr>
            </a:lvl7pPr>
            <a:lvl8pPr marL="3199527" defTabSz="914151">
              <a:defRPr>
                <a:solidFill>
                  <a:schemeClr val="lt1"/>
                </a:solidFill>
              </a:defRPr>
            </a:lvl8pPr>
            <a:lvl9pPr marL="3656603" defTabSz="914151"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상자별</a:t>
            </a:r>
            <a:endParaRPr lang="en-US" altLang="ko-KR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쳬계적인</a:t>
            </a:r>
            <a:endParaRPr lang="en-US" altLang="ko-KR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교육실시</a:t>
            </a:r>
            <a:endParaRPr lang="en-US" altLang="ko-KR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02" name="Rectangle 8"/>
          <p:cNvSpPr>
            <a:spLocks noChangeArrowheads="1"/>
          </p:cNvSpPr>
          <p:nvPr/>
        </p:nvSpPr>
        <p:spPr bwMode="auto">
          <a:xfrm>
            <a:off x="3700971" y="3281619"/>
            <a:ext cx="489801" cy="49235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018896" latinLnBrk="0">
              <a:buClr>
                <a:srgbClr val="000000"/>
              </a:buClr>
              <a:tabLst>
                <a:tab pos="3767698" algn="l"/>
              </a:tabLst>
            </a:pPr>
            <a:r>
              <a:rPr lang="ko-KR" altLang="en-US" sz="900" spc="-70" dirty="0">
                <a:ln w="0"/>
                <a:solidFill>
                  <a:prstClr val="black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테스트</a:t>
            </a:r>
          </a:p>
        </p:txBody>
      </p:sp>
      <p:sp>
        <p:nvSpPr>
          <p:cNvPr id="203" name="LcS4"/>
          <p:cNvSpPr txBox="1"/>
          <p:nvPr/>
        </p:nvSpPr>
        <p:spPr bwMode="auto">
          <a:xfrm>
            <a:off x="847019" y="2149929"/>
            <a:ext cx="3456074" cy="43088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ko-KR"/>
            </a:defPPr>
            <a:lvl1pPr algn="ctr" latinLnBrk="0">
              <a:defRPr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 defTabSz="914400"/>
            <a:r>
              <a:rPr lang="en-US" altLang="ko-KR" sz="140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ompliance</a:t>
            </a:r>
            <a:r>
              <a:rPr lang="ko-KR" altLang="en-US" sz="140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련 다수의 성공적인 프로젝트에서</a:t>
            </a:r>
          </a:p>
          <a:p>
            <a:pPr defTabSz="914400"/>
            <a:r>
              <a:rPr lang="ko-KR" altLang="en-US" sz="140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스템 구축 역량이 집약된 수행방법론 적용</a:t>
            </a:r>
          </a:p>
        </p:txBody>
      </p:sp>
      <p:sp>
        <p:nvSpPr>
          <p:cNvPr id="204" name="양쪽 모서리가 둥근 사각형 666"/>
          <p:cNvSpPr>
            <a:spLocks/>
          </p:cNvSpPr>
          <p:nvPr/>
        </p:nvSpPr>
        <p:spPr bwMode="auto">
          <a:xfrm>
            <a:off x="4993485" y="2422935"/>
            <a:ext cx="4528666" cy="3885910"/>
          </a:xfrm>
          <a:custGeom>
            <a:avLst/>
            <a:gdLst>
              <a:gd name="T0" fmla="*/ 2 w 4239886"/>
              <a:gd name="T1" fmla="*/ 1 h 5400601"/>
              <a:gd name="T2" fmla="*/ 1 w 4239886"/>
              <a:gd name="T3" fmla="*/ 1 h 5400601"/>
              <a:gd name="T4" fmla="*/ 0 w 4239886"/>
              <a:gd name="T5" fmla="*/ 1 h 5400601"/>
              <a:gd name="T6" fmla="*/ 1 w 4239886"/>
              <a:gd name="T7" fmla="*/ 0 h 5400601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9375 w 4239886"/>
              <a:gd name="T13" fmla="*/ 18860 h 5400601"/>
              <a:gd name="T14" fmla="*/ 4220511 w 4239886"/>
              <a:gd name="T15" fmla="*/ 5400601 h 540060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239886" h="5400601">
                <a:moveTo>
                  <a:pt x="63598" y="0"/>
                </a:moveTo>
                <a:lnTo>
                  <a:pt x="4176288" y="0"/>
                </a:lnTo>
                <a:lnTo>
                  <a:pt x="4176287" y="0"/>
                </a:lnTo>
                <a:cubicBezTo>
                  <a:pt x="4211412" y="0"/>
                  <a:pt x="4239886" y="28473"/>
                  <a:pt x="4239886" y="63598"/>
                </a:cubicBezTo>
                <a:lnTo>
                  <a:pt x="4239886" y="5400601"/>
                </a:lnTo>
                <a:lnTo>
                  <a:pt x="0" y="5400601"/>
                </a:lnTo>
                <a:lnTo>
                  <a:pt x="0" y="63598"/>
                </a:lnTo>
                <a:cubicBezTo>
                  <a:pt x="0" y="28473"/>
                  <a:pt x="28473" y="0"/>
                  <a:pt x="63597" y="0"/>
                </a:cubicBezTo>
                <a:lnTo>
                  <a:pt x="6359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endParaRPr lang="ko-KR" altLang="en-US" sz="2000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09" name="LcS48" descr="어두운 상향 대각선"/>
          <p:cNvSpPr>
            <a:spLocks noChangeArrowheads="1"/>
          </p:cNvSpPr>
          <p:nvPr/>
        </p:nvSpPr>
        <p:spPr bwMode="auto">
          <a:xfrm>
            <a:off x="4993483" y="2132857"/>
            <a:ext cx="1836207" cy="311847"/>
          </a:xfrm>
          <a:custGeom>
            <a:avLst/>
            <a:gdLst>
              <a:gd name="connsiteX0" fmla="*/ 0 w 972108"/>
              <a:gd name="connsiteY0" fmla="*/ 0 h 756084"/>
              <a:gd name="connsiteX1" fmla="*/ 972108 w 972108"/>
              <a:gd name="connsiteY1" fmla="*/ 0 h 756084"/>
              <a:gd name="connsiteX2" fmla="*/ 972108 w 972108"/>
              <a:gd name="connsiteY2" fmla="*/ 756084 h 756084"/>
              <a:gd name="connsiteX3" fmla="*/ 0 w 972108"/>
              <a:gd name="connsiteY3" fmla="*/ 756084 h 756084"/>
              <a:gd name="connsiteX4" fmla="*/ 0 w 972108"/>
              <a:gd name="connsiteY4" fmla="*/ 0 h 756084"/>
              <a:gd name="connsiteX0" fmla="*/ 0 w 972108"/>
              <a:gd name="connsiteY0" fmla="*/ 0 h 756084"/>
              <a:gd name="connsiteX1" fmla="*/ 972108 w 972108"/>
              <a:gd name="connsiteY1" fmla="*/ 756084 h 756084"/>
              <a:gd name="connsiteX2" fmla="*/ 0 w 972108"/>
              <a:gd name="connsiteY2" fmla="*/ 756084 h 756084"/>
              <a:gd name="connsiteX3" fmla="*/ 0 w 972108"/>
              <a:gd name="connsiteY3" fmla="*/ 0 h 756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2108" h="756084">
                <a:moveTo>
                  <a:pt x="0" y="0"/>
                </a:moveTo>
                <a:lnTo>
                  <a:pt x="972108" y="756084"/>
                </a:lnTo>
                <a:lnTo>
                  <a:pt x="0" y="75608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 defTabSz="914400" latinLnBrk="0"/>
            <a:endParaRPr lang="en-US" altLang="ko-KR" sz="14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11" name="LcS4"/>
          <p:cNvSpPr txBox="1"/>
          <p:nvPr/>
        </p:nvSpPr>
        <p:spPr bwMode="auto">
          <a:xfrm>
            <a:off x="6920222" y="2257650"/>
            <a:ext cx="679673" cy="2154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ko-KR"/>
            </a:defPPr>
            <a:lvl1pPr algn="ctr" latinLnBrk="0">
              <a:defRPr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 defTabSz="914400"/>
            <a:r>
              <a:rPr lang="ko-KR" altLang="en-US" sz="1400" dirty="0" smtClean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구</a:t>
            </a:r>
            <a:r>
              <a:rPr lang="ko-KR" altLang="en-US" sz="1400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축 </a:t>
            </a:r>
            <a:r>
              <a:rPr lang="ko-KR" altLang="en-US" sz="1400" dirty="0" smtClean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방안</a:t>
            </a:r>
            <a:endParaRPr lang="ko-KR" altLang="en-US" sz="1400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43" name="양쪽 모서리가 둥근 사각형 517">
            <a:extLst>
              <a:ext uri="{FF2B5EF4-FFF2-40B4-BE49-F238E27FC236}">
                <a16:creationId xmlns:a16="http://schemas.microsoft.com/office/drawing/2014/main" id="{A5AA2F96-F258-4BB4-AB08-C02365CBE82E}"/>
              </a:ext>
            </a:extLst>
          </p:cNvPr>
          <p:cNvSpPr/>
          <p:nvPr/>
        </p:nvSpPr>
        <p:spPr>
          <a:xfrm>
            <a:off x="308603" y="2087396"/>
            <a:ext cx="4533026" cy="339206"/>
          </a:xfrm>
          <a:prstGeom prst="round2SameRect">
            <a:avLst>
              <a:gd name="adj1" fmla="val 24227"/>
              <a:gd name="adj2" fmla="val 0"/>
            </a:avLst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 latinLnBrk="0">
              <a:defRPr/>
            </a:pPr>
            <a:r>
              <a:rPr lang="ko-KR" altLang="en-US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개발 방법론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44" name="양쪽 모서리가 둥근 사각형 517">
            <a:extLst>
              <a:ext uri="{FF2B5EF4-FFF2-40B4-BE49-F238E27FC236}">
                <a16:creationId xmlns:a16="http://schemas.microsoft.com/office/drawing/2014/main" id="{EB11C441-1AB3-49D3-B8C3-164D2E573C7A}"/>
              </a:ext>
            </a:extLst>
          </p:cNvPr>
          <p:cNvSpPr/>
          <p:nvPr/>
        </p:nvSpPr>
        <p:spPr>
          <a:xfrm>
            <a:off x="301282" y="1997136"/>
            <a:ext cx="4533530" cy="4248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bg1">
                  <a:alpha val="80000"/>
                </a:schemeClr>
              </a:gs>
              <a:gs pos="45000">
                <a:schemeClr val="bg1">
                  <a:alpha val="35000"/>
                </a:schemeClr>
              </a:gs>
              <a:gs pos="83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45" name="양쪽 모서리가 둥근 사각형 517">
            <a:extLst>
              <a:ext uri="{FF2B5EF4-FFF2-40B4-BE49-F238E27FC236}">
                <a16:creationId xmlns:a16="http://schemas.microsoft.com/office/drawing/2014/main" id="{A5AA2F96-F258-4BB4-AB08-C02365CBE82E}"/>
              </a:ext>
            </a:extLst>
          </p:cNvPr>
          <p:cNvSpPr/>
          <p:nvPr/>
        </p:nvSpPr>
        <p:spPr>
          <a:xfrm>
            <a:off x="4989124" y="2078160"/>
            <a:ext cx="4533026" cy="339206"/>
          </a:xfrm>
          <a:prstGeom prst="round2SameRect">
            <a:avLst>
              <a:gd name="adj1" fmla="val 24227"/>
              <a:gd name="adj2" fmla="val 0"/>
            </a:avLst>
          </a:prstGeom>
          <a:solidFill>
            <a:srgbClr val="005E9E"/>
          </a:solidFill>
          <a:ln>
            <a:noFill/>
          </a:ln>
          <a:effectLst>
            <a:outerShdw blurRad="25400" dist="12700" dir="5400000" algn="t" rotWithShape="0">
              <a:prstClr val="black">
                <a:alpha val="15000"/>
              </a:prstClr>
            </a:outerShdw>
          </a:effectLst>
        </p:spPr>
        <p:txBody>
          <a:bodyPr vert="horz" lIns="0" tIns="0" rIns="0" bIns="0" anchor="ctr" anchorCtr="0"/>
          <a:lstStyle/>
          <a:p>
            <a:pPr algn="ctr" latinLnBrk="0">
              <a:defRPr/>
            </a:pPr>
            <a:r>
              <a:rPr lang="ko-KR" altLang="en-US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관리 방법론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46" name="양쪽 모서리가 둥근 사각형 517">
            <a:extLst>
              <a:ext uri="{FF2B5EF4-FFF2-40B4-BE49-F238E27FC236}">
                <a16:creationId xmlns:a16="http://schemas.microsoft.com/office/drawing/2014/main" id="{EB11C441-1AB3-49D3-B8C3-164D2E573C7A}"/>
              </a:ext>
            </a:extLst>
          </p:cNvPr>
          <p:cNvSpPr/>
          <p:nvPr/>
        </p:nvSpPr>
        <p:spPr>
          <a:xfrm>
            <a:off x="4989004" y="1987732"/>
            <a:ext cx="4533530" cy="4248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bg1">
                  <a:alpha val="80000"/>
                </a:schemeClr>
              </a:gs>
              <a:gs pos="45000">
                <a:schemeClr val="bg1">
                  <a:alpha val="35000"/>
                </a:schemeClr>
              </a:gs>
              <a:gs pos="83000">
                <a:schemeClr val="bg1">
                  <a:alpha val="1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8" name="그룹 17"/>
          <p:cNvGrpSpPr/>
          <p:nvPr/>
        </p:nvGrpSpPr>
        <p:grpSpPr>
          <a:xfrm>
            <a:off x="5033399" y="4005063"/>
            <a:ext cx="4419650" cy="2206587"/>
            <a:chOff x="5033399" y="3685041"/>
            <a:chExt cx="5040312" cy="2354262"/>
          </a:xfrm>
        </p:grpSpPr>
        <p:sp>
          <p:nvSpPr>
            <p:cNvPr id="356" name="AutoShape 473"/>
            <p:cNvSpPr>
              <a:spLocks noChangeArrowheads="1"/>
            </p:cNvSpPr>
            <p:nvPr/>
          </p:nvSpPr>
          <p:spPr bwMode="auto">
            <a:xfrm>
              <a:off x="5033399" y="3685041"/>
              <a:ext cx="5040312" cy="409575"/>
            </a:xfrm>
            <a:prstGeom prst="roundRect">
              <a:avLst>
                <a:gd name="adj" fmla="val 5000"/>
              </a:avLst>
            </a:prstGeom>
            <a:gradFill rotWithShape="1">
              <a:gsLst>
                <a:gs pos="0">
                  <a:srgbClr val="9FC5DB"/>
                </a:gs>
                <a:gs pos="100000">
                  <a:srgbClr val="2077AC"/>
                </a:gs>
              </a:gsLst>
              <a:lin ang="0" scaled="1"/>
            </a:gradFill>
            <a:ln w="6350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291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1050" dirty="0">
                <a:solidFill>
                  <a:prstClr val="white"/>
                </a:solidFill>
                <a:latin typeface="Rix고딕 L" panose="02020603020101020101" pitchFamily="18" charset="-127"/>
                <a:ea typeface="Rix고딕 L" panose="02020603020101020101" pitchFamily="18" charset="-127"/>
              </a:endParaRPr>
            </a:p>
          </p:txBody>
        </p:sp>
        <p:grpSp>
          <p:nvGrpSpPr>
            <p:cNvPr id="357" name="Group 414"/>
            <p:cNvGrpSpPr>
              <a:grpSpLocks/>
            </p:cNvGrpSpPr>
            <p:nvPr/>
          </p:nvGrpSpPr>
          <p:grpSpPr bwMode="auto">
            <a:xfrm>
              <a:off x="5862074" y="3685041"/>
              <a:ext cx="228600" cy="409575"/>
              <a:chOff x="1737" y="1607"/>
              <a:chExt cx="144" cy="258"/>
            </a:xfrm>
          </p:grpSpPr>
          <p:grpSp>
            <p:nvGrpSpPr>
              <p:cNvPr id="358" name="Group 477"/>
              <p:cNvGrpSpPr>
                <a:grpSpLocks/>
              </p:cNvGrpSpPr>
              <p:nvPr/>
            </p:nvGrpSpPr>
            <p:grpSpPr bwMode="auto">
              <a:xfrm>
                <a:off x="1737" y="1607"/>
                <a:ext cx="109" cy="258"/>
                <a:chOff x="-359" y="2213"/>
                <a:chExt cx="91" cy="181"/>
              </a:xfrm>
            </p:grpSpPr>
            <p:pic>
              <p:nvPicPr>
                <p:cNvPr id="360" name="Picture 478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61" name="Picture 479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359" name="Picture 586" descr="그림6"/>
              <p:cNvPicPr>
                <a:picLocks noChangeAspect="1" noChangeArrowheads="1"/>
              </p:cNvPicPr>
              <p:nvPr/>
            </p:nvPicPr>
            <p:blipFill>
              <a:blip r:embed="rId3">
                <a:lum bright="100000"/>
                <a:grayscl/>
              </a:blip>
              <a:srcRect l="2585"/>
              <a:stretch>
                <a:fillRect/>
              </a:stretch>
            </p:blipFill>
            <p:spPr bwMode="auto">
              <a:xfrm>
                <a:off x="1805" y="1700"/>
                <a:ext cx="76" cy="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362" name="타원 328" descr="넓은 상향 대각선"/>
            <p:cNvSpPr>
              <a:spLocks noChangeArrowheads="1"/>
            </p:cNvSpPr>
            <p:nvPr/>
          </p:nvSpPr>
          <p:spPr bwMode="auto">
            <a:xfrm>
              <a:off x="5393761" y="3813628"/>
              <a:ext cx="222250" cy="152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876300"/>
              <a:r>
                <a:rPr kumimoji="0" lang="ko-KR" altLang="en-US" sz="1000" dirty="0">
                  <a:solidFill>
                    <a:srgbClr val="FFFFFF"/>
                  </a:solidFill>
                  <a:latin typeface="KoPub돋움체 Bold" pitchFamily="18" charset="-127"/>
                  <a:ea typeface="KoPub돋움체 Bold" pitchFamily="18" charset="-127"/>
                  <a:cs typeface="Rix고딕 L" pitchFamily="18" charset="-127"/>
                </a:rPr>
                <a:t>착수</a:t>
              </a:r>
            </a:p>
          </p:txBody>
        </p:sp>
        <p:sp>
          <p:nvSpPr>
            <p:cNvPr id="363" name="AutoShape 473"/>
            <p:cNvSpPr>
              <a:spLocks noChangeArrowheads="1"/>
            </p:cNvSpPr>
            <p:nvPr/>
          </p:nvSpPr>
          <p:spPr bwMode="auto">
            <a:xfrm>
              <a:off x="5033399" y="4131128"/>
              <a:ext cx="982662" cy="1908175"/>
            </a:xfrm>
            <a:prstGeom prst="roundRect">
              <a:avLst>
                <a:gd name="adj" fmla="val 2500"/>
              </a:avLst>
            </a:prstGeom>
            <a:solidFill>
              <a:srgbClr val="EAEAEA"/>
            </a:solidFill>
            <a:ln w="6350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291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1050" dirty="0">
                <a:solidFill>
                  <a:prstClr val="white"/>
                </a:solidFill>
                <a:latin typeface="Rix고딕 L" panose="02020603020101020101" pitchFamily="18" charset="-127"/>
                <a:ea typeface="Rix고딕 L" panose="02020603020101020101" pitchFamily="18" charset="-127"/>
              </a:endParaRPr>
            </a:p>
          </p:txBody>
        </p:sp>
        <p:sp>
          <p:nvSpPr>
            <p:cNvPr id="364" name="AutoShape 473"/>
            <p:cNvSpPr>
              <a:spLocks noChangeArrowheads="1"/>
            </p:cNvSpPr>
            <p:nvPr/>
          </p:nvSpPr>
          <p:spPr bwMode="auto">
            <a:xfrm>
              <a:off x="6046224" y="4131128"/>
              <a:ext cx="982662" cy="1908175"/>
            </a:xfrm>
            <a:prstGeom prst="roundRect">
              <a:avLst>
                <a:gd name="adj" fmla="val 2500"/>
              </a:avLst>
            </a:prstGeom>
            <a:solidFill>
              <a:srgbClr val="EAEAEA"/>
            </a:solidFill>
            <a:ln w="6350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291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1050" dirty="0">
                <a:solidFill>
                  <a:prstClr val="white"/>
                </a:solidFill>
                <a:latin typeface="Rix고딕 L" panose="02020603020101020101" pitchFamily="18" charset="-127"/>
                <a:ea typeface="Rix고딕 L" panose="02020603020101020101" pitchFamily="18" charset="-127"/>
              </a:endParaRPr>
            </a:p>
          </p:txBody>
        </p:sp>
        <p:sp>
          <p:nvSpPr>
            <p:cNvPr id="365" name="AutoShape 473"/>
            <p:cNvSpPr>
              <a:spLocks noChangeArrowheads="1"/>
            </p:cNvSpPr>
            <p:nvPr/>
          </p:nvSpPr>
          <p:spPr bwMode="auto">
            <a:xfrm>
              <a:off x="7062224" y="4131128"/>
              <a:ext cx="982662" cy="1908175"/>
            </a:xfrm>
            <a:prstGeom prst="roundRect">
              <a:avLst>
                <a:gd name="adj" fmla="val 2500"/>
              </a:avLst>
            </a:prstGeom>
            <a:solidFill>
              <a:srgbClr val="EAEAEA"/>
            </a:solidFill>
            <a:ln w="6350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291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1050" dirty="0">
                <a:solidFill>
                  <a:prstClr val="white"/>
                </a:solidFill>
                <a:latin typeface="Rix고딕 L" panose="02020603020101020101" pitchFamily="18" charset="-127"/>
                <a:ea typeface="Rix고딕 L" panose="02020603020101020101" pitchFamily="18" charset="-127"/>
              </a:endParaRPr>
            </a:p>
          </p:txBody>
        </p:sp>
        <p:sp>
          <p:nvSpPr>
            <p:cNvPr id="366" name="AutoShape 473"/>
            <p:cNvSpPr>
              <a:spLocks noChangeArrowheads="1"/>
            </p:cNvSpPr>
            <p:nvPr/>
          </p:nvSpPr>
          <p:spPr bwMode="auto">
            <a:xfrm>
              <a:off x="8076636" y="4131128"/>
              <a:ext cx="982663" cy="1908175"/>
            </a:xfrm>
            <a:prstGeom prst="roundRect">
              <a:avLst>
                <a:gd name="adj" fmla="val 2500"/>
              </a:avLst>
            </a:prstGeom>
            <a:solidFill>
              <a:srgbClr val="EAEAEA"/>
            </a:solidFill>
            <a:ln w="6350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291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1050" dirty="0">
                <a:solidFill>
                  <a:prstClr val="white"/>
                </a:solidFill>
                <a:latin typeface="Rix고딕 L" panose="02020603020101020101" pitchFamily="18" charset="-127"/>
                <a:ea typeface="Rix고딕 L" panose="02020603020101020101" pitchFamily="18" charset="-127"/>
              </a:endParaRPr>
            </a:p>
          </p:txBody>
        </p:sp>
        <p:sp>
          <p:nvSpPr>
            <p:cNvPr id="367" name="AutoShape 473"/>
            <p:cNvSpPr>
              <a:spLocks noChangeArrowheads="1"/>
            </p:cNvSpPr>
            <p:nvPr/>
          </p:nvSpPr>
          <p:spPr bwMode="auto">
            <a:xfrm>
              <a:off x="9091049" y="4131128"/>
              <a:ext cx="982662" cy="1908175"/>
            </a:xfrm>
            <a:prstGeom prst="roundRect">
              <a:avLst>
                <a:gd name="adj" fmla="val 2500"/>
              </a:avLst>
            </a:prstGeom>
            <a:solidFill>
              <a:srgbClr val="EAEAEA"/>
            </a:solidFill>
            <a:ln w="6350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291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1050" dirty="0">
                <a:solidFill>
                  <a:prstClr val="white"/>
                </a:solidFill>
                <a:latin typeface="Rix고딕 L" panose="02020603020101020101" pitchFamily="18" charset="-127"/>
                <a:ea typeface="Rix고딕 L" panose="02020603020101020101" pitchFamily="18" charset="-127"/>
              </a:endParaRPr>
            </a:p>
          </p:txBody>
        </p:sp>
        <p:grpSp>
          <p:nvGrpSpPr>
            <p:cNvPr id="368" name="Group 415"/>
            <p:cNvGrpSpPr>
              <a:grpSpLocks/>
            </p:cNvGrpSpPr>
            <p:nvPr/>
          </p:nvGrpSpPr>
          <p:grpSpPr bwMode="auto">
            <a:xfrm>
              <a:off x="6873311" y="3685041"/>
              <a:ext cx="228600" cy="409575"/>
              <a:chOff x="1737" y="1607"/>
              <a:chExt cx="144" cy="258"/>
            </a:xfrm>
          </p:grpSpPr>
          <p:grpSp>
            <p:nvGrpSpPr>
              <p:cNvPr id="369" name="Group 477"/>
              <p:cNvGrpSpPr>
                <a:grpSpLocks/>
              </p:cNvGrpSpPr>
              <p:nvPr/>
            </p:nvGrpSpPr>
            <p:grpSpPr bwMode="auto">
              <a:xfrm>
                <a:off x="1737" y="1607"/>
                <a:ext cx="109" cy="258"/>
                <a:chOff x="-359" y="2213"/>
                <a:chExt cx="91" cy="181"/>
              </a:xfrm>
            </p:grpSpPr>
            <p:pic>
              <p:nvPicPr>
                <p:cNvPr id="371" name="Picture 478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72" name="Picture 479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370" name="Picture 586" descr="그림6"/>
              <p:cNvPicPr>
                <a:picLocks noChangeAspect="1" noChangeArrowheads="1"/>
              </p:cNvPicPr>
              <p:nvPr/>
            </p:nvPicPr>
            <p:blipFill>
              <a:blip r:embed="rId3">
                <a:lum bright="100000"/>
                <a:grayscl/>
              </a:blip>
              <a:srcRect l="2585"/>
              <a:stretch>
                <a:fillRect/>
              </a:stretch>
            </p:blipFill>
            <p:spPr bwMode="auto">
              <a:xfrm>
                <a:off x="1805" y="1700"/>
                <a:ext cx="76" cy="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373" name="Group 420"/>
            <p:cNvGrpSpPr>
              <a:grpSpLocks/>
            </p:cNvGrpSpPr>
            <p:nvPr/>
          </p:nvGrpSpPr>
          <p:grpSpPr bwMode="auto">
            <a:xfrm>
              <a:off x="7884549" y="3685041"/>
              <a:ext cx="228600" cy="409575"/>
              <a:chOff x="1737" y="1607"/>
              <a:chExt cx="144" cy="258"/>
            </a:xfrm>
          </p:grpSpPr>
          <p:grpSp>
            <p:nvGrpSpPr>
              <p:cNvPr id="374" name="Group 477"/>
              <p:cNvGrpSpPr>
                <a:grpSpLocks/>
              </p:cNvGrpSpPr>
              <p:nvPr/>
            </p:nvGrpSpPr>
            <p:grpSpPr bwMode="auto">
              <a:xfrm>
                <a:off x="1737" y="1607"/>
                <a:ext cx="109" cy="258"/>
                <a:chOff x="-359" y="2213"/>
                <a:chExt cx="91" cy="181"/>
              </a:xfrm>
            </p:grpSpPr>
            <p:pic>
              <p:nvPicPr>
                <p:cNvPr id="376" name="Picture 478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77" name="Picture 479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375" name="Picture 586" descr="그림6"/>
              <p:cNvPicPr>
                <a:picLocks noChangeAspect="1" noChangeArrowheads="1"/>
              </p:cNvPicPr>
              <p:nvPr/>
            </p:nvPicPr>
            <p:blipFill>
              <a:blip r:embed="rId3">
                <a:lum bright="100000"/>
                <a:grayscl/>
              </a:blip>
              <a:srcRect l="2585"/>
              <a:stretch>
                <a:fillRect/>
              </a:stretch>
            </p:blipFill>
            <p:spPr bwMode="auto">
              <a:xfrm>
                <a:off x="1805" y="1700"/>
                <a:ext cx="76" cy="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378" name="Group 425"/>
            <p:cNvGrpSpPr>
              <a:grpSpLocks/>
            </p:cNvGrpSpPr>
            <p:nvPr/>
          </p:nvGrpSpPr>
          <p:grpSpPr bwMode="auto">
            <a:xfrm>
              <a:off x="8897374" y="3685041"/>
              <a:ext cx="228600" cy="409575"/>
              <a:chOff x="1737" y="1607"/>
              <a:chExt cx="144" cy="258"/>
            </a:xfrm>
          </p:grpSpPr>
          <p:grpSp>
            <p:nvGrpSpPr>
              <p:cNvPr id="379" name="Group 477"/>
              <p:cNvGrpSpPr>
                <a:grpSpLocks/>
              </p:cNvGrpSpPr>
              <p:nvPr/>
            </p:nvGrpSpPr>
            <p:grpSpPr bwMode="auto">
              <a:xfrm>
                <a:off x="1737" y="1607"/>
                <a:ext cx="109" cy="258"/>
                <a:chOff x="-359" y="2213"/>
                <a:chExt cx="91" cy="181"/>
              </a:xfrm>
            </p:grpSpPr>
            <p:pic>
              <p:nvPicPr>
                <p:cNvPr id="381" name="Picture 478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82" name="Picture 479" descr="악세사리"/>
                <p:cNvPicPr preferRelativeResize="0">
                  <a:picLocks noChangeArrowheads="1"/>
                </p:cNvPicPr>
                <p:nvPr/>
              </p:nvPicPr>
              <p:blipFill>
                <a:blip r:embed="rId2">
                  <a:lum bright="24000"/>
                </a:blip>
                <a:srcRect t="13817" b="19212"/>
                <a:stretch>
                  <a:fillRect/>
                </a:stretch>
              </p:blipFill>
              <p:spPr bwMode="gray">
                <a:xfrm rot="10800000">
                  <a:off x="-359" y="2213"/>
                  <a:ext cx="91" cy="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380" name="Picture 586" descr="그림6"/>
              <p:cNvPicPr>
                <a:picLocks noChangeAspect="1" noChangeArrowheads="1"/>
              </p:cNvPicPr>
              <p:nvPr/>
            </p:nvPicPr>
            <p:blipFill>
              <a:blip r:embed="rId3">
                <a:lum bright="100000"/>
                <a:grayscl/>
              </a:blip>
              <a:srcRect l="2585"/>
              <a:stretch>
                <a:fillRect/>
              </a:stretch>
            </p:blipFill>
            <p:spPr bwMode="auto">
              <a:xfrm>
                <a:off x="1805" y="1700"/>
                <a:ext cx="76" cy="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383" name="타원 328" descr="넓은 상향 대각선"/>
            <p:cNvSpPr>
              <a:spLocks noChangeArrowheads="1"/>
            </p:cNvSpPr>
            <p:nvPr/>
          </p:nvSpPr>
          <p:spPr bwMode="auto">
            <a:xfrm>
              <a:off x="6301811" y="3813628"/>
              <a:ext cx="444500" cy="152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876300"/>
              <a:r>
                <a:rPr kumimoji="0" lang="ko-KR" altLang="en-US" sz="1000" dirty="0">
                  <a:solidFill>
                    <a:srgbClr val="FFFFFF"/>
                  </a:solidFill>
                  <a:latin typeface="KoPub돋움체 Bold" pitchFamily="18" charset="-127"/>
                  <a:ea typeface="KoPub돋움체 Bold" pitchFamily="18" charset="-127"/>
                  <a:cs typeface="Rix고딕 L" pitchFamily="18" charset="-127"/>
                </a:rPr>
                <a:t>계획수립</a:t>
              </a:r>
            </a:p>
          </p:txBody>
        </p:sp>
        <p:sp>
          <p:nvSpPr>
            <p:cNvPr id="384" name="타원 328" descr="넓은 상향 대각선"/>
            <p:cNvSpPr>
              <a:spLocks noChangeArrowheads="1"/>
            </p:cNvSpPr>
            <p:nvPr/>
          </p:nvSpPr>
          <p:spPr bwMode="auto">
            <a:xfrm>
              <a:off x="7432111" y="3813628"/>
              <a:ext cx="222250" cy="152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876300"/>
              <a:r>
                <a:rPr kumimoji="0" lang="ko-KR" altLang="en-US" sz="1000" dirty="0">
                  <a:solidFill>
                    <a:srgbClr val="FFFFFF"/>
                  </a:solidFill>
                  <a:latin typeface="KoPub돋움체 Bold" pitchFamily="18" charset="-127"/>
                  <a:ea typeface="KoPub돋움체 Bold" pitchFamily="18" charset="-127"/>
                  <a:cs typeface="Rix고딕 L" pitchFamily="18" charset="-127"/>
                </a:rPr>
                <a:t>실행</a:t>
              </a:r>
            </a:p>
          </p:txBody>
        </p:sp>
        <p:sp>
          <p:nvSpPr>
            <p:cNvPr id="385" name="타원 328" descr="넓은 상향 대각선"/>
            <p:cNvSpPr>
              <a:spLocks noChangeArrowheads="1"/>
            </p:cNvSpPr>
            <p:nvPr/>
          </p:nvSpPr>
          <p:spPr bwMode="auto">
            <a:xfrm>
              <a:off x="8451286" y="3813628"/>
              <a:ext cx="222250" cy="152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876300"/>
              <a:r>
                <a:rPr kumimoji="0" lang="ko-KR" altLang="en-US" sz="1000" dirty="0">
                  <a:solidFill>
                    <a:srgbClr val="FFFFFF"/>
                  </a:solidFill>
                  <a:latin typeface="KoPub돋움체 Bold" pitchFamily="18" charset="-127"/>
                  <a:ea typeface="KoPub돋움체 Bold" pitchFamily="18" charset="-127"/>
                  <a:cs typeface="Rix고딕 L" pitchFamily="18" charset="-127"/>
                </a:rPr>
                <a:t>통제</a:t>
              </a:r>
            </a:p>
          </p:txBody>
        </p:sp>
        <p:sp>
          <p:nvSpPr>
            <p:cNvPr id="386" name="타원 328" descr="넓은 상향 대각선"/>
            <p:cNvSpPr>
              <a:spLocks noChangeArrowheads="1"/>
            </p:cNvSpPr>
            <p:nvPr/>
          </p:nvSpPr>
          <p:spPr bwMode="auto">
            <a:xfrm>
              <a:off x="9470461" y="3813628"/>
              <a:ext cx="222250" cy="152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876300"/>
              <a:r>
                <a:rPr kumimoji="0" lang="ko-KR" altLang="en-US" sz="1000" dirty="0">
                  <a:solidFill>
                    <a:srgbClr val="FFFFFF"/>
                  </a:solidFill>
                  <a:latin typeface="KoPub돋움체 Bold" pitchFamily="18" charset="-127"/>
                  <a:ea typeface="KoPub돋움체 Bold" pitchFamily="18" charset="-127"/>
                  <a:cs typeface="Rix고딕 L" pitchFamily="18" charset="-127"/>
                </a:rPr>
                <a:t>종료</a:t>
              </a:r>
            </a:p>
          </p:txBody>
        </p:sp>
        <p:sp>
          <p:nvSpPr>
            <p:cNvPr id="387" name="Text Box 265"/>
            <p:cNvSpPr txBox="1">
              <a:spLocks noChangeArrowheads="1"/>
            </p:cNvSpPr>
            <p:nvPr/>
          </p:nvSpPr>
          <p:spPr bwMode="gray">
            <a:xfrm>
              <a:off x="5066242" y="4200978"/>
              <a:ext cx="913299" cy="1681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프로젝트 환경 구성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프로젝트 </a:t>
              </a:r>
              <a:r>
                <a:rPr lang="ko-KR" altLang="ko-KR" sz="800" dirty="0" smtClean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팀 </a:t>
              </a: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구성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프로젝트 운영 기본 틀 설정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의사소통 채널 확보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산출물 정리 및 확정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자원구성의 적절성 검토 및 확보</a:t>
              </a:r>
            </a:p>
          </p:txBody>
        </p:sp>
        <p:sp>
          <p:nvSpPr>
            <p:cNvPr id="388" name="Text Box 265"/>
            <p:cNvSpPr txBox="1">
              <a:spLocks noChangeArrowheads="1"/>
            </p:cNvSpPr>
            <p:nvPr/>
          </p:nvSpPr>
          <p:spPr bwMode="gray">
            <a:xfrm>
              <a:off x="6061579" y="4200978"/>
              <a:ext cx="918663" cy="15764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사업범위, 자원, WBS수립, 작업 등의 정의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9대 </a:t>
              </a:r>
              <a:r>
                <a:rPr lang="ko-KR" altLang="ko-KR" sz="800" dirty="0" smtClean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사업관리</a:t>
              </a:r>
              <a:r>
                <a:rPr lang="en-US" altLang="ko-KR" sz="800" dirty="0" smtClean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 </a:t>
              </a:r>
              <a:r>
                <a:rPr lang="ko-KR" altLang="ko-KR" sz="800" dirty="0" smtClean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영역의 </a:t>
              </a: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관리계획 수립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관리영역의 표준화 및 문서 Template준비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사업수행계획서 작성 및 승인, 착수보고</a:t>
              </a:r>
            </a:p>
          </p:txBody>
        </p:sp>
        <p:sp>
          <p:nvSpPr>
            <p:cNvPr id="389" name="Text Box 265"/>
            <p:cNvSpPr txBox="1">
              <a:spLocks noChangeArrowheads="1"/>
            </p:cNvSpPr>
            <p:nvPr/>
          </p:nvSpPr>
          <p:spPr bwMode="gray">
            <a:xfrm>
              <a:off x="7059049" y="4200978"/>
              <a:ext cx="963612" cy="1457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9대 사업관리 영역의 관리 실행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계획과 부합되도록 모니터링, 조정, 통제 및 문서화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주관기관과 프로젝트 팀의 지속적인 의사 소통</a:t>
              </a:r>
            </a:p>
            <a:p>
              <a:pPr marL="80963" indent="-80963" latinLnBrk="0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실행력 강화를 위한 활동 수행</a:t>
              </a:r>
            </a:p>
          </p:txBody>
        </p:sp>
        <p:sp>
          <p:nvSpPr>
            <p:cNvPr id="390" name="Text Box 265"/>
            <p:cNvSpPr txBox="1">
              <a:spLocks noChangeArrowheads="1"/>
            </p:cNvSpPr>
            <p:nvPr/>
          </p:nvSpPr>
          <p:spPr bwMode="gray">
            <a:xfrm>
              <a:off x="8076636" y="4200978"/>
              <a:ext cx="928688" cy="1457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WBS에 기반한 진행상황 평가 및 시정조치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프로젝트 성과 통제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실행 프로세스 및 결과 평가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진행단계별 Next 단계로의 진행을 위한 점검 </a:t>
              </a:r>
              <a:r>
                <a:rPr lang="ko-KR" altLang="ko-KR" sz="800" dirty="0" smtClean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및</a:t>
              </a:r>
              <a:r>
                <a:rPr lang="en-US" altLang="ko-KR" sz="800" dirty="0" smtClean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 </a:t>
              </a:r>
              <a:r>
                <a:rPr lang="ko-KR" altLang="ko-KR" sz="800" dirty="0" smtClean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의사결정</a:t>
              </a:r>
              <a:endParaRPr lang="ko-KR" altLang="ko-KR" sz="800" dirty="0">
                <a:solidFill>
                  <a:srgbClr val="333333"/>
                </a:solidFill>
                <a:latin typeface="KoPub돋움체 Light" pitchFamily="18" charset="-127"/>
                <a:ea typeface="KoPub돋움체 Light" pitchFamily="18" charset="-127"/>
                <a:cs typeface="Tahoma" pitchFamily="34" charset="0"/>
                <a:sym typeface="Wingdings" pitchFamily="2" charset="2"/>
              </a:endParaRPr>
            </a:p>
          </p:txBody>
        </p:sp>
        <p:sp>
          <p:nvSpPr>
            <p:cNvPr id="391" name="Text Box 265"/>
            <p:cNvSpPr txBox="1">
              <a:spLocks noChangeArrowheads="1"/>
            </p:cNvSpPr>
            <p:nvPr/>
          </p:nvSpPr>
          <p:spPr bwMode="gray">
            <a:xfrm>
              <a:off x="9125975" y="4200978"/>
              <a:ext cx="947736" cy="1392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프로젝트 종료 준비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검사준비 및 점검, 수검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프로젝트 Lessons Learned 정리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프로젝트 사후 만족도 조사 실시</a:t>
              </a:r>
            </a:p>
            <a:p>
              <a:pPr marL="80963" indent="-80963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>
                  <a:srgbClr val="747474"/>
                </a:buClr>
                <a:buFont typeface="Wingdings" pitchFamily="2" charset="2"/>
                <a:buChar char="§"/>
              </a:pPr>
              <a:r>
                <a:rPr lang="ko-KR" altLang="ko-KR" sz="800" dirty="0">
                  <a:solidFill>
                    <a:srgbClr val="333333"/>
                  </a:solidFill>
                  <a:latin typeface="KoPub돋움체 Light" pitchFamily="18" charset="-127"/>
                  <a:ea typeface="KoPub돋움체 Light" pitchFamily="18" charset="-127"/>
                  <a:cs typeface="Tahoma" pitchFamily="34" charset="0"/>
                  <a:sym typeface="Wingdings" pitchFamily="2" charset="2"/>
                </a:rPr>
                <a:t>종료보고</a:t>
              </a: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5071464" y="2523123"/>
            <a:ext cx="952940" cy="1449829"/>
            <a:chOff x="5071464" y="2523123"/>
            <a:chExt cx="1447800" cy="2232025"/>
          </a:xfrm>
        </p:grpSpPr>
        <p:grpSp>
          <p:nvGrpSpPr>
            <p:cNvPr id="392" name="Group 272"/>
            <p:cNvGrpSpPr>
              <a:grpSpLocks/>
            </p:cNvGrpSpPr>
            <p:nvPr/>
          </p:nvGrpSpPr>
          <p:grpSpPr bwMode="auto">
            <a:xfrm>
              <a:off x="5941414" y="2523123"/>
              <a:ext cx="577850" cy="590550"/>
              <a:chOff x="596" y="1666"/>
              <a:chExt cx="364" cy="372"/>
            </a:xfrm>
          </p:grpSpPr>
          <p:pic>
            <p:nvPicPr>
              <p:cNvPr id="393" name="Picture 270" descr="oj-36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596" y="1666"/>
                <a:ext cx="364" cy="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4" name="Text Box 271"/>
              <p:cNvSpPr txBox="1">
                <a:spLocks noChangeArrowheads="1"/>
              </p:cNvSpPr>
              <p:nvPr/>
            </p:nvSpPr>
            <p:spPr bwMode="auto">
              <a:xfrm>
                <a:off x="715" y="1770"/>
                <a:ext cx="126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958850" latinLnBrk="0">
                  <a:lnSpc>
                    <a:spcPct val="90000"/>
                  </a:lnSpc>
                </a:pPr>
                <a:r>
                  <a:rPr lang="ko-KR" altLang="en-US" sz="900" dirty="0">
                    <a:latin typeface="KoPub돋움체 Medium" pitchFamily="18" charset="-127"/>
                    <a:ea typeface="KoPub돋움체 Medium" pitchFamily="18" charset="-127"/>
                  </a:rPr>
                  <a:t>계획</a:t>
                </a:r>
              </a:p>
              <a:p>
                <a:pPr algn="ctr" defTabSz="958850" latinLnBrk="0">
                  <a:lnSpc>
                    <a:spcPct val="90000"/>
                  </a:lnSpc>
                </a:pPr>
                <a:r>
                  <a:rPr lang="ko-KR" altLang="en-US" sz="900" dirty="0">
                    <a:latin typeface="KoPub돋움체 Medium" pitchFamily="18" charset="-127"/>
                    <a:ea typeface="KoPub돋움체 Medium" pitchFamily="18" charset="-127"/>
                  </a:rPr>
                  <a:t>수립</a:t>
                </a:r>
              </a:p>
            </p:txBody>
          </p:sp>
        </p:grpSp>
        <p:grpSp>
          <p:nvGrpSpPr>
            <p:cNvPr id="395" name="Group 273"/>
            <p:cNvGrpSpPr>
              <a:grpSpLocks/>
            </p:cNvGrpSpPr>
            <p:nvPr/>
          </p:nvGrpSpPr>
          <p:grpSpPr bwMode="auto">
            <a:xfrm>
              <a:off x="5071464" y="2523123"/>
              <a:ext cx="577850" cy="590550"/>
              <a:chOff x="596" y="1666"/>
              <a:chExt cx="364" cy="372"/>
            </a:xfrm>
          </p:grpSpPr>
          <p:pic>
            <p:nvPicPr>
              <p:cNvPr id="396" name="Picture 274" descr="oj-36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596" y="1666"/>
                <a:ext cx="364" cy="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7" name="Text Box 275"/>
              <p:cNvSpPr txBox="1">
                <a:spLocks noChangeArrowheads="1"/>
              </p:cNvSpPr>
              <p:nvPr/>
            </p:nvSpPr>
            <p:spPr bwMode="auto">
              <a:xfrm>
                <a:off x="715" y="1808"/>
                <a:ext cx="126" cy="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958850" latinLnBrk="0">
                  <a:lnSpc>
                    <a:spcPct val="90000"/>
                  </a:lnSpc>
                </a:pPr>
                <a:r>
                  <a:rPr lang="ko-KR" altLang="en-US" sz="900" dirty="0">
                    <a:latin typeface="KoPub돋움체 Medium" pitchFamily="18" charset="-127"/>
                    <a:ea typeface="KoPub돋움체 Medium" pitchFamily="18" charset="-127"/>
                  </a:rPr>
                  <a:t>착수</a:t>
                </a:r>
              </a:p>
            </p:txBody>
          </p:sp>
        </p:grpSp>
        <p:grpSp>
          <p:nvGrpSpPr>
            <p:cNvPr id="398" name="Group 276"/>
            <p:cNvGrpSpPr>
              <a:grpSpLocks/>
            </p:cNvGrpSpPr>
            <p:nvPr/>
          </p:nvGrpSpPr>
          <p:grpSpPr bwMode="auto">
            <a:xfrm>
              <a:off x="5071464" y="3345448"/>
              <a:ext cx="577850" cy="590550"/>
              <a:chOff x="596" y="1666"/>
              <a:chExt cx="364" cy="372"/>
            </a:xfrm>
          </p:grpSpPr>
          <p:pic>
            <p:nvPicPr>
              <p:cNvPr id="399" name="Picture 277" descr="oj-36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596" y="1666"/>
                <a:ext cx="364" cy="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00" name="Text Box 278"/>
              <p:cNvSpPr txBox="1">
                <a:spLocks noChangeArrowheads="1"/>
              </p:cNvSpPr>
              <p:nvPr/>
            </p:nvSpPr>
            <p:spPr bwMode="auto">
              <a:xfrm>
                <a:off x="715" y="1808"/>
                <a:ext cx="126" cy="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958850" latinLnBrk="0">
                  <a:lnSpc>
                    <a:spcPct val="90000"/>
                  </a:lnSpc>
                </a:pPr>
                <a:r>
                  <a:rPr lang="ko-KR" altLang="en-US" sz="900" dirty="0">
                    <a:latin typeface="KoPub돋움체 Medium" pitchFamily="18" charset="-127"/>
                    <a:ea typeface="KoPub돋움체 Medium" pitchFamily="18" charset="-127"/>
                  </a:rPr>
                  <a:t>통제</a:t>
                </a:r>
              </a:p>
            </p:txBody>
          </p:sp>
        </p:grpSp>
        <p:grpSp>
          <p:nvGrpSpPr>
            <p:cNvPr id="401" name="Group 279"/>
            <p:cNvGrpSpPr>
              <a:grpSpLocks/>
            </p:cNvGrpSpPr>
            <p:nvPr/>
          </p:nvGrpSpPr>
          <p:grpSpPr bwMode="auto">
            <a:xfrm>
              <a:off x="5941414" y="3345448"/>
              <a:ext cx="577850" cy="590550"/>
              <a:chOff x="596" y="1666"/>
              <a:chExt cx="364" cy="372"/>
            </a:xfrm>
          </p:grpSpPr>
          <p:pic>
            <p:nvPicPr>
              <p:cNvPr id="402" name="Picture 280" descr="oj-36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596" y="1666"/>
                <a:ext cx="364" cy="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03" name="Text Box 281"/>
              <p:cNvSpPr txBox="1">
                <a:spLocks noChangeArrowheads="1"/>
              </p:cNvSpPr>
              <p:nvPr/>
            </p:nvSpPr>
            <p:spPr bwMode="auto">
              <a:xfrm>
                <a:off x="715" y="1808"/>
                <a:ext cx="126" cy="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958850" latinLnBrk="0">
                  <a:lnSpc>
                    <a:spcPct val="90000"/>
                  </a:lnSpc>
                </a:pPr>
                <a:r>
                  <a:rPr lang="ko-KR" altLang="en-US" sz="900" dirty="0">
                    <a:latin typeface="KoPub돋움체 Medium" pitchFamily="18" charset="-127"/>
                    <a:ea typeface="KoPub돋움체 Medium" pitchFamily="18" charset="-127"/>
                  </a:rPr>
                  <a:t>실행</a:t>
                </a:r>
              </a:p>
            </p:txBody>
          </p:sp>
        </p:grpSp>
        <p:grpSp>
          <p:nvGrpSpPr>
            <p:cNvPr id="404" name="Group 282"/>
            <p:cNvGrpSpPr>
              <a:grpSpLocks/>
            </p:cNvGrpSpPr>
            <p:nvPr/>
          </p:nvGrpSpPr>
          <p:grpSpPr bwMode="auto">
            <a:xfrm>
              <a:off x="5506439" y="4164598"/>
              <a:ext cx="577850" cy="590550"/>
              <a:chOff x="596" y="1666"/>
              <a:chExt cx="364" cy="372"/>
            </a:xfrm>
          </p:grpSpPr>
          <p:pic>
            <p:nvPicPr>
              <p:cNvPr id="405" name="Picture 283" descr="oj-36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596" y="1666"/>
                <a:ext cx="364" cy="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06" name="Text Box 284"/>
              <p:cNvSpPr txBox="1">
                <a:spLocks noChangeArrowheads="1"/>
              </p:cNvSpPr>
              <p:nvPr/>
            </p:nvSpPr>
            <p:spPr bwMode="auto">
              <a:xfrm>
                <a:off x="715" y="1808"/>
                <a:ext cx="126" cy="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defTabSz="958850" latinLnBrk="0">
                  <a:lnSpc>
                    <a:spcPct val="90000"/>
                  </a:lnSpc>
                </a:pPr>
                <a:r>
                  <a:rPr lang="ko-KR" altLang="en-US" sz="900" dirty="0">
                    <a:latin typeface="KoPub돋움체 Medium" pitchFamily="18" charset="-127"/>
                    <a:ea typeface="KoPub돋움체 Medium" pitchFamily="18" charset="-127"/>
                  </a:rPr>
                  <a:t>종료</a:t>
                </a:r>
              </a:p>
            </p:txBody>
          </p:sp>
        </p:grpSp>
        <p:cxnSp>
          <p:nvCxnSpPr>
            <p:cNvPr id="407" name="AutoShape 53"/>
            <p:cNvCxnSpPr>
              <a:cxnSpLocks noChangeShapeType="1"/>
            </p:cNvCxnSpPr>
            <p:nvPr/>
          </p:nvCxnSpPr>
          <p:spPr bwMode="auto">
            <a:xfrm>
              <a:off x="5649314" y="2818398"/>
              <a:ext cx="2921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 type="none" w="med" len="sm"/>
              <a:tailEnd type="triangle" w="med" len="sm"/>
            </a:ln>
          </p:spPr>
        </p:cxnSp>
        <p:cxnSp>
          <p:nvCxnSpPr>
            <p:cNvPr id="408" name="AutoShape 53"/>
            <p:cNvCxnSpPr>
              <a:cxnSpLocks noChangeShapeType="1"/>
            </p:cNvCxnSpPr>
            <p:nvPr/>
          </p:nvCxnSpPr>
          <p:spPr bwMode="auto">
            <a:xfrm>
              <a:off x="6230339" y="3113673"/>
              <a:ext cx="0" cy="23177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 type="none" w="med" len="sm"/>
              <a:tailEnd type="triangle" w="med" len="sm"/>
            </a:ln>
          </p:spPr>
        </p:cxnSp>
        <p:cxnSp>
          <p:nvCxnSpPr>
            <p:cNvPr id="409" name="AutoShape 53"/>
            <p:cNvCxnSpPr>
              <a:cxnSpLocks noChangeShapeType="1"/>
              <a:endCxn id="412" idx="2"/>
            </p:cNvCxnSpPr>
            <p:nvPr/>
          </p:nvCxnSpPr>
          <p:spPr bwMode="auto">
            <a:xfrm rot="-5400000">
              <a:off x="5643758" y="2830304"/>
              <a:ext cx="231775" cy="79851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808080"/>
              </a:solidFill>
              <a:miter lim="800000"/>
              <a:headEnd type="none" w="med" len="sm"/>
              <a:tailEnd type="triangle" w="med" len="sm"/>
            </a:ln>
          </p:spPr>
        </p:cxnSp>
        <p:cxnSp>
          <p:nvCxnSpPr>
            <p:cNvPr id="410" name="AutoShape 53"/>
            <p:cNvCxnSpPr>
              <a:cxnSpLocks noChangeShapeType="1"/>
            </p:cNvCxnSpPr>
            <p:nvPr/>
          </p:nvCxnSpPr>
          <p:spPr bwMode="auto">
            <a:xfrm rot="5400000">
              <a:off x="5895376" y="4124911"/>
              <a:ext cx="523875" cy="146050"/>
            </a:xfrm>
            <a:prstGeom prst="bentConnector2">
              <a:avLst/>
            </a:prstGeom>
            <a:noFill/>
            <a:ln w="9525">
              <a:solidFill>
                <a:srgbClr val="808080"/>
              </a:solidFill>
              <a:miter lim="800000"/>
              <a:headEnd type="none" w="med" len="sm"/>
              <a:tailEnd type="triangle" w="med" len="sm"/>
            </a:ln>
          </p:spPr>
        </p:cxnSp>
        <p:cxnSp>
          <p:nvCxnSpPr>
            <p:cNvPr id="411" name="AutoShape 53"/>
            <p:cNvCxnSpPr>
              <a:cxnSpLocks noChangeShapeType="1"/>
            </p:cNvCxnSpPr>
            <p:nvPr/>
          </p:nvCxnSpPr>
          <p:spPr bwMode="auto">
            <a:xfrm rot="16200000" flipH="1">
              <a:off x="5171476" y="4124911"/>
              <a:ext cx="523875" cy="146050"/>
            </a:xfrm>
            <a:prstGeom prst="bentConnector2">
              <a:avLst/>
            </a:prstGeom>
            <a:noFill/>
            <a:ln w="9525">
              <a:solidFill>
                <a:srgbClr val="808080"/>
              </a:solidFill>
              <a:miter lim="800000"/>
              <a:headEnd type="none" w="med" len="sm"/>
              <a:tailEnd type="triangle" w="med" len="sm"/>
            </a:ln>
          </p:spPr>
        </p:cxnSp>
        <p:sp>
          <p:nvSpPr>
            <p:cNvPr id="412" name="Rectangle 513"/>
            <p:cNvSpPr>
              <a:spLocks noChangeArrowheads="1"/>
            </p:cNvSpPr>
            <p:nvPr/>
          </p:nvSpPr>
          <p:spPr bwMode="auto">
            <a:xfrm>
              <a:off x="6122389" y="3042235"/>
              <a:ext cx="71438" cy="71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ko-KR" altLang="en-US" dirty="0"/>
            </a:p>
          </p:txBody>
        </p:sp>
        <p:grpSp>
          <p:nvGrpSpPr>
            <p:cNvPr id="413" name="Group 516"/>
            <p:cNvGrpSpPr>
              <a:grpSpLocks/>
            </p:cNvGrpSpPr>
            <p:nvPr/>
          </p:nvGrpSpPr>
          <p:grpSpPr bwMode="auto">
            <a:xfrm>
              <a:off x="5619152" y="3604210"/>
              <a:ext cx="358775" cy="71438"/>
              <a:chOff x="603" y="2319"/>
              <a:chExt cx="226" cy="45"/>
            </a:xfrm>
          </p:grpSpPr>
          <p:sp>
            <p:nvSpPr>
              <p:cNvPr id="414" name="Line 514"/>
              <p:cNvSpPr>
                <a:spLocks noChangeShapeType="1"/>
              </p:cNvSpPr>
              <p:nvPr/>
            </p:nvSpPr>
            <p:spPr bwMode="auto">
              <a:xfrm>
                <a:off x="603" y="2319"/>
                <a:ext cx="226" cy="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 type="none" w="med" len="sm"/>
                <a:tailEnd type="triangle" w="med" len="sm"/>
              </a:ln>
            </p:spPr>
            <p:txBody>
              <a:bodyPr lIns="72000" tIns="36000" rIns="72000" bIns="36000"/>
              <a:lstStyle/>
              <a:p>
                <a:endParaRPr lang="ko-KR" altLang="en-US" dirty="0"/>
              </a:p>
            </p:txBody>
          </p:sp>
          <p:sp>
            <p:nvSpPr>
              <p:cNvPr id="415" name="Line 515"/>
              <p:cNvSpPr>
                <a:spLocks noChangeShapeType="1"/>
              </p:cNvSpPr>
              <p:nvPr/>
            </p:nvSpPr>
            <p:spPr bwMode="auto">
              <a:xfrm flipH="1">
                <a:off x="603" y="2364"/>
                <a:ext cx="226" cy="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 type="none" w="med" len="sm"/>
                <a:tailEnd type="triangle" w="med" len="sm"/>
              </a:ln>
            </p:spPr>
            <p:txBody>
              <a:bodyPr lIns="72000" tIns="36000" rIns="72000" bIns="36000"/>
              <a:lstStyle/>
              <a:p>
                <a:endParaRPr lang="ko-KR" altLang="en-US" dirty="0"/>
              </a:p>
            </p:txBody>
          </p:sp>
        </p:grpSp>
      </p:grpSp>
      <p:grpSp>
        <p:nvGrpSpPr>
          <p:cNvPr id="20" name="그룹 19"/>
          <p:cNvGrpSpPr/>
          <p:nvPr/>
        </p:nvGrpSpPr>
        <p:grpSpPr>
          <a:xfrm>
            <a:off x="6139858" y="2541207"/>
            <a:ext cx="3303287" cy="1356865"/>
            <a:chOff x="6553177" y="2541207"/>
            <a:chExt cx="2195513" cy="1120775"/>
          </a:xfrm>
        </p:grpSpPr>
        <p:sp>
          <p:nvSpPr>
            <p:cNvPr id="418" name="AutoShape 150"/>
            <p:cNvSpPr>
              <a:spLocks noChangeArrowheads="1"/>
            </p:cNvSpPr>
            <p:nvPr/>
          </p:nvSpPr>
          <p:spPr bwMode="auto">
            <a:xfrm>
              <a:off x="6553177" y="2541207"/>
              <a:ext cx="2195513" cy="1120775"/>
            </a:xfrm>
            <a:prstGeom prst="roundRect">
              <a:avLst>
                <a:gd name="adj" fmla="val 2500"/>
              </a:avLst>
            </a:prstGeom>
            <a:solidFill>
              <a:srgbClr val="F8F8F8"/>
            </a:solidFill>
            <a:ln w="6350" algn="ctr">
              <a:solidFill>
                <a:srgbClr val="D5D5D5"/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 dirty="0"/>
            </a:p>
          </p:txBody>
        </p:sp>
        <p:sp>
          <p:nvSpPr>
            <p:cNvPr id="419" name="AutoShape 152" descr="oj-03"/>
            <p:cNvSpPr>
              <a:spLocks noChangeArrowheads="1"/>
            </p:cNvSpPr>
            <p:nvPr/>
          </p:nvSpPr>
          <p:spPr bwMode="auto">
            <a:xfrm>
              <a:off x="6684939" y="2647570"/>
              <a:ext cx="1979613" cy="252413"/>
            </a:xfrm>
            <a:prstGeom prst="roundRect">
              <a:avLst>
                <a:gd name="adj" fmla="val 50000"/>
              </a:avLst>
            </a:prstGeom>
            <a:blipFill dpi="0" rotWithShape="1">
              <a:blip r:embed="rId5"/>
              <a:srcRect/>
              <a:stretch>
                <a:fillRect/>
              </a:stretch>
            </a:blipFill>
            <a:ln w="9525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1588" lvl="1" algn="ctr" latinLnBrk="0">
                <a:spcBef>
                  <a:spcPct val="10000"/>
                </a:spcBef>
                <a:spcAft>
                  <a:spcPct val="10000"/>
                </a:spcAft>
              </a:pPr>
              <a:r>
                <a:rPr lang="en-US" altLang="ko-KR" sz="11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9</a:t>
              </a:r>
              <a:r>
                <a:rPr lang="ko-KR" altLang="en-US" sz="1100" dirty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 관리 영역</a:t>
              </a:r>
            </a:p>
          </p:txBody>
        </p:sp>
        <p:sp>
          <p:nvSpPr>
            <p:cNvPr id="420" name="AutoShape 153"/>
            <p:cNvSpPr>
              <a:spLocks noChangeArrowheads="1"/>
            </p:cNvSpPr>
            <p:nvPr/>
          </p:nvSpPr>
          <p:spPr bwMode="auto">
            <a:xfrm>
              <a:off x="6599214" y="2579307"/>
              <a:ext cx="2149475" cy="1082675"/>
            </a:xfrm>
            <a:prstGeom prst="roundRect">
              <a:avLst>
                <a:gd name="adj" fmla="val 2500"/>
              </a:avLst>
            </a:prstGeom>
            <a:noFill/>
            <a:ln w="6350" algn="ctr">
              <a:solidFill>
                <a:srgbClr val="D5D5D5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 dirty="0"/>
            </a:p>
          </p:txBody>
        </p:sp>
        <p:grpSp>
          <p:nvGrpSpPr>
            <p:cNvPr id="421" name="Group 248"/>
            <p:cNvGrpSpPr>
              <a:grpSpLocks/>
            </p:cNvGrpSpPr>
            <p:nvPr/>
          </p:nvGrpSpPr>
          <p:grpSpPr bwMode="auto">
            <a:xfrm>
              <a:off x="6684939" y="2939670"/>
              <a:ext cx="1979613" cy="180975"/>
              <a:chOff x="4708" y="1706"/>
              <a:chExt cx="1359" cy="114"/>
            </a:xfrm>
          </p:grpSpPr>
          <p:sp>
            <p:nvSpPr>
              <p:cNvPr id="439" name="Rectangle 245"/>
              <p:cNvSpPr>
                <a:spLocks noChangeArrowheads="1"/>
              </p:cNvSpPr>
              <p:nvPr/>
            </p:nvSpPr>
            <p:spPr bwMode="auto">
              <a:xfrm>
                <a:off x="4708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범위관리</a:t>
                </a:r>
              </a:p>
            </p:txBody>
          </p:sp>
          <p:sp>
            <p:nvSpPr>
              <p:cNvPr id="440" name="Rectangle 246"/>
              <p:cNvSpPr>
                <a:spLocks noChangeArrowheads="1"/>
              </p:cNvSpPr>
              <p:nvPr/>
            </p:nvSpPr>
            <p:spPr bwMode="auto">
              <a:xfrm>
                <a:off x="5172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일정관리</a:t>
                </a:r>
              </a:p>
            </p:txBody>
          </p:sp>
          <p:sp>
            <p:nvSpPr>
              <p:cNvPr id="441" name="Rectangle 247"/>
              <p:cNvSpPr>
                <a:spLocks noChangeArrowheads="1"/>
              </p:cNvSpPr>
              <p:nvPr/>
            </p:nvSpPr>
            <p:spPr bwMode="auto">
              <a:xfrm>
                <a:off x="5637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형상관리</a:t>
                </a:r>
              </a:p>
            </p:txBody>
          </p:sp>
        </p:grpSp>
        <p:grpSp>
          <p:nvGrpSpPr>
            <p:cNvPr id="422" name="Group 249"/>
            <p:cNvGrpSpPr>
              <a:grpSpLocks/>
            </p:cNvGrpSpPr>
            <p:nvPr/>
          </p:nvGrpSpPr>
          <p:grpSpPr bwMode="auto">
            <a:xfrm>
              <a:off x="6684939" y="3157157"/>
              <a:ext cx="1979613" cy="180975"/>
              <a:chOff x="4708" y="1706"/>
              <a:chExt cx="1359" cy="114"/>
            </a:xfrm>
          </p:grpSpPr>
          <p:sp>
            <p:nvSpPr>
              <p:cNvPr id="436" name="Rectangle 250"/>
              <p:cNvSpPr>
                <a:spLocks noChangeArrowheads="1"/>
              </p:cNvSpPr>
              <p:nvPr/>
            </p:nvSpPr>
            <p:spPr bwMode="auto">
              <a:xfrm>
                <a:off x="4708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자원관리</a:t>
                </a:r>
              </a:p>
            </p:txBody>
          </p:sp>
          <p:sp>
            <p:nvSpPr>
              <p:cNvPr id="437" name="Rectangle 251"/>
              <p:cNvSpPr>
                <a:spLocks noChangeArrowheads="1"/>
              </p:cNvSpPr>
              <p:nvPr/>
            </p:nvSpPr>
            <p:spPr bwMode="auto">
              <a:xfrm>
                <a:off x="5172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의사소통관리</a:t>
                </a:r>
              </a:p>
            </p:txBody>
          </p:sp>
          <p:sp>
            <p:nvSpPr>
              <p:cNvPr id="438" name="Rectangle 252"/>
              <p:cNvSpPr>
                <a:spLocks noChangeArrowheads="1"/>
              </p:cNvSpPr>
              <p:nvPr/>
            </p:nvSpPr>
            <p:spPr bwMode="auto">
              <a:xfrm>
                <a:off x="5637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품질관리</a:t>
                </a:r>
              </a:p>
            </p:txBody>
          </p:sp>
        </p:grpSp>
        <p:grpSp>
          <p:nvGrpSpPr>
            <p:cNvPr id="423" name="Group 253"/>
            <p:cNvGrpSpPr>
              <a:grpSpLocks/>
            </p:cNvGrpSpPr>
            <p:nvPr/>
          </p:nvGrpSpPr>
          <p:grpSpPr bwMode="auto">
            <a:xfrm>
              <a:off x="6684939" y="3373057"/>
              <a:ext cx="1979613" cy="180975"/>
              <a:chOff x="4708" y="1706"/>
              <a:chExt cx="1359" cy="114"/>
            </a:xfrm>
          </p:grpSpPr>
          <p:sp>
            <p:nvSpPr>
              <p:cNvPr id="433" name="Rectangle 254"/>
              <p:cNvSpPr>
                <a:spLocks noChangeArrowheads="1"/>
              </p:cNvSpPr>
              <p:nvPr/>
            </p:nvSpPr>
            <p:spPr bwMode="auto">
              <a:xfrm>
                <a:off x="4708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위험관리</a:t>
                </a:r>
              </a:p>
            </p:txBody>
          </p:sp>
          <p:sp>
            <p:nvSpPr>
              <p:cNvPr id="434" name="Rectangle 255"/>
              <p:cNvSpPr>
                <a:spLocks noChangeArrowheads="1"/>
              </p:cNvSpPr>
              <p:nvPr/>
            </p:nvSpPr>
            <p:spPr bwMode="auto">
              <a:xfrm>
                <a:off x="5172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 smtClean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변화관리</a:t>
                </a:r>
                <a:endParaRPr lang="ko-KR" altLang="en-US" sz="800" dirty="0">
                  <a:latin typeface="KoPub돋움체 Medium" pitchFamily="18" charset="-127"/>
                  <a:ea typeface="KoPub돋움체 Medium" pitchFamily="18" charset="-127"/>
                  <a:cs typeface="Arial" charset="0"/>
                </a:endParaRPr>
              </a:p>
            </p:txBody>
          </p:sp>
          <p:sp>
            <p:nvSpPr>
              <p:cNvPr id="435" name="Rectangle 256"/>
              <p:cNvSpPr>
                <a:spLocks noChangeArrowheads="1"/>
              </p:cNvSpPr>
              <p:nvPr/>
            </p:nvSpPr>
            <p:spPr bwMode="auto">
              <a:xfrm>
                <a:off x="5637" y="1706"/>
                <a:ext cx="430" cy="11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 defTabSz="942975" fontAlgn="ctr" latinLnBrk="0"/>
                <a:r>
                  <a:rPr lang="ko-KR" altLang="en-US" sz="800" dirty="0">
                    <a:latin typeface="KoPub돋움체 Medium" pitchFamily="18" charset="-127"/>
                    <a:ea typeface="KoPub돋움체 Medium" pitchFamily="18" charset="-127"/>
                    <a:cs typeface="Arial" charset="0"/>
                  </a:rPr>
                  <a:t>통합관리</a:t>
                </a:r>
              </a:p>
            </p:txBody>
          </p:sp>
        </p:grpSp>
      </p:grp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914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2.5 </a:t>
            </a:r>
            <a:r>
              <a:rPr lang="ko-KR" altLang="en-US" dirty="0"/>
              <a:t>고객위험평가 모델 적용 방안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종 확정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모델을 운영시스템에 적용할 수 있도록 시스템 수정요건 정의서와 관리적 측면의 변경 필요사항을 작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모델 고도화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델 적용 방안 수립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" name="직사각형 13"/>
          <p:cNvSpPr/>
          <p:nvPr/>
        </p:nvSpPr>
        <p:spPr>
          <a:xfrm>
            <a:off x="513036" y="2948494"/>
            <a:ext cx="5867942" cy="284881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스템 수정 요건 기술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6512628" y="2953975"/>
            <a:ext cx="2874898" cy="284881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사용자 매뉴얼 수정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513036" y="3278951"/>
            <a:ext cx="5867942" cy="2953403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6512628" y="3283909"/>
            <a:ext cx="2874898" cy="2953403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09740" y="3365959"/>
            <a:ext cx="5508025" cy="295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145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ü"/>
              <a:defRPr/>
            </a:pPr>
            <a:r>
              <a:rPr lang="ko-KR" altLang="en-US" sz="1100" i="1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확정된 신규 위험평가모델을 운영시스템에 적용할 수 있도록 시스템 수정요건 정의서 작성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688064" y="3365959"/>
            <a:ext cx="2523552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1450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sz="1100" i="1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ML </a:t>
            </a:r>
            <a:r>
              <a:rPr lang="ko-KR" altLang="en-US" sz="1100" i="1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용자 매뉴얼에 고객위험평가 모델에 대한 변경사항 반영</a:t>
            </a:r>
            <a:r>
              <a:rPr lang="en-US" altLang="ko-KR" sz="1100" i="1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endParaRPr lang="ko-KR" altLang="en-US" sz="1100" i="1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818866" y="4313727"/>
            <a:ext cx="1806048" cy="1736295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1198708" y="4025769"/>
            <a:ext cx="10390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latinLnBrk="0"/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평가지표 정의서</a:t>
            </a: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3" cstate="print">
            <a:grayscl/>
          </a:blip>
          <a:stretch>
            <a:fillRect/>
          </a:stretch>
        </p:blipFill>
        <p:spPr>
          <a:xfrm>
            <a:off x="2882622" y="4313727"/>
            <a:ext cx="2781110" cy="1233229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645351" y="4025769"/>
            <a:ext cx="13083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평가지표별 세부 요건</a:t>
            </a:r>
          </a:p>
        </p:txBody>
      </p:sp>
      <p:pic>
        <p:nvPicPr>
          <p:cNvPr id="25" name="그림 24"/>
          <p:cNvPicPr>
            <a:picLocks noChangeAspect="1"/>
          </p:cNvPicPr>
          <p:nvPr/>
        </p:nvPicPr>
        <p:blipFill>
          <a:blip r:embed="rId4" cstate="print">
            <a:grayscl/>
          </a:blip>
          <a:stretch>
            <a:fillRect/>
          </a:stretch>
        </p:blipFill>
        <p:spPr>
          <a:xfrm>
            <a:off x="3347230" y="4680241"/>
            <a:ext cx="2739919" cy="1388496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036120" y="4149680"/>
            <a:ext cx="1389346" cy="1610418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744170" y="4538724"/>
            <a:ext cx="1390827" cy="1610418"/>
          </a:xfrm>
          <a:prstGeom prst="rect">
            <a:avLst/>
          </a:prstGeom>
        </p:spPr>
      </p:pic>
      <p:sp>
        <p:nvSpPr>
          <p:cNvPr id="46" name="오각형 45"/>
          <p:cNvSpPr/>
          <p:nvPr/>
        </p:nvSpPr>
        <p:spPr bwMode="ltGray">
          <a:xfrm>
            <a:off x="513036" y="2303910"/>
            <a:ext cx="2247982" cy="477018"/>
          </a:xfrm>
          <a:prstGeom prst="homePlate">
            <a:avLst>
              <a:gd name="adj" fmla="val 23753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존 모델 </a:t>
            </a:r>
            <a:r>
              <a:rPr lang="en-US" altLang="ko-KR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유효성검증</a:t>
            </a:r>
            <a:endParaRPr lang="ko-KR" altLang="en-US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439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8" name="갈매기형 수장 47"/>
          <p:cNvSpPr/>
          <p:nvPr/>
        </p:nvSpPr>
        <p:spPr bwMode="ltGray">
          <a:xfrm>
            <a:off x="2777789" y="2303910"/>
            <a:ext cx="2218789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To-Be</a:t>
            </a:r>
            <a:b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델 설계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849614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0" name="갈매기형 수장 49"/>
          <p:cNvSpPr/>
          <p:nvPr/>
        </p:nvSpPr>
        <p:spPr bwMode="ltGray">
          <a:xfrm>
            <a:off x="5007412" y="2304995"/>
            <a:ext cx="2218788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델 평가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및 테스트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1101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갈매기형 수장 51"/>
          <p:cNvSpPr/>
          <p:nvPr/>
        </p:nvSpPr>
        <p:spPr bwMode="ltGray">
          <a:xfrm>
            <a:off x="7234712" y="2304993"/>
            <a:ext cx="2218788" cy="477018"/>
          </a:xfrm>
          <a:prstGeom prst="chevron">
            <a:avLst>
              <a:gd name="adj" fmla="val 23752"/>
            </a:avLst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모델 적용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방안 수립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337434" y="2370943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b="1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b="1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37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402671" y="418212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547391" y="414509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8" name="Picture 88" descr="예시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409872" y="418212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6784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그룹 62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64" name="직사각형 63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66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신상품 위험평가 관리 기능</a:t>
                </a:r>
              </a:p>
            </p:txBody>
          </p:sp>
          <p:sp>
            <p:nvSpPr>
              <p:cNvPr id="67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2.6 </a:t>
            </a:r>
            <a:r>
              <a:rPr lang="ko-KR" altLang="en-US" dirty="0"/>
              <a:t>신상품 위험평가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산은행에서 신규로 출시되는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품에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하여 업무 프로세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산 개발 등에 대한 위험평가를 수행하여 고위험 상품이 되는 대상을 식별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고객위험평가 등에 반영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신상품 자금세탁 위험평가 방안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301" name="오른쪽 화살표 300"/>
          <p:cNvSpPr/>
          <p:nvPr/>
        </p:nvSpPr>
        <p:spPr bwMode="ltGray">
          <a:xfrm>
            <a:off x="6152737" y="2842954"/>
            <a:ext cx="740479" cy="2988028"/>
          </a:xfrm>
          <a:prstGeom prst="rightArrow">
            <a:avLst>
              <a:gd name="adj1" fmla="val 74138"/>
              <a:gd name="adj2" fmla="val 40109"/>
            </a:avLst>
          </a:prstGeom>
          <a:solidFill>
            <a:schemeClr val="bg1">
              <a:lumMod val="6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99" name="직사각형 298"/>
          <p:cNvSpPr/>
          <p:nvPr/>
        </p:nvSpPr>
        <p:spPr>
          <a:xfrm>
            <a:off x="1064569" y="2145680"/>
            <a:ext cx="5040846" cy="4226961"/>
          </a:xfrm>
          <a:prstGeom prst="rect">
            <a:avLst/>
          </a:prstGeom>
          <a:noFill/>
          <a:ln w="3175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wrap="none" rtlCol="0" anchor="ctr">
            <a:scene3d>
              <a:camera prst="orthographicFront"/>
              <a:lightRig rig="threePt" dir="t"/>
            </a:scene3d>
            <a:sp3d>
              <a:bevelT/>
            </a:sp3d>
          </a:bodyPr>
          <a:lstStyle/>
          <a:p>
            <a:pPr algn="ctr" defTabSz="1019190" latinLnBrk="0">
              <a:buClr>
                <a:srgbClr val="808080"/>
              </a:buClr>
            </a:pPr>
            <a:endParaRPr lang="ko-KR" altLang="en-US" sz="1000" spc="-100" dirty="0">
              <a:ln>
                <a:solidFill>
                  <a:srgbClr val="FFFFFF">
                    <a:lumMod val="50000"/>
                  </a:srgbClr>
                </a:solidFill>
                <a:prstDash val="sysDash"/>
              </a:ln>
              <a:noFill/>
              <a:latin typeface="+mn-ea"/>
              <a:ea typeface="+mn-ea"/>
              <a:cs typeface="하나 L"/>
            </a:endParaRPr>
          </a:p>
        </p:txBody>
      </p:sp>
      <p:sp>
        <p:nvSpPr>
          <p:cNvPr id="300" name="직사각형 299"/>
          <p:cNvSpPr/>
          <p:nvPr/>
        </p:nvSpPr>
        <p:spPr>
          <a:xfrm>
            <a:off x="380492" y="2145680"/>
            <a:ext cx="628740" cy="4226961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상품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평가</a:t>
            </a:r>
          </a:p>
        </p:txBody>
      </p:sp>
      <p:pic>
        <p:nvPicPr>
          <p:cNvPr id="305" name="그림 3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490" y="2212876"/>
            <a:ext cx="4867005" cy="4101413"/>
          </a:xfrm>
          <a:prstGeom prst="rect">
            <a:avLst/>
          </a:prstGeom>
        </p:spPr>
      </p:pic>
      <p:sp>
        <p:nvSpPr>
          <p:cNvPr id="4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7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8521" y="2569182"/>
            <a:ext cx="1389804" cy="161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존 상품 및 서비스 유사성</a:t>
            </a:r>
          </a:p>
        </p:txBody>
      </p:sp>
      <p:sp>
        <p:nvSpPr>
          <p:cNvPr id="78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48521" y="2836592"/>
            <a:ext cx="2259454" cy="478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존 상품과의 유사성 검토를 통한 거래모니터링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징구서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무 프로세스 등의 처리 방안 검토</a:t>
            </a:r>
          </a:p>
        </p:txBody>
      </p:sp>
      <p:sp>
        <p:nvSpPr>
          <p:cNvPr id="79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8521" y="3909284"/>
            <a:ext cx="1765868" cy="161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규 상품 및 서비스 고유위험 평가</a:t>
            </a:r>
          </a:p>
        </p:txBody>
      </p:sp>
      <p:sp>
        <p:nvSpPr>
          <p:cNvPr id="80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48521" y="4162247"/>
            <a:ext cx="2201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외국인 가입 여부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만기환급여부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시납 가능 여부 등 측정</a:t>
            </a:r>
          </a:p>
        </p:txBody>
      </p:sp>
      <p:cxnSp>
        <p:nvCxnSpPr>
          <p:cNvPr id="81" name="직선 연결선 80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44051" y="3689636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82" name="그림 81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2983" y="2577586"/>
            <a:ext cx="318769" cy="304841"/>
          </a:xfrm>
          <a:prstGeom prst="rect">
            <a:avLst/>
          </a:prstGeom>
        </p:spPr>
      </p:pic>
      <p:pic>
        <p:nvPicPr>
          <p:cNvPr id="83" name="그림 82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1760" y="3903949"/>
            <a:ext cx="318769" cy="304841"/>
          </a:xfrm>
          <a:prstGeom prst="rect">
            <a:avLst/>
          </a:prstGeom>
        </p:spPr>
      </p:pic>
      <p:sp>
        <p:nvSpPr>
          <p:cNvPr id="84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1130" y="5210416"/>
            <a:ext cx="225638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규 상품 및 서비스에 대한 통제효과성 평가</a:t>
            </a:r>
          </a:p>
        </p:txBody>
      </p:sp>
      <p:sp>
        <p:nvSpPr>
          <p:cNvPr id="85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51130" y="5463380"/>
            <a:ext cx="2201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확인절차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정계 시스템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STR/C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니터링 여부 등 관리</a:t>
            </a:r>
          </a:p>
        </p:txBody>
      </p:sp>
      <p:cxnSp>
        <p:nvCxnSpPr>
          <p:cNvPr id="86" name="직선 연결선 85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46660" y="4999597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87" name="그림 86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1760" y="5211633"/>
            <a:ext cx="320400" cy="306401"/>
          </a:xfrm>
          <a:prstGeom prst="rect">
            <a:avLst/>
          </a:prstGeom>
        </p:spPr>
      </p:pic>
      <p:sp>
        <p:nvSpPr>
          <p:cNvPr id="3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</a:p>
        </p:txBody>
      </p:sp>
      <p:pic>
        <p:nvPicPr>
          <p:cNvPr id="36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807228" y="213403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4836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2.7 </a:t>
            </a:r>
            <a:r>
              <a:rPr lang="ko-KR" altLang="en-US" dirty="0" smtClean="0"/>
              <a:t>주요기능 </a:t>
            </a:r>
            <a:r>
              <a:rPr lang="en-US" altLang="ko-KR" dirty="0" smtClean="0"/>
              <a:t>(1/3)</a:t>
            </a:r>
            <a:r>
              <a:rPr lang="ko-KR" altLang="en-US" dirty="0" smtClean="0"/>
              <a:t> </a:t>
            </a:r>
            <a:r>
              <a:rPr lang="en-US" altLang="ko-KR" dirty="0" smtClean="0"/>
              <a:t>&gt; </a:t>
            </a:r>
            <a:r>
              <a:rPr lang="ko-KR" altLang="en-US" dirty="0"/>
              <a:t>위험평가 </a:t>
            </a:r>
            <a:r>
              <a:rPr lang="ko-KR" altLang="en-US" dirty="0" smtClean="0"/>
              <a:t>모델관리 기능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항목 및 속성정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준값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가중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등급기준 등 위험평가 모델을 관리하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델관리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9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1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2816932"/>
            <a:ext cx="229075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위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국가위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상품위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채널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타 위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행동위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업종위험에 대한 항목 및 속성 관리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7113487" y="2573308"/>
            <a:ext cx="1482677" cy="318769"/>
            <a:chOff x="7113487" y="2573308"/>
            <a:chExt cx="1482677" cy="318769"/>
          </a:xfrm>
        </p:grpSpPr>
        <p:sp>
          <p:nvSpPr>
            <p:cNvPr id="2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235916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항목 및 속성정의 화면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26" name="그룹 25"/>
          <p:cNvGrpSpPr/>
          <p:nvPr/>
        </p:nvGrpSpPr>
        <p:grpSpPr>
          <a:xfrm>
            <a:off x="7113487" y="3537012"/>
            <a:ext cx="2376017" cy="552090"/>
            <a:chOff x="7113487" y="3439317"/>
            <a:chExt cx="2376017" cy="552090"/>
          </a:xfrm>
        </p:grpSpPr>
        <p:sp>
          <p:nvSpPr>
            <p:cNvPr id="27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RA)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국가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상품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종에 대한 기준값 관리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28" name="그룹 27"/>
            <p:cNvGrpSpPr/>
            <p:nvPr/>
          </p:nvGrpSpPr>
          <p:grpSpPr>
            <a:xfrm>
              <a:off x="7113487" y="3439317"/>
              <a:ext cx="1113345" cy="318769"/>
              <a:chOff x="7113487" y="4132302"/>
              <a:chExt cx="1113345" cy="318769"/>
            </a:xfrm>
          </p:grpSpPr>
          <p:sp>
            <p:nvSpPr>
              <p:cNvPr id="29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866584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ko-KR" altLang="en-US" sz="1100" spc="-70" dirty="0" smtClean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기준값 관리 화면</a:t>
                </a:r>
                <a:endPara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30" name="그림 29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3569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33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4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5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681425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RA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여부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드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구간코드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기타에 대한 가중치 관리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6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442691"/>
            <a:ext cx="94737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가중치 관리 화면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37" name="직선 연결선 3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2570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723867"/>
            <a:ext cx="2129256" cy="3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모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역별 가중치 관리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모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역별 임계치 관리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9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474777"/>
            <a:ext cx="107080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등급기준 관리 화면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26520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41" name="그림 40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1666" y="4434941"/>
            <a:ext cx="320400" cy="320400"/>
          </a:xfrm>
          <a:prstGeom prst="rect">
            <a:avLst/>
          </a:prstGeom>
        </p:spPr>
      </p:pic>
      <p:pic>
        <p:nvPicPr>
          <p:cNvPr id="42" name="그림 41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547" y="5466049"/>
            <a:ext cx="320400" cy="320400"/>
          </a:xfrm>
          <a:prstGeom prst="rect">
            <a:avLst/>
          </a:prstGeom>
        </p:spPr>
      </p:pic>
      <p:sp>
        <p:nvSpPr>
          <p:cNvPr id="43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5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7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8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9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0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1" name="Rectangle 127"/>
          <p:cNvSpPr>
            <a:spLocks noChangeArrowheads="1"/>
          </p:cNvSpPr>
          <p:nvPr/>
        </p:nvSpPr>
        <p:spPr bwMode="gray">
          <a:xfrm>
            <a:off x="273050" y="2276840"/>
            <a:ext cx="3136833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2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3" name="Rectangle 11"/>
          <p:cNvSpPr>
            <a:spLocks noChangeAspect="1" noChangeArrowheads="1"/>
          </p:cNvSpPr>
          <p:nvPr/>
        </p:nvSpPr>
        <p:spPr bwMode="auto">
          <a:xfrm>
            <a:off x="1411871" y="2321652"/>
            <a:ext cx="85921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항목 및 속성정의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4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5" name="Rectangle 11"/>
          <p:cNvSpPr>
            <a:spLocks noChangeAspect="1" noChangeArrowheads="1"/>
          </p:cNvSpPr>
          <p:nvPr/>
        </p:nvSpPr>
        <p:spPr bwMode="auto">
          <a:xfrm>
            <a:off x="4811404" y="2321652"/>
            <a:ext cx="59792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준값 관리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6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7" name="Rectangle 127"/>
          <p:cNvSpPr>
            <a:spLocks noChangeArrowheads="1"/>
          </p:cNvSpPr>
          <p:nvPr/>
        </p:nvSpPr>
        <p:spPr bwMode="gray">
          <a:xfrm>
            <a:off x="236476" y="4329100"/>
            <a:ext cx="3136833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8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9" name="Rectangle 11"/>
          <p:cNvSpPr>
            <a:spLocks noChangeAspect="1" noChangeArrowheads="1"/>
          </p:cNvSpPr>
          <p:nvPr/>
        </p:nvSpPr>
        <p:spPr bwMode="auto">
          <a:xfrm>
            <a:off x="1542514" y="4373913"/>
            <a:ext cx="59792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가중치 관리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0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61" name="Rectangle 11"/>
          <p:cNvSpPr>
            <a:spLocks noChangeAspect="1" noChangeArrowheads="1"/>
          </p:cNvSpPr>
          <p:nvPr/>
        </p:nvSpPr>
        <p:spPr bwMode="auto">
          <a:xfrm>
            <a:off x="4885943" y="4373913"/>
            <a:ext cx="44884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등급기준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2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362113" y="2603687"/>
            <a:ext cx="1891398" cy="1422566"/>
            <a:chOff x="387573" y="2691542"/>
            <a:chExt cx="1891398" cy="1422566"/>
          </a:xfrm>
        </p:grpSpPr>
        <p:grpSp>
          <p:nvGrpSpPr>
            <p:cNvPr id="64" name="그룹 63"/>
            <p:cNvGrpSpPr/>
            <p:nvPr/>
          </p:nvGrpSpPr>
          <p:grpSpPr>
            <a:xfrm>
              <a:off x="387573" y="2691542"/>
              <a:ext cx="900000" cy="147259"/>
              <a:chOff x="1114108" y="2573280"/>
              <a:chExt cx="879978" cy="144000"/>
            </a:xfrm>
          </p:grpSpPr>
          <p:sp>
            <p:nvSpPr>
              <p:cNvPr id="65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66" name="Rt40" descr="도식1"/>
              <p:cNvSpPr>
                <a:spLocks noChangeArrowheads="1"/>
              </p:cNvSpPr>
              <p:nvPr/>
            </p:nvSpPr>
            <p:spPr bwMode="auto">
              <a:xfrm>
                <a:off x="1264924" y="2594003"/>
                <a:ext cx="578350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항목 및 속성정의 </a:t>
                </a:r>
                <a:r>
                  <a:rPr lang="en-US" altLang="ko-KR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- </a:t>
                </a:r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국가</a:t>
                </a:r>
              </a:p>
            </p:txBody>
          </p:sp>
        </p:grpSp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8401" y="2849120"/>
              <a:ext cx="1880570" cy="1264988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grpSp>
        <p:nvGrpSpPr>
          <p:cNvPr id="67" name="그룹 66"/>
          <p:cNvGrpSpPr/>
          <p:nvPr/>
        </p:nvGrpSpPr>
        <p:grpSpPr>
          <a:xfrm>
            <a:off x="1511410" y="2780928"/>
            <a:ext cx="1757131" cy="1318043"/>
            <a:chOff x="1471611" y="2816932"/>
            <a:chExt cx="1757131" cy="1318043"/>
          </a:xfrm>
        </p:grpSpPr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71611" y="2965757"/>
              <a:ext cx="1746072" cy="1169218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25" name="그룹 124"/>
            <p:cNvGrpSpPr/>
            <p:nvPr/>
          </p:nvGrpSpPr>
          <p:grpSpPr>
            <a:xfrm>
              <a:off x="2328742" y="2816932"/>
              <a:ext cx="900000" cy="147259"/>
              <a:chOff x="1914397" y="2699146"/>
              <a:chExt cx="900000" cy="147259"/>
            </a:xfrm>
          </p:grpSpPr>
          <p:sp>
            <p:nvSpPr>
              <p:cNvPr id="126" name="Text Box 358" descr="도식1"/>
              <p:cNvSpPr>
                <a:spLocks noChangeArrowheads="1"/>
              </p:cNvSpPr>
              <p:nvPr/>
            </p:nvSpPr>
            <p:spPr bwMode="auto">
              <a:xfrm>
                <a:off x="1914397" y="2699146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27" name="Rt40" descr="도식1"/>
              <p:cNvSpPr>
                <a:spLocks noChangeArrowheads="1"/>
              </p:cNvSpPr>
              <p:nvPr/>
            </p:nvSpPr>
            <p:spPr bwMode="auto">
              <a:xfrm>
                <a:off x="2068644" y="2720338"/>
                <a:ext cx="591509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항목 및 속성정의 </a:t>
                </a:r>
                <a:r>
                  <a:rPr lang="en-US" altLang="ko-KR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- </a:t>
                </a:r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상품</a:t>
                </a:r>
              </a:p>
            </p:txBody>
          </p:sp>
        </p:grpSp>
      </p:grpSp>
      <p:grpSp>
        <p:nvGrpSpPr>
          <p:cNvPr id="71" name="그룹 70"/>
          <p:cNvGrpSpPr/>
          <p:nvPr/>
        </p:nvGrpSpPr>
        <p:grpSpPr>
          <a:xfrm>
            <a:off x="3743900" y="2601855"/>
            <a:ext cx="1765593" cy="1424397"/>
            <a:chOff x="3743900" y="2601855"/>
            <a:chExt cx="1765593" cy="1424397"/>
          </a:xfrm>
        </p:grpSpPr>
        <p:pic>
          <p:nvPicPr>
            <p:cNvPr id="105" name="그림 10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50401" y="2754471"/>
              <a:ext cx="1759092" cy="1271781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31" name="그룹 130"/>
            <p:cNvGrpSpPr/>
            <p:nvPr/>
          </p:nvGrpSpPr>
          <p:grpSpPr>
            <a:xfrm>
              <a:off x="3743900" y="2601855"/>
              <a:ext cx="900000" cy="147259"/>
              <a:chOff x="1914397" y="2699146"/>
              <a:chExt cx="900000" cy="147259"/>
            </a:xfrm>
          </p:grpSpPr>
          <p:sp>
            <p:nvSpPr>
              <p:cNvPr id="132" name="Text Box 358" descr="도식1"/>
              <p:cNvSpPr>
                <a:spLocks noChangeArrowheads="1"/>
              </p:cNvSpPr>
              <p:nvPr/>
            </p:nvSpPr>
            <p:spPr bwMode="auto">
              <a:xfrm>
                <a:off x="1914397" y="2699146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33" name="Rt40" descr="도식1"/>
              <p:cNvSpPr>
                <a:spLocks noChangeArrowheads="1"/>
              </p:cNvSpPr>
              <p:nvPr/>
            </p:nvSpPr>
            <p:spPr bwMode="auto">
              <a:xfrm>
                <a:off x="2038188" y="2720338"/>
                <a:ext cx="652423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기준갑관리 </a:t>
                </a:r>
                <a:r>
                  <a:rPr lang="en-US" altLang="ko-KR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- </a:t>
                </a:r>
                <a:r>
                  <a:rPr lang="ko-KR" altLang="en-US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국가</a:t>
                </a:r>
              </a:p>
            </p:txBody>
          </p:sp>
        </p:grpSp>
      </p:grpSp>
      <p:grpSp>
        <p:nvGrpSpPr>
          <p:cNvPr id="70" name="그룹 69"/>
          <p:cNvGrpSpPr/>
          <p:nvPr/>
        </p:nvGrpSpPr>
        <p:grpSpPr>
          <a:xfrm>
            <a:off x="4858595" y="2827017"/>
            <a:ext cx="1690229" cy="1269452"/>
            <a:chOff x="4858595" y="2827017"/>
            <a:chExt cx="1690229" cy="1269452"/>
          </a:xfrm>
        </p:grpSpPr>
        <p:pic>
          <p:nvPicPr>
            <p:cNvPr id="115" name="그림 11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58595" y="2982160"/>
              <a:ext cx="1678581" cy="1114309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37" name="그룹 136"/>
            <p:cNvGrpSpPr/>
            <p:nvPr/>
          </p:nvGrpSpPr>
          <p:grpSpPr>
            <a:xfrm>
              <a:off x="5648824" y="2827017"/>
              <a:ext cx="900000" cy="147259"/>
              <a:chOff x="1914397" y="2699146"/>
              <a:chExt cx="900000" cy="147259"/>
            </a:xfrm>
          </p:grpSpPr>
          <p:sp>
            <p:nvSpPr>
              <p:cNvPr id="138" name="Text Box 358" descr="도식1"/>
              <p:cNvSpPr>
                <a:spLocks noChangeArrowheads="1"/>
              </p:cNvSpPr>
              <p:nvPr/>
            </p:nvSpPr>
            <p:spPr bwMode="auto">
              <a:xfrm>
                <a:off x="1914397" y="2699146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39" name="Rt40" descr="도식1"/>
              <p:cNvSpPr>
                <a:spLocks noChangeArrowheads="1"/>
              </p:cNvSpPr>
              <p:nvPr/>
            </p:nvSpPr>
            <p:spPr bwMode="auto">
              <a:xfrm>
                <a:off x="2051012" y="2720338"/>
                <a:ext cx="626775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기준값관리</a:t>
                </a:r>
                <a:r>
                  <a:rPr lang="en-US" altLang="ko-KR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- </a:t>
                </a:r>
                <a:r>
                  <a:rPr lang="ko-KR" altLang="en-US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상품</a:t>
                </a:r>
              </a:p>
            </p:txBody>
          </p:sp>
        </p:grpSp>
      </p:grpSp>
      <p:grpSp>
        <p:nvGrpSpPr>
          <p:cNvPr id="143" name="그룹 142"/>
          <p:cNvGrpSpPr/>
          <p:nvPr/>
        </p:nvGrpSpPr>
        <p:grpSpPr>
          <a:xfrm>
            <a:off x="355933" y="4695472"/>
            <a:ext cx="900000" cy="147259"/>
            <a:chOff x="1114108" y="2573280"/>
            <a:chExt cx="879978" cy="144000"/>
          </a:xfrm>
        </p:grpSpPr>
        <p:sp>
          <p:nvSpPr>
            <p:cNvPr id="145" name="Text Box 358" descr="도식1"/>
            <p:cNvSpPr>
              <a:spLocks noChangeArrowheads="1"/>
            </p:cNvSpPr>
            <p:nvPr/>
          </p:nvSpPr>
          <p:spPr bwMode="auto">
            <a:xfrm>
              <a:off x="1114108" y="2573280"/>
              <a:ext cx="879978" cy="1440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dirty="0"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46" name="Rt40" descr="도식1"/>
            <p:cNvSpPr>
              <a:spLocks noChangeArrowheads="1"/>
            </p:cNvSpPr>
            <p:nvPr/>
          </p:nvSpPr>
          <p:spPr bwMode="auto">
            <a:xfrm>
              <a:off x="1329185" y="2594003"/>
              <a:ext cx="449827" cy="10533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7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가중치관리 </a:t>
              </a:r>
              <a:r>
                <a:rPr lang="en-US" altLang="ko-KR" sz="7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- </a:t>
              </a:r>
              <a:r>
                <a:rPr lang="ko-KR" altLang="en-US" sz="7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코드</a:t>
              </a:r>
            </a:p>
          </p:txBody>
        </p:sp>
      </p:grpSp>
      <p:pic>
        <p:nvPicPr>
          <p:cNvPr id="183" name="그림 18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3131" y="4845905"/>
            <a:ext cx="1884486" cy="118592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pSp>
        <p:nvGrpSpPr>
          <p:cNvPr id="73" name="그룹 72"/>
          <p:cNvGrpSpPr/>
          <p:nvPr/>
        </p:nvGrpSpPr>
        <p:grpSpPr>
          <a:xfrm>
            <a:off x="1505328" y="4857315"/>
            <a:ext cx="1749660" cy="1260388"/>
            <a:chOff x="1547796" y="4857315"/>
            <a:chExt cx="1749660" cy="1260388"/>
          </a:xfrm>
        </p:grpSpPr>
        <p:grpSp>
          <p:nvGrpSpPr>
            <p:cNvPr id="150" name="그룹 149"/>
            <p:cNvGrpSpPr/>
            <p:nvPr/>
          </p:nvGrpSpPr>
          <p:grpSpPr>
            <a:xfrm>
              <a:off x="2397456" y="4857315"/>
              <a:ext cx="900000" cy="147259"/>
              <a:chOff x="1914397" y="2699146"/>
              <a:chExt cx="900000" cy="147259"/>
            </a:xfrm>
          </p:grpSpPr>
          <p:sp>
            <p:nvSpPr>
              <p:cNvPr id="151" name="Text Box 358" descr="도식1"/>
              <p:cNvSpPr>
                <a:spLocks noChangeArrowheads="1"/>
              </p:cNvSpPr>
              <p:nvPr/>
            </p:nvSpPr>
            <p:spPr bwMode="auto">
              <a:xfrm>
                <a:off x="1914397" y="2699146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52" name="Rt40" descr="도식1"/>
              <p:cNvSpPr>
                <a:spLocks noChangeArrowheads="1"/>
              </p:cNvSpPr>
              <p:nvPr/>
            </p:nvSpPr>
            <p:spPr bwMode="auto">
              <a:xfrm>
                <a:off x="2075056" y="2720338"/>
                <a:ext cx="578685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700" spc="-150" dirty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가중치관리 </a:t>
                </a:r>
                <a:r>
                  <a:rPr lang="en-US" altLang="ko-KR" sz="700" spc="-150" dirty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- </a:t>
                </a:r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간코드</a:t>
                </a:r>
                <a:endParaRPr lang="ko-KR" altLang="en-US" sz="700" spc="-150" dirty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pic>
          <p:nvPicPr>
            <p:cNvPr id="186" name="그림 185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547796" y="5009577"/>
              <a:ext cx="1746260" cy="1108126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grpSp>
        <p:nvGrpSpPr>
          <p:cNvPr id="77" name="그룹 76"/>
          <p:cNvGrpSpPr/>
          <p:nvPr/>
        </p:nvGrpSpPr>
        <p:grpSpPr>
          <a:xfrm>
            <a:off x="3755438" y="4695472"/>
            <a:ext cx="1770913" cy="1336356"/>
            <a:chOff x="3755438" y="4695472"/>
            <a:chExt cx="1770913" cy="1336356"/>
          </a:xfrm>
        </p:grpSpPr>
        <p:grpSp>
          <p:nvGrpSpPr>
            <p:cNvPr id="176" name="그룹 175"/>
            <p:cNvGrpSpPr/>
            <p:nvPr/>
          </p:nvGrpSpPr>
          <p:grpSpPr>
            <a:xfrm>
              <a:off x="3755438" y="4695472"/>
              <a:ext cx="900000" cy="147259"/>
              <a:chOff x="1914397" y="2699146"/>
              <a:chExt cx="900000" cy="147259"/>
            </a:xfrm>
          </p:grpSpPr>
          <p:sp>
            <p:nvSpPr>
              <p:cNvPr id="177" name="Text Box 358" descr="도식1"/>
              <p:cNvSpPr>
                <a:spLocks noChangeArrowheads="1"/>
              </p:cNvSpPr>
              <p:nvPr/>
            </p:nvSpPr>
            <p:spPr bwMode="auto">
              <a:xfrm>
                <a:off x="1914397" y="2699146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78" name="Rt40" descr="도식1"/>
              <p:cNvSpPr>
                <a:spLocks noChangeArrowheads="1"/>
              </p:cNvSpPr>
              <p:nvPr/>
            </p:nvSpPr>
            <p:spPr bwMode="auto">
              <a:xfrm>
                <a:off x="2127959" y="2720338"/>
                <a:ext cx="472886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등급기준  </a:t>
                </a:r>
                <a:r>
                  <a:rPr lang="en-US" altLang="ko-KR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-  </a:t>
                </a:r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임계치</a:t>
                </a:r>
              </a:p>
            </p:txBody>
          </p:sp>
        </p:grpSp>
        <p:pic>
          <p:nvPicPr>
            <p:cNvPr id="189" name="그림 188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756224" y="4849890"/>
              <a:ext cx="1770127" cy="1181938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grpSp>
        <p:nvGrpSpPr>
          <p:cNvPr id="78" name="그룹 77"/>
          <p:cNvGrpSpPr/>
          <p:nvPr/>
        </p:nvGrpSpPr>
        <p:grpSpPr>
          <a:xfrm>
            <a:off x="4833258" y="4777377"/>
            <a:ext cx="1703918" cy="1345304"/>
            <a:chOff x="4833258" y="4777377"/>
            <a:chExt cx="1703918" cy="1345304"/>
          </a:xfrm>
        </p:grpSpPr>
        <p:grpSp>
          <p:nvGrpSpPr>
            <p:cNvPr id="172" name="그룹 171"/>
            <p:cNvGrpSpPr/>
            <p:nvPr/>
          </p:nvGrpSpPr>
          <p:grpSpPr>
            <a:xfrm>
              <a:off x="5629538" y="4777377"/>
              <a:ext cx="900000" cy="147259"/>
              <a:chOff x="1914397" y="2699146"/>
              <a:chExt cx="900000" cy="147259"/>
            </a:xfrm>
          </p:grpSpPr>
          <p:sp>
            <p:nvSpPr>
              <p:cNvPr id="173" name="Text Box 358" descr="도식1"/>
              <p:cNvSpPr>
                <a:spLocks noChangeArrowheads="1"/>
              </p:cNvSpPr>
              <p:nvPr/>
            </p:nvSpPr>
            <p:spPr bwMode="auto">
              <a:xfrm>
                <a:off x="1914397" y="2699146"/>
                <a:ext cx="900000" cy="14725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74" name="Rt40" descr="도식1"/>
              <p:cNvSpPr>
                <a:spLocks noChangeArrowheads="1"/>
              </p:cNvSpPr>
              <p:nvPr/>
            </p:nvSpPr>
            <p:spPr bwMode="auto">
              <a:xfrm>
                <a:off x="2127957" y="2720338"/>
                <a:ext cx="472886" cy="107722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등급기준  </a:t>
                </a:r>
                <a:r>
                  <a:rPr lang="en-US" altLang="ko-KR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-  </a:t>
                </a:r>
                <a:r>
                  <a:rPr lang="ko-KR" altLang="en-US" sz="700" spc="-15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가중치</a:t>
                </a:r>
              </a:p>
            </p:txBody>
          </p:sp>
        </p:grpSp>
        <p:pic>
          <p:nvPicPr>
            <p:cNvPr id="192" name="그림 191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833258" y="4924637"/>
              <a:ext cx="1703918" cy="1198044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pic>
        <p:nvPicPr>
          <p:cNvPr id="68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1971845" y="2658923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227827" y="2685324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1952386" y="4727140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196489" y="4701323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그림 123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886" y="2383209"/>
            <a:ext cx="318769" cy="318769"/>
          </a:xfrm>
          <a:prstGeom prst="rect">
            <a:avLst/>
          </a:prstGeom>
        </p:spPr>
      </p:pic>
      <p:pic>
        <p:nvPicPr>
          <p:cNvPr id="128" name="그림 127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8394" y="2380498"/>
            <a:ext cx="318769" cy="318769"/>
          </a:xfrm>
          <a:prstGeom prst="rect">
            <a:avLst/>
          </a:prstGeom>
        </p:spPr>
      </p:pic>
      <p:pic>
        <p:nvPicPr>
          <p:cNvPr id="129" name="그림 128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021" y="4435469"/>
            <a:ext cx="320400" cy="320400"/>
          </a:xfrm>
          <a:prstGeom prst="rect">
            <a:avLst/>
          </a:prstGeom>
        </p:spPr>
      </p:pic>
      <p:pic>
        <p:nvPicPr>
          <p:cNvPr id="130" name="그림 129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2272" y="4444610"/>
            <a:ext cx="320400" cy="320400"/>
          </a:xfrm>
          <a:prstGeom prst="rect">
            <a:avLst/>
          </a:prstGeom>
        </p:spPr>
      </p:pic>
      <p:sp>
        <p:nvSpPr>
          <p:cNvPr id="10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107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082185" y="2912140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67403" y="2979922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028501" y="5000636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88" descr="예시"/>
          <p:cNvPicPr>
            <a:picLocks noChangeAspect="1" noChangeArrowheads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63826" y="4961684"/>
            <a:ext cx="356854" cy="194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807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2.7 </a:t>
            </a:r>
            <a:r>
              <a:rPr lang="ko-KR" altLang="en-US" dirty="0"/>
              <a:t>주요기능 </a:t>
            </a:r>
            <a:r>
              <a:rPr lang="en-US" altLang="ko-KR" dirty="0" smtClean="0"/>
              <a:t>(2/3</a:t>
            </a:r>
            <a:r>
              <a:rPr lang="en-US" altLang="ko-KR" dirty="0"/>
              <a:t>) </a:t>
            </a:r>
            <a:r>
              <a:rPr lang="en-US" altLang="ko-KR" dirty="0" smtClean="0"/>
              <a:t>&gt; </a:t>
            </a:r>
            <a:r>
              <a:rPr lang="ko-KR" altLang="en-US" dirty="0" smtClean="0"/>
              <a:t>위험평가 </a:t>
            </a:r>
            <a:r>
              <a:rPr lang="ko-KR" altLang="en-US" dirty="0"/>
              <a:t>모델 적합성 </a:t>
            </a:r>
            <a:r>
              <a:rPr lang="ko-KR" altLang="en-US" dirty="0" smtClean="0"/>
              <a:t>검증 기능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 결과에 따라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EDD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비율로서 위험평가 모형 정합성을 판단하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en-US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모델 적합성검증화면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8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평가 결과에 따라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EDD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 비율로서 모형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합성을 판단하는 화면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0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887578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152099"/>
            <a:ext cx="21901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결과에 따라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EDD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수행 비율로서 모형 정합성을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판단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-S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계량 사용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)</a:t>
            </a: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64502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3" name="그림 32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881999"/>
            <a:ext cx="318769" cy="318769"/>
          </a:xfrm>
          <a:prstGeom prst="rect">
            <a:avLst/>
          </a:prstGeom>
        </p:spPr>
      </p:pic>
      <p:grpSp>
        <p:nvGrpSpPr>
          <p:cNvPr id="25" name="그룹 24"/>
          <p:cNvGrpSpPr/>
          <p:nvPr/>
        </p:nvGrpSpPr>
        <p:grpSpPr>
          <a:xfrm>
            <a:off x="469976" y="2377960"/>
            <a:ext cx="1569472" cy="188600"/>
            <a:chOff x="361442" y="2178385"/>
            <a:chExt cx="1569472" cy="188600"/>
          </a:xfrm>
        </p:grpSpPr>
        <p:sp>
          <p:nvSpPr>
            <p:cNvPr id="26" name="Text Box 358" descr="도식1"/>
            <p:cNvSpPr>
              <a:spLocks noChangeArrowheads="1"/>
            </p:cNvSpPr>
            <p:nvPr/>
          </p:nvSpPr>
          <p:spPr bwMode="auto">
            <a:xfrm>
              <a:off x="361442" y="2178385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바른고딕" pitchFamily="50" charset="-127"/>
                <a:ea typeface="나눔바른고딕" pitchFamily="50" charset="-127"/>
              </a:endParaRPr>
            </a:p>
          </p:txBody>
        </p:sp>
        <p:sp>
          <p:nvSpPr>
            <p:cNvPr id="27" name="Rt40" descr="도식1"/>
            <p:cNvSpPr>
              <a:spLocks noChangeArrowheads="1"/>
            </p:cNvSpPr>
            <p:nvPr/>
          </p:nvSpPr>
          <p:spPr bwMode="auto">
            <a:xfrm>
              <a:off x="727810" y="2195741"/>
              <a:ext cx="836769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1000" spc="-15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형적합성검증화면</a:t>
              </a:r>
            </a:p>
          </p:txBody>
        </p:sp>
      </p:grpSp>
      <p:pic>
        <p:nvPicPr>
          <p:cNvPr id="38" name="그림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76" y="2566560"/>
            <a:ext cx="6067291" cy="377876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36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52285" y="244237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543126"/>
            <a:ext cx="21901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3175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※ K-S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계량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- K-S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계량은 우량집단과 불량집단의 누적분포의 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차이를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나타내는 지표로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모형의 적합성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검증을 위한 통계량으로 활용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0235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2.7 </a:t>
            </a:r>
            <a:r>
              <a:rPr lang="ko-KR" altLang="en-US" dirty="0"/>
              <a:t>주요기능 </a:t>
            </a:r>
            <a:r>
              <a:rPr lang="en-US" altLang="ko-KR" dirty="0" smtClean="0"/>
              <a:t>(3/3</a:t>
            </a:r>
            <a:r>
              <a:rPr lang="en-US" altLang="ko-KR" dirty="0"/>
              <a:t>) </a:t>
            </a:r>
            <a:r>
              <a:rPr lang="en-US" altLang="ko-KR" dirty="0" smtClean="0"/>
              <a:t>&gt; </a:t>
            </a:r>
            <a:r>
              <a:rPr lang="ko-KR" altLang="en-US" dirty="0" smtClean="0"/>
              <a:t>위험평가 시뮬레이션 기능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RA)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적용 전 시뮬레이션을 위한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뮬레이션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22FB7E2C-3B19-4C36-BE2D-3ADB1FB75BC3}"/>
              </a:ext>
            </a:extLst>
          </p:cNvPr>
          <p:cNvGrpSpPr/>
          <p:nvPr/>
        </p:nvGrpSpPr>
        <p:grpSpPr>
          <a:xfrm>
            <a:off x="232538" y="2060848"/>
            <a:ext cx="6623450" cy="4423732"/>
            <a:chOff x="232538" y="2060848"/>
            <a:chExt cx="6623450" cy="4423732"/>
          </a:xfrm>
        </p:grpSpPr>
        <p:sp>
          <p:nvSpPr>
            <p:cNvPr id="39" name="자유형: 도형 4">
              <a:extLst>
                <a:ext uri="{FF2B5EF4-FFF2-40B4-BE49-F238E27FC236}">
                  <a16:creationId xmlns:a16="http://schemas.microsoft.com/office/drawing/2014/main" id="{ECF58973-DC72-4E32-8278-80B8EE1FFCFB}"/>
                </a:ext>
              </a:extLst>
            </p:cNvPr>
            <p:cNvSpPr/>
            <p:nvPr/>
          </p:nvSpPr>
          <p:spPr>
            <a:xfrm>
              <a:off x="232538" y="2060848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40" name="자유형: 도형 59">
              <a:extLst>
                <a:ext uri="{FF2B5EF4-FFF2-40B4-BE49-F238E27FC236}">
                  <a16:creationId xmlns:a16="http://schemas.microsoft.com/office/drawing/2014/main" id="{2FD87C47-85B1-4461-9DBF-E9AD98DD6FBA}"/>
                </a:ext>
              </a:extLst>
            </p:cNvPr>
            <p:cNvSpPr/>
            <p:nvPr/>
          </p:nvSpPr>
          <p:spPr>
            <a:xfrm flipV="1">
              <a:off x="232538" y="6309320"/>
              <a:ext cx="6623450" cy="175260"/>
            </a:xfrm>
            <a:custGeom>
              <a:avLst/>
              <a:gdLst>
                <a:gd name="connsiteX0" fmla="*/ 0 w 6111240"/>
                <a:gd name="connsiteY0" fmla="*/ 175260 h 175260"/>
                <a:gd name="connsiteX1" fmla="*/ 5920740 w 6111240"/>
                <a:gd name="connsiteY1" fmla="*/ 175260 h 175260"/>
                <a:gd name="connsiteX2" fmla="*/ 6111240 w 6111240"/>
                <a:gd name="connsiteY2" fmla="*/ 0 h 175260"/>
                <a:gd name="connsiteX3" fmla="*/ 5920740 w 6111240"/>
                <a:gd name="connsiteY3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1240" h="175260">
                  <a:moveTo>
                    <a:pt x="0" y="175260"/>
                  </a:moveTo>
                  <a:lnTo>
                    <a:pt x="5920740" y="175260"/>
                  </a:lnTo>
                  <a:lnTo>
                    <a:pt x="6111240" y="0"/>
                  </a:lnTo>
                  <a:lnTo>
                    <a:pt x="5920740" y="0"/>
                  </a:lnTo>
                </a:path>
              </a:pathLst>
            </a:custGeom>
            <a:noFill/>
            <a:ln w="25400">
              <a:solidFill>
                <a:schemeClr val="bg1">
                  <a:lumMod val="85000"/>
                  <a:alpha val="75000"/>
                </a:schemeClr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Rectangle 131"/>
          <p:cNvSpPr>
            <a:spLocks noChangeArrowheads="1"/>
          </p:cNvSpPr>
          <p:nvPr/>
        </p:nvSpPr>
        <p:spPr bwMode="auto">
          <a:xfrm>
            <a:off x="3580364" y="4373383"/>
            <a:ext cx="3060000" cy="17492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2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92572" y="4363783"/>
            <a:ext cx="3047791" cy="18651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3" name="Rectangle 126"/>
          <p:cNvSpPr>
            <a:spLocks noChangeArrowheads="1"/>
          </p:cNvSpPr>
          <p:nvPr/>
        </p:nvSpPr>
        <p:spPr bwMode="auto">
          <a:xfrm>
            <a:off x="273050" y="4335595"/>
            <a:ext cx="3136833" cy="17872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4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4363464"/>
            <a:ext cx="3160800" cy="186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5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 latinLnBrk="0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defRPr/>
            </a:pPr>
            <a:endParaRPr kumimoji="0" lang="en-US" altLang="ko-KR" sz="12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6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7" name="Rectangle 126"/>
          <p:cNvSpPr>
            <a:spLocks noChangeArrowheads="1"/>
          </p:cNvSpPr>
          <p:nvPr/>
        </p:nvSpPr>
        <p:spPr bwMode="auto">
          <a:xfrm>
            <a:off x="273050" y="2283334"/>
            <a:ext cx="3136833" cy="20730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indent="-87313" defTabSz="900113" fontAlgn="auto"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</a:pPr>
            <a:endParaRPr kumimoji="0" lang="en-US" altLang="ko-KR" sz="12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48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9" name="Rectangle 127"/>
          <p:cNvSpPr>
            <a:spLocks noChangeArrowheads="1"/>
          </p:cNvSpPr>
          <p:nvPr/>
        </p:nvSpPr>
        <p:spPr bwMode="gray">
          <a:xfrm>
            <a:off x="273050" y="2276840"/>
            <a:ext cx="3136833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0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1" name="Rectangle 11"/>
          <p:cNvSpPr>
            <a:spLocks noChangeAspect="1" noChangeArrowheads="1"/>
          </p:cNvSpPr>
          <p:nvPr/>
        </p:nvSpPr>
        <p:spPr bwMode="auto">
          <a:xfrm>
            <a:off x="1355767" y="2321652"/>
            <a:ext cx="97142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모델 적용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3" name="Rectangle 11"/>
          <p:cNvSpPr>
            <a:spLocks noChangeAspect="1" noChangeArrowheads="1"/>
          </p:cNvSpPr>
          <p:nvPr/>
        </p:nvSpPr>
        <p:spPr bwMode="auto">
          <a:xfrm>
            <a:off x="4699194" y="2321652"/>
            <a:ext cx="82234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뮬레이션 기준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4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5" name="Rectangle 127"/>
          <p:cNvSpPr>
            <a:spLocks noChangeArrowheads="1"/>
          </p:cNvSpPr>
          <p:nvPr/>
        </p:nvSpPr>
        <p:spPr bwMode="gray">
          <a:xfrm>
            <a:off x="273050" y="4329100"/>
            <a:ext cx="3136833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6" name="AutoShape 128"/>
          <p:cNvSpPr>
            <a:spLocks noChangeArrowheads="1"/>
          </p:cNvSpPr>
          <p:nvPr/>
        </p:nvSpPr>
        <p:spPr bwMode="gray">
          <a:xfrm>
            <a:off x="891650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b="1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7" name="Rectangle 11"/>
          <p:cNvSpPr>
            <a:spLocks noChangeAspect="1" noChangeArrowheads="1"/>
          </p:cNvSpPr>
          <p:nvPr/>
        </p:nvSpPr>
        <p:spPr bwMode="auto">
          <a:xfrm>
            <a:off x="1430304" y="4373913"/>
            <a:ext cx="82234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뮬레이션 결과</a:t>
            </a:r>
            <a:endParaRPr lang="ko-KR" altLang="en-US" sz="1000" kern="0" dirty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8" name="AutoShape 133"/>
          <p:cNvSpPr>
            <a:spLocks noChangeArrowheads="1"/>
          </p:cNvSpPr>
          <p:nvPr/>
        </p:nvSpPr>
        <p:spPr bwMode="gray">
          <a:xfrm>
            <a:off x="4159734" y="432910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59" name="Rectangle 11"/>
          <p:cNvSpPr>
            <a:spLocks noChangeAspect="1" noChangeArrowheads="1"/>
          </p:cNvSpPr>
          <p:nvPr/>
        </p:nvSpPr>
        <p:spPr bwMode="auto">
          <a:xfrm>
            <a:off x="4699193" y="4373913"/>
            <a:ext cx="82234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ko-KR" altLang="en-US" sz="10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뮬레이션 적용</a:t>
            </a:r>
            <a:endParaRPr lang="ko-KR" altLang="en-US" sz="10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0" name="Rectangle 132"/>
          <p:cNvSpPr>
            <a:spLocks noChangeArrowheads="1"/>
          </p:cNvSpPr>
          <p:nvPr/>
        </p:nvSpPr>
        <p:spPr bwMode="gray">
          <a:xfrm>
            <a:off x="3580363" y="432910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397" y="2773870"/>
            <a:ext cx="2806063" cy="132144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pSp>
        <p:nvGrpSpPr>
          <p:cNvPr id="116" name="그룹 115"/>
          <p:cNvGrpSpPr/>
          <p:nvPr/>
        </p:nvGrpSpPr>
        <p:grpSpPr>
          <a:xfrm>
            <a:off x="421397" y="2621748"/>
            <a:ext cx="900000" cy="147259"/>
            <a:chOff x="1114108" y="2573280"/>
            <a:chExt cx="879978" cy="144000"/>
          </a:xfrm>
        </p:grpSpPr>
        <p:sp>
          <p:nvSpPr>
            <p:cNvPr id="117" name="Text Box 358" descr="도식1"/>
            <p:cNvSpPr>
              <a:spLocks noChangeArrowheads="1"/>
            </p:cNvSpPr>
            <p:nvPr/>
          </p:nvSpPr>
          <p:spPr bwMode="auto">
            <a:xfrm>
              <a:off x="1114108" y="2573280"/>
              <a:ext cx="879978" cy="1440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dirty="0"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18" name="Rt40" descr="도식1"/>
            <p:cNvSpPr>
              <a:spLocks noChangeArrowheads="1"/>
            </p:cNvSpPr>
            <p:nvPr/>
          </p:nvSpPr>
          <p:spPr bwMode="auto">
            <a:xfrm>
              <a:off x="1221822" y="2594003"/>
              <a:ext cx="664554" cy="10533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70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 모델 적용</a:t>
              </a: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3781553" y="2624904"/>
            <a:ext cx="2659073" cy="1473320"/>
            <a:chOff x="3781553" y="2624904"/>
            <a:chExt cx="2659073" cy="1473320"/>
          </a:xfrm>
        </p:grpSpPr>
        <p:pic>
          <p:nvPicPr>
            <p:cNvPr id="120" name="그림 1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86608" y="2777024"/>
              <a:ext cx="2654018" cy="1321200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21" name="그룹 120"/>
            <p:cNvGrpSpPr/>
            <p:nvPr/>
          </p:nvGrpSpPr>
          <p:grpSpPr>
            <a:xfrm>
              <a:off x="3781553" y="2624904"/>
              <a:ext cx="900000" cy="147259"/>
              <a:chOff x="1114108" y="2573280"/>
              <a:chExt cx="879978" cy="144000"/>
            </a:xfrm>
          </p:grpSpPr>
          <p:sp>
            <p:nvSpPr>
              <p:cNvPr id="122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23" name="Rt40" descr="도식1"/>
              <p:cNvSpPr>
                <a:spLocks noChangeArrowheads="1"/>
              </p:cNvSpPr>
              <p:nvPr/>
            </p:nvSpPr>
            <p:spPr bwMode="auto">
              <a:xfrm>
                <a:off x="1272762" y="2594003"/>
                <a:ext cx="562677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시뮬레이션 기준</a:t>
                </a:r>
              </a:p>
            </p:txBody>
          </p:sp>
        </p:grpSp>
      </p:grpSp>
      <p:pic>
        <p:nvPicPr>
          <p:cNvPr id="134" name="그림 1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899" y="4831114"/>
            <a:ext cx="2829059" cy="129156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pSp>
        <p:nvGrpSpPr>
          <p:cNvPr id="23" name="그룹 22"/>
          <p:cNvGrpSpPr/>
          <p:nvPr/>
        </p:nvGrpSpPr>
        <p:grpSpPr>
          <a:xfrm>
            <a:off x="3784768" y="4696483"/>
            <a:ext cx="2655858" cy="1426197"/>
            <a:chOff x="3784768" y="4696483"/>
            <a:chExt cx="2655858" cy="1426197"/>
          </a:xfrm>
        </p:grpSpPr>
        <p:grpSp>
          <p:nvGrpSpPr>
            <p:cNvPr id="131" name="그룹 130"/>
            <p:cNvGrpSpPr/>
            <p:nvPr/>
          </p:nvGrpSpPr>
          <p:grpSpPr>
            <a:xfrm>
              <a:off x="3786608" y="4696483"/>
              <a:ext cx="900000" cy="147259"/>
              <a:chOff x="1114108" y="2573280"/>
              <a:chExt cx="879978" cy="144000"/>
            </a:xfrm>
          </p:grpSpPr>
          <p:sp>
            <p:nvSpPr>
              <p:cNvPr id="132" name="Text Box 358" descr="도식1"/>
              <p:cNvSpPr>
                <a:spLocks noChangeArrowheads="1"/>
              </p:cNvSpPr>
              <p:nvPr/>
            </p:nvSpPr>
            <p:spPr bwMode="auto">
              <a:xfrm>
                <a:off x="1114108" y="2573280"/>
                <a:ext cx="879978" cy="144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dirty="0"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133" name="Rt40" descr="도식1"/>
              <p:cNvSpPr>
                <a:spLocks noChangeArrowheads="1"/>
              </p:cNvSpPr>
              <p:nvPr/>
            </p:nvSpPr>
            <p:spPr bwMode="auto">
              <a:xfrm>
                <a:off x="1272762" y="2594003"/>
                <a:ext cx="562677" cy="10533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700" dirty="0" smtClean="0">
                    <a:solidFill>
                      <a:srgbClr val="F8F8F8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시뮬레이션 적용</a:t>
                </a:r>
              </a:p>
            </p:txBody>
          </p:sp>
        </p:grpSp>
        <p:pic>
          <p:nvPicPr>
            <p:cNvPr id="136" name="그림 13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84768" y="4850901"/>
              <a:ext cx="2655858" cy="1271779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sp>
        <p:nvSpPr>
          <p:cNvPr id="138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2816932"/>
            <a:ext cx="229075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RA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모델 시스템 적용을 위한 시뮬레이션 기준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뮬레이션 결과확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뮬레이션 적용 기능으로 구성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39" name="그룹 138"/>
          <p:cNvGrpSpPr/>
          <p:nvPr/>
        </p:nvGrpSpPr>
        <p:grpSpPr>
          <a:xfrm>
            <a:off x="7113487" y="2573308"/>
            <a:ext cx="1317567" cy="318769"/>
            <a:chOff x="7113487" y="2573308"/>
            <a:chExt cx="1317567" cy="318769"/>
          </a:xfrm>
        </p:grpSpPr>
        <p:sp>
          <p:nvSpPr>
            <p:cNvPr id="140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070806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위험평가 모델 적용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141" name="그림 140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142" name="그룹 141"/>
          <p:cNvGrpSpPr/>
          <p:nvPr/>
        </p:nvGrpSpPr>
        <p:grpSpPr>
          <a:xfrm>
            <a:off x="7113487" y="3537012"/>
            <a:ext cx="2376017" cy="705978"/>
            <a:chOff x="7113487" y="3439317"/>
            <a:chExt cx="2376017" cy="705978"/>
          </a:xfrm>
        </p:grpSpPr>
        <p:sp>
          <p:nvSpPr>
            <p:cNvPr id="143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속성값 가중치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속성 가중치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델 가중치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임계치를 조회하고 변경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후 시뮬레이션을 실행하는 기능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144" name="그룹 143"/>
            <p:cNvGrpSpPr/>
            <p:nvPr/>
          </p:nvGrpSpPr>
          <p:grpSpPr>
            <a:xfrm>
              <a:off x="7113487" y="3439317"/>
              <a:ext cx="1080644" cy="318769"/>
              <a:chOff x="7113487" y="4132302"/>
              <a:chExt cx="1080644" cy="318769"/>
            </a:xfrm>
          </p:grpSpPr>
          <p:sp>
            <p:nvSpPr>
              <p:cNvPr id="145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833883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ko-KR" altLang="en-US" sz="1100" spc="-70" dirty="0" smtClean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시뮬레이션 기준</a:t>
                </a:r>
                <a:endPara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146" name="그림 145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cxnSp>
        <p:nvCxnSpPr>
          <p:cNvPr id="147" name="직선 연결선 14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3569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753433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뮬레이션 결과를 확인하고 운영 적용을 위해 책임자에게 결재상신하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49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514699"/>
            <a:ext cx="90569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시뮬레이션 결과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150" name="직선 연결선 14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329100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1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723867"/>
            <a:ext cx="212925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RA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시뮬레이션 이력을 확인하고 시스템 적용을 위해 승인하는 화면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※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승인된 위험평가 모형은 익일 반영</a:t>
            </a:r>
            <a:endParaRPr lang="ko-KR" altLang="en-US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2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474777"/>
            <a:ext cx="90569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시뮬레이션 적용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153" name="직선 연결선 152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26520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54" name="그림 153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21666" y="4506949"/>
            <a:ext cx="320400" cy="320400"/>
          </a:xfrm>
          <a:prstGeom prst="rect">
            <a:avLst/>
          </a:prstGeom>
        </p:spPr>
      </p:pic>
      <p:pic>
        <p:nvPicPr>
          <p:cNvPr id="155" name="그림 154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2547" y="5466049"/>
            <a:ext cx="320400" cy="320400"/>
          </a:xfrm>
          <a:prstGeom prst="rect">
            <a:avLst/>
          </a:prstGeom>
        </p:spPr>
      </p:pic>
      <p:pic>
        <p:nvPicPr>
          <p:cNvPr id="156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895407" y="264718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34584" y="2642133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35447" y="472513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88" descr="예시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00699" y="471361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3" name="그룹 92"/>
          <p:cNvGrpSpPr/>
          <p:nvPr/>
        </p:nvGrpSpPr>
        <p:grpSpPr>
          <a:xfrm>
            <a:off x="408697" y="4691381"/>
            <a:ext cx="900000" cy="147259"/>
            <a:chOff x="1114108" y="2573280"/>
            <a:chExt cx="879978" cy="144000"/>
          </a:xfrm>
        </p:grpSpPr>
        <p:sp>
          <p:nvSpPr>
            <p:cNvPr id="94" name="Text Box 358" descr="도식1"/>
            <p:cNvSpPr>
              <a:spLocks noChangeArrowheads="1"/>
            </p:cNvSpPr>
            <p:nvPr/>
          </p:nvSpPr>
          <p:spPr bwMode="auto">
            <a:xfrm>
              <a:off x="1114108" y="2573280"/>
              <a:ext cx="879978" cy="1440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dirty="0"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5" name="Rt40" descr="도식1"/>
            <p:cNvSpPr>
              <a:spLocks noChangeArrowheads="1"/>
            </p:cNvSpPr>
            <p:nvPr/>
          </p:nvSpPr>
          <p:spPr bwMode="auto">
            <a:xfrm>
              <a:off x="1285302" y="2594003"/>
              <a:ext cx="537599" cy="10533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70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시뮬레이션결과</a:t>
              </a:r>
            </a:p>
          </p:txBody>
        </p:sp>
      </p:grpSp>
      <p:pic>
        <p:nvPicPr>
          <p:cNvPr id="97" name="그림 96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886" y="2383209"/>
            <a:ext cx="318769" cy="318769"/>
          </a:xfrm>
          <a:prstGeom prst="rect">
            <a:avLst/>
          </a:prstGeom>
        </p:spPr>
      </p:pic>
      <p:pic>
        <p:nvPicPr>
          <p:cNvPr id="98" name="그림 97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8394" y="2380498"/>
            <a:ext cx="318769" cy="318769"/>
          </a:xfrm>
          <a:prstGeom prst="rect">
            <a:avLst/>
          </a:prstGeom>
        </p:spPr>
      </p:pic>
      <p:pic>
        <p:nvPicPr>
          <p:cNvPr id="99" name="그림 98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021" y="4435469"/>
            <a:ext cx="320400" cy="320400"/>
          </a:xfrm>
          <a:prstGeom prst="rect">
            <a:avLst/>
          </a:prstGeom>
        </p:spPr>
      </p:pic>
      <p:pic>
        <p:nvPicPr>
          <p:cNvPr id="100" name="그림 99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2272" y="4444610"/>
            <a:ext cx="320400" cy="320400"/>
          </a:xfrm>
          <a:prstGeom prst="rect">
            <a:avLst/>
          </a:prstGeom>
        </p:spPr>
      </p:pic>
      <p:sp>
        <p:nvSpPr>
          <p:cNvPr id="8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87445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위험평가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5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직사각형 165"/>
          <p:cNvSpPr/>
          <p:nvPr/>
        </p:nvSpPr>
        <p:spPr>
          <a:xfrm>
            <a:off x="5806345" y="2613838"/>
            <a:ext cx="3388375" cy="279067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FD641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3875028" y="2958583"/>
            <a:ext cx="1457055" cy="233805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2.3.3 </a:t>
            </a:r>
            <a:r>
              <a:rPr lang="ko-KR" altLang="en-US" dirty="0"/>
              <a:t>요주의리스트 필터링 구축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요주의 리스트 필터링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체계 수립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64" name="모서리가 둥근 직사각형 63"/>
          <p:cNvSpPr/>
          <p:nvPr/>
        </p:nvSpPr>
        <p:spPr>
          <a:xfrm>
            <a:off x="353114" y="2165230"/>
            <a:ext cx="1143511" cy="3338423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atch List</a:t>
            </a:r>
            <a:b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ltering</a:t>
            </a:r>
          </a:p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ramework</a:t>
            </a:r>
            <a:endParaRPr lang="ko-KR" altLang="en-US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5" name="모서리가 둥근 직사각형 64"/>
          <p:cNvSpPr/>
          <p:nvPr/>
        </p:nvSpPr>
        <p:spPr>
          <a:xfrm>
            <a:off x="353114" y="5621815"/>
            <a:ext cx="1143511" cy="759513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atch List</a:t>
            </a:r>
          </a:p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anagement</a:t>
            </a:r>
            <a:endParaRPr lang="ko-KR" altLang="en-US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075551" y="3108038"/>
            <a:ext cx="1080000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</a:t>
            </a:r>
          </a:p>
        </p:txBody>
      </p:sp>
      <p:sp>
        <p:nvSpPr>
          <p:cNvPr id="4" name="순서도: 판단 3"/>
          <p:cNvSpPr/>
          <p:nvPr/>
        </p:nvSpPr>
        <p:spPr>
          <a:xfrm>
            <a:off x="2075550" y="3801973"/>
            <a:ext cx="1080001" cy="599968"/>
          </a:xfrm>
          <a:prstGeom prst="flowChartDecision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WLF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상</a:t>
            </a:r>
          </a:p>
        </p:txBody>
      </p:sp>
      <p:cxnSp>
        <p:nvCxnSpPr>
          <p:cNvPr id="6" name="직선 화살표 연결선 5"/>
          <p:cNvCxnSpPr>
            <a:stCxn id="3" idx="2"/>
            <a:endCxn id="4" idx="0"/>
          </p:cNvCxnSpPr>
          <p:nvPr/>
        </p:nvCxnSpPr>
        <p:spPr>
          <a:xfrm>
            <a:off x="2615551" y="3540038"/>
            <a:ext cx="0" cy="261935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/>
          <p:cNvSpPr/>
          <p:nvPr/>
        </p:nvSpPr>
        <p:spPr>
          <a:xfrm>
            <a:off x="1895531" y="2958583"/>
            <a:ext cx="1440160" cy="16810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59859" y="4404183"/>
            <a:ext cx="9113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Real-Time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2075551" y="4731370"/>
            <a:ext cx="1080000" cy="432000"/>
          </a:xfrm>
          <a:prstGeom prst="rect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eriodic</a:t>
            </a:r>
            <a:b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WLF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행</a:t>
            </a:r>
          </a:p>
        </p:txBody>
      </p:sp>
      <p:cxnSp>
        <p:nvCxnSpPr>
          <p:cNvPr id="70" name="직선 화살표 연결선 69"/>
          <p:cNvCxnSpPr>
            <a:stCxn id="4" idx="3"/>
          </p:cNvCxnSpPr>
          <p:nvPr/>
        </p:nvCxnSpPr>
        <p:spPr>
          <a:xfrm>
            <a:off x="3155551" y="4101957"/>
            <a:ext cx="719477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순서도: 자기 디스크 82"/>
          <p:cNvSpPr/>
          <p:nvPr/>
        </p:nvSpPr>
        <p:spPr>
          <a:xfrm>
            <a:off x="4071666" y="4689140"/>
            <a:ext cx="1080000" cy="477935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solidFill>
                  <a:srgbClr val="E0301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Sanctions</a:t>
            </a:r>
            <a:endParaRPr lang="ko-KR" altLang="en-US" sz="1100" kern="0" spc="60" dirty="0">
              <a:solidFill>
                <a:srgbClr val="E0301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94" name="직선 화살표 연결선 93"/>
          <p:cNvCxnSpPr>
            <a:stCxn id="68" idx="3"/>
          </p:cNvCxnSpPr>
          <p:nvPr/>
        </p:nvCxnSpPr>
        <p:spPr>
          <a:xfrm>
            <a:off x="3155551" y="4947370"/>
            <a:ext cx="719477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직사각형 97"/>
          <p:cNvSpPr/>
          <p:nvPr/>
        </p:nvSpPr>
        <p:spPr>
          <a:xfrm>
            <a:off x="1715509" y="5805263"/>
            <a:ext cx="1800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Watch List </a:t>
            </a: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주기 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3666932" y="5805263"/>
            <a:ext cx="1800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Watch List </a:t>
            </a: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목록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5618355" y="5805263"/>
            <a:ext cx="1800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Matching</a:t>
            </a: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성능 관리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7569777" y="5805263"/>
            <a:ext cx="1800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기록 보존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1895532" y="2613840"/>
            <a:ext cx="1440159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100" kern="0" spc="-5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 </a:t>
            </a:r>
            <a:r>
              <a:rPr lang="ko-KR" altLang="en-US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대상 정의</a:t>
            </a:r>
            <a:endParaRPr lang="en-US" altLang="ko-KR" sz="11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875028" y="2613840"/>
            <a:ext cx="1457055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atch List </a:t>
            </a:r>
            <a:r>
              <a:rPr lang="ko-KR" altLang="en-US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정의</a:t>
            </a:r>
            <a:endParaRPr lang="en-US" altLang="ko-KR" sz="11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5927979" y="3236291"/>
            <a:ext cx="1260000" cy="39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Alert Generation</a:t>
            </a:r>
            <a:endParaRPr lang="ko-KR" altLang="en-US" sz="1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5927979" y="3009884"/>
            <a:ext cx="1260000" cy="245161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Matching</a:t>
            </a:r>
            <a:endParaRPr lang="ko-KR" altLang="en-US" sz="11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07" name="직선 화살표 연결선 106"/>
          <p:cNvCxnSpPr>
            <a:endCxn id="105" idx="1"/>
          </p:cNvCxnSpPr>
          <p:nvPr/>
        </p:nvCxnSpPr>
        <p:spPr>
          <a:xfrm>
            <a:off x="5332083" y="3132465"/>
            <a:ext cx="595896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직사각형 111"/>
          <p:cNvSpPr/>
          <p:nvPr/>
        </p:nvSpPr>
        <p:spPr>
          <a:xfrm>
            <a:off x="5927979" y="4060446"/>
            <a:ext cx="1260000" cy="39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조사분석절차</a:t>
            </a:r>
            <a:endParaRPr lang="ko-KR" altLang="en-US" sz="1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927979" y="3834039"/>
            <a:ext cx="1260000" cy="245161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Investigation</a:t>
            </a:r>
            <a:endParaRPr lang="ko-KR" altLang="en-US" sz="11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14" name="직선 화살표 연결선 113"/>
          <p:cNvCxnSpPr>
            <a:stCxn id="104" idx="2"/>
            <a:endCxn id="113" idx="0"/>
          </p:cNvCxnSpPr>
          <p:nvPr/>
        </p:nvCxnSpPr>
        <p:spPr>
          <a:xfrm>
            <a:off x="6557979" y="3632291"/>
            <a:ext cx="0" cy="2017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직사각형 117"/>
          <p:cNvSpPr/>
          <p:nvPr/>
        </p:nvSpPr>
        <p:spPr>
          <a:xfrm>
            <a:off x="7836191" y="4060446"/>
            <a:ext cx="1260000" cy="39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외부 보고</a:t>
            </a:r>
            <a:endParaRPr lang="ko-KR" altLang="en-US" sz="1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7836191" y="3834039"/>
            <a:ext cx="1260000" cy="245161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Reporting</a:t>
            </a:r>
            <a:endParaRPr lang="ko-KR" altLang="en-US" sz="11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20" name="직선 화살표 연결선 119"/>
          <p:cNvCxnSpPr>
            <a:stCxn id="113" idx="3"/>
            <a:endCxn id="119" idx="1"/>
          </p:cNvCxnSpPr>
          <p:nvPr/>
        </p:nvCxnSpPr>
        <p:spPr>
          <a:xfrm>
            <a:off x="7187979" y="3956620"/>
            <a:ext cx="64821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직사각형 123"/>
          <p:cNvSpPr/>
          <p:nvPr/>
        </p:nvSpPr>
        <p:spPr>
          <a:xfrm>
            <a:off x="7836191" y="3236291"/>
            <a:ext cx="1260000" cy="396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False Positive</a:t>
            </a:r>
            <a:endParaRPr lang="ko-KR" altLang="en-US" sz="1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25" name="직사각형 124"/>
          <p:cNvSpPr/>
          <p:nvPr/>
        </p:nvSpPr>
        <p:spPr>
          <a:xfrm>
            <a:off x="7836191" y="3009884"/>
            <a:ext cx="1260000" cy="245161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Tuning</a:t>
            </a:r>
            <a:endParaRPr lang="ko-KR" altLang="en-US" sz="1100" kern="0" spc="-5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26" name="직선 화살표 연결선 125"/>
          <p:cNvCxnSpPr>
            <a:stCxn id="119" idx="0"/>
            <a:endCxn id="124" idx="2"/>
          </p:cNvCxnSpPr>
          <p:nvPr/>
        </p:nvCxnSpPr>
        <p:spPr>
          <a:xfrm flipV="1">
            <a:off x="8466191" y="3632291"/>
            <a:ext cx="0" cy="2017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꺾인 연결선 129"/>
          <p:cNvCxnSpPr>
            <a:stCxn id="125" idx="0"/>
            <a:endCxn id="103" idx="0"/>
          </p:cNvCxnSpPr>
          <p:nvPr/>
        </p:nvCxnSpPr>
        <p:spPr>
          <a:xfrm rot="16200000" flipV="1">
            <a:off x="6336852" y="880544"/>
            <a:ext cx="396044" cy="3862635"/>
          </a:xfrm>
          <a:prstGeom prst="bentConnector3">
            <a:avLst>
              <a:gd name="adj1" fmla="val 157721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직사각형 146"/>
          <p:cNvSpPr/>
          <p:nvPr/>
        </p:nvSpPr>
        <p:spPr>
          <a:xfrm>
            <a:off x="5927979" y="4900635"/>
            <a:ext cx="1260000" cy="396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계속 거래</a:t>
            </a:r>
            <a:endParaRPr lang="ko-KR" altLang="en-US" sz="1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8" name="직사각형 147"/>
          <p:cNvSpPr/>
          <p:nvPr/>
        </p:nvSpPr>
        <p:spPr>
          <a:xfrm>
            <a:off x="5927979" y="4674228"/>
            <a:ext cx="1260000" cy="245161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spc="-5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 수용</a:t>
            </a:r>
          </a:p>
        </p:txBody>
      </p:sp>
      <p:cxnSp>
        <p:nvCxnSpPr>
          <p:cNvPr id="149" name="직선 화살표 연결선 148"/>
          <p:cNvCxnSpPr>
            <a:stCxn id="112" idx="2"/>
            <a:endCxn id="148" idx="0"/>
          </p:cNvCxnSpPr>
          <p:nvPr/>
        </p:nvCxnSpPr>
        <p:spPr>
          <a:xfrm>
            <a:off x="6557979" y="4456446"/>
            <a:ext cx="0" cy="217782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/>
          <p:cNvSpPr txBox="1"/>
          <p:nvPr/>
        </p:nvSpPr>
        <p:spPr>
          <a:xfrm>
            <a:off x="5745089" y="2168860"/>
            <a:ext cx="16921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Threshold Value Tuning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62" name="직사각형 161"/>
          <p:cNvSpPr/>
          <p:nvPr/>
        </p:nvSpPr>
        <p:spPr>
          <a:xfrm>
            <a:off x="1604628" y="2165230"/>
            <a:ext cx="7930789" cy="33384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63" name="직사각형 162"/>
          <p:cNvSpPr/>
          <p:nvPr/>
        </p:nvSpPr>
        <p:spPr>
          <a:xfrm>
            <a:off x="1604628" y="5620578"/>
            <a:ext cx="7930789" cy="76074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68" name="TextBox 167"/>
          <p:cNvSpPr txBox="1"/>
          <p:nvPr/>
        </p:nvSpPr>
        <p:spPr>
          <a:xfrm>
            <a:off x="5961079" y="2636912"/>
            <a:ext cx="21602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atch List Filtering </a:t>
            </a:r>
            <a:r>
              <a:rPr lang="ko-KR" altLang="en-US" sz="1000" b="1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기능 요건</a:t>
            </a:r>
            <a:endParaRPr lang="ko-KR" altLang="en-US" sz="1000" b="1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21214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1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 리스트 필터링 대상 및 국제 제재 대상 等 은행이 충분히 주의를 기울여야 하는 요주의 리스트를 관리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 리스트 필터링 성능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속적으로 모니터링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할 수 있는 체계를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4" name="순서도: 자기 디스크 83"/>
          <p:cNvSpPr/>
          <p:nvPr/>
        </p:nvSpPr>
        <p:spPr>
          <a:xfrm>
            <a:off x="4071666" y="4291651"/>
            <a:ext cx="1080000" cy="477935"/>
          </a:xfrm>
          <a:prstGeom prst="flowChartMagneticDisk">
            <a:avLst/>
          </a:prstGeom>
          <a:solidFill>
            <a:srgbClr val="CFD6DB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dverse Media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5" name="순서도: 자기 디스크 84"/>
          <p:cNvSpPr/>
          <p:nvPr/>
        </p:nvSpPr>
        <p:spPr>
          <a:xfrm>
            <a:off x="4071666" y="3897866"/>
            <a:ext cx="1080000" cy="477935"/>
          </a:xfrm>
          <a:prstGeom prst="flowChartMagneticDisk">
            <a:avLst/>
          </a:prstGeom>
          <a:solidFill>
            <a:srgbClr val="CFD6DB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EPs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순서도: 자기 디스크 85"/>
          <p:cNvSpPr/>
          <p:nvPr/>
        </p:nvSpPr>
        <p:spPr>
          <a:xfrm>
            <a:off x="4071666" y="3504081"/>
            <a:ext cx="1080000" cy="477935"/>
          </a:xfrm>
          <a:prstGeom prst="flowChartMagneticDisk">
            <a:avLst/>
          </a:prstGeom>
          <a:solidFill>
            <a:srgbClr val="CFD6DB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nternal List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7" name="순서도: 자기 디스크 86"/>
          <p:cNvSpPr/>
          <p:nvPr/>
        </p:nvSpPr>
        <p:spPr>
          <a:xfrm>
            <a:off x="4071666" y="3110296"/>
            <a:ext cx="1080000" cy="477935"/>
          </a:xfrm>
          <a:prstGeom prst="flowChartMagneticDisk">
            <a:avLst/>
          </a:prstGeom>
          <a:solidFill>
            <a:srgbClr val="CFD6DB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Watch List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모서리가 둥근 직사각형 78"/>
          <p:cNvSpPr/>
          <p:nvPr/>
        </p:nvSpPr>
        <p:spPr>
          <a:xfrm>
            <a:off x="1778187" y="2423979"/>
            <a:ext cx="288000" cy="288000"/>
          </a:xfrm>
          <a:prstGeom prst="roundRect">
            <a:avLst>
              <a:gd name="adj" fmla="val 0"/>
            </a:avLst>
          </a:prstGeom>
          <a:solidFill>
            <a:srgbClr val="D04A02">
              <a:lumMod val="75000"/>
            </a:srgbClr>
          </a:solidFill>
          <a:ln w="9525">
            <a:noFill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80" name="모서리가 둥근 직사각형 79"/>
          <p:cNvSpPr/>
          <p:nvPr/>
        </p:nvSpPr>
        <p:spPr>
          <a:xfrm>
            <a:off x="3745994" y="2423979"/>
            <a:ext cx="288000" cy="288000"/>
          </a:xfrm>
          <a:prstGeom prst="roundRect">
            <a:avLst>
              <a:gd name="adj" fmla="val 0"/>
            </a:avLst>
          </a:prstGeom>
          <a:solidFill>
            <a:srgbClr val="D04A02">
              <a:lumMod val="75000"/>
            </a:srgbClr>
          </a:solidFill>
          <a:ln w="9525">
            <a:noFill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5661615" y="2481376"/>
            <a:ext cx="288000" cy="288000"/>
          </a:xfrm>
          <a:prstGeom prst="roundRect">
            <a:avLst>
              <a:gd name="adj" fmla="val 0"/>
            </a:avLst>
          </a:prstGeom>
          <a:solidFill>
            <a:srgbClr val="D04A02">
              <a:lumMod val="75000"/>
            </a:srgbClr>
          </a:solidFill>
          <a:ln w="9525">
            <a:noFill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3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82" name="슬라이드 번호 개체 틀 2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9532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직사각형 120"/>
          <p:cNvSpPr/>
          <p:nvPr/>
        </p:nvSpPr>
        <p:spPr>
          <a:xfrm>
            <a:off x="8374381" y="2675147"/>
            <a:ext cx="1043116" cy="282977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3.1 </a:t>
            </a:r>
            <a:r>
              <a:rPr lang="ko-KR" altLang="en-US" dirty="0" smtClean="0"/>
              <a:t>요주의리스트 필터링</a:t>
            </a:r>
            <a:r>
              <a:rPr lang="en-US" altLang="ko-KR" dirty="0" smtClean="0"/>
              <a:t> </a:t>
            </a:r>
            <a:r>
              <a:rPr lang="ko-KR" altLang="en-US" dirty="0"/>
              <a:t>대상 및 </a:t>
            </a:r>
            <a:r>
              <a:rPr lang="ko-KR" altLang="en-US" dirty="0" smtClean="0"/>
              <a:t>이벤트 </a:t>
            </a:r>
            <a:r>
              <a:rPr lang="ko-KR" altLang="en-US" dirty="0"/>
              <a:t>정의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8540800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국내 법령 및 규정 과 국제 제재 대상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등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 리스트 필터링 대상과 이벤트를 완전성 있게 식별하여 업무 별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 Filter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의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요주의리스트 필터링 대상 및 요주의리스트 필터링 이벤트 정의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34" name="직사각형 33"/>
          <p:cNvSpPr/>
          <p:nvPr/>
        </p:nvSpPr>
        <p:spPr>
          <a:xfrm>
            <a:off x="900202" y="2204864"/>
            <a:ext cx="4032448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법령 및 규정 요구사항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452500" y="2663852"/>
            <a:ext cx="375694" cy="1581405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국내</a:t>
            </a:r>
          </a:p>
        </p:txBody>
      </p:sp>
      <p:sp>
        <p:nvSpPr>
          <p:cNvPr id="36" name="직사각형 35"/>
          <p:cNvSpPr/>
          <p:nvPr/>
        </p:nvSpPr>
        <p:spPr>
          <a:xfrm>
            <a:off x="900202" y="2676416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세탁방지 및 공중협박자금조달금지에 </a:t>
            </a:r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한 업무규정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900202" y="3079363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정 금융거래정보의 보고 및 이용 등에 관한 법률</a:t>
            </a:r>
          </a:p>
        </p:txBody>
      </p:sp>
      <p:sp>
        <p:nvSpPr>
          <p:cNvPr id="45" name="직사각형 44"/>
          <p:cNvSpPr/>
          <p:nvPr/>
        </p:nvSpPr>
        <p:spPr>
          <a:xfrm>
            <a:off x="900202" y="3482310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중 등 협박목적 및 대량살상무기확산을 위한 </a:t>
            </a:r>
            <a:endParaRPr lang="en-US" altLang="ko-KR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조달행위의 금지에 관한 법률</a:t>
            </a:r>
          </a:p>
        </p:txBody>
      </p:sp>
      <p:sp>
        <p:nvSpPr>
          <p:cNvPr id="46" name="직사각형 45"/>
          <p:cNvSpPr/>
          <p:nvPr/>
        </p:nvSpPr>
        <p:spPr>
          <a:xfrm>
            <a:off x="900202" y="3885257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거래등제한대상자 지정 및 지정 취소에 관한 규정</a:t>
            </a:r>
          </a:p>
        </p:txBody>
      </p:sp>
      <p:sp>
        <p:nvSpPr>
          <p:cNvPr id="47" name="모서리가 둥근 직사각형 46"/>
          <p:cNvSpPr/>
          <p:nvPr/>
        </p:nvSpPr>
        <p:spPr>
          <a:xfrm>
            <a:off x="452500" y="4336117"/>
            <a:ext cx="375694" cy="1973203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국외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900202" y="4741978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UN Security Council (Consolidated United Nations </a:t>
            </a:r>
          </a:p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ecurity Council Sanctions List)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900202" y="5144925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US Treasury </a:t>
            </a:r>
            <a:r>
              <a:rPr lang="en-US" altLang="ko-KR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OFAC (Sanctions </a:t>
            </a:r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rograms and Information)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900202" y="5547872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U Foreign Policy </a:t>
            </a:r>
            <a:r>
              <a:rPr lang="fr-FR" altLang="ko-KR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nstruments (EU </a:t>
            </a:r>
            <a:r>
              <a:rPr lang="fr-FR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anctions Map)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909670" y="5949320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UK HM </a:t>
            </a:r>
            <a:r>
              <a:rPr lang="fr-FR" altLang="ko-KR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reasury (Her </a:t>
            </a:r>
            <a:r>
              <a:rPr lang="fr-FR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ajesty's Treasury Sanctions List)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5204715" y="2204864"/>
            <a:ext cx="2883983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업무 </a:t>
            </a:r>
            <a:r>
              <a:rPr lang="ko-KR" altLang="en-US" sz="1200" kern="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별 요주의리스트 필터링</a:t>
            </a:r>
            <a:r>
              <a:rPr lang="en-US" altLang="ko-KR" sz="1200" kern="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대상 정의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900202" y="4336117"/>
            <a:ext cx="4032448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EPs / FATF </a:t>
            </a:r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정 위험국가 </a:t>
            </a:r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 Adverse Media 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77" name="표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520891"/>
              </p:ext>
            </p:extLst>
          </p:nvPr>
        </p:nvGraphicFramePr>
        <p:xfrm>
          <a:off x="5208378" y="2663852"/>
          <a:ext cx="2880320" cy="2583815"/>
        </p:xfrm>
        <a:graphic>
          <a:graphicData uri="http://schemas.openxmlformats.org/drawingml/2006/table">
            <a:tbl>
              <a:tblPr/>
              <a:tblGrid>
                <a:gridCol w="1030775">
                  <a:extLst>
                    <a:ext uri="{9D8B030D-6E8A-4147-A177-3AD203B41FA5}">
                      <a16:colId xmlns:a16="http://schemas.microsoft.com/office/drawing/2014/main" val="1326782717"/>
                    </a:ext>
                  </a:extLst>
                </a:gridCol>
                <a:gridCol w="369909">
                  <a:extLst>
                    <a:ext uri="{9D8B030D-6E8A-4147-A177-3AD203B41FA5}">
                      <a16:colId xmlns:a16="http://schemas.microsoft.com/office/drawing/2014/main" val="2194402985"/>
                    </a:ext>
                  </a:extLst>
                </a:gridCol>
                <a:gridCol w="369909">
                  <a:extLst>
                    <a:ext uri="{9D8B030D-6E8A-4147-A177-3AD203B41FA5}">
                      <a16:colId xmlns:a16="http://schemas.microsoft.com/office/drawing/2014/main" val="1492597059"/>
                    </a:ext>
                  </a:extLst>
                </a:gridCol>
                <a:gridCol w="369909">
                  <a:extLst>
                    <a:ext uri="{9D8B030D-6E8A-4147-A177-3AD203B41FA5}">
                      <a16:colId xmlns:a16="http://schemas.microsoft.com/office/drawing/2014/main" val="2509972366"/>
                    </a:ext>
                  </a:extLst>
                </a:gridCol>
                <a:gridCol w="369909">
                  <a:extLst>
                    <a:ext uri="{9D8B030D-6E8A-4147-A177-3AD203B41FA5}">
                      <a16:colId xmlns:a16="http://schemas.microsoft.com/office/drawing/2014/main" val="2226953837"/>
                    </a:ext>
                  </a:extLst>
                </a:gridCol>
                <a:gridCol w="369909">
                  <a:extLst>
                    <a:ext uri="{9D8B030D-6E8A-4147-A177-3AD203B41FA5}">
                      <a16:colId xmlns:a16="http://schemas.microsoft.com/office/drawing/2014/main" val="2568956011"/>
                    </a:ext>
                  </a:extLst>
                </a:gridCol>
              </a:tblGrid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  <a:r>
                        <a:rPr lang="ko-KR" altLang="en-US" sz="10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수신</a:t>
                      </a:r>
                      <a:endParaRPr lang="ko-KR" altLang="en-US" sz="1000" b="0" i="0" u="none" strike="noStrike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여신</a:t>
                      </a:r>
                      <a:endParaRPr lang="ko-KR" altLang="en-US" sz="1000" b="0" i="0" u="none" strike="noStrike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외환</a:t>
                      </a:r>
                      <a:endParaRPr lang="ko-KR" altLang="en-US" sz="1000" b="0" i="0" u="none" strike="noStrike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방카</a:t>
                      </a:r>
                      <a:endParaRPr lang="ko-KR" altLang="en-US" sz="1000" b="0" i="0" u="none" strike="noStrike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무역</a:t>
                      </a:r>
                      <a:endParaRPr lang="ko-KR" altLang="en-US" sz="1000" b="0" i="0" u="none" strike="noStrike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07261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거래고객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●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520964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리인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478120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실제 소유자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74573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표자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6201631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수익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6135509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거래 상대방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768334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거래 파트너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4164510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중개인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190757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대 거래 은행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●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6768897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선박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918166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선사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●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739679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…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7798002"/>
                  </a:ext>
                </a:extLst>
              </a:tr>
            </a:tbl>
          </a:graphicData>
        </a:graphic>
      </p:graphicFrame>
      <p:sp>
        <p:nvSpPr>
          <p:cNvPr id="79" name="직사각형 78"/>
          <p:cNvSpPr/>
          <p:nvPr/>
        </p:nvSpPr>
        <p:spPr>
          <a:xfrm>
            <a:off x="5204715" y="5547872"/>
            <a:ext cx="2883983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기초 데이터 수집 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5210422" y="5949320"/>
            <a:ext cx="826048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영문 성명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6078742" y="5949320"/>
            <a:ext cx="553333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국적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6674347" y="5949320"/>
            <a:ext cx="826048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거주 국가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7542667" y="5949320"/>
            <a:ext cx="546031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…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4" name="아래쪽 화살표 83"/>
          <p:cNvSpPr/>
          <p:nvPr/>
        </p:nvSpPr>
        <p:spPr>
          <a:xfrm rot="16200000">
            <a:off x="4988636" y="2295232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85" name="아래쪽 화살표 84"/>
          <p:cNvSpPr/>
          <p:nvPr/>
        </p:nvSpPr>
        <p:spPr>
          <a:xfrm>
            <a:off x="6556706" y="5325662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8374380" y="5547872"/>
            <a:ext cx="1043116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Data Provider</a:t>
            </a:r>
          </a:p>
        </p:txBody>
      </p:sp>
      <p:sp>
        <p:nvSpPr>
          <p:cNvPr id="87" name="직사각형 86"/>
          <p:cNvSpPr/>
          <p:nvPr/>
        </p:nvSpPr>
        <p:spPr>
          <a:xfrm>
            <a:off x="8374380" y="5949320"/>
            <a:ext cx="104311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WLF/</a:t>
            </a:r>
          </a:p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Sanctions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8" name="아래쪽 화살표 87"/>
          <p:cNvSpPr/>
          <p:nvPr/>
        </p:nvSpPr>
        <p:spPr>
          <a:xfrm rot="5400000">
            <a:off x="8141540" y="5638240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8360763" y="2204864"/>
            <a:ext cx="1056733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 Event</a:t>
            </a:r>
          </a:p>
        </p:txBody>
      </p:sp>
      <p:sp>
        <p:nvSpPr>
          <p:cNvPr id="91" name="순서도: 판단 90"/>
          <p:cNvSpPr/>
          <p:nvPr/>
        </p:nvSpPr>
        <p:spPr>
          <a:xfrm>
            <a:off x="8481392" y="3224703"/>
            <a:ext cx="831442" cy="599968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en-US" altLang="ko-KR" sz="1100" kern="0" spc="6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</a:t>
            </a:r>
          </a:p>
          <a:p>
            <a:pPr algn="ctr" defTabSz="914400"/>
            <a:r>
              <a:rPr lang="ko-KR" altLang="en-US" sz="1100" kern="0" spc="6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대상</a:t>
            </a:r>
            <a:endParaRPr lang="ko-KR" altLang="en-US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92" name="직사각형 91"/>
          <p:cNvSpPr/>
          <p:nvPr/>
        </p:nvSpPr>
        <p:spPr>
          <a:xfrm>
            <a:off x="8374380" y="2675147"/>
            <a:ext cx="104311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Real Time </a:t>
            </a:r>
          </a:p>
          <a:p>
            <a:pPr algn="ctr" defTabSz="914400"/>
            <a:r>
              <a:rPr lang="en-US" altLang="ko-KR" sz="1100" kern="0" spc="60" dirty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Filtering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93" name="직선 화살표 연결선 92"/>
          <p:cNvCxnSpPr>
            <a:stCxn id="92" idx="2"/>
            <a:endCxn id="91" idx="0"/>
          </p:cNvCxnSpPr>
          <p:nvPr/>
        </p:nvCxnSpPr>
        <p:spPr>
          <a:xfrm>
            <a:off x="8895938" y="3035147"/>
            <a:ext cx="1175" cy="18955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직사각형 96"/>
          <p:cNvSpPr/>
          <p:nvPr/>
        </p:nvSpPr>
        <p:spPr>
          <a:xfrm>
            <a:off x="8374380" y="4077072"/>
            <a:ext cx="104311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Batch</a:t>
            </a:r>
          </a:p>
          <a:p>
            <a:pPr algn="ctr" defTabSz="914400"/>
            <a:r>
              <a:rPr lang="en-US" altLang="ko-KR" sz="1100" kern="0" spc="60" dirty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Filtering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99" name="순서도: 판단 98"/>
          <p:cNvSpPr/>
          <p:nvPr/>
        </p:nvSpPr>
        <p:spPr>
          <a:xfrm>
            <a:off x="8481392" y="4618600"/>
            <a:ext cx="831442" cy="599968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en-US" altLang="ko-KR" sz="1100" kern="0" spc="6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Periodic</a:t>
            </a:r>
            <a:endParaRPr lang="ko-KR" altLang="en-US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00" name="직선 화살표 연결선 99"/>
          <p:cNvCxnSpPr>
            <a:stCxn id="97" idx="2"/>
            <a:endCxn id="99" idx="0"/>
          </p:cNvCxnSpPr>
          <p:nvPr/>
        </p:nvCxnSpPr>
        <p:spPr>
          <a:xfrm>
            <a:off x="8895938" y="4437072"/>
            <a:ext cx="1175" cy="1815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아래쪽 화살표 114"/>
          <p:cNvSpPr/>
          <p:nvPr/>
        </p:nvSpPr>
        <p:spPr>
          <a:xfrm rot="16200000">
            <a:off x="8141541" y="2295231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51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2575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필터링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8" name="슬라이드 번호 개체 틀 2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59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27628" y="210741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4982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오른쪽 화살표 143"/>
          <p:cNvSpPr/>
          <p:nvPr/>
        </p:nvSpPr>
        <p:spPr>
          <a:xfrm>
            <a:off x="6285148" y="3049020"/>
            <a:ext cx="252028" cy="3331989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3.2 </a:t>
            </a:r>
            <a:r>
              <a:rPr lang="ko-KR" altLang="en-US" dirty="0"/>
              <a:t>요주의리스트 필터링</a:t>
            </a:r>
            <a:r>
              <a:rPr lang="en-US" altLang="ko-KR" dirty="0"/>
              <a:t> </a:t>
            </a:r>
            <a:r>
              <a:rPr lang="ko-KR" altLang="en-US" dirty="0" smtClean="0"/>
              <a:t>데이터 </a:t>
            </a:r>
            <a:r>
              <a:rPr lang="ko-KR" altLang="en-US" dirty="0"/>
              <a:t>수집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7829066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 Filtering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입수 방안 들에 대해 적시성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확성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비용 등 중요 사항을 검토하여 효율적인 데이터 입수 방안을 정의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요주의리스트 필터링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수집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" name="모서리가 둥근 직사각형 16"/>
          <p:cNvSpPr/>
          <p:nvPr/>
        </p:nvSpPr>
        <p:spPr>
          <a:xfrm>
            <a:off x="452500" y="2780929"/>
            <a:ext cx="375694" cy="1150702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국내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890107" y="2780928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법령 및 규정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884548" y="3176279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죄</a:t>
            </a:r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재 등 관련 </a:t>
            </a:r>
            <a:endParaRPr lang="en-US" altLang="ko-KR" sz="1100" dirty="0" smtClean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10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 </a:t>
            </a:r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도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890107" y="3571630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고 계좌 等</a:t>
            </a:r>
          </a:p>
        </p:txBody>
      </p:sp>
      <p:sp>
        <p:nvSpPr>
          <p:cNvPr id="49" name="모서리가 둥근 직사각형 48"/>
          <p:cNvSpPr/>
          <p:nvPr/>
        </p:nvSpPr>
        <p:spPr>
          <a:xfrm>
            <a:off x="452500" y="4126019"/>
            <a:ext cx="375694" cy="2337940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국외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890107" y="4126019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외</a:t>
            </a:r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gative News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890107" y="4521370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FATF/ PEPs List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890107" y="4916721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UN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890107" y="5312072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OFAC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890107" y="5707423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U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890107" y="6103959"/>
            <a:ext cx="1320701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MT</a:t>
            </a:r>
            <a:endParaRPr lang="ko-KR" altLang="en-US" sz="11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452376" y="2060848"/>
            <a:ext cx="1752873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Data Source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2432720" y="2060848"/>
            <a:ext cx="3923280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 Data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수집 방안 적정성 검토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2565889" y="2849416"/>
            <a:ext cx="2001363" cy="223024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defTabSz="914400"/>
            <a:r>
              <a:rPr lang="ko-KR" altLang="en-US" sz="10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법령 및 규정 수집 방안 검토</a:t>
            </a:r>
            <a:endParaRPr lang="ko-KR" altLang="en-US" sz="10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graphicFrame>
        <p:nvGraphicFramePr>
          <p:cNvPr id="61" name="표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18309"/>
              </p:ext>
            </p:extLst>
          </p:nvPr>
        </p:nvGraphicFramePr>
        <p:xfrm>
          <a:off x="2533689" y="3049020"/>
          <a:ext cx="3746504" cy="1192530"/>
        </p:xfrm>
        <a:graphic>
          <a:graphicData uri="http://schemas.openxmlformats.org/drawingml/2006/table">
            <a:tbl>
              <a:tblPr/>
              <a:tblGrid>
                <a:gridCol w="1066346">
                  <a:extLst>
                    <a:ext uri="{9D8B030D-6E8A-4147-A177-3AD203B41FA5}">
                      <a16:colId xmlns:a16="http://schemas.microsoft.com/office/drawing/2014/main" val="1845035475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631506521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2021582371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2194151414"/>
                    </a:ext>
                  </a:extLst>
                </a:gridCol>
                <a:gridCol w="432390">
                  <a:extLst>
                    <a:ext uri="{9D8B030D-6E8A-4147-A177-3AD203B41FA5}">
                      <a16:colId xmlns:a16="http://schemas.microsoft.com/office/drawing/2014/main" val="1161564822"/>
                    </a:ext>
                  </a:extLst>
                </a:gridCol>
                <a:gridCol w="432390">
                  <a:extLst>
                    <a:ext uri="{9D8B030D-6E8A-4147-A177-3AD203B41FA5}">
                      <a16:colId xmlns:a16="http://schemas.microsoft.com/office/drawing/2014/main" val="1463676864"/>
                    </a:ext>
                  </a:extLst>
                </a:gridCol>
              </a:tblGrid>
              <a:tr h="1987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검토 항목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총합</a:t>
                      </a:r>
                      <a:endParaRPr lang="ko-KR" altLang="en-US" sz="800" b="0" i="0" u="none" strike="noStrike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024507"/>
                  </a:ext>
                </a:extLst>
              </a:tr>
              <a:tr h="19875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적시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정확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비용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7155921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Manual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업로드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下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中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中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9438937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Automated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연계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中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中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下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1608843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Data Provider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上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上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上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7972139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820928"/>
                  </a:ext>
                </a:extLst>
              </a:tr>
            </a:tbl>
          </a:graphicData>
        </a:graphic>
      </p:graphicFrame>
      <p:cxnSp>
        <p:nvCxnSpPr>
          <p:cNvPr id="65" name="꺾인 연결선 64"/>
          <p:cNvCxnSpPr>
            <a:stCxn id="22" idx="3"/>
            <a:endCxn id="72" idx="1"/>
          </p:cNvCxnSpPr>
          <p:nvPr/>
        </p:nvCxnSpPr>
        <p:spPr>
          <a:xfrm>
            <a:off x="2205249" y="3356279"/>
            <a:ext cx="360340" cy="50821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/>
          <p:cNvSpPr/>
          <p:nvPr/>
        </p:nvSpPr>
        <p:spPr>
          <a:xfrm>
            <a:off x="2565589" y="3752977"/>
            <a:ext cx="2721443" cy="223024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defTabSz="914400"/>
            <a:r>
              <a:rPr lang="ko-KR" altLang="en-US" sz="10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범죄</a:t>
            </a:r>
            <a:r>
              <a:rPr lang="en-US" altLang="ko-KR" sz="10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0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제재 등 관련 수집 방안 검토</a:t>
            </a:r>
            <a:endParaRPr lang="ko-KR" altLang="en-US" sz="10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graphicFrame>
        <p:nvGraphicFramePr>
          <p:cNvPr id="73" name="표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667871"/>
              </p:ext>
            </p:extLst>
          </p:nvPr>
        </p:nvGraphicFramePr>
        <p:xfrm>
          <a:off x="2533389" y="3955220"/>
          <a:ext cx="3746504" cy="1192530"/>
        </p:xfrm>
        <a:graphic>
          <a:graphicData uri="http://schemas.openxmlformats.org/drawingml/2006/table">
            <a:tbl>
              <a:tblPr/>
              <a:tblGrid>
                <a:gridCol w="1066346">
                  <a:extLst>
                    <a:ext uri="{9D8B030D-6E8A-4147-A177-3AD203B41FA5}">
                      <a16:colId xmlns:a16="http://schemas.microsoft.com/office/drawing/2014/main" val="1845035475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631506521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2021582371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2194151414"/>
                    </a:ext>
                  </a:extLst>
                </a:gridCol>
                <a:gridCol w="432390">
                  <a:extLst>
                    <a:ext uri="{9D8B030D-6E8A-4147-A177-3AD203B41FA5}">
                      <a16:colId xmlns:a16="http://schemas.microsoft.com/office/drawing/2014/main" val="1161564822"/>
                    </a:ext>
                  </a:extLst>
                </a:gridCol>
                <a:gridCol w="432390">
                  <a:extLst>
                    <a:ext uri="{9D8B030D-6E8A-4147-A177-3AD203B41FA5}">
                      <a16:colId xmlns:a16="http://schemas.microsoft.com/office/drawing/2014/main" val="1463676864"/>
                    </a:ext>
                  </a:extLst>
                </a:gridCol>
              </a:tblGrid>
              <a:tr h="198755"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구분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검토 항목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총합</a:t>
                      </a:r>
                      <a:endParaRPr lang="ko-KR" altLang="en-US" sz="800" b="0" i="0" u="none" strike="noStrike" kern="1200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024507"/>
                  </a:ext>
                </a:extLst>
              </a:tr>
              <a:tr h="19875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적시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정확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비용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7155921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nual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로드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中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上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下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9438937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utomated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계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下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下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下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1608843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 Provider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上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中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上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7972139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820928"/>
                  </a:ext>
                </a:extLst>
              </a:tr>
            </a:tbl>
          </a:graphicData>
        </a:graphic>
      </p:graphicFrame>
      <p:cxnSp>
        <p:nvCxnSpPr>
          <p:cNvPr id="77" name="직선 화살표 연결선 76"/>
          <p:cNvCxnSpPr>
            <a:stCxn id="18" idx="3"/>
            <a:endCxn id="60" idx="1"/>
          </p:cNvCxnSpPr>
          <p:nvPr/>
        </p:nvCxnSpPr>
        <p:spPr>
          <a:xfrm>
            <a:off x="2210808" y="2960928"/>
            <a:ext cx="355081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직사각형 80"/>
          <p:cNvSpPr/>
          <p:nvPr/>
        </p:nvSpPr>
        <p:spPr>
          <a:xfrm>
            <a:off x="2563801" y="4986236"/>
            <a:ext cx="3172156" cy="223024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defTabSz="914400"/>
            <a:r>
              <a:rPr lang="en-US" altLang="ko-KR" sz="1000" kern="0" spc="6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UN, OFAC, EU, HNT Sanctions </a:t>
            </a:r>
            <a:r>
              <a:rPr lang="ko-KR" altLang="en-US" sz="1000" kern="0" spc="6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수집 방안 검토</a:t>
            </a:r>
          </a:p>
        </p:txBody>
      </p:sp>
      <p:graphicFrame>
        <p:nvGraphicFramePr>
          <p:cNvPr id="82" name="표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664067"/>
              </p:ext>
            </p:extLst>
          </p:nvPr>
        </p:nvGraphicFramePr>
        <p:xfrm>
          <a:off x="2531601" y="5188479"/>
          <a:ext cx="3746504" cy="1192530"/>
        </p:xfrm>
        <a:graphic>
          <a:graphicData uri="http://schemas.openxmlformats.org/drawingml/2006/table">
            <a:tbl>
              <a:tblPr/>
              <a:tblGrid>
                <a:gridCol w="1066346">
                  <a:extLst>
                    <a:ext uri="{9D8B030D-6E8A-4147-A177-3AD203B41FA5}">
                      <a16:colId xmlns:a16="http://schemas.microsoft.com/office/drawing/2014/main" val="1845035475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631506521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2021582371"/>
                    </a:ext>
                  </a:extLst>
                </a:gridCol>
                <a:gridCol w="605126">
                  <a:extLst>
                    <a:ext uri="{9D8B030D-6E8A-4147-A177-3AD203B41FA5}">
                      <a16:colId xmlns:a16="http://schemas.microsoft.com/office/drawing/2014/main" val="2194151414"/>
                    </a:ext>
                  </a:extLst>
                </a:gridCol>
                <a:gridCol w="432390">
                  <a:extLst>
                    <a:ext uri="{9D8B030D-6E8A-4147-A177-3AD203B41FA5}">
                      <a16:colId xmlns:a16="http://schemas.microsoft.com/office/drawing/2014/main" val="1161564822"/>
                    </a:ext>
                  </a:extLst>
                </a:gridCol>
                <a:gridCol w="432390">
                  <a:extLst>
                    <a:ext uri="{9D8B030D-6E8A-4147-A177-3AD203B41FA5}">
                      <a16:colId xmlns:a16="http://schemas.microsoft.com/office/drawing/2014/main" val="1463676864"/>
                    </a:ext>
                  </a:extLst>
                </a:gridCol>
              </a:tblGrid>
              <a:tr h="198755"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구분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검토 항목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총합</a:t>
                      </a:r>
                      <a:endParaRPr lang="ko-KR" altLang="en-US" sz="800" b="0" i="0" u="none" strike="noStrike" kern="1200" dirty="0"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024507"/>
                  </a:ext>
                </a:extLst>
              </a:tr>
              <a:tr h="19875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적시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정확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비용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800" b="0" i="0" u="none" strike="noStrike" kern="1200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7155921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Manual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업로드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中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上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下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9438937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Automated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연계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下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下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下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1608843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Data Provider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上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中</a:t>
                      </a:r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上</a:t>
                      </a:r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7972139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820928"/>
                  </a:ext>
                </a:extLst>
              </a:tr>
            </a:tbl>
          </a:graphicData>
        </a:graphic>
      </p:graphicFrame>
      <p:cxnSp>
        <p:nvCxnSpPr>
          <p:cNvPr id="86" name="꺾인 연결선 85"/>
          <p:cNvCxnSpPr>
            <a:stCxn id="53" idx="3"/>
            <a:endCxn id="81" idx="1"/>
          </p:cNvCxnSpPr>
          <p:nvPr/>
        </p:nvCxnSpPr>
        <p:spPr>
          <a:xfrm flipV="1">
            <a:off x="2210808" y="5097748"/>
            <a:ext cx="352993" cy="39432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꺾인 연결선 88"/>
          <p:cNvCxnSpPr>
            <a:stCxn id="55" idx="3"/>
            <a:endCxn id="81" idx="1"/>
          </p:cNvCxnSpPr>
          <p:nvPr/>
        </p:nvCxnSpPr>
        <p:spPr>
          <a:xfrm flipV="1">
            <a:off x="2210808" y="5097748"/>
            <a:ext cx="352993" cy="78967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꺾인 연결선 91"/>
          <p:cNvCxnSpPr>
            <a:stCxn id="56" idx="3"/>
            <a:endCxn id="81" idx="1"/>
          </p:cNvCxnSpPr>
          <p:nvPr/>
        </p:nvCxnSpPr>
        <p:spPr>
          <a:xfrm flipV="1">
            <a:off x="2210808" y="5097748"/>
            <a:ext cx="352993" cy="118621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화살표 연결선 99"/>
          <p:cNvCxnSpPr>
            <a:stCxn id="52" idx="3"/>
            <a:endCxn id="81" idx="1"/>
          </p:cNvCxnSpPr>
          <p:nvPr/>
        </p:nvCxnSpPr>
        <p:spPr>
          <a:xfrm>
            <a:off x="2210808" y="5096721"/>
            <a:ext cx="352993" cy="1027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꺾인 연결선 102"/>
          <p:cNvCxnSpPr>
            <a:stCxn id="25" idx="3"/>
            <a:endCxn id="73" idx="1"/>
          </p:cNvCxnSpPr>
          <p:nvPr/>
        </p:nvCxnSpPr>
        <p:spPr>
          <a:xfrm>
            <a:off x="2210808" y="3751630"/>
            <a:ext cx="322581" cy="79985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꺾인 연결선 107"/>
          <p:cNvCxnSpPr>
            <a:stCxn id="50" idx="3"/>
            <a:endCxn id="73" idx="1"/>
          </p:cNvCxnSpPr>
          <p:nvPr/>
        </p:nvCxnSpPr>
        <p:spPr>
          <a:xfrm>
            <a:off x="2210808" y="4306019"/>
            <a:ext cx="322581" cy="24546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꺾인 연결선 110"/>
          <p:cNvCxnSpPr>
            <a:stCxn id="51" idx="3"/>
            <a:endCxn id="73" idx="1"/>
          </p:cNvCxnSpPr>
          <p:nvPr/>
        </p:nvCxnSpPr>
        <p:spPr>
          <a:xfrm flipV="1">
            <a:off x="2210808" y="4551485"/>
            <a:ext cx="322581" cy="14988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직사각형 121"/>
          <p:cNvSpPr/>
          <p:nvPr/>
        </p:nvSpPr>
        <p:spPr>
          <a:xfrm>
            <a:off x="6603297" y="2060848"/>
            <a:ext cx="1386517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수집 방법 정의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40" name="직선 화살표 연결선 139"/>
          <p:cNvCxnSpPr>
            <a:stCxn id="143" idx="2"/>
            <a:endCxn id="121" idx="0"/>
          </p:cNvCxnSpPr>
          <p:nvPr/>
        </p:nvCxnSpPr>
        <p:spPr>
          <a:xfrm flipH="1">
            <a:off x="7351365" y="3465004"/>
            <a:ext cx="1" cy="18002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3" name="순서도: 판단 142"/>
          <p:cNvSpPr/>
          <p:nvPr/>
        </p:nvSpPr>
        <p:spPr>
          <a:xfrm>
            <a:off x="6658107" y="2581638"/>
            <a:ext cx="1386517" cy="883366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효율적인 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en-US" altLang="ko-KR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 </a:t>
            </a:r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데이터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수집 방안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장단점 비교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58" name="순서도: 자기 디스크 157"/>
          <p:cNvSpPr/>
          <p:nvPr/>
        </p:nvSpPr>
        <p:spPr>
          <a:xfrm>
            <a:off x="8362990" y="4692872"/>
            <a:ext cx="1080000" cy="477935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solidFill>
                  <a:srgbClr val="E03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ctions</a:t>
            </a:r>
            <a:endParaRPr lang="ko-KR" altLang="en-US" sz="1100" kern="0" spc="60" dirty="0">
              <a:solidFill>
                <a:srgbClr val="E030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순서도: 자기 디스크 158"/>
          <p:cNvSpPr/>
          <p:nvPr/>
        </p:nvSpPr>
        <p:spPr>
          <a:xfrm>
            <a:off x="8362990" y="4295383"/>
            <a:ext cx="1080000" cy="477935"/>
          </a:xfrm>
          <a:prstGeom prst="flowChartMagneticDisk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solidFill>
                  <a:srgbClr val="E03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erse</a:t>
            </a:r>
            <a:br>
              <a:rPr lang="en-US" altLang="ko-KR" sz="1100" kern="0" spc="60" dirty="0" smtClean="0">
                <a:solidFill>
                  <a:srgbClr val="E0301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ko-KR" sz="1100" kern="0" spc="60" dirty="0" smtClean="0">
                <a:solidFill>
                  <a:srgbClr val="E03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</a:t>
            </a:r>
            <a:endParaRPr lang="ko-KR" altLang="en-US" sz="1100" kern="0" spc="60" dirty="0">
              <a:solidFill>
                <a:srgbClr val="E030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순서도: 자기 디스크 159"/>
          <p:cNvSpPr/>
          <p:nvPr/>
        </p:nvSpPr>
        <p:spPr>
          <a:xfrm>
            <a:off x="8362990" y="3901598"/>
            <a:ext cx="1080000" cy="477935"/>
          </a:xfrm>
          <a:prstGeom prst="flowChartMagneticDisk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solidFill>
                  <a:srgbClr val="E03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Ps</a:t>
            </a:r>
            <a:endParaRPr lang="ko-KR" altLang="en-US" sz="1100" kern="0" spc="60" dirty="0">
              <a:solidFill>
                <a:srgbClr val="E030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순서도: 자기 디스크 160"/>
          <p:cNvSpPr/>
          <p:nvPr/>
        </p:nvSpPr>
        <p:spPr>
          <a:xfrm>
            <a:off x="8362990" y="3507813"/>
            <a:ext cx="1080000" cy="477935"/>
          </a:xfrm>
          <a:prstGeom prst="flowChartMagneticDisk">
            <a:avLst/>
          </a:prstGeom>
          <a:solidFill>
            <a:srgbClr val="CFD6DB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nternal List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2" name="순서도: 자기 디스크 161"/>
          <p:cNvSpPr/>
          <p:nvPr/>
        </p:nvSpPr>
        <p:spPr>
          <a:xfrm>
            <a:off x="8362990" y="3114028"/>
            <a:ext cx="1080000" cy="477935"/>
          </a:xfrm>
          <a:prstGeom prst="flowChartMagneticDisk">
            <a:avLst/>
          </a:prstGeom>
          <a:solidFill>
            <a:srgbClr val="CFD6DB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Watch List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7" name="오른쪽 화살표 166"/>
          <p:cNvSpPr/>
          <p:nvPr/>
        </p:nvSpPr>
        <p:spPr>
          <a:xfrm rot="16200000">
            <a:off x="8527084" y="4712516"/>
            <a:ext cx="323236" cy="1664365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69" name="직사각형 168"/>
          <p:cNvSpPr/>
          <p:nvPr/>
        </p:nvSpPr>
        <p:spPr>
          <a:xfrm>
            <a:off x="7856518" y="6103959"/>
            <a:ext cx="82240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적시 업데이트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70" name="직사각형 169"/>
          <p:cNvSpPr/>
          <p:nvPr/>
        </p:nvSpPr>
        <p:spPr>
          <a:xfrm>
            <a:off x="8702941" y="6103959"/>
            <a:ext cx="82240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완전성</a:t>
            </a:r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/>
            </a:r>
            <a:b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지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71" name="직사각형 170"/>
          <p:cNvSpPr/>
          <p:nvPr/>
        </p:nvSpPr>
        <p:spPr>
          <a:xfrm>
            <a:off x="7856518" y="5706356"/>
            <a:ext cx="1668828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 Data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관리방안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73" name="직사각형 172"/>
          <p:cNvSpPr/>
          <p:nvPr/>
        </p:nvSpPr>
        <p:spPr>
          <a:xfrm>
            <a:off x="8265367" y="2060848"/>
            <a:ext cx="1259979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 </a:t>
            </a:r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DB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구성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78" name="직사각형 177"/>
          <p:cNvSpPr/>
          <p:nvPr/>
        </p:nvSpPr>
        <p:spPr>
          <a:xfrm>
            <a:off x="8265368" y="2956858"/>
            <a:ext cx="1249589" cy="233805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직사각형 178"/>
          <p:cNvSpPr/>
          <p:nvPr/>
        </p:nvSpPr>
        <p:spPr>
          <a:xfrm>
            <a:off x="2432720" y="2804967"/>
            <a:ext cx="3923280" cy="365899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0" name="직선 화살표 연결선 179"/>
          <p:cNvCxnSpPr>
            <a:stCxn id="200" idx="3"/>
          </p:cNvCxnSpPr>
          <p:nvPr/>
        </p:nvCxnSpPr>
        <p:spPr>
          <a:xfrm>
            <a:off x="7893677" y="5094746"/>
            <a:ext cx="408849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8" name="TextBox 187"/>
          <p:cNvSpPr txBox="1"/>
          <p:nvPr/>
        </p:nvSpPr>
        <p:spPr>
          <a:xfrm>
            <a:off x="2432720" y="2481845"/>
            <a:ext cx="39232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atch List </a:t>
            </a:r>
            <a:r>
              <a:rPr lang="ko-KR" altLang="en-US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원천에 대한 데이터 수집 방안 별 적정성을 검토</a:t>
            </a:r>
            <a:endParaRPr lang="ko-KR" altLang="en-US" sz="100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452376" y="2481845"/>
            <a:ext cx="17330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 </a:t>
            </a:r>
            <a:r>
              <a:rPr lang="ko-KR" altLang="en-US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원천에 대한 정의</a:t>
            </a:r>
            <a:endParaRPr lang="ko-KR" altLang="en-US" sz="100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8265367" y="2481845"/>
            <a:ext cx="1476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 DB</a:t>
            </a:r>
            <a:r>
              <a:rPr lang="ko-KR" altLang="en-US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구성 案 정의</a:t>
            </a:r>
            <a:endParaRPr lang="ko-KR" altLang="en-US" sz="100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91" name="아래쪽 화살표 190"/>
          <p:cNvSpPr/>
          <p:nvPr/>
        </p:nvSpPr>
        <p:spPr>
          <a:xfrm rot="16200000">
            <a:off x="2223144" y="2158054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92" name="아래쪽 화살표 191"/>
          <p:cNvSpPr/>
          <p:nvPr/>
        </p:nvSpPr>
        <p:spPr>
          <a:xfrm rot="16200000">
            <a:off x="6388225" y="2158055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93" name="아래쪽 화살표 192"/>
          <p:cNvSpPr/>
          <p:nvPr/>
        </p:nvSpPr>
        <p:spPr>
          <a:xfrm rot="16200000">
            <a:off x="8039966" y="2158055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00" name="순서도: 판단 199"/>
          <p:cNvSpPr/>
          <p:nvPr/>
        </p:nvSpPr>
        <p:spPr>
          <a:xfrm>
            <a:off x="6809054" y="4806412"/>
            <a:ext cx="1084623" cy="576667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최적 </a:t>
            </a:r>
            <a:r>
              <a:rPr lang="ko-KR" altLang="en-US" sz="1100" kern="0" spc="6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안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정의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210" name="꺾인 연결선 209"/>
          <p:cNvCxnSpPr>
            <a:stCxn id="200" idx="2"/>
            <a:endCxn id="171" idx="1"/>
          </p:cNvCxnSpPr>
          <p:nvPr/>
        </p:nvCxnSpPr>
        <p:spPr>
          <a:xfrm rot="16200000" flipH="1">
            <a:off x="7352304" y="5382141"/>
            <a:ext cx="503277" cy="505152"/>
          </a:xfrm>
          <a:prstGeom prst="bentConnector2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4" name="직선 화살표 연결선 213"/>
          <p:cNvCxnSpPr>
            <a:stCxn id="121" idx="2"/>
            <a:endCxn id="200" idx="0"/>
          </p:cNvCxnSpPr>
          <p:nvPr/>
        </p:nvCxnSpPr>
        <p:spPr>
          <a:xfrm>
            <a:off x="7351365" y="4599228"/>
            <a:ext cx="1" cy="207184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7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2575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필터링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5" name="슬라이드 번호 개체 틀 2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6584572"/>
              </p:ext>
            </p:extLst>
          </p:nvPr>
        </p:nvGraphicFramePr>
        <p:xfrm>
          <a:off x="6581379" y="3645024"/>
          <a:ext cx="1539973" cy="954204"/>
        </p:xfrm>
        <a:graphic>
          <a:graphicData uri="http://schemas.openxmlformats.org/drawingml/2006/table">
            <a:tbl>
              <a:tblPr/>
              <a:tblGrid>
                <a:gridCol w="785044">
                  <a:extLst>
                    <a:ext uri="{9D8B030D-6E8A-4147-A177-3AD203B41FA5}">
                      <a16:colId xmlns:a16="http://schemas.microsoft.com/office/drawing/2014/main" val="3924245579"/>
                    </a:ext>
                  </a:extLst>
                </a:gridCol>
                <a:gridCol w="251643">
                  <a:extLst>
                    <a:ext uri="{9D8B030D-6E8A-4147-A177-3AD203B41FA5}">
                      <a16:colId xmlns:a16="http://schemas.microsoft.com/office/drawing/2014/main" val="2994683394"/>
                    </a:ext>
                  </a:extLst>
                </a:gridCol>
                <a:gridCol w="251643">
                  <a:extLst>
                    <a:ext uri="{9D8B030D-6E8A-4147-A177-3AD203B41FA5}">
                      <a16:colId xmlns:a16="http://schemas.microsoft.com/office/drawing/2014/main" val="3306020805"/>
                    </a:ext>
                  </a:extLst>
                </a:gridCol>
                <a:gridCol w="251643">
                  <a:extLst>
                    <a:ext uri="{9D8B030D-6E8A-4147-A177-3AD203B41FA5}">
                      <a16:colId xmlns:a16="http://schemas.microsoft.com/office/drawing/2014/main" val="2447969812"/>
                    </a:ext>
                  </a:extLst>
                </a:gridCol>
              </a:tblGrid>
              <a:tr h="2297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방안</a:t>
                      </a:r>
                      <a:endParaRPr 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641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장점</a:t>
                      </a:r>
                      <a:endParaRPr lang="ko-KR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641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단점</a:t>
                      </a:r>
                      <a:endParaRPr lang="ko-KR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641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순위</a:t>
                      </a:r>
                      <a:endParaRPr lang="ko-KR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641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315391"/>
                  </a:ext>
                </a:extLst>
              </a:tr>
              <a:tr h="2297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수동 관리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2270933"/>
                  </a:ext>
                </a:extLst>
              </a:tr>
              <a:tr h="24738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동 추출 관리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3966289"/>
                  </a:ext>
                </a:extLst>
              </a:tr>
              <a:tr h="24738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용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DB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매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3808912"/>
                  </a:ext>
                </a:extLst>
              </a:tr>
            </a:tbl>
          </a:graphicData>
        </a:graphic>
      </p:graphicFrame>
      <p:pic>
        <p:nvPicPr>
          <p:cNvPr id="78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02595" y="2712684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797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오른쪽 화살표 236"/>
          <p:cNvSpPr/>
          <p:nvPr/>
        </p:nvSpPr>
        <p:spPr>
          <a:xfrm>
            <a:off x="3641705" y="2527704"/>
            <a:ext cx="143692" cy="1073799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3.3.1 </a:t>
            </a:r>
            <a:r>
              <a:rPr lang="ko-KR" altLang="en-US" dirty="0"/>
              <a:t>요주의리스트 필터링</a:t>
            </a:r>
            <a:r>
              <a:rPr lang="en-US" altLang="ko-KR" dirty="0"/>
              <a:t> </a:t>
            </a:r>
            <a:r>
              <a:rPr lang="ko-KR" altLang="en-US" dirty="0" smtClean="0"/>
              <a:t>성능 </a:t>
            </a:r>
            <a:r>
              <a:rPr lang="ko-KR" altLang="en-US" dirty="0"/>
              <a:t>관리 기능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64598"/>
            <a:ext cx="8734763" cy="364202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속적으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 Filter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성능을 유지하기 위해 성능을 모니터링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False Positive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가 과다 발생하는 경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 Filter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임계값에 대한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uning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요구사항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의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요주의리스트 필터링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성능 관리 기능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57" name="직사각형 56"/>
          <p:cNvSpPr/>
          <p:nvPr/>
        </p:nvSpPr>
        <p:spPr>
          <a:xfrm>
            <a:off x="1844054" y="2060848"/>
            <a:ext cx="1752873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Matching Engine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설정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3824398" y="2060848"/>
            <a:ext cx="5557094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atch List Filtering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운영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1844054" y="2544888"/>
            <a:ext cx="1752873" cy="1071247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 Matching Similarity</a:t>
            </a:r>
          </a:p>
          <a:p>
            <a:pPr algn="ctr" defTabSz="914400"/>
            <a:r>
              <a:rPr lang="en-US" altLang="ko-KR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Threshold </a:t>
            </a:r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정의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27" name="직사각형 126"/>
          <p:cNvSpPr/>
          <p:nvPr/>
        </p:nvSpPr>
        <p:spPr>
          <a:xfrm>
            <a:off x="3824398" y="4227758"/>
            <a:ext cx="392328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성능 평가 지표 개발</a:t>
            </a:r>
            <a:r>
              <a:rPr lang="ko-KR" altLang="en-US" sz="1100" b="1" kern="0" spc="6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1100" kern="0" spc="60" dirty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예</a:t>
            </a:r>
            <a:r>
              <a:rPr lang="en-US" altLang="ko-KR" sz="1100" kern="0" spc="60" dirty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 Hit </a:t>
            </a:r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Ratio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29" name="순서도: 판단 128"/>
          <p:cNvSpPr/>
          <p:nvPr/>
        </p:nvSpPr>
        <p:spPr>
          <a:xfrm>
            <a:off x="7994975" y="5150049"/>
            <a:ext cx="1386517" cy="883366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en-US" altLang="ko-KR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False Positive</a:t>
            </a: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과다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33" name="직선 화살표 연결선 132"/>
          <p:cNvCxnSpPr>
            <a:stCxn id="127" idx="3"/>
            <a:endCxn id="146" idx="1"/>
          </p:cNvCxnSpPr>
          <p:nvPr/>
        </p:nvCxnSpPr>
        <p:spPr>
          <a:xfrm>
            <a:off x="7747678" y="4407758"/>
            <a:ext cx="247297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직사각형 134"/>
          <p:cNvSpPr/>
          <p:nvPr/>
        </p:nvSpPr>
        <p:spPr>
          <a:xfrm>
            <a:off x="5717860" y="5075240"/>
            <a:ext cx="1958966" cy="1032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wrap="none" lIns="0" rIns="0" numCol="1" rtlCol="0" anchor="ctr"/>
          <a:lstStyle/>
          <a:p>
            <a:pPr algn="ctr" defTabSz="914400"/>
            <a:r>
              <a:rPr lang="en-US" altLang="ko-KR" sz="1100" b="1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ATL/BTL Test</a:t>
            </a:r>
          </a:p>
          <a:p>
            <a:pPr algn="ctr" defTabSz="914400"/>
            <a:r>
              <a:rPr lang="en-US" altLang="ko-KR" sz="8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Above </a:t>
            </a:r>
            <a:r>
              <a:rPr lang="en-US" altLang="ko-KR" sz="800" kern="0" spc="60" dirty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The Line </a:t>
            </a:r>
            <a:r>
              <a:rPr lang="en-US" altLang="ko-KR" sz="8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/ Below The Line)</a:t>
            </a:r>
            <a:endParaRPr lang="en-US" altLang="ko-KR" sz="8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39" name="직선 화살표 연결선 138"/>
          <p:cNvCxnSpPr>
            <a:stCxn id="146" idx="2"/>
            <a:endCxn id="129" idx="0"/>
          </p:cNvCxnSpPr>
          <p:nvPr/>
        </p:nvCxnSpPr>
        <p:spPr>
          <a:xfrm>
            <a:off x="8688234" y="4587758"/>
            <a:ext cx="0" cy="562291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6" name="직사각형 145"/>
          <p:cNvSpPr/>
          <p:nvPr/>
        </p:nvSpPr>
        <p:spPr>
          <a:xfrm>
            <a:off x="7994975" y="4227758"/>
            <a:ext cx="1386517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 </a:t>
            </a:r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성능모니터링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50" name="직사각형 149"/>
          <p:cNvSpPr/>
          <p:nvPr/>
        </p:nvSpPr>
        <p:spPr>
          <a:xfrm>
            <a:off x="1844054" y="3645024"/>
            <a:ext cx="1752873" cy="360000"/>
          </a:xfrm>
          <a:prstGeom prst="rect">
            <a:avLst/>
          </a:prstGeom>
          <a:solidFill>
            <a:srgbClr val="D04A02">
              <a:lumMod val="75000"/>
            </a:srgbClr>
          </a:solidFill>
          <a:ln w="9525">
            <a:noFill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77172"/>
            <a:r>
              <a:rPr lang="en-US" altLang="ko-KR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LF </a:t>
            </a:r>
            <a:r>
              <a:rPr lang="ko-KR" altLang="en-US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임계 값 </a:t>
            </a:r>
            <a:r>
              <a:rPr lang="en-US" altLang="ko-KR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Tuning</a:t>
            </a:r>
            <a:endParaRPr lang="ko-KR" altLang="en-US" sz="11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164" name="Group 6"/>
          <p:cNvGrpSpPr>
            <a:grpSpLocks noChangeAspect="1"/>
          </p:cNvGrpSpPr>
          <p:nvPr/>
        </p:nvGrpSpPr>
        <p:grpSpPr>
          <a:xfrm>
            <a:off x="3843245" y="5043642"/>
            <a:ext cx="1709345" cy="1307665"/>
            <a:chOff x="0" y="0"/>
            <a:chExt cx="3776483" cy="3447784"/>
          </a:xfrm>
        </p:grpSpPr>
        <p:grpSp>
          <p:nvGrpSpPr>
            <p:cNvPr id="165" name="Group 800"/>
            <p:cNvGrpSpPr/>
            <p:nvPr/>
          </p:nvGrpSpPr>
          <p:grpSpPr>
            <a:xfrm>
              <a:off x="0" y="0"/>
              <a:ext cx="3659905" cy="3447784"/>
              <a:chOff x="0" y="0"/>
              <a:chExt cx="3280716" cy="2091368"/>
            </a:xfrm>
          </p:grpSpPr>
          <p:grpSp>
            <p:nvGrpSpPr>
              <p:cNvPr id="197" name="Group 801"/>
              <p:cNvGrpSpPr/>
              <p:nvPr/>
            </p:nvGrpSpPr>
            <p:grpSpPr>
              <a:xfrm>
                <a:off x="0" y="0"/>
                <a:ext cx="3280716" cy="2091368"/>
                <a:chOff x="0" y="-1"/>
                <a:chExt cx="2932667" cy="3144963"/>
              </a:xfrm>
            </p:grpSpPr>
            <p:sp>
              <p:nvSpPr>
                <p:cNvPr id="199" name="Rectangle 802"/>
                <p:cNvSpPr/>
                <p:nvPr/>
              </p:nvSpPr>
              <p:spPr>
                <a:xfrm>
                  <a:off x="0" y="-1"/>
                  <a:ext cx="2932667" cy="3144963"/>
                </a:xfrm>
                <a:prstGeom prst="rect">
                  <a:avLst/>
                </a:prstGeom>
                <a:ln w="3175">
                  <a:noFill/>
                  <a:prstDash val="dash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endParaRPr lang="ko-KR" altLang="en-US" sz="500" dirty="0">
                    <a:latin typeface="+mn-ea"/>
                  </a:endParaRPr>
                </a:p>
              </p:txBody>
            </p:sp>
            <p:grpSp>
              <p:nvGrpSpPr>
                <p:cNvPr id="201" name="Group 803"/>
                <p:cNvGrpSpPr>
                  <a:grpSpLocks noChangeAspect="1"/>
                </p:cNvGrpSpPr>
                <p:nvPr/>
              </p:nvGrpSpPr>
              <p:grpSpPr>
                <a:xfrm>
                  <a:off x="78675" y="79939"/>
                  <a:ext cx="2850341" cy="2468880"/>
                  <a:chOff x="78674" y="79939"/>
                  <a:chExt cx="2965967" cy="2569028"/>
                </a:xfrm>
              </p:grpSpPr>
              <p:grpSp>
                <p:nvGrpSpPr>
                  <p:cNvPr id="202" name="Group 804"/>
                  <p:cNvGrpSpPr/>
                  <p:nvPr/>
                </p:nvGrpSpPr>
                <p:grpSpPr>
                  <a:xfrm>
                    <a:off x="78674" y="107272"/>
                    <a:ext cx="2965967" cy="2541580"/>
                    <a:chOff x="78674" y="107272"/>
                    <a:chExt cx="2965967" cy="2541580"/>
                  </a:xfrm>
                </p:grpSpPr>
                <p:sp>
                  <p:nvSpPr>
                    <p:cNvPr id="204" name="Rectangle 805"/>
                    <p:cNvSpPr/>
                    <p:nvPr/>
                  </p:nvSpPr>
                  <p:spPr>
                    <a:xfrm>
                      <a:off x="939770" y="216005"/>
                      <a:ext cx="531734" cy="1110369"/>
                    </a:xfrm>
                    <a:prstGeom prst="rect">
                      <a:avLst/>
                    </a:prstGeom>
                    <a:pattFill prst="dkUpDiag">
                      <a:fgClr>
                        <a:schemeClr val="bg1">
                          <a:lumMod val="75000"/>
                        </a:schemeClr>
                      </a:fgClr>
                      <a:bgClr>
                        <a:schemeClr val="bg1"/>
                      </a:bgClr>
                    </a:patt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endParaRPr lang="ko-KR" altLang="en-US" sz="500" dirty="0">
                        <a:latin typeface="+mn-ea"/>
                      </a:endParaRPr>
                    </a:p>
                  </p:txBody>
                </p:sp>
                <p:sp>
                  <p:nvSpPr>
                    <p:cNvPr id="205" name="Rectangle 806"/>
                    <p:cNvSpPr/>
                    <p:nvPr/>
                  </p:nvSpPr>
                  <p:spPr>
                    <a:xfrm>
                      <a:off x="939770" y="1353611"/>
                      <a:ext cx="1871841" cy="504325"/>
                    </a:xfrm>
                    <a:prstGeom prst="rect">
                      <a:avLst/>
                    </a:prstGeom>
                    <a:pattFill prst="dkUpDiag">
                      <a:fgClr>
                        <a:schemeClr val="bg1">
                          <a:lumMod val="75000"/>
                        </a:schemeClr>
                      </a:fgClr>
                      <a:bgClr>
                        <a:schemeClr val="bg1"/>
                      </a:bgClr>
                    </a:patt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endParaRPr lang="ko-KR" altLang="en-US" sz="500" dirty="0">
                        <a:latin typeface="+mn-ea"/>
                      </a:endParaRPr>
                    </a:p>
                  </p:txBody>
                </p:sp>
                <p:sp>
                  <p:nvSpPr>
                    <p:cNvPr id="206" name="TextBox 29"/>
                    <p:cNvSpPr txBox="1"/>
                    <p:nvPr/>
                  </p:nvSpPr>
                  <p:spPr>
                    <a:xfrm>
                      <a:off x="78674" y="107272"/>
                      <a:ext cx="837936" cy="31958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noAutofit/>
                    </a:bodyPr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o-KR" sz="500" kern="1200" dirty="0">
                          <a:solidFill>
                            <a:srgbClr val="0070C0"/>
                          </a:solidFill>
                          <a:effectLst/>
                          <a:latin typeface="+mn-ea"/>
                          <a:cs typeface="Times New Roman" panose="02020603050405020304" pitchFamily="18" charset="0"/>
                        </a:rPr>
                        <a:t>사분면</a:t>
                      </a:r>
                      <a:r>
                        <a:rPr lang="en-US" sz="500" kern="1200" dirty="0">
                          <a:solidFill>
                            <a:srgbClr val="0070C0"/>
                          </a:solidFill>
                          <a:effectLst/>
                          <a:latin typeface="+mn-ea"/>
                          <a:cs typeface="Times New Roman" panose="02020603050405020304" pitchFamily="18" charset="0"/>
                        </a:rPr>
                        <a:t> II</a:t>
                      </a:r>
                      <a:endParaRPr lang="ko-KR" sz="500" dirty="0">
                        <a:effectLst/>
                        <a:latin typeface="+mn-ea"/>
                      </a:endParaRPr>
                    </a:p>
                  </p:txBody>
                </p:sp>
                <p:sp>
                  <p:nvSpPr>
                    <p:cNvPr id="207" name="TextBox 30"/>
                    <p:cNvSpPr txBox="1"/>
                    <p:nvPr/>
                  </p:nvSpPr>
                  <p:spPr>
                    <a:xfrm>
                      <a:off x="90028" y="1935186"/>
                      <a:ext cx="839087" cy="32611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noAutofit/>
                    </a:bodyPr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o-KR" sz="500" kern="1200" dirty="0">
                          <a:solidFill>
                            <a:srgbClr val="0070C0"/>
                          </a:solidFill>
                          <a:effectLst/>
                          <a:latin typeface="+mn-ea"/>
                          <a:cs typeface="Times New Roman" panose="02020603050405020304" pitchFamily="18" charset="0"/>
                        </a:rPr>
                        <a:t>사분면 </a:t>
                      </a:r>
                      <a:r>
                        <a:rPr lang="en-US" sz="500" kern="1200" dirty="0">
                          <a:solidFill>
                            <a:srgbClr val="0070C0"/>
                          </a:solidFill>
                          <a:effectLst/>
                          <a:latin typeface="+mn-ea"/>
                          <a:cs typeface="Times New Roman" panose="02020603050405020304" pitchFamily="18" charset="0"/>
                        </a:rPr>
                        <a:t> IV</a:t>
                      </a:r>
                      <a:endParaRPr lang="ko-KR" sz="500" dirty="0">
                        <a:effectLst/>
                        <a:latin typeface="+mn-ea"/>
                      </a:endParaRPr>
                    </a:p>
                  </p:txBody>
                </p:sp>
                <p:sp>
                  <p:nvSpPr>
                    <p:cNvPr id="208" name="TextBox 31"/>
                    <p:cNvSpPr txBox="1"/>
                    <p:nvPr/>
                  </p:nvSpPr>
                  <p:spPr>
                    <a:xfrm>
                      <a:off x="2207281" y="2255676"/>
                      <a:ext cx="837360" cy="39317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noAutofit/>
                    </a:bodyPr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o-KR" sz="500" kern="1200" dirty="0">
                          <a:solidFill>
                            <a:srgbClr val="0070C0"/>
                          </a:solidFill>
                          <a:effectLst/>
                          <a:latin typeface="+mn-ea"/>
                          <a:cs typeface="Times New Roman" panose="02020603050405020304" pitchFamily="18" charset="0"/>
                        </a:rPr>
                        <a:t>사분면</a:t>
                      </a:r>
                      <a:r>
                        <a:rPr lang="en-US" sz="500" kern="1200" dirty="0">
                          <a:solidFill>
                            <a:srgbClr val="0070C0"/>
                          </a:solidFill>
                          <a:effectLst/>
                          <a:latin typeface="+mn-ea"/>
                          <a:cs typeface="Times New Roman" panose="02020603050405020304" pitchFamily="18" charset="0"/>
                        </a:rPr>
                        <a:t> III</a:t>
                      </a:r>
                      <a:endParaRPr lang="ko-KR" sz="500" dirty="0">
                        <a:effectLst/>
                        <a:latin typeface="+mn-ea"/>
                      </a:endParaRPr>
                    </a:p>
                  </p:txBody>
                </p:sp>
                <p:cxnSp>
                  <p:nvCxnSpPr>
                    <p:cNvPr id="211" name="Straight Connector 810"/>
                    <p:cNvCxnSpPr/>
                    <p:nvPr/>
                  </p:nvCxnSpPr>
                  <p:spPr>
                    <a:xfrm>
                      <a:off x="1474494" y="214888"/>
                      <a:ext cx="0" cy="2362200"/>
                    </a:xfrm>
                    <a:prstGeom prst="line">
                      <a:avLst/>
                    </a:prstGeom>
                    <a:ln w="12700">
                      <a:solidFill>
                        <a:srgbClr val="00206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12" name="Straight Connector 811"/>
                    <p:cNvCxnSpPr/>
                    <p:nvPr/>
                  </p:nvCxnSpPr>
                  <p:spPr>
                    <a:xfrm>
                      <a:off x="174908" y="1338590"/>
                      <a:ext cx="2636704" cy="0"/>
                    </a:xfrm>
                    <a:prstGeom prst="line">
                      <a:avLst/>
                    </a:prstGeom>
                    <a:ln w="12700">
                      <a:solidFill>
                        <a:srgbClr val="0070C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203" name="Rectangle 812"/>
                  <p:cNvSpPr/>
                  <p:nvPr/>
                </p:nvSpPr>
                <p:spPr>
                  <a:xfrm>
                    <a:off x="90065" y="79939"/>
                    <a:ext cx="2865120" cy="2569028"/>
                  </a:xfrm>
                  <a:prstGeom prst="rect">
                    <a:avLst/>
                  </a:prstGeom>
                  <a:noFill/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ko-KR" altLang="en-US" sz="500" dirty="0">
                      <a:latin typeface="+mn-ea"/>
                    </a:endParaRPr>
                  </a:p>
                </p:txBody>
              </p:sp>
            </p:grpSp>
          </p:grpSp>
          <p:cxnSp>
            <p:nvCxnSpPr>
              <p:cNvPr id="198" name="Straight Connector 813"/>
              <p:cNvCxnSpPr/>
              <p:nvPr/>
            </p:nvCxnSpPr>
            <p:spPr>
              <a:xfrm>
                <a:off x="191469" y="1186203"/>
                <a:ext cx="2834643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6" name="Rectangle 814"/>
            <p:cNvSpPr/>
            <p:nvPr/>
          </p:nvSpPr>
          <p:spPr>
            <a:xfrm>
              <a:off x="1787538" y="716268"/>
              <a:ext cx="645962" cy="689124"/>
            </a:xfrm>
            <a:prstGeom prst="rect">
              <a:avLst/>
            </a:prstGeom>
            <a:pattFill prst="dkDnDiag">
              <a:fgClr>
                <a:srgbClr val="CCD5EA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 sz="500" dirty="0">
                <a:latin typeface="+mn-ea"/>
              </a:endParaRPr>
            </a:p>
          </p:txBody>
        </p:sp>
        <p:sp>
          <p:nvSpPr>
            <p:cNvPr id="168" name="TextBox 59"/>
            <p:cNvSpPr txBox="1"/>
            <p:nvPr/>
          </p:nvSpPr>
          <p:spPr>
            <a:xfrm>
              <a:off x="2405017" y="109529"/>
              <a:ext cx="1371466" cy="44876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ko-KR" sz="500" kern="1200" dirty="0">
                  <a:solidFill>
                    <a:srgbClr val="0070C0"/>
                  </a:solidFill>
                  <a:effectLst/>
                  <a:latin typeface="+mn-ea"/>
                  <a:cs typeface="Times New Roman" panose="02020603050405020304" pitchFamily="18" charset="0"/>
                </a:rPr>
                <a:t>사분면</a:t>
              </a:r>
              <a:r>
                <a:rPr lang="en-US" sz="500" kern="1200" dirty="0">
                  <a:solidFill>
                    <a:srgbClr val="0070C0"/>
                  </a:solidFill>
                  <a:effectLst/>
                  <a:latin typeface="+mn-ea"/>
                  <a:cs typeface="Times New Roman" panose="02020603050405020304" pitchFamily="18" charset="0"/>
                </a:rPr>
                <a:t> I (Alerts)</a:t>
              </a:r>
              <a:endParaRPr lang="ko-KR" sz="500" dirty="0">
                <a:effectLst/>
                <a:latin typeface="+mn-ea"/>
              </a:endParaRPr>
            </a:p>
          </p:txBody>
        </p:sp>
        <p:sp>
          <p:nvSpPr>
            <p:cNvPr id="172" name="Rectangle 816"/>
            <p:cNvSpPr/>
            <p:nvPr/>
          </p:nvSpPr>
          <p:spPr>
            <a:xfrm>
              <a:off x="1861208" y="2960669"/>
              <a:ext cx="329672" cy="145897"/>
            </a:xfrm>
            <a:prstGeom prst="rect">
              <a:avLst/>
            </a:prstGeom>
            <a:pattFill prst="dk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 sz="500" dirty="0">
                <a:latin typeface="+mn-ea"/>
              </a:endParaRPr>
            </a:p>
          </p:txBody>
        </p:sp>
        <p:sp>
          <p:nvSpPr>
            <p:cNvPr id="174" name="Rectangle 817"/>
            <p:cNvSpPr/>
            <p:nvPr/>
          </p:nvSpPr>
          <p:spPr>
            <a:xfrm>
              <a:off x="1861208" y="3211503"/>
              <a:ext cx="317649" cy="154486"/>
            </a:xfrm>
            <a:prstGeom prst="rect">
              <a:avLst/>
            </a:prstGeom>
            <a:pattFill prst="dkDnDiag">
              <a:fgClr>
                <a:srgbClr val="CCD5EA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 sz="500" dirty="0">
                <a:latin typeface="+mn-ea"/>
              </a:endParaRPr>
            </a:p>
          </p:txBody>
        </p:sp>
        <p:sp>
          <p:nvSpPr>
            <p:cNvPr id="175" name="TextBox 39"/>
            <p:cNvSpPr txBox="1"/>
            <p:nvPr/>
          </p:nvSpPr>
          <p:spPr>
            <a:xfrm>
              <a:off x="2155897" y="2811199"/>
              <a:ext cx="1508128" cy="36479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US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BTL </a:t>
              </a:r>
              <a:r>
                <a:rPr lang="ko-KR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적격 </a:t>
              </a:r>
              <a:r>
                <a:rPr lang="ko-KR" altLang="en-US" sz="500" kern="1200" dirty="0" smtClean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모</a:t>
              </a:r>
              <a:r>
                <a:rPr lang="ko-KR" sz="500" kern="1200" dirty="0" smtClean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집단 </a:t>
              </a:r>
              <a:endParaRPr lang="ko-KR" sz="500" dirty="0">
                <a:effectLst/>
                <a:latin typeface="+mn-ea"/>
              </a:endParaRPr>
            </a:p>
          </p:txBody>
        </p:sp>
        <p:sp>
          <p:nvSpPr>
            <p:cNvPr id="176" name="TextBox 49"/>
            <p:cNvSpPr txBox="1"/>
            <p:nvPr/>
          </p:nvSpPr>
          <p:spPr>
            <a:xfrm>
              <a:off x="2155897" y="3067901"/>
              <a:ext cx="1575079" cy="32991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US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ATL </a:t>
              </a:r>
              <a:r>
                <a:rPr lang="ko-KR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적격 모집단 </a:t>
              </a:r>
              <a:endParaRPr lang="ko-KR" sz="500" dirty="0">
                <a:effectLst/>
                <a:latin typeface="+mn-ea"/>
              </a:endParaRPr>
            </a:p>
          </p:txBody>
        </p:sp>
        <p:sp>
          <p:nvSpPr>
            <p:cNvPr id="177" name="TextBox 45"/>
            <p:cNvSpPr txBox="1"/>
            <p:nvPr/>
          </p:nvSpPr>
          <p:spPr>
            <a:xfrm>
              <a:off x="42021" y="2328709"/>
              <a:ext cx="1226519" cy="29413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ko-KR" sz="500" b="1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하한 한계선</a:t>
              </a:r>
              <a:endParaRPr lang="ko-KR" sz="500" dirty="0">
                <a:effectLst/>
                <a:latin typeface="+mn-ea"/>
              </a:endParaRPr>
            </a:p>
          </p:txBody>
        </p:sp>
        <p:cxnSp>
          <p:nvCxnSpPr>
            <p:cNvPr id="181" name="Straight Arrow Connector 821"/>
            <p:cNvCxnSpPr/>
            <p:nvPr/>
          </p:nvCxnSpPr>
          <p:spPr>
            <a:xfrm flipV="1">
              <a:off x="814272" y="1960847"/>
              <a:ext cx="270725" cy="425071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822"/>
            <p:cNvCxnSpPr/>
            <p:nvPr/>
          </p:nvCxnSpPr>
          <p:spPr>
            <a:xfrm>
              <a:off x="2417024" y="255811"/>
              <a:ext cx="16476" cy="1145006"/>
            </a:xfrm>
            <a:prstGeom prst="line">
              <a:avLst/>
            </a:prstGeom>
            <a:ln w="12700"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TextBox 74"/>
            <p:cNvSpPr txBox="1"/>
            <p:nvPr/>
          </p:nvSpPr>
          <p:spPr>
            <a:xfrm>
              <a:off x="2269251" y="942053"/>
              <a:ext cx="1224448" cy="37842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ko-KR" sz="500" b="1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상한 한계선</a:t>
              </a:r>
              <a:endParaRPr lang="ko-KR" sz="500" dirty="0">
                <a:effectLst/>
                <a:latin typeface="+mn-ea"/>
              </a:endParaRPr>
            </a:p>
          </p:txBody>
        </p:sp>
        <p:cxnSp>
          <p:nvCxnSpPr>
            <p:cNvPr id="184" name="Straight Arrow Connector 824"/>
            <p:cNvCxnSpPr/>
            <p:nvPr/>
          </p:nvCxnSpPr>
          <p:spPr>
            <a:xfrm flipH="1" flipV="1">
              <a:off x="2406117" y="716271"/>
              <a:ext cx="232559" cy="299475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825"/>
            <p:cNvCxnSpPr/>
            <p:nvPr/>
          </p:nvCxnSpPr>
          <p:spPr>
            <a:xfrm>
              <a:off x="1768646" y="716268"/>
              <a:ext cx="1607227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826"/>
            <p:cNvCxnSpPr/>
            <p:nvPr/>
          </p:nvCxnSpPr>
          <p:spPr>
            <a:xfrm flipH="1">
              <a:off x="258791" y="3008303"/>
              <a:ext cx="165493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827"/>
            <p:cNvCxnSpPr/>
            <p:nvPr/>
          </p:nvCxnSpPr>
          <p:spPr>
            <a:xfrm flipH="1">
              <a:off x="258791" y="3282137"/>
              <a:ext cx="166366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4" name="TextBox 86"/>
            <p:cNvSpPr txBox="1"/>
            <p:nvPr/>
          </p:nvSpPr>
          <p:spPr>
            <a:xfrm>
              <a:off x="423875" y="2798267"/>
              <a:ext cx="1437035" cy="46158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ko-KR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후보 임계값</a:t>
              </a:r>
              <a:r>
                <a:rPr lang="en-US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 I </a:t>
              </a:r>
              <a:endParaRPr lang="ko-KR" sz="500" dirty="0">
                <a:effectLst/>
                <a:latin typeface="+mn-ea"/>
              </a:endParaRPr>
            </a:p>
          </p:txBody>
        </p:sp>
        <p:sp>
          <p:nvSpPr>
            <p:cNvPr id="195" name="TextBox 87"/>
            <p:cNvSpPr txBox="1"/>
            <p:nvPr/>
          </p:nvSpPr>
          <p:spPr>
            <a:xfrm>
              <a:off x="424692" y="3054164"/>
              <a:ext cx="1433586" cy="34364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ko-KR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후보 임계값</a:t>
              </a:r>
              <a:r>
                <a:rPr lang="en-US" sz="500" kern="1200" dirty="0">
                  <a:solidFill>
                    <a:srgbClr val="000000"/>
                  </a:solidFill>
                  <a:effectLst/>
                  <a:latin typeface="+mn-ea"/>
                  <a:cs typeface="Times New Roman" panose="02020603050405020304" pitchFamily="18" charset="0"/>
                </a:rPr>
                <a:t> II</a:t>
              </a:r>
              <a:endParaRPr lang="ko-KR" sz="500" dirty="0">
                <a:effectLst/>
                <a:latin typeface="+mn-ea"/>
              </a:endParaRPr>
            </a:p>
          </p:txBody>
        </p:sp>
        <p:cxnSp>
          <p:nvCxnSpPr>
            <p:cNvPr id="196" name="Straight Connector 830"/>
            <p:cNvCxnSpPr/>
            <p:nvPr/>
          </p:nvCxnSpPr>
          <p:spPr>
            <a:xfrm>
              <a:off x="1121010" y="229809"/>
              <a:ext cx="0" cy="2488697"/>
            </a:xfrm>
            <a:prstGeom prst="line">
              <a:avLst/>
            </a:prstGeom>
            <a:ln w="12700"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3" name="직사각형 212"/>
          <p:cNvSpPr/>
          <p:nvPr/>
        </p:nvSpPr>
        <p:spPr>
          <a:xfrm>
            <a:off x="3815771" y="4946200"/>
            <a:ext cx="3931907" cy="150713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5" name="직사각형 214"/>
          <p:cNvSpPr/>
          <p:nvPr/>
        </p:nvSpPr>
        <p:spPr>
          <a:xfrm>
            <a:off x="3890088" y="2593230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거래고객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2" name="직사각형 221"/>
          <p:cNvSpPr/>
          <p:nvPr/>
        </p:nvSpPr>
        <p:spPr>
          <a:xfrm>
            <a:off x="4852301" y="2593230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대리인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3" name="직사각형 222"/>
          <p:cNvSpPr/>
          <p:nvPr/>
        </p:nvSpPr>
        <p:spPr>
          <a:xfrm>
            <a:off x="5814514" y="2593230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실제 소유자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4" name="직사각형 223"/>
          <p:cNvSpPr/>
          <p:nvPr/>
        </p:nvSpPr>
        <p:spPr>
          <a:xfrm>
            <a:off x="6776726" y="2593230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대표자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5" name="직사각형 224"/>
          <p:cNvSpPr/>
          <p:nvPr/>
        </p:nvSpPr>
        <p:spPr>
          <a:xfrm>
            <a:off x="3890088" y="2924944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선박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6" name="직사각형 225"/>
          <p:cNvSpPr/>
          <p:nvPr/>
        </p:nvSpPr>
        <p:spPr>
          <a:xfrm>
            <a:off x="4852301" y="2924944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선사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7" name="직사각형 226"/>
          <p:cNvSpPr/>
          <p:nvPr/>
        </p:nvSpPr>
        <p:spPr>
          <a:xfrm>
            <a:off x="5814514" y="2924944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항구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8" name="직사각형 227"/>
          <p:cNvSpPr/>
          <p:nvPr/>
        </p:nvSpPr>
        <p:spPr>
          <a:xfrm>
            <a:off x="6776726" y="2924944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원산지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9" name="직사각형 228"/>
          <p:cNvSpPr/>
          <p:nvPr/>
        </p:nvSpPr>
        <p:spPr>
          <a:xfrm>
            <a:off x="3824398" y="2533838"/>
            <a:ext cx="3923280" cy="107776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30" name="직사각형 229"/>
          <p:cNvSpPr/>
          <p:nvPr/>
        </p:nvSpPr>
        <p:spPr>
          <a:xfrm>
            <a:off x="3890088" y="3253655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거래 물품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31" name="직사각형 230"/>
          <p:cNvSpPr/>
          <p:nvPr/>
        </p:nvSpPr>
        <p:spPr>
          <a:xfrm>
            <a:off x="4852301" y="3253655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중용도</a:t>
            </a:r>
            <a:endParaRPr lang="en-US" altLang="ko-KR" sz="1000" kern="0" spc="60" dirty="0" smtClean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물품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32" name="직사각형 231"/>
          <p:cNvSpPr/>
          <p:nvPr/>
        </p:nvSpPr>
        <p:spPr>
          <a:xfrm>
            <a:off x="5814514" y="3253655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위험 국가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33" name="직사각형 232"/>
          <p:cNvSpPr/>
          <p:nvPr/>
        </p:nvSpPr>
        <p:spPr>
          <a:xfrm>
            <a:off x="6776726" y="3253655"/>
            <a:ext cx="900000" cy="288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0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위험 지역</a:t>
            </a:r>
            <a:endParaRPr lang="ko-KR" altLang="en-US" sz="10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35" name="직사각형 234"/>
          <p:cNvSpPr/>
          <p:nvPr/>
        </p:nvSpPr>
        <p:spPr>
          <a:xfrm>
            <a:off x="7994975" y="2544888"/>
            <a:ext cx="1386517" cy="1071247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 Alert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36" name="아래쪽 화살표 235"/>
          <p:cNvSpPr/>
          <p:nvPr/>
        </p:nvSpPr>
        <p:spPr>
          <a:xfrm rot="16200000">
            <a:off x="3636140" y="2169218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BD0032"/>
          </a:solidFill>
          <a:ln w="3175">
            <a:solidFill>
              <a:srgbClr val="BD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38" name="오른쪽 화살표 237"/>
          <p:cNvSpPr/>
          <p:nvPr/>
        </p:nvSpPr>
        <p:spPr>
          <a:xfrm>
            <a:off x="7786679" y="2527704"/>
            <a:ext cx="143692" cy="1073799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5" name="TextBox 244"/>
          <p:cNvSpPr txBox="1"/>
          <p:nvPr/>
        </p:nvSpPr>
        <p:spPr>
          <a:xfrm>
            <a:off x="3826122" y="4725242"/>
            <a:ext cx="2168866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altLang="ko-KR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atch List Filtering Tuning</a:t>
            </a:r>
            <a:endParaRPr lang="ko-KR" altLang="en-US" sz="100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248" name="직선 화살표 연결선 247"/>
          <p:cNvCxnSpPr>
            <a:stCxn id="129" idx="1"/>
            <a:endCxn id="135" idx="3"/>
          </p:cNvCxnSpPr>
          <p:nvPr/>
        </p:nvCxnSpPr>
        <p:spPr>
          <a:xfrm flipH="1">
            <a:off x="7676826" y="5591732"/>
            <a:ext cx="318149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4" name="오른쪽 화살표 253"/>
          <p:cNvSpPr/>
          <p:nvPr/>
        </p:nvSpPr>
        <p:spPr>
          <a:xfrm flipH="1">
            <a:off x="5516586" y="5075240"/>
            <a:ext cx="144000" cy="1034625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57" name="순서도: 판단 256"/>
          <p:cNvSpPr/>
          <p:nvPr/>
        </p:nvSpPr>
        <p:spPr>
          <a:xfrm>
            <a:off x="2027232" y="5150049"/>
            <a:ext cx="1386517" cy="883366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임계 값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변경 절차 기록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258" name="직선 화살표 연결선 257"/>
          <p:cNvCxnSpPr>
            <a:endCxn id="257" idx="3"/>
          </p:cNvCxnSpPr>
          <p:nvPr/>
        </p:nvCxnSpPr>
        <p:spPr>
          <a:xfrm flipH="1">
            <a:off x="3413749" y="5591732"/>
            <a:ext cx="402022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3" name="직선 화살표 연결선 262"/>
          <p:cNvCxnSpPr>
            <a:stCxn id="235" idx="2"/>
            <a:endCxn id="146" idx="0"/>
          </p:cNvCxnSpPr>
          <p:nvPr/>
        </p:nvCxnSpPr>
        <p:spPr>
          <a:xfrm>
            <a:off x="8688234" y="3616135"/>
            <a:ext cx="0" cy="611623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6" name="직선 화살표 연결선 265"/>
          <p:cNvCxnSpPr>
            <a:stCxn id="257" idx="0"/>
            <a:endCxn id="150" idx="2"/>
          </p:cNvCxnSpPr>
          <p:nvPr/>
        </p:nvCxnSpPr>
        <p:spPr>
          <a:xfrm flipV="1">
            <a:off x="2720491" y="4005024"/>
            <a:ext cx="0" cy="1145025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2" name="직선 연결선 271"/>
          <p:cNvCxnSpPr/>
          <p:nvPr/>
        </p:nvCxnSpPr>
        <p:spPr>
          <a:xfrm>
            <a:off x="346014" y="4113076"/>
            <a:ext cx="9323510" cy="0"/>
          </a:xfrm>
          <a:prstGeom prst="line">
            <a:avLst/>
          </a:prstGeom>
          <a:ln w="12700">
            <a:solidFill>
              <a:srgbClr val="96969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직선 연결선 272"/>
          <p:cNvCxnSpPr/>
          <p:nvPr/>
        </p:nvCxnSpPr>
        <p:spPr>
          <a:xfrm>
            <a:off x="346014" y="4697639"/>
            <a:ext cx="9323510" cy="0"/>
          </a:xfrm>
          <a:prstGeom prst="line">
            <a:avLst/>
          </a:prstGeom>
          <a:ln w="12700">
            <a:solidFill>
              <a:srgbClr val="96969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모서리가 둥근 직사각형 273"/>
          <p:cNvSpPr/>
          <p:nvPr/>
        </p:nvSpPr>
        <p:spPr>
          <a:xfrm>
            <a:off x="353114" y="2060849"/>
            <a:ext cx="1143511" cy="1944176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LF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</a:t>
            </a:r>
          </a:p>
        </p:txBody>
      </p:sp>
      <p:sp>
        <p:nvSpPr>
          <p:cNvPr id="275" name="모서리가 둥근 직사각형 274"/>
          <p:cNvSpPr/>
          <p:nvPr/>
        </p:nvSpPr>
        <p:spPr>
          <a:xfrm>
            <a:off x="353114" y="4190866"/>
            <a:ext cx="1143511" cy="433784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성능 관리</a:t>
            </a:r>
          </a:p>
        </p:txBody>
      </p:sp>
      <p:sp>
        <p:nvSpPr>
          <p:cNvPr id="276" name="모서리가 둥근 직사각형 275"/>
          <p:cNvSpPr/>
          <p:nvPr/>
        </p:nvSpPr>
        <p:spPr>
          <a:xfrm>
            <a:off x="353114" y="4777164"/>
            <a:ext cx="1143511" cy="1676171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LF</a:t>
            </a:r>
            <a:b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Tuning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절차</a:t>
            </a:r>
          </a:p>
        </p:txBody>
      </p:sp>
      <p:sp>
        <p:nvSpPr>
          <p:cNvPr id="8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69127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필터링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.3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 Filtering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요건 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8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4255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3.3.2 </a:t>
            </a:r>
            <a:r>
              <a:rPr lang="en-US" altLang="ko-KR" dirty="0"/>
              <a:t>WLF Alert Investigation &amp; Reporting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5616922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 Aler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해 조사 분석을 수행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·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외부 보고를 진행할 수 있는 기능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정의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WLF Alert Investigation &amp; Reporting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18" name="직사각형 417"/>
          <p:cNvSpPr/>
          <p:nvPr/>
        </p:nvSpPr>
        <p:spPr>
          <a:xfrm>
            <a:off x="490107" y="2708920"/>
            <a:ext cx="1320701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WLF Alert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20" name="순서도: 판단 419"/>
          <p:cNvSpPr/>
          <p:nvPr/>
        </p:nvSpPr>
        <p:spPr>
          <a:xfrm>
            <a:off x="490107" y="3321222"/>
            <a:ext cx="1320701" cy="883366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en-US" altLang="ko-KR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Real-time</a:t>
            </a:r>
          </a:p>
          <a:p>
            <a:pPr algn="ctr" defTabSz="914400"/>
            <a:r>
              <a:rPr lang="en-US" altLang="ko-KR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Batch</a:t>
            </a:r>
          </a:p>
        </p:txBody>
      </p:sp>
      <p:sp>
        <p:nvSpPr>
          <p:cNvPr id="421" name="직사각형 420"/>
          <p:cNvSpPr/>
          <p:nvPr/>
        </p:nvSpPr>
        <p:spPr>
          <a:xfrm>
            <a:off x="2079445" y="3582905"/>
            <a:ext cx="1320701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준법 감시부 배부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22" name="직사각형 421"/>
          <p:cNvSpPr/>
          <p:nvPr/>
        </p:nvSpPr>
        <p:spPr>
          <a:xfrm>
            <a:off x="488504" y="4473116"/>
            <a:ext cx="1320701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업무부서 배부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423" name="직선 화살표 연결선 422"/>
          <p:cNvCxnSpPr>
            <a:stCxn id="418" idx="2"/>
            <a:endCxn id="420" idx="0"/>
          </p:cNvCxnSpPr>
          <p:nvPr/>
        </p:nvCxnSpPr>
        <p:spPr>
          <a:xfrm>
            <a:off x="1150458" y="3068920"/>
            <a:ext cx="0" cy="252302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4" name="직선 화살표 연결선 423"/>
          <p:cNvCxnSpPr>
            <a:stCxn id="420" idx="2"/>
            <a:endCxn id="422" idx="0"/>
          </p:cNvCxnSpPr>
          <p:nvPr/>
        </p:nvCxnSpPr>
        <p:spPr>
          <a:xfrm flipH="1">
            <a:off x="1148855" y="4204588"/>
            <a:ext cx="1603" cy="268528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5" name="직선 화살표 연결선 424"/>
          <p:cNvCxnSpPr>
            <a:stCxn id="420" idx="3"/>
            <a:endCxn id="421" idx="1"/>
          </p:cNvCxnSpPr>
          <p:nvPr/>
        </p:nvCxnSpPr>
        <p:spPr>
          <a:xfrm>
            <a:off x="1810808" y="3762905"/>
            <a:ext cx="268637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7" name="순서도: 판단 426"/>
          <p:cNvSpPr/>
          <p:nvPr/>
        </p:nvSpPr>
        <p:spPr>
          <a:xfrm>
            <a:off x="490107" y="5073850"/>
            <a:ext cx="1320701" cy="883366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동일인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여부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428" name="직선 화살표 연결선 427"/>
          <p:cNvCxnSpPr>
            <a:endCxn id="427" idx="0"/>
          </p:cNvCxnSpPr>
          <p:nvPr/>
        </p:nvCxnSpPr>
        <p:spPr>
          <a:xfrm>
            <a:off x="1148855" y="4797112"/>
            <a:ext cx="1603" cy="276738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0" name="순서도: 판단 429"/>
          <p:cNvSpPr/>
          <p:nvPr/>
        </p:nvSpPr>
        <p:spPr>
          <a:xfrm>
            <a:off x="3657070" y="3320988"/>
            <a:ext cx="1320701" cy="883366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동일인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여부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431" name="직선 화살표 연결선 430"/>
          <p:cNvCxnSpPr>
            <a:stCxn id="421" idx="3"/>
            <a:endCxn id="430" idx="1"/>
          </p:cNvCxnSpPr>
          <p:nvPr/>
        </p:nvCxnSpPr>
        <p:spPr>
          <a:xfrm flipV="1">
            <a:off x="3400146" y="3762671"/>
            <a:ext cx="256924" cy="234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2" name="순서도: 판단 431"/>
          <p:cNvSpPr/>
          <p:nvPr/>
        </p:nvSpPr>
        <p:spPr>
          <a:xfrm>
            <a:off x="3655512" y="5073850"/>
            <a:ext cx="1320701" cy="883366"/>
          </a:xfrm>
          <a:prstGeom prst="flowChartDecision">
            <a:avLst/>
          </a:prstGeom>
          <a:solidFill>
            <a:srgbClr val="7C7C7B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wrap="none" numCol="1" rtlCol="0" anchor="ctr"/>
          <a:lstStyle/>
          <a:p>
            <a:pPr algn="ctr" defTabSz="914400"/>
            <a:r>
              <a:rPr lang="en-US" altLang="ko-KR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</a:t>
            </a:r>
          </a:p>
          <a:p>
            <a:pPr algn="ctr" defTabSz="914400"/>
            <a:r>
              <a:rPr lang="ko-KR" altLang="en-US" sz="1100" kern="0" spc="6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종류</a:t>
            </a:r>
            <a:endParaRPr lang="en-US" altLang="ko-KR" sz="1100" kern="0" spc="6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433" name="직선 화살표 연결선 432"/>
          <p:cNvCxnSpPr>
            <a:stCxn id="430" idx="2"/>
            <a:endCxn id="432" idx="0"/>
          </p:cNvCxnSpPr>
          <p:nvPr/>
        </p:nvCxnSpPr>
        <p:spPr>
          <a:xfrm flipH="1">
            <a:off x="4315863" y="4204354"/>
            <a:ext cx="1558" cy="90550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4" name="직선 화살표 연결선 433"/>
          <p:cNvCxnSpPr>
            <a:stCxn id="427" idx="3"/>
            <a:endCxn id="432" idx="1"/>
          </p:cNvCxnSpPr>
          <p:nvPr/>
        </p:nvCxnSpPr>
        <p:spPr>
          <a:xfrm>
            <a:off x="1810808" y="5515533"/>
            <a:ext cx="1844704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5" name="TextBox 434"/>
          <p:cNvSpPr txBox="1"/>
          <p:nvPr/>
        </p:nvSpPr>
        <p:spPr>
          <a:xfrm>
            <a:off x="1800198" y="5292427"/>
            <a:ext cx="560514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동일인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36" name="TextBox 435"/>
          <p:cNvSpPr txBox="1"/>
          <p:nvPr/>
        </p:nvSpPr>
        <p:spPr>
          <a:xfrm>
            <a:off x="3905223" y="4195235"/>
            <a:ext cx="560514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동일인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37" name="직사각형 436"/>
          <p:cNvSpPr/>
          <p:nvPr/>
        </p:nvSpPr>
        <p:spPr>
          <a:xfrm>
            <a:off x="6285148" y="4689140"/>
            <a:ext cx="1320701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고위험 고객 분류</a:t>
            </a:r>
          </a:p>
        </p:txBody>
      </p:sp>
      <p:sp>
        <p:nvSpPr>
          <p:cNvPr id="438" name="직사각형 437"/>
          <p:cNvSpPr/>
          <p:nvPr/>
        </p:nvSpPr>
        <p:spPr>
          <a:xfrm>
            <a:off x="6285148" y="5129164"/>
            <a:ext cx="1320701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거래 거절</a:t>
            </a:r>
          </a:p>
        </p:txBody>
      </p:sp>
      <p:sp>
        <p:nvSpPr>
          <p:cNvPr id="439" name="직사각형 438"/>
          <p:cNvSpPr/>
          <p:nvPr/>
        </p:nvSpPr>
        <p:spPr>
          <a:xfrm>
            <a:off x="6285148" y="5561212"/>
            <a:ext cx="1320701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고위 경영진 승인</a:t>
            </a:r>
          </a:p>
        </p:txBody>
      </p:sp>
      <p:sp>
        <p:nvSpPr>
          <p:cNvPr id="440" name="직사각형 439"/>
          <p:cNvSpPr/>
          <p:nvPr/>
        </p:nvSpPr>
        <p:spPr>
          <a:xfrm>
            <a:off x="6285148" y="5993260"/>
            <a:ext cx="1320701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금융거래 </a:t>
            </a:r>
            <a:r>
              <a:rPr lang="en-US" altLang="ko-KR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License </a:t>
            </a:r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확인</a:t>
            </a:r>
          </a:p>
        </p:txBody>
      </p:sp>
      <p:cxnSp>
        <p:nvCxnSpPr>
          <p:cNvPr id="34" name="꺾인 연결선 33"/>
          <p:cNvCxnSpPr>
            <a:stCxn id="432" idx="3"/>
            <a:endCxn id="437" idx="1"/>
          </p:cNvCxnSpPr>
          <p:nvPr/>
        </p:nvCxnSpPr>
        <p:spPr>
          <a:xfrm flipV="1">
            <a:off x="4976213" y="4869140"/>
            <a:ext cx="1308935" cy="646393"/>
          </a:xfrm>
          <a:prstGeom prst="bentConnector3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1" name="꺾인 연결선 440"/>
          <p:cNvCxnSpPr>
            <a:stCxn id="432" idx="3"/>
            <a:endCxn id="438" idx="1"/>
          </p:cNvCxnSpPr>
          <p:nvPr/>
        </p:nvCxnSpPr>
        <p:spPr>
          <a:xfrm flipV="1">
            <a:off x="4976213" y="5309164"/>
            <a:ext cx="1308935" cy="206369"/>
          </a:xfrm>
          <a:prstGeom prst="bentConnector3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2" name="꺾인 연결선 441"/>
          <p:cNvCxnSpPr>
            <a:stCxn id="432" idx="3"/>
            <a:endCxn id="439" idx="1"/>
          </p:cNvCxnSpPr>
          <p:nvPr/>
        </p:nvCxnSpPr>
        <p:spPr>
          <a:xfrm>
            <a:off x="4976213" y="5515533"/>
            <a:ext cx="1308935" cy="225679"/>
          </a:xfrm>
          <a:prstGeom prst="bentConnector3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3" name="꺾인 연결선 442"/>
          <p:cNvCxnSpPr>
            <a:stCxn id="432" idx="3"/>
            <a:endCxn id="440" idx="1"/>
          </p:cNvCxnSpPr>
          <p:nvPr/>
        </p:nvCxnSpPr>
        <p:spPr>
          <a:xfrm>
            <a:off x="4976213" y="5515533"/>
            <a:ext cx="1308935" cy="657727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4" name="직사각형 443"/>
          <p:cNvSpPr/>
          <p:nvPr/>
        </p:nvSpPr>
        <p:spPr>
          <a:xfrm>
            <a:off x="7880771" y="4913100"/>
            <a:ext cx="1320701" cy="360000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STR </a:t>
            </a:r>
            <a:r>
              <a:rPr lang="ko-KR" altLang="en-US" sz="11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보고</a:t>
            </a:r>
            <a:endParaRPr lang="ko-KR" altLang="en-US" sz="11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45" name="직사각형 444"/>
          <p:cNvSpPr/>
          <p:nvPr/>
        </p:nvSpPr>
        <p:spPr>
          <a:xfrm>
            <a:off x="7880771" y="5777196"/>
            <a:ext cx="1320701" cy="360000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거래 관계 수립</a:t>
            </a:r>
          </a:p>
        </p:txBody>
      </p:sp>
      <p:cxnSp>
        <p:nvCxnSpPr>
          <p:cNvPr id="446" name="꺾인 연결선 445"/>
          <p:cNvCxnSpPr>
            <a:stCxn id="439" idx="3"/>
            <a:endCxn id="445" idx="1"/>
          </p:cNvCxnSpPr>
          <p:nvPr/>
        </p:nvCxnSpPr>
        <p:spPr>
          <a:xfrm>
            <a:off x="7605849" y="5741212"/>
            <a:ext cx="274922" cy="215984"/>
          </a:xfrm>
          <a:prstGeom prst="bentConnector3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7" name="꺾인 연결선 446"/>
          <p:cNvCxnSpPr>
            <a:stCxn id="440" idx="3"/>
            <a:endCxn id="445" idx="1"/>
          </p:cNvCxnSpPr>
          <p:nvPr/>
        </p:nvCxnSpPr>
        <p:spPr>
          <a:xfrm flipV="1">
            <a:off x="7605849" y="5957196"/>
            <a:ext cx="274922" cy="216064"/>
          </a:xfrm>
          <a:prstGeom prst="bentConnector3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8" name="꺾인 연결선 447"/>
          <p:cNvCxnSpPr>
            <a:stCxn id="437" idx="3"/>
            <a:endCxn id="444" idx="1"/>
          </p:cNvCxnSpPr>
          <p:nvPr/>
        </p:nvCxnSpPr>
        <p:spPr>
          <a:xfrm>
            <a:off x="7605849" y="4869140"/>
            <a:ext cx="274922" cy="223960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9" name="꺾인 연결선 448"/>
          <p:cNvCxnSpPr>
            <a:stCxn id="438" idx="3"/>
            <a:endCxn id="444" idx="1"/>
          </p:cNvCxnSpPr>
          <p:nvPr/>
        </p:nvCxnSpPr>
        <p:spPr>
          <a:xfrm flipV="1">
            <a:off x="7605849" y="5093100"/>
            <a:ext cx="274922" cy="216064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0" name="그룹 59"/>
          <p:cNvGrpSpPr/>
          <p:nvPr/>
        </p:nvGrpSpPr>
        <p:grpSpPr>
          <a:xfrm>
            <a:off x="5329649" y="2829162"/>
            <a:ext cx="4123852" cy="1391926"/>
            <a:chOff x="5205544" y="2327969"/>
            <a:chExt cx="4319963" cy="1391926"/>
          </a:xfrm>
        </p:grpSpPr>
        <p:sp>
          <p:nvSpPr>
            <p:cNvPr id="460" name="모서리가 둥근 직사각형 459"/>
            <p:cNvSpPr/>
            <p:nvPr/>
          </p:nvSpPr>
          <p:spPr>
            <a:xfrm>
              <a:off x="5205544" y="2327969"/>
              <a:ext cx="4319963" cy="1391926"/>
            </a:xfrm>
            <a:prstGeom prst="roundRect">
              <a:avLst>
                <a:gd name="adj" fmla="val 0"/>
              </a:avLst>
            </a:prstGeom>
            <a:solidFill>
              <a:srgbClr val="E0301E">
                <a:lumMod val="20000"/>
                <a:lumOff val="80000"/>
              </a:srgbClr>
            </a:solidFill>
            <a:ln w="12700"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endParaRP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5205544" y="2366835"/>
              <a:ext cx="4247956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en-US" altLang="ko-KR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"</a:t>
              </a:r>
              <a:r>
                <a:rPr lang="ko-KR" altLang="en-US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외국의 정치적 주요 인물</a:t>
              </a:r>
              <a:r>
                <a:rPr lang="en-US" altLang="ko-KR" sz="1100" spc="-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"</a:t>
              </a:r>
              <a:r>
                <a:rPr lang="ko-KR" altLang="en-US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과 관련된 거래에 대해서 </a:t>
              </a:r>
              <a:r>
                <a:rPr lang="ko-KR" altLang="en-US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위 경영진의 승인 </a:t>
              </a:r>
              <a:r>
                <a:rPr lang="ko-KR" altLang="en-US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필요</a:t>
              </a:r>
              <a:endParaRPr lang="en-US" altLang="ko-KR" sz="1100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58" name="직사각형 457"/>
            <p:cNvSpPr/>
            <p:nvPr/>
          </p:nvSpPr>
          <p:spPr>
            <a:xfrm>
              <a:off x="5205544" y="3215894"/>
              <a:ext cx="4247956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en-US" altLang="ko-KR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"</a:t>
              </a:r>
              <a:r>
                <a:rPr lang="ko-KR" altLang="en-US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국제 제재</a:t>
              </a:r>
              <a:r>
                <a:rPr lang="en-US" altLang="ko-KR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"</a:t>
              </a:r>
              <a:r>
                <a:rPr lang="ko-KR" altLang="en-US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와 관련된 거래에 대해서 </a:t>
              </a:r>
              <a:r>
                <a:rPr lang="ko-KR" altLang="en-US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거래를 거절</a:t>
              </a:r>
              <a:r>
                <a:rPr lang="ko-KR" altLang="en-US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하거나 거래관계를 종료 하고</a:t>
              </a:r>
              <a:r>
                <a:rPr lang="en-US" altLang="ko-KR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STR </a:t>
              </a:r>
              <a:r>
                <a:rPr lang="ko-KR" altLang="en-US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endParaRPr lang="en-US" altLang="ko-KR" sz="1100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459" name="직사각형 458"/>
            <p:cNvSpPr/>
            <p:nvPr/>
          </p:nvSpPr>
          <p:spPr>
            <a:xfrm>
              <a:off x="5205544" y="2816988"/>
              <a:ext cx="4247956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en-US" altLang="ko-KR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"</a:t>
              </a:r>
              <a:r>
                <a:rPr lang="ko-KR" altLang="en-US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금융거래 제한 대상자</a:t>
              </a:r>
              <a:r>
                <a:rPr lang="en-US" altLang="ko-KR" sz="1100" spc="-100" dirty="0" smtClean="0"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"</a:t>
              </a:r>
              <a:r>
                <a:rPr lang="ko-KR" altLang="en-US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와 관련된 거래에 대해서 금융위원회로 부터 금융거래 허가</a:t>
              </a:r>
              <a:r>
                <a:rPr lang="ko-KR" altLang="en-US" sz="1100" b="1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en-US" altLang="ko-KR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</a:t>
              </a:r>
              <a:r>
                <a:rPr lang="ko-KR" altLang="en-US" sz="1100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여부에 따라 금융거래 를 지속하거나 종료</a:t>
              </a:r>
              <a:endParaRPr lang="en-US" altLang="ko-KR" sz="1100" spc="-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461" name="직사각형 460"/>
          <p:cNvSpPr/>
          <p:nvPr/>
        </p:nvSpPr>
        <p:spPr>
          <a:xfrm>
            <a:off x="398401" y="2060848"/>
            <a:ext cx="4662610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 Alert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조사</a:t>
            </a:r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/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분석 및 보고 절차 수립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462" name="TextBox 461"/>
          <p:cNvSpPr txBox="1"/>
          <p:nvPr/>
        </p:nvSpPr>
        <p:spPr>
          <a:xfrm>
            <a:off x="1692186" y="3493570"/>
            <a:ext cx="560514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Batch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63" name="TextBox 462"/>
          <p:cNvSpPr txBox="1"/>
          <p:nvPr/>
        </p:nvSpPr>
        <p:spPr>
          <a:xfrm>
            <a:off x="1243208" y="4226895"/>
            <a:ext cx="757464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altLang="ko-KR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Real-time</a:t>
            </a:r>
            <a:endParaRPr lang="ko-KR" altLang="en-US" sz="1000" dirty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64" name="직사각형 463"/>
          <p:cNvSpPr/>
          <p:nvPr/>
        </p:nvSpPr>
        <p:spPr>
          <a:xfrm>
            <a:off x="5241032" y="2060848"/>
            <a:ext cx="4284476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LF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결과 </a:t>
            </a:r>
            <a:r>
              <a:rPr lang="ko-KR" altLang="en-US" sz="1200" kern="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별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처리 절차 정의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465" name="직사각형 464"/>
          <p:cNvSpPr/>
          <p:nvPr/>
        </p:nvSpPr>
        <p:spPr>
          <a:xfrm>
            <a:off x="398400" y="2534066"/>
            <a:ext cx="4662611" cy="385519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6" name="직사각형 465"/>
          <p:cNvSpPr/>
          <p:nvPr/>
        </p:nvSpPr>
        <p:spPr>
          <a:xfrm>
            <a:off x="5243390" y="2534066"/>
            <a:ext cx="4282118" cy="385519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69127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필터링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.3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Watch List Filtering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요건 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9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194895" y="2335843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4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307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1 </a:t>
            </a:r>
            <a:r>
              <a:rPr lang="ko-KR" altLang="en-US" dirty="0" smtClean="0"/>
              <a:t>시스템 구성방안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9342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하드웨어 자원에 대해서는 신규 구축 및 향후 업무 증가 등을 고려하여 기존 서버의 메모리 및 스토리지의 디스크 용량에 대해 증설하여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/>
            </a:r>
            <a:b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</a:b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성함으로써 투자 비용에 대한 보호와 자원의 효율성을 도모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스템 구성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135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5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7920007" y="5401159"/>
            <a:ext cx="1193877" cy="792000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 bwMode="auto">
          <a:xfrm>
            <a:off x="3154025" y="5401159"/>
            <a:ext cx="2622956" cy="792000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5637228" y="3069940"/>
            <a:ext cx="1368000" cy="509641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 bwMode="auto">
          <a:xfrm>
            <a:off x="3206141" y="3069940"/>
            <a:ext cx="1373119" cy="509641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모서리가 둥근 직사각형 57"/>
          <p:cNvSpPr/>
          <p:nvPr/>
        </p:nvSpPr>
        <p:spPr bwMode="auto">
          <a:xfrm>
            <a:off x="1027645" y="3069940"/>
            <a:ext cx="1585095" cy="509641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3029604" y="2197556"/>
            <a:ext cx="1260000" cy="576000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Line 40"/>
          <p:cNvSpPr>
            <a:spLocks noChangeShapeType="1"/>
          </p:cNvSpPr>
          <p:nvPr/>
        </p:nvSpPr>
        <p:spPr bwMode="auto">
          <a:xfrm>
            <a:off x="450850" y="2926118"/>
            <a:ext cx="6774267" cy="0"/>
          </a:xfrm>
          <a:prstGeom prst="line">
            <a:avLst/>
          </a:prstGeom>
          <a:noFill/>
          <a:ln w="9525" cmpd="sng">
            <a:solidFill>
              <a:schemeClr val="accent1">
                <a:lumMod val="75000"/>
              </a:schemeClr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1590" tIns="50795" rIns="101590" bIns="50795"/>
          <a:lstStyle/>
          <a:p>
            <a:pPr algn="ctr" eaLnBrk="1" hangingPunct="1"/>
            <a:endParaRPr kumimoji="1" lang="ko-KR" altLang="en-US" sz="105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1" name="직선 연결선 60"/>
          <p:cNvCxnSpPr/>
          <p:nvPr/>
        </p:nvCxnSpPr>
        <p:spPr>
          <a:xfrm>
            <a:off x="1373213" y="2926118"/>
            <a:ext cx="0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 61"/>
          <p:cNvCxnSpPr/>
          <p:nvPr/>
        </p:nvCxnSpPr>
        <p:spPr>
          <a:xfrm flipH="1">
            <a:off x="3308609" y="2690929"/>
            <a:ext cx="1" cy="235189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62"/>
          <p:cNvCxnSpPr/>
          <p:nvPr/>
        </p:nvCxnSpPr>
        <p:spPr>
          <a:xfrm flipH="1">
            <a:off x="4016708" y="2690929"/>
            <a:ext cx="1" cy="235189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2" descr="C:\Users\wslee\Desktop\2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0083" y="2269548"/>
            <a:ext cx="273886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2" descr="C:\Users\wslee\Desktop\2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2880" y="2269548"/>
            <a:ext cx="273886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6" name="직선 연결선 65"/>
          <p:cNvCxnSpPr/>
          <p:nvPr/>
        </p:nvCxnSpPr>
        <p:spPr>
          <a:xfrm>
            <a:off x="2268832" y="2916534"/>
            <a:ext cx="0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/>
          <p:cNvCxnSpPr/>
          <p:nvPr/>
        </p:nvCxnSpPr>
        <p:spPr>
          <a:xfrm>
            <a:off x="5913402" y="2926118"/>
            <a:ext cx="1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>
            <a:off x="6753239" y="2916535"/>
            <a:ext cx="1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Box 31"/>
          <p:cNvSpPr txBox="1">
            <a:spLocks noChangeArrowheads="1"/>
          </p:cNvSpPr>
          <p:nvPr/>
        </p:nvSpPr>
        <p:spPr bwMode="gray">
          <a:xfrm>
            <a:off x="3394290" y="2339563"/>
            <a:ext cx="506015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백본</a:t>
            </a:r>
            <a:endParaRPr lang="en-US" altLang="ko-KR" sz="900" kern="0" dirty="0" smtClean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70" name="모서리가 둥근 직사각형 69"/>
          <p:cNvSpPr/>
          <p:nvPr/>
        </p:nvSpPr>
        <p:spPr bwMode="auto">
          <a:xfrm>
            <a:off x="766726" y="3862993"/>
            <a:ext cx="540000" cy="466107"/>
          </a:xfrm>
          <a:prstGeom prst="roundRect">
            <a:avLst>
              <a:gd name="adj" fmla="val 9065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 #1</a:t>
            </a:r>
          </a:p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8C</a:t>
            </a:r>
          </a:p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80GB</a:t>
            </a:r>
            <a:endParaRPr kumimoji="0"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1496616" y="3862993"/>
            <a:ext cx="540000" cy="466107"/>
          </a:xfrm>
          <a:prstGeom prst="roundRect">
            <a:avLst>
              <a:gd name="adj" fmla="val 9065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 </a:t>
            </a:r>
            <a:r>
              <a:rPr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#</a:t>
            </a:r>
            <a:r>
              <a:rPr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8C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80GB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모서리가 둥근 직사각형 71"/>
          <p:cNvSpPr/>
          <p:nvPr/>
        </p:nvSpPr>
        <p:spPr bwMode="auto">
          <a:xfrm>
            <a:off x="2252700" y="3862993"/>
            <a:ext cx="540000" cy="466107"/>
          </a:xfrm>
          <a:prstGeom prst="roundRect">
            <a:avLst>
              <a:gd name="adj" fmla="val 9065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 </a:t>
            </a:r>
            <a:r>
              <a:rPr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#3</a:t>
            </a:r>
            <a:endParaRPr lang="en-US" altLang="ko-KR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8C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80GB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3" name="직선 연결선 72"/>
          <p:cNvCxnSpPr>
            <a:stCxn id="235" idx="2"/>
            <a:endCxn id="226" idx="0"/>
          </p:cNvCxnSpPr>
          <p:nvPr/>
        </p:nvCxnSpPr>
        <p:spPr>
          <a:xfrm flipH="1">
            <a:off x="956548" y="3466864"/>
            <a:ext cx="420106" cy="275932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연결선 73"/>
          <p:cNvCxnSpPr>
            <a:stCxn id="234" idx="2"/>
            <a:endCxn id="227" idx="0"/>
          </p:cNvCxnSpPr>
          <p:nvPr/>
        </p:nvCxnSpPr>
        <p:spPr>
          <a:xfrm flipH="1">
            <a:off x="1145199" y="3466864"/>
            <a:ext cx="1121384" cy="275932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연결선 74"/>
          <p:cNvCxnSpPr>
            <a:stCxn id="235" idx="2"/>
            <a:endCxn id="228" idx="0"/>
          </p:cNvCxnSpPr>
          <p:nvPr/>
        </p:nvCxnSpPr>
        <p:spPr>
          <a:xfrm>
            <a:off x="1376654" y="3466864"/>
            <a:ext cx="286943" cy="275932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직선 연결선 75"/>
          <p:cNvCxnSpPr>
            <a:stCxn id="235" idx="2"/>
            <a:endCxn id="230" idx="0"/>
          </p:cNvCxnSpPr>
          <p:nvPr/>
        </p:nvCxnSpPr>
        <p:spPr>
          <a:xfrm>
            <a:off x="1376654" y="3466864"/>
            <a:ext cx="1067683" cy="275932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연결선 76"/>
          <p:cNvCxnSpPr>
            <a:stCxn id="234" idx="2"/>
            <a:endCxn id="231" idx="0"/>
          </p:cNvCxnSpPr>
          <p:nvPr/>
        </p:nvCxnSpPr>
        <p:spPr>
          <a:xfrm>
            <a:off x="2266583" y="3466864"/>
            <a:ext cx="366405" cy="275932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연결선 78"/>
          <p:cNvCxnSpPr>
            <a:stCxn id="234" idx="2"/>
            <a:endCxn id="229" idx="0"/>
          </p:cNvCxnSpPr>
          <p:nvPr/>
        </p:nvCxnSpPr>
        <p:spPr>
          <a:xfrm flipH="1">
            <a:off x="1852248" y="3466864"/>
            <a:ext cx="414335" cy="275932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연결선 79"/>
          <p:cNvCxnSpPr>
            <a:stCxn id="102" idx="2"/>
            <a:endCxn id="94" idx="0"/>
          </p:cNvCxnSpPr>
          <p:nvPr/>
        </p:nvCxnSpPr>
        <p:spPr>
          <a:xfrm flipH="1">
            <a:off x="3324181" y="3514432"/>
            <a:ext cx="184668" cy="228364"/>
          </a:xfrm>
          <a:prstGeom prst="line">
            <a:avLst/>
          </a:prstGeom>
          <a:ln w="63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직선 연결선 80"/>
          <p:cNvCxnSpPr>
            <a:stCxn id="103" idx="2"/>
            <a:endCxn id="97" idx="0"/>
          </p:cNvCxnSpPr>
          <p:nvPr/>
        </p:nvCxnSpPr>
        <p:spPr>
          <a:xfrm>
            <a:off x="4281728" y="3514432"/>
            <a:ext cx="59196" cy="228364"/>
          </a:xfrm>
          <a:prstGeom prst="line">
            <a:avLst/>
          </a:prstGeom>
          <a:ln w="63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직선 연결선 81"/>
          <p:cNvCxnSpPr>
            <a:stCxn id="103" idx="2"/>
            <a:endCxn id="95" idx="0"/>
          </p:cNvCxnSpPr>
          <p:nvPr/>
        </p:nvCxnSpPr>
        <p:spPr>
          <a:xfrm flipH="1">
            <a:off x="3512832" y="3514432"/>
            <a:ext cx="768896" cy="228364"/>
          </a:xfrm>
          <a:prstGeom prst="line">
            <a:avLst/>
          </a:prstGeom>
          <a:ln w="63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모서리가 둥근 직사각형 82"/>
          <p:cNvSpPr/>
          <p:nvPr/>
        </p:nvSpPr>
        <p:spPr bwMode="auto">
          <a:xfrm>
            <a:off x="3178991" y="3862993"/>
            <a:ext cx="540000" cy="466107"/>
          </a:xfrm>
          <a:prstGeom prst="roundRect">
            <a:avLst>
              <a:gd name="adj" fmla="val 9065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B #1</a:t>
            </a:r>
          </a:p>
          <a:p>
            <a:pPr defTabSz="9115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6C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9115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92GB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모서리가 둥근 직사각형 83"/>
          <p:cNvSpPr/>
          <p:nvPr/>
        </p:nvSpPr>
        <p:spPr bwMode="auto">
          <a:xfrm>
            <a:off x="4016896" y="3862993"/>
            <a:ext cx="540000" cy="466107"/>
          </a:xfrm>
          <a:prstGeom prst="roundRect">
            <a:avLst>
              <a:gd name="adj" fmla="val 9065"/>
            </a:avLst>
          </a:prstGeom>
          <a:solidFill>
            <a:schemeClr val="bg1">
              <a:lumMod val="95000"/>
            </a:scheme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B #2</a:t>
            </a: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6C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92GB</a:t>
            </a:r>
            <a:endParaRPr lang="en-US" altLang="ko-KR" sz="9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5" name="직선 연결선 84"/>
          <p:cNvCxnSpPr>
            <a:stCxn id="102" idx="2"/>
            <a:endCxn id="96" idx="0"/>
          </p:cNvCxnSpPr>
          <p:nvPr/>
        </p:nvCxnSpPr>
        <p:spPr>
          <a:xfrm>
            <a:off x="3508849" y="3514432"/>
            <a:ext cx="646429" cy="228364"/>
          </a:xfrm>
          <a:prstGeom prst="line">
            <a:avLst/>
          </a:prstGeom>
          <a:ln w="63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연결선 85"/>
          <p:cNvCxnSpPr/>
          <p:nvPr/>
        </p:nvCxnSpPr>
        <p:spPr>
          <a:xfrm>
            <a:off x="3509729" y="2921210"/>
            <a:ext cx="0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연결선 86"/>
          <p:cNvCxnSpPr/>
          <p:nvPr/>
        </p:nvCxnSpPr>
        <p:spPr>
          <a:xfrm>
            <a:off x="4281728" y="2911626"/>
            <a:ext cx="0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연결선 87"/>
          <p:cNvCxnSpPr>
            <a:stCxn id="100" idx="2"/>
            <a:endCxn id="91" idx="0"/>
          </p:cNvCxnSpPr>
          <p:nvPr/>
        </p:nvCxnSpPr>
        <p:spPr>
          <a:xfrm flipH="1">
            <a:off x="5871072" y="3474102"/>
            <a:ext cx="17589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연결선 88"/>
          <p:cNvCxnSpPr>
            <a:stCxn id="101" idx="2"/>
            <a:endCxn id="92" idx="0"/>
          </p:cNvCxnSpPr>
          <p:nvPr/>
        </p:nvCxnSpPr>
        <p:spPr>
          <a:xfrm>
            <a:off x="6753220" y="3474102"/>
            <a:ext cx="17952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직선 연결선 89"/>
          <p:cNvCxnSpPr>
            <a:stCxn id="101" idx="2"/>
            <a:endCxn id="91" idx="0"/>
          </p:cNvCxnSpPr>
          <p:nvPr/>
        </p:nvCxnSpPr>
        <p:spPr>
          <a:xfrm flipH="1">
            <a:off x="5871072" y="3474102"/>
            <a:ext cx="882148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모서리가 둥근 직사각형 90"/>
          <p:cNvSpPr/>
          <p:nvPr/>
        </p:nvSpPr>
        <p:spPr bwMode="auto">
          <a:xfrm>
            <a:off x="5601072" y="3862993"/>
            <a:ext cx="540000" cy="466107"/>
          </a:xfrm>
          <a:prstGeom prst="roundRect">
            <a:avLst>
              <a:gd name="adj" fmla="val 9065"/>
            </a:avLst>
          </a:prstGeom>
          <a:solidFill>
            <a:srgbClr val="4F81BD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발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</a:t>
            </a:r>
          </a:p>
          <a:p>
            <a:pPr defTabSz="911578" eaLnBrk="1" hangingPunct="1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ea typeface="맑은 고딕" pitchFamily="50" charset="-127"/>
              </a:rPr>
              <a:t>8C</a:t>
            </a:r>
            <a:endParaRPr lang="en-US" altLang="ko-KR" sz="900" b="1" kern="0" dirty="0">
              <a:solidFill>
                <a:srgbClr val="C00000"/>
              </a:solidFill>
              <a:ea typeface="맑은 고딕" pitchFamily="50" charset="-127"/>
            </a:endParaRPr>
          </a:p>
          <a:p>
            <a:pPr defTabSz="911578" eaLnBrk="1" hangingPunct="1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ea typeface="맑은 고딕" pitchFamily="50" charset="-127"/>
              </a:rPr>
              <a:t>64GB</a:t>
            </a:r>
            <a:endParaRPr lang="en-US" altLang="ko-KR" sz="900" b="1" kern="0" dirty="0">
              <a:solidFill>
                <a:srgbClr val="C00000"/>
              </a:solidFill>
              <a:ea typeface="맑은 고딕" pitchFamily="50" charset="-127"/>
            </a:endParaRPr>
          </a:p>
        </p:txBody>
      </p:sp>
      <p:sp>
        <p:nvSpPr>
          <p:cNvPr id="92" name="모서리가 둥근 직사각형 91"/>
          <p:cNvSpPr/>
          <p:nvPr/>
        </p:nvSpPr>
        <p:spPr bwMode="auto">
          <a:xfrm>
            <a:off x="6501172" y="3862993"/>
            <a:ext cx="540000" cy="466107"/>
          </a:xfrm>
          <a:prstGeom prst="roundRect">
            <a:avLst>
              <a:gd name="adj" fmla="val 9065"/>
            </a:avLst>
          </a:prstGeom>
          <a:solidFill>
            <a:srgbClr val="4F81BD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발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ea typeface="맑은 고딕" pitchFamily="50" charset="-127"/>
              </a:rPr>
              <a:t>8C</a:t>
            </a:r>
            <a:endParaRPr lang="en-US" altLang="ko-KR" sz="900" b="1" kern="0" dirty="0">
              <a:solidFill>
                <a:srgbClr val="C00000"/>
              </a:solidFill>
              <a:ea typeface="맑은 고딕" pitchFamily="50" charset="-127"/>
            </a:endParaRP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ea typeface="맑은 고딕" pitchFamily="50" charset="-127"/>
              </a:rPr>
              <a:t>96GB</a:t>
            </a:r>
            <a:endParaRPr lang="en-US" altLang="ko-KR" sz="900" b="1" kern="0" dirty="0">
              <a:solidFill>
                <a:srgbClr val="C00000"/>
              </a:solidFill>
              <a:ea typeface="맑은 고딕" pitchFamily="50" charset="-127"/>
            </a:endParaRPr>
          </a:p>
        </p:txBody>
      </p:sp>
      <p:cxnSp>
        <p:nvCxnSpPr>
          <p:cNvPr id="93" name="직선 연결선 92"/>
          <p:cNvCxnSpPr>
            <a:stCxn id="100" idx="2"/>
            <a:endCxn id="92" idx="0"/>
          </p:cNvCxnSpPr>
          <p:nvPr/>
        </p:nvCxnSpPr>
        <p:spPr>
          <a:xfrm>
            <a:off x="5888661" y="3474102"/>
            <a:ext cx="882511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타원 93"/>
          <p:cNvSpPr/>
          <p:nvPr/>
        </p:nvSpPr>
        <p:spPr>
          <a:xfrm>
            <a:off x="3252181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타원 94"/>
          <p:cNvSpPr/>
          <p:nvPr/>
        </p:nvSpPr>
        <p:spPr>
          <a:xfrm>
            <a:off x="3440832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타원 95"/>
          <p:cNvSpPr/>
          <p:nvPr/>
        </p:nvSpPr>
        <p:spPr>
          <a:xfrm>
            <a:off x="4083278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타원 96"/>
          <p:cNvSpPr/>
          <p:nvPr/>
        </p:nvSpPr>
        <p:spPr>
          <a:xfrm>
            <a:off x="4268924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8" name="직선 연결선 97"/>
          <p:cNvCxnSpPr/>
          <p:nvPr/>
        </p:nvCxnSpPr>
        <p:spPr>
          <a:xfrm>
            <a:off x="5291153" y="2921210"/>
            <a:ext cx="0" cy="478317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 Box 31"/>
          <p:cNvSpPr txBox="1">
            <a:spLocks noChangeArrowheads="1"/>
          </p:cNvSpPr>
          <p:nvPr/>
        </p:nvSpPr>
        <p:spPr bwMode="gray">
          <a:xfrm>
            <a:off x="1429776" y="3194166"/>
            <a:ext cx="711027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4</a:t>
            </a: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100" name="Picture 3475" descr="services_switch_corp_yell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661" y="3142864"/>
            <a:ext cx="360000" cy="33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3476" descr="services_switch_corp_yell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220" y="3142864"/>
            <a:ext cx="360000" cy="33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3439" descr="services_switch_corp_blu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849" y="3131297"/>
            <a:ext cx="360000" cy="38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3439" descr="services_switch_corp_blu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1728" y="3131297"/>
            <a:ext cx="360000" cy="38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Text Box 31"/>
          <p:cNvSpPr txBox="1">
            <a:spLocks noChangeArrowheads="1"/>
          </p:cNvSpPr>
          <p:nvPr/>
        </p:nvSpPr>
        <p:spPr bwMode="gray">
          <a:xfrm>
            <a:off x="3611983" y="3194166"/>
            <a:ext cx="584933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2</a:t>
            </a: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05" name="Text Box 31"/>
          <p:cNvSpPr txBox="1">
            <a:spLocks noChangeArrowheads="1"/>
          </p:cNvSpPr>
          <p:nvPr/>
        </p:nvSpPr>
        <p:spPr bwMode="gray">
          <a:xfrm>
            <a:off x="5996852" y="3194166"/>
            <a:ext cx="604289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 </a:t>
            </a: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2</a:t>
            </a: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4792798" y="3104964"/>
            <a:ext cx="745644" cy="453729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marL="0" marR="0" lvl="0" indent="0" algn="ctr" defTabSz="911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07" name="Picture 100" descr="04_N6040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829" y="3163037"/>
            <a:ext cx="423862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8" name="Rectangle 6147"/>
          <p:cNvSpPr>
            <a:spLocks noChangeArrowheads="1"/>
          </p:cNvSpPr>
          <p:nvPr/>
        </p:nvSpPr>
        <p:spPr bwMode="auto">
          <a:xfrm>
            <a:off x="4821325" y="3187556"/>
            <a:ext cx="22922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/>
            <a:r>
              <a:rPr lang="en-US" altLang="ko-KR" sz="900" b="1" dirty="0" smtClean="0">
                <a:solidFill>
                  <a:prstClr val="black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NAS</a:t>
            </a:r>
            <a:endParaRPr lang="en-US" altLang="ko-KR" sz="900" b="1" dirty="0">
              <a:solidFill>
                <a:prstClr val="black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09" name="Rectangle 6147"/>
          <p:cNvSpPr>
            <a:spLocks noChangeArrowheads="1"/>
          </p:cNvSpPr>
          <p:nvPr/>
        </p:nvSpPr>
        <p:spPr bwMode="auto">
          <a:xfrm>
            <a:off x="4792797" y="3384220"/>
            <a:ext cx="29174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/>
            <a:r>
              <a:rPr lang="en-US" altLang="ko-KR" sz="900" b="1" dirty="0" smtClean="0">
                <a:solidFill>
                  <a:prstClr val="black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50GB</a:t>
            </a:r>
            <a:endParaRPr lang="en-US" altLang="ko-KR" sz="900" b="1" dirty="0">
              <a:solidFill>
                <a:prstClr val="black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cxnSp>
        <p:nvCxnSpPr>
          <p:cNvPr id="110" name="직선 연결선 109"/>
          <p:cNvCxnSpPr>
            <a:stCxn id="70" idx="2"/>
            <a:endCxn id="113" idx="0"/>
          </p:cNvCxnSpPr>
          <p:nvPr/>
        </p:nvCxnSpPr>
        <p:spPr>
          <a:xfrm>
            <a:off x="1036726" y="4329100"/>
            <a:ext cx="3348379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111" name="직선 연결선 110"/>
          <p:cNvCxnSpPr>
            <a:stCxn id="125" idx="1"/>
            <a:endCxn id="113" idx="2"/>
          </p:cNvCxnSpPr>
          <p:nvPr/>
        </p:nvCxnSpPr>
        <p:spPr>
          <a:xfrm flipH="1" flipV="1">
            <a:off x="4385105" y="5122316"/>
            <a:ext cx="862637" cy="351577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sp>
        <p:nvSpPr>
          <p:cNvPr id="112" name="Rectangle 6147"/>
          <p:cNvSpPr>
            <a:spLocks noChangeArrowheads="1"/>
          </p:cNvSpPr>
          <p:nvPr/>
        </p:nvSpPr>
        <p:spPr bwMode="auto">
          <a:xfrm>
            <a:off x="2695173" y="5668964"/>
            <a:ext cx="35747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/>
            <a:r>
              <a:rPr lang="en-US" altLang="ko-KR" sz="900" b="1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Hitachi</a:t>
            </a:r>
          </a:p>
          <a:p>
            <a:pPr algn="ctr" eaLnBrk="1" hangingPunct="1"/>
            <a:r>
              <a:rPr lang="en-US" altLang="ko-KR" sz="900" b="1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F800</a:t>
            </a:r>
          </a:p>
        </p:txBody>
      </p:sp>
      <p:sp>
        <p:nvSpPr>
          <p:cNvPr id="113" name="모서리가 둥근 직사각형 112"/>
          <p:cNvSpPr/>
          <p:nvPr/>
        </p:nvSpPr>
        <p:spPr bwMode="auto">
          <a:xfrm>
            <a:off x="4016699" y="4719496"/>
            <a:ext cx="736812" cy="402820"/>
          </a:xfrm>
          <a:prstGeom prst="roundRect">
            <a:avLst/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>
              <a:defRPr/>
            </a:pPr>
            <a:endParaRPr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4" name="그룹 113"/>
          <p:cNvGrpSpPr/>
          <p:nvPr/>
        </p:nvGrpSpPr>
        <p:grpSpPr>
          <a:xfrm>
            <a:off x="4064213" y="4769732"/>
            <a:ext cx="641784" cy="302348"/>
            <a:chOff x="3709333" y="5013220"/>
            <a:chExt cx="598694" cy="290890"/>
          </a:xfrm>
        </p:grpSpPr>
        <p:pic>
          <p:nvPicPr>
            <p:cNvPr id="115" name="Picture 93" descr="Picture14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81" t="4512" r="9592" b="4789"/>
            <a:stretch/>
          </p:blipFill>
          <p:spPr bwMode="auto">
            <a:xfrm>
              <a:off x="3709333" y="5013220"/>
              <a:ext cx="367105" cy="290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6" name="Picture 93" descr="Picture14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81" t="4512" r="9592" b="4789"/>
            <a:stretch/>
          </p:blipFill>
          <p:spPr bwMode="auto">
            <a:xfrm>
              <a:off x="3940922" y="5013220"/>
              <a:ext cx="367105" cy="290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7" name="Text Box 31"/>
          <p:cNvSpPr txBox="1">
            <a:spLocks noChangeArrowheads="1"/>
          </p:cNvSpPr>
          <p:nvPr/>
        </p:nvSpPr>
        <p:spPr bwMode="gray">
          <a:xfrm>
            <a:off x="3512840" y="4769035"/>
            <a:ext cx="491056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SAN</a:t>
            </a: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18" name="AutoShape 301"/>
          <p:cNvSpPr>
            <a:spLocks noChangeArrowheads="1"/>
          </p:cNvSpPr>
          <p:nvPr/>
        </p:nvSpPr>
        <p:spPr bwMode="auto">
          <a:xfrm flipH="1">
            <a:off x="3278170" y="5473893"/>
            <a:ext cx="828462" cy="538493"/>
          </a:xfrm>
          <a:prstGeom prst="can">
            <a:avLst>
              <a:gd name="adj" fmla="val 25000"/>
            </a:avLst>
          </a:prstGeom>
          <a:gradFill>
            <a:gsLst>
              <a:gs pos="24000">
                <a:srgbClr val="EAEAEA"/>
              </a:gs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50000"/>
                </a:sysClr>
              </a:gs>
            </a:gsLst>
            <a:lin ang="0" scaled="0"/>
          </a:gradFill>
          <a:ln>
            <a:noFill/>
          </a:ln>
          <a:effectLst>
            <a:innerShdw dist="38100" dir="5400000">
              <a:prstClr val="black">
                <a:alpha val="50000"/>
              </a:prstClr>
            </a:innerShdw>
          </a:effectLst>
          <a:extLst/>
        </p:spPr>
        <p:txBody>
          <a:bodyPr wrap="none" anchor="ctr"/>
          <a:lstStyle/>
          <a:p>
            <a:pPr marL="0" marR="0" lvl="0" indent="0" algn="ctr" defTabSz="1498600" eaLnBrk="1" fontAlgn="auto" latin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noProof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</a:t>
            </a:r>
            <a:endParaRPr lang="en-US" altLang="ko-KR" sz="800" b="1" kern="0" noProof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lvl="0" indent="0" algn="ctr" defTabSz="1498600" eaLnBrk="1" fontAlgn="auto" latin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noProof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lvl="0" indent="0" algn="ctr" defTabSz="1498600" eaLnBrk="1" fontAlgn="auto" latin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noProof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 </a:t>
            </a:r>
            <a:r>
              <a:rPr lang="en-US" altLang="ko-KR" sz="800" b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6TB</a:t>
            </a:r>
          </a:p>
          <a:p>
            <a:pPr algn="ctr" defTabSz="1498600">
              <a:defRPr/>
            </a:pPr>
            <a:r>
              <a:rPr lang="ko-KR" altLang="en-US" sz="800" b="1" kern="0" noProof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 </a:t>
            </a:r>
            <a:r>
              <a:rPr lang="en-US" altLang="ko-KR" sz="800" b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4TB</a:t>
            </a:r>
          </a:p>
          <a:p>
            <a:pPr marL="0" marR="0" lvl="0" indent="0" algn="ctr" defTabSz="1498600" eaLnBrk="1" fontAlgn="auto" latin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9" name="직선 연결선 118"/>
          <p:cNvCxnSpPr>
            <a:stCxn id="71" idx="2"/>
            <a:endCxn id="113" idx="0"/>
          </p:cNvCxnSpPr>
          <p:nvPr/>
        </p:nvCxnSpPr>
        <p:spPr>
          <a:xfrm>
            <a:off x="1766616" y="4329100"/>
            <a:ext cx="2618489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120" name="직선 연결선 119"/>
          <p:cNvCxnSpPr>
            <a:stCxn id="72" idx="2"/>
            <a:endCxn id="113" idx="0"/>
          </p:cNvCxnSpPr>
          <p:nvPr/>
        </p:nvCxnSpPr>
        <p:spPr>
          <a:xfrm>
            <a:off x="2522700" y="4329100"/>
            <a:ext cx="1862405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121" name="직선 연결선 120"/>
          <p:cNvCxnSpPr>
            <a:stCxn id="83" idx="2"/>
            <a:endCxn id="113" idx="0"/>
          </p:cNvCxnSpPr>
          <p:nvPr/>
        </p:nvCxnSpPr>
        <p:spPr>
          <a:xfrm>
            <a:off x="3448991" y="4329100"/>
            <a:ext cx="936114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122" name="직선 연결선 121"/>
          <p:cNvCxnSpPr>
            <a:stCxn id="84" idx="2"/>
            <a:endCxn id="113" idx="0"/>
          </p:cNvCxnSpPr>
          <p:nvPr/>
        </p:nvCxnSpPr>
        <p:spPr>
          <a:xfrm>
            <a:off x="4286896" y="4329100"/>
            <a:ext cx="98209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123" name="직선 연결선 122"/>
          <p:cNvCxnSpPr>
            <a:stCxn id="113" idx="2"/>
            <a:endCxn id="118" idx="1"/>
          </p:cNvCxnSpPr>
          <p:nvPr/>
        </p:nvCxnSpPr>
        <p:spPr>
          <a:xfrm flipH="1">
            <a:off x="3692401" y="5122316"/>
            <a:ext cx="692704" cy="351577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124" name="직선 연결선 123"/>
          <p:cNvCxnSpPr>
            <a:stCxn id="92" idx="2"/>
            <a:endCxn id="113" idx="0"/>
          </p:cNvCxnSpPr>
          <p:nvPr/>
        </p:nvCxnSpPr>
        <p:spPr>
          <a:xfrm flipH="1">
            <a:off x="4385105" y="4329100"/>
            <a:ext cx="2386067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sp>
        <p:nvSpPr>
          <p:cNvPr id="125" name="AutoShape 301"/>
          <p:cNvSpPr>
            <a:spLocks noChangeArrowheads="1"/>
          </p:cNvSpPr>
          <p:nvPr/>
        </p:nvSpPr>
        <p:spPr bwMode="auto">
          <a:xfrm flipH="1">
            <a:off x="4833511" y="5473893"/>
            <a:ext cx="828462" cy="538493"/>
          </a:xfrm>
          <a:prstGeom prst="can">
            <a:avLst>
              <a:gd name="adj" fmla="val 25000"/>
            </a:avLst>
          </a:prstGeom>
          <a:gradFill>
            <a:gsLst>
              <a:gs pos="24000">
                <a:srgbClr val="EAEAEA"/>
              </a:gs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50000"/>
                </a:sysClr>
              </a:gs>
            </a:gsLst>
            <a:lin ang="0" scaled="0"/>
          </a:gradFill>
          <a:ln>
            <a:noFill/>
          </a:ln>
          <a:effectLst>
            <a:innerShdw dist="38100" dir="5400000">
              <a:prstClr val="black">
                <a:alpha val="50000"/>
              </a:prstClr>
            </a:innerShdw>
          </a:effectLst>
          <a:extLst/>
        </p:spPr>
        <p:txBody>
          <a:bodyPr wrap="none" anchor="ctr"/>
          <a:lstStyle/>
          <a:p>
            <a:pPr lvl="0" algn="ctr" defTabSz="1498600">
              <a:defRPr/>
            </a:pPr>
            <a:r>
              <a:rPr lang="ko-KR" altLang="en-US" sz="8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</a:t>
            </a:r>
            <a:endParaRPr lang="en-US" altLang="ko-KR" sz="800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 algn="ctr" defTabSz="1498600">
              <a:defRPr/>
            </a:pPr>
            <a:endParaRPr lang="en-US" altLang="ko-KR" sz="800" b="1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 algn="ctr" defTabSz="1498600">
              <a:defRPr/>
            </a:pPr>
            <a:r>
              <a:rPr lang="ko-KR" altLang="en-US" sz="800" b="1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 </a:t>
            </a:r>
            <a:r>
              <a:rPr lang="en-US" altLang="ko-KR" sz="800" b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6TB</a:t>
            </a:r>
          </a:p>
          <a:p>
            <a:pPr lvl="0" algn="ctr" defTabSz="1498600">
              <a:defRPr/>
            </a:pPr>
            <a:r>
              <a:rPr lang="ko-KR" altLang="en-US" sz="8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</a:t>
            </a:r>
            <a:r>
              <a:rPr lang="ko-KR" altLang="en-US" sz="800" b="1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800" b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4TB</a:t>
            </a:r>
          </a:p>
          <a:p>
            <a:pPr lvl="0" algn="ctr" defTabSz="1498600">
              <a:defRPr/>
            </a:pPr>
            <a:endParaRPr lang="en-US" altLang="ko-KR" sz="800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6" name="오른쪽 화살표 125"/>
          <p:cNvSpPr/>
          <p:nvPr/>
        </p:nvSpPr>
        <p:spPr>
          <a:xfrm>
            <a:off x="4469823" y="5618267"/>
            <a:ext cx="327684" cy="311218"/>
          </a:xfrm>
          <a:prstGeom prst="rightArrow">
            <a:avLst>
              <a:gd name="adj1" fmla="val 54715"/>
              <a:gd name="adj2" fmla="val 61788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7" name="Rectangle 6147"/>
          <p:cNvSpPr>
            <a:spLocks noChangeArrowheads="1"/>
          </p:cNvSpPr>
          <p:nvPr/>
        </p:nvSpPr>
        <p:spPr bwMode="auto">
          <a:xfrm>
            <a:off x="3575703" y="6035773"/>
            <a:ext cx="20197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/>
            <a:r>
              <a:rPr lang="ko-KR" altLang="en-US" sz="900" b="1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운영</a:t>
            </a:r>
            <a:endParaRPr lang="en-US" altLang="ko-KR" sz="900" b="1" dirty="0" smtClean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28" name="Rectangle 6147"/>
          <p:cNvSpPr>
            <a:spLocks noChangeArrowheads="1"/>
          </p:cNvSpPr>
          <p:nvPr/>
        </p:nvSpPr>
        <p:spPr bwMode="auto">
          <a:xfrm>
            <a:off x="5096257" y="6035773"/>
            <a:ext cx="30296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/>
            <a:r>
              <a:rPr lang="ko-KR" altLang="en-US" sz="900" b="1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이중화</a:t>
            </a:r>
            <a:endParaRPr lang="en-US" altLang="ko-KR" sz="900" b="1" dirty="0" smtClean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29" name="Rectangle 98"/>
          <p:cNvSpPr>
            <a:spLocks noChangeArrowheads="1"/>
          </p:cNvSpPr>
          <p:nvPr/>
        </p:nvSpPr>
        <p:spPr bwMode="auto">
          <a:xfrm>
            <a:off x="318157" y="5493418"/>
            <a:ext cx="1281139" cy="174625"/>
          </a:xfrm>
          <a:prstGeom prst="rect">
            <a:avLst/>
          </a:prstGeom>
          <a:pattFill prst="wdUpDiag">
            <a:fgClr>
              <a:srgbClr val="E6E6E6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4" tIns="45574" rIns="91154" bIns="45574" anchor="ctr"/>
          <a:lstStyle/>
          <a:p>
            <a:pPr algn="ctr" defTabSz="911578">
              <a:defRPr/>
            </a:pPr>
            <a:endParaRPr lang="ko-KR" altLang="en-US" sz="7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Rectangle 99"/>
          <p:cNvSpPr>
            <a:spLocks noChangeArrowheads="1"/>
          </p:cNvSpPr>
          <p:nvPr/>
        </p:nvSpPr>
        <p:spPr bwMode="auto">
          <a:xfrm>
            <a:off x="318157" y="5668025"/>
            <a:ext cx="1281139" cy="749307"/>
          </a:xfrm>
          <a:prstGeom prst="rect">
            <a:avLst/>
          </a:prstGeom>
          <a:solidFill>
            <a:srgbClr val="FFFFFF"/>
          </a:solidFill>
          <a:ln w="19050">
            <a:solidFill>
              <a:srgbClr val="C0C0C0"/>
            </a:solidFill>
            <a:miter lim="800000"/>
            <a:headEnd/>
            <a:tailEnd/>
          </a:ln>
        </p:spPr>
        <p:txBody>
          <a:bodyPr wrap="none" lIns="91154" tIns="45574" rIns="91154" bIns="45574" anchor="ctr"/>
          <a:lstStyle/>
          <a:p>
            <a:pPr algn="ctr" defTabSz="911578">
              <a:defRPr/>
            </a:pPr>
            <a:endParaRPr lang="ko-KR" altLang="en-US" sz="7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31" name="Picture 100" descr="범례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37" y="5518818"/>
            <a:ext cx="297593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101" descr="Block-2-256"/>
          <p:cNvPicPr>
            <a:picLocks noChangeAspect="1" noChangeArrowheads="1"/>
          </p:cNvPicPr>
          <p:nvPr/>
        </p:nvPicPr>
        <p:blipFill>
          <a:blip r:embed="rId8">
            <a:lum bright="6000" contrast="-12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29" y="5483880"/>
            <a:ext cx="317194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3" name="직선 연결선 132"/>
          <p:cNvCxnSpPr/>
          <p:nvPr/>
        </p:nvCxnSpPr>
        <p:spPr>
          <a:xfrm flipH="1">
            <a:off x="390985" y="6141828"/>
            <a:ext cx="262564" cy="0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134" name="직선 연결선 133"/>
          <p:cNvCxnSpPr/>
          <p:nvPr/>
        </p:nvCxnSpPr>
        <p:spPr>
          <a:xfrm>
            <a:off x="390985" y="5802087"/>
            <a:ext cx="269720" cy="0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  <p:cxnSp>
        <p:nvCxnSpPr>
          <p:cNvPr id="135" name="직선 연결선 134"/>
          <p:cNvCxnSpPr/>
          <p:nvPr/>
        </p:nvCxnSpPr>
        <p:spPr>
          <a:xfrm>
            <a:off x="390985" y="5859263"/>
            <a:ext cx="269720" cy="0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ysDot"/>
            <a:miter lim="800000"/>
          </a:ln>
          <a:effectLst/>
        </p:spPr>
      </p:cxnSp>
      <p:sp>
        <p:nvSpPr>
          <p:cNvPr id="136" name="TextBox 528"/>
          <p:cNvSpPr txBox="1">
            <a:spLocks noChangeArrowheads="1"/>
          </p:cNvSpPr>
          <p:nvPr/>
        </p:nvSpPr>
        <p:spPr bwMode="auto">
          <a:xfrm>
            <a:off x="726555" y="5765726"/>
            <a:ext cx="806065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defTabSz="911578" eaLnBrk="1" hangingPunct="1">
              <a:defRPr/>
            </a:pPr>
            <a:r>
              <a:rPr lang="en-US" altLang="ko-KR" sz="800" b="1" kern="0" dirty="0" smtClean="0">
                <a:solidFill>
                  <a:srgbClr val="000000"/>
                </a:solidFill>
                <a:ea typeface="맑은 고딕" panose="020B0503020000020004" pitchFamily="50" charset="-127"/>
              </a:rPr>
              <a:t>Data UTP LAN</a:t>
            </a:r>
            <a:endParaRPr lang="en-US" altLang="ko-KR" sz="800" b="1" kern="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cxnSp>
        <p:nvCxnSpPr>
          <p:cNvPr id="137" name="직선 연결선 136"/>
          <p:cNvCxnSpPr/>
          <p:nvPr/>
        </p:nvCxnSpPr>
        <p:spPr>
          <a:xfrm>
            <a:off x="390985" y="5954487"/>
            <a:ext cx="269720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38" name="직선 연결선 137"/>
          <p:cNvCxnSpPr/>
          <p:nvPr/>
        </p:nvCxnSpPr>
        <p:spPr>
          <a:xfrm>
            <a:off x="390985" y="6011663"/>
            <a:ext cx="269720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ysDot"/>
            <a:miter lim="800000"/>
          </a:ln>
          <a:effectLst/>
        </p:spPr>
      </p:cxnSp>
      <p:sp>
        <p:nvSpPr>
          <p:cNvPr id="139" name="TextBox 528"/>
          <p:cNvSpPr txBox="1">
            <a:spLocks noChangeArrowheads="1"/>
          </p:cNvSpPr>
          <p:nvPr/>
        </p:nvSpPr>
        <p:spPr bwMode="auto">
          <a:xfrm>
            <a:off x="726555" y="5918126"/>
            <a:ext cx="806065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defTabSz="911578" eaLnBrk="1" hangingPunct="1">
              <a:defRPr/>
            </a:pPr>
            <a:r>
              <a:rPr lang="en-US" altLang="ko-KR" sz="800" b="1" kern="0" dirty="0" smtClean="0">
                <a:solidFill>
                  <a:srgbClr val="000000"/>
                </a:solidFill>
                <a:ea typeface="맑은 고딕" panose="020B0503020000020004" pitchFamily="50" charset="-127"/>
              </a:rPr>
              <a:t>Data FC LAN</a:t>
            </a:r>
            <a:endParaRPr lang="en-US" altLang="ko-KR" sz="800" b="1" kern="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140" name="TextBox 528"/>
          <p:cNvSpPr txBox="1">
            <a:spLocks noChangeArrowheads="1"/>
          </p:cNvSpPr>
          <p:nvPr/>
        </p:nvSpPr>
        <p:spPr bwMode="auto">
          <a:xfrm>
            <a:off x="726555" y="6080272"/>
            <a:ext cx="649784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defTabSz="911578" eaLnBrk="1" hangingPunct="1">
              <a:defRPr/>
            </a:pPr>
            <a:r>
              <a:rPr lang="en-US" altLang="ko-KR" sz="800" b="1" kern="0" dirty="0" smtClean="0">
                <a:solidFill>
                  <a:srgbClr val="000000"/>
                </a:solidFill>
                <a:ea typeface="맑은 고딕" panose="020B0503020000020004" pitchFamily="50" charset="-127"/>
              </a:rPr>
              <a:t>Disk SAN</a:t>
            </a:r>
            <a:endParaRPr lang="en-US" altLang="ko-KR" sz="800" b="1" kern="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141" name="Text Box 31"/>
          <p:cNvSpPr txBox="1">
            <a:spLocks noChangeArrowheads="1"/>
          </p:cNvSpPr>
          <p:nvPr/>
        </p:nvSpPr>
        <p:spPr bwMode="gray">
          <a:xfrm>
            <a:off x="760983" y="4978512"/>
            <a:ext cx="293080" cy="2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1" latinLnBrk="1" hangingPunct="1"/>
            <a:r>
              <a:rPr lang="ko-KR" altLang="en-US" sz="900" dirty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백업</a:t>
            </a:r>
            <a:endParaRPr lang="en-US" altLang="ko-KR" sz="90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 eaLnBrk="1" latinLnBrk="1" hangingPunct="1">
              <a:lnSpc>
                <a:spcPct val="80000"/>
              </a:lnSpc>
            </a:pPr>
            <a:r>
              <a:rPr lang="ko-KR" altLang="en-US" sz="900" dirty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</a:p>
        </p:txBody>
      </p:sp>
      <p:cxnSp>
        <p:nvCxnSpPr>
          <p:cNvPr id="142" name="직선 연결선 141"/>
          <p:cNvCxnSpPr>
            <a:stCxn id="146" idx="1"/>
          </p:cNvCxnSpPr>
          <p:nvPr/>
        </p:nvCxnSpPr>
        <p:spPr>
          <a:xfrm flipH="1" flipV="1">
            <a:off x="594172" y="4891281"/>
            <a:ext cx="1555401" cy="25858"/>
          </a:xfrm>
          <a:prstGeom prst="line">
            <a:avLst/>
          </a:prstGeom>
          <a:noFill/>
          <a:ln w="12700" cap="flat" cmpd="sng" algn="ctr">
            <a:solidFill>
              <a:srgbClr val="00B050"/>
            </a:solidFill>
            <a:prstDash val="dash"/>
          </a:ln>
          <a:effectLst/>
        </p:spPr>
      </p:cxnSp>
      <p:cxnSp>
        <p:nvCxnSpPr>
          <p:cNvPr id="143" name="직선 연결선 142"/>
          <p:cNvCxnSpPr/>
          <p:nvPr/>
        </p:nvCxnSpPr>
        <p:spPr bwMode="auto">
          <a:xfrm>
            <a:off x="2308893" y="5120759"/>
            <a:ext cx="0" cy="463848"/>
          </a:xfrm>
          <a:prstGeom prst="line">
            <a:avLst/>
          </a:prstGeom>
          <a:noFill/>
          <a:ln w="12700" cap="flat" cmpd="sng" algn="ctr">
            <a:solidFill>
              <a:srgbClr val="00B050"/>
            </a:solidFill>
            <a:prstDash val="dash"/>
          </a:ln>
          <a:effectLst/>
        </p:spPr>
      </p:cxnSp>
      <p:pic>
        <p:nvPicPr>
          <p:cNvPr id="144" name="Picture 22" descr="tape_library_and_medi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049762" y="5500140"/>
            <a:ext cx="463404" cy="590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5" name="Text Box 31"/>
          <p:cNvSpPr txBox="1">
            <a:spLocks noChangeArrowheads="1"/>
          </p:cNvSpPr>
          <p:nvPr/>
        </p:nvSpPr>
        <p:spPr bwMode="gray">
          <a:xfrm>
            <a:off x="2224716" y="6155181"/>
            <a:ext cx="275821" cy="110800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 eaLnBrk="1" fontAlgn="auto" latin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kern="0" dirty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VTL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146" name="Picture 93" descr="Picture1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1" t="4512" r="9592" b="4789"/>
          <a:stretch/>
        </p:blipFill>
        <p:spPr bwMode="auto">
          <a:xfrm>
            <a:off x="2149573" y="4761226"/>
            <a:ext cx="393526" cy="311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Text Box 31"/>
          <p:cNvSpPr txBox="1">
            <a:spLocks noChangeArrowheads="1"/>
          </p:cNvSpPr>
          <p:nvPr/>
        </p:nvSpPr>
        <p:spPr bwMode="gray">
          <a:xfrm>
            <a:off x="1424608" y="4988205"/>
            <a:ext cx="723458" cy="276999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r" defTabSz="1389522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kern="0" dirty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Backup</a:t>
            </a:r>
          </a:p>
          <a:p>
            <a:pPr algn="r" defTabSz="1389522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kern="0" dirty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SAN </a:t>
            </a:r>
            <a:r>
              <a:rPr lang="ko-KR" altLang="en-US" sz="900" kern="0" dirty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</a:p>
        </p:txBody>
      </p:sp>
      <p:cxnSp>
        <p:nvCxnSpPr>
          <p:cNvPr id="148" name="직선 연결선 147"/>
          <p:cNvCxnSpPr/>
          <p:nvPr/>
        </p:nvCxnSpPr>
        <p:spPr>
          <a:xfrm>
            <a:off x="594172" y="2921210"/>
            <a:ext cx="0" cy="1872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직선 연결선 148"/>
          <p:cNvCxnSpPr>
            <a:stCxn id="70" idx="2"/>
            <a:endCxn id="146" idx="0"/>
          </p:cNvCxnSpPr>
          <p:nvPr/>
        </p:nvCxnSpPr>
        <p:spPr>
          <a:xfrm>
            <a:off x="1036726" y="4329100"/>
            <a:ext cx="1309610" cy="432126"/>
          </a:xfrm>
          <a:prstGeom prst="line">
            <a:avLst/>
          </a:prstGeom>
          <a:noFill/>
          <a:ln w="12700" cap="flat" cmpd="sng" algn="ctr">
            <a:solidFill>
              <a:srgbClr val="00B050"/>
            </a:solidFill>
            <a:prstDash val="dash"/>
          </a:ln>
          <a:effectLst/>
        </p:spPr>
      </p:cxnSp>
      <p:cxnSp>
        <p:nvCxnSpPr>
          <p:cNvPr id="150" name="직선 연결선 149"/>
          <p:cNvCxnSpPr>
            <a:stCxn id="83" idx="2"/>
            <a:endCxn id="146" idx="0"/>
          </p:cNvCxnSpPr>
          <p:nvPr/>
        </p:nvCxnSpPr>
        <p:spPr>
          <a:xfrm flipH="1">
            <a:off x="2346336" y="4329100"/>
            <a:ext cx="1102655" cy="432126"/>
          </a:xfrm>
          <a:prstGeom prst="line">
            <a:avLst/>
          </a:prstGeom>
          <a:noFill/>
          <a:ln w="12700" cap="flat" cmpd="sng" algn="ctr">
            <a:solidFill>
              <a:srgbClr val="00B050"/>
            </a:solidFill>
            <a:prstDash val="dash"/>
          </a:ln>
          <a:effectLst/>
        </p:spPr>
      </p:cxnSp>
      <p:cxnSp>
        <p:nvCxnSpPr>
          <p:cNvPr id="151" name="직선 연결선 150"/>
          <p:cNvCxnSpPr/>
          <p:nvPr/>
        </p:nvCxnSpPr>
        <p:spPr>
          <a:xfrm>
            <a:off x="390985" y="6289910"/>
            <a:ext cx="269720" cy="0"/>
          </a:xfrm>
          <a:prstGeom prst="line">
            <a:avLst/>
          </a:prstGeom>
          <a:noFill/>
          <a:ln w="12700" cap="flat" cmpd="sng" algn="ctr">
            <a:solidFill>
              <a:srgbClr val="00B050"/>
            </a:solidFill>
            <a:prstDash val="dash"/>
          </a:ln>
          <a:effectLst/>
        </p:spPr>
      </p:cxnSp>
      <p:sp>
        <p:nvSpPr>
          <p:cNvPr id="152" name="TextBox 528"/>
          <p:cNvSpPr txBox="1">
            <a:spLocks noChangeArrowheads="1"/>
          </p:cNvSpPr>
          <p:nvPr/>
        </p:nvSpPr>
        <p:spPr bwMode="auto">
          <a:xfrm>
            <a:off x="726555" y="6223188"/>
            <a:ext cx="806065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defTabSz="911578" eaLnBrk="1" hangingPunct="1">
              <a:defRPr/>
            </a:pPr>
            <a:r>
              <a:rPr lang="en-US" altLang="ko-KR" sz="800" b="1" kern="0" dirty="0" smtClean="0">
                <a:solidFill>
                  <a:srgbClr val="000000"/>
                </a:solidFill>
                <a:ea typeface="맑은 고딕" panose="020B0503020000020004" pitchFamily="50" charset="-127"/>
              </a:rPr>
              <a:t>Backup SAN</a:t>
            </a:r>
            <a:endParaRPr lang="en-US" altLang="ko-KR" sz="800" b="1" kern="0" dirty="0">
              <a:solidFill>
                <a:srgbClr val="000000"/>
              </a:solidFill>
              <a:ea typeface="맑은 고딕" panose="020B0503020000020004" pitchFamily="50" charset="-127"/>
            </a:endParaRPr>
          </a:p>
        </p:txBody>
      </p:sp>
      <p:sp>
        <p:nvSpPr>
          <p:cNvPr id="153" name="위쪽 화살표 24"/>
          <p:cNvSpPr>
            <a:spLocks noChangeArrowheads="1"/>
          </p:cNvSpPr>
          <p:nvPr/>
        </p:nvSpPr>
        <p:spPr bwMode="auto">
          <a:xfrm>
            <a:off x="4840328" y="3905460"/>
            <a:ext cx="652732" cy="396000"/>
          </a:xfrm>
          <a:prstGeom prst="upArrow">
            <a:avLst>
              <a:gd name="adj1" fmla="val 60345"/>
              <a:gd name="adj2" fmla="val 44075"/>
            </a:avLst>
          </a:prstGeom>
          <a:solidFill>
            <a:srgbClr val="29B8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914400" latinLnBrk="0">
              <a:spcBef>
                <a:spcPct val="10000"/>
              </a:spcBef>
              <a:spcAft>
                <a:spcPct val="10000"/>
              </a:spcAft>
              <a:defRPr/>
            </a:pPr>
            <a:endParaRPr lang="ko-KR" altLang="en-US" sz="900" b="0" kern="0" dirty="0" smtClean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4" name="Text Box 31"/>
          <p:cNvSpPr txBox="1">
            <a:spLocks noChangeArrowheads="1"/>
          </p:cNvSpPr>
          <p:nvPr/>
        </p:nvSpPr>
        <p:spPr bwMode="gray">
          <a:xfrm>
            <a:off x="4957254" y="4003482"/>
            <a:ext cx="420182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메모리</a:t>
            </a:r>
            <a:endParaRPr lang="en-US" altLang="ko-KR" sz="900" kern="0" dirty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defTabSz="1389522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kern="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증설</a:t>
            </a:r>
            <a:endParaRPr lang="ko-KR" altLang="en-US" sz="900" kern="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55" name="그룹 154"/>
          <p:cNvGrpSpPr/>
          <p:nvPr/>
        </p:nvGrpSpPr>
        <p:grpSpPr>
          <a:xfrm>
            <a:off x="1136576" y="3942143"/>
            <a:ext cx="324000" cy="355699"/>
            <a:chOff x="1186816" y="4257770"/>
            <a:chExt cx="398071" cy="355699"/>
          </a:xfrm>
        </p:grpSpPr>
        <p:sp>
          <p:nvSpPr>
            <p:cNvPr id="156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32GB</a:t>
              </a:r>
            </a:p>
          </p:txBody>
        </p:sp>
        <p:sp>
          <p:nvSpPr>
            <p:cNvPr id="157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48GB</a:t>
              </a:r>
            </a:p>
          </p:txBody>
        </p:sp>
      </p:grpSp>
      <p:grpSp>
        <p:nvGrpSpPr>
          <p:cNvPr id="158" name="그룹 157"/>
          <p:cNvGrpSpPr/>
          <p:nvPr/>
        </p:nvGrpSpPr>
        <p:grpSpPr>
          <a:xfrm>
            <a:off x="1891402" y="3942143"/>
            <a:ext cx="324000" cy="355699"/>
            <a:chOff x="1186816" y="4257770"/>
            <a:chExt cx="398071" cy="355699"/>
          </a:xfrm>
        </p:grpSpPr>
        <p:sp>
          <p:nvSpPr>
            <p:cNvPr id="159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32GB</a:t>
              </a:r>
            </a:p>
          </p:txBody>
        </p:sp>
        <p:sp>
          <p:nvSpPr>
            <p:cNvPr id="160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48GB</a:t>
              </a:r>
            </a:p>
          </p:txBody>
        </p:sp>
      </p:grpSp>
      <p:grpSp>
        <p:nvGrpSpPr>
          <p:cNvPr id="161" name="그룹 160"/>
          <p:cNvGrpSpPr/>
          <p:nvPr/>
        </p:nvGrpSpPr>
        <p:grpSpPr>
          <a:xfrm>
            <a:off x="2664668" y="3942143"/>
            <a:ext cx="324000" cy="355699"/>
            <a:chOff x="1186816" y="4257770"/>
            <a:chExt cx="398071" cy="355699"/>
          </a:xfrm>
        </p:grpSpPr>
        <p:sp>
          <p:nvSpPr>
            <p:cNvPr id="162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32GB</a:t>
              </a:r>
            </a:p>
          </p:txBody>
        </p:sp>
        <p:sp>
          <p:nvSpPr>
            <p:cNvPr id="163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48GB</a:t>
              </a:r>
            </a:p>
          </p:txBody>
        </p:sp>
      </p:grpSp>
      <p:grpSp>
        <p:nvGrpSpPr>
          <p:cNvPr id="164" name="그룹 163"/>
          <p:cNvGrpSpPr/>
          <p:nvPr/>
        </p:nvGrpSpPr>
        <p:grpSpPr>
          <a:xfrm>
            <a:off x="3603794" y="3942143"/>
            <a:ext cx="324000" cy="355699"/>
            <a:chOff x="1186816" y="4257770"/>
            <a:chExt cx="398071" cy="355699"/>
          </a:xfrm>
        </p:grpSpPr>
        <p:sp>
          <p:nvSpPr>
            <p:cNvPr id="165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64GB</a:t>
              </a:r>
            </a:p>
          </p:txBody>
        </p:sp>
        <p:sp>
          <p:nvSpPr>
            <p:cNvPr id="166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128GB</a:t>
              </a:r>
            </a:p>
          </p:txBody>
        </p:sp>
      </p:grpSp>
      <p:grpSp>
        <p:nvGrpSpPr>
          <p:cNvPr id="167" name="그룹 166"/>
          <p:cNvGrpSpPr/>
          <p:nvPr/>
        </p:nvGrpSpPr>
        <p:grpSpPr>
          <a:xfrm>
            <a:off x="4455435" y="3942143"/>
            <a:ext cx="324000" cy="355699"/>
            <a:chOff x="1186816" y="4257770"/>
            <a:chExt cx="398071" cy="355699"/>
          </a:xfrm>
        </p:grpSpPr>
        <p:sp>
          <p:nvSpPr>
            <p:cNvPr id="168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64GB</a:t>
              </a:r>
            </a:p>
          </p:txBody>
        </p:sp>
        <p:sp>
          <p:nvSpPr>
            <p:cNvPr id="169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128GB</a:t>
              </a:r>
            </a:p>
          </p:txBody>
        </p:sp>
      </p:grpSp>
      <p:grpSp>
        <p:nvGrpSpPr>
          <p:cNvPr id="170" name="그룹 169"/>
          <p:cNvGrpSpPr/>
          <p:nvPr/>
        </p:nvGrpSpPr>
        <p:grpSpPr>
          <a:xfrm>
            <a:off x="6028460" y="5624852"/>
            <a:ext cx="652732" cy="396000"/>
            <a:chOff x="6199094" y="5069076"/>
            <a:chExt cx="652732" cy="479239"/>
          </a:xfrm>
        </p:grpSpPr>
        <p:sp>
          <p:nvSpPr>
            <p:cNvPr id="171" name="위쪽 화살표 24"/>
            <p:cNvSpPr>
              <a:spLocks noChangeArrowheads="1"/>
            </p:cNvSpPr>
            <p:nvPr/>
          </p:nvSpPr>
          <p:spPr bwMode="auto">
            <a:xfrm>
              <a:off x="6199094" y="5069076"/>
              <a:ext cx="652732" cy="479239"/>
            </a:xfrm>
            <a:prstGeom prst="upArrow">
              <a:avLst>
                <a:gd name="adj1" fmla="val 60345"/>
                <a:gd name="adj2" fmla="val 44075"/>
              </a:avLst>
            </a:prstGeom>
            <a:solidFill>
              <a:srgbClr val="29B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914400" latinLnBrk="0">
                <a:spcBef>
                  <a:spcPct val="10000"/>
                </a:spcBef>
                <a:spcAft>
                  <a:spcPct val="10000"/>
                </a:spcAft>
                <a:defRPr/>
              </a:pPr>
              <a:endParaRPr lang="ko-KR" altLang="en-US" sz="900" b="0" kern="0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2" name="Text Box 31"/>
            <p:cNvSpPr txBox="1">
              <a:spLocks noChangeArrowheads="1"/>
            </p:cNvSpPr>
            <p:nvPr/>
          </p:nvSpPr>
          <p:spPr bwMode="gray">
            <a:xfrm>
              <a:off x="6316020" y="5187026"/>
              <a:ext cx="420182" cy="33522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 defTabSz="1393825"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defTabSz="1393825" eaLnBrk="0" fontAlgn="base" hangingPunct="0">
                <a:lnSpc>
                  <a:spcPct val="120000"/>
                </a:lnSpc>
                <a:spcBef>
                  <a:spcPct val="30000"/>
                </a:spcBef>
                <a:spcAft>
                  <a:spcPct val="0"/>
                </a:spcAft>
                <a:defRPr kumimoji="1" sz="1600" b="1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defTabSz="1389522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디스크</a:t>
              </a:r>
              <a:endParaRPr lang="en-US" altLang="ko-KR" sz="900" kern="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defTabSz="1389522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 smtClean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</a:rPr>
                <a:t>증설</a:t>
              </a:r>
              <a:endParaRPr lang="ko-KR" altLang="en-US" sz="900" kern="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73" name="그룹 172"/>
          <p:cNvGrpSpPr/>
          <p:nvPr/>
        </p:nvGrpSpPr>
        <p:grpSpPr>
          <a:xfrm>
            <a:off x="3995198" y="5550045"/>
            <a:ext cx="398071" cy="359430"/>
            <a:chOff x="1186816" y="4257770"/>
            <a:chExt cx="398071" cy="266774"/>
          </a:xfrm>
        </p:grpSpPr>
        <p:sp>
          <p:nvSpPr>
            <p:cNvPr id="174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33599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19TB</a:t>
              </a:r>
            </a:p>
          </p:txBody>
        </p:sp>
        <p:sp>
          <p:nvSpPr>
            <p:cNvPr id="175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390945"/>
              <a:ext cx="398071" cy="1335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20TB</a:t>
              </a:r>
            </a:p>
          </p:txBody>
        </p:sp>
      </p:grpSp>
      <p:grpSp>
        <p:nvGrpSpPr>
          <p:cNvPr id="176" name="그룹 175"/>
          <p:cNvGrpSpPr/>
          <p:nvPr/>
        </p:nvGrpSpPr>
        <p:grpSpPr>
          <a:xfrm>
            <a:off x="5579986" y="5550010"/>
            <a:ext cx="398071" cy="359456"/>
            <a:chOff x="1186816" y="4257770"/>
            <a:chExt cx="398071" cy="266795"/>
          </a:xfrm>
        </p:grpSpPr>
        <p:sp>
          <p:nvSpPr>
            <p:cNvPr id="177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33599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19TB</a:t>
              </a:r>
            </a:p>
          </p:txBody>
        </p:sp>
        <p:sp>
          <p:nvSpPr>
            <p:cNvPr id="178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390966"/>
              <a:ext cx="398071" cy="1335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20TB</a:t>
              </a:r>
            </a:p>
          </p:txBody>
        </p:sp>
      </p:grpSp>
      <p:sp>
        <p:nvSpPr>
          <p:cNvPr id="179" name="Text Box 31"/>
          <p:cNvSpPr txBox="1">
            <a:spLocks noChangeArrowheads="1"/>
          </p:cNvSpPr>
          <p:nvPr/>
        </p:nvSpPr>
        <p:spPr bwMode="gray">
          <a:xfrm>
            <a:off x="4436570" y="5682641"/>
            <a:ext cx="331490" cy="17953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 eaLnBrk="1" fontAlgn="auto" latinLnBrk="1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700" kern="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True</a:t>
            </a:r>
          </a:p>
          <a:p>
            <a:pPr algn="ctr" defTabSz="1389522" eaLnBrk="1" fontAlgn="auto" latinLnBrk="1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700" kern="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Copy</a:t>
            </a:r>
            <a:endParaRPr lang="ko-KR" altLang="en-US" sz="700" kern="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0" name="모서리가 둥근 직사각형 179"/>
          <p:cNvSpPr/>
          <p:nvPr/>
        </p:nvSpPr>
        <p:spPr bwMode="auto">
          <a:xfrm>
            <a:off x="7857433" y="3069940"/>
            <a:ext cx="1368000" cy="509641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1" name="직선 연결선 180"/>
          <p:cNvCxnSpPr/>
          <p:nvPr/>
        </p:nvCxnSpPr>
        <p:spPr>
          <a:xfrm>
            <a:off x="8149945" y="2926118"/>
            <a:ext cx="1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직선 연결선 181"/>
          <p:cNvCxnSpPr/>
          <p:nvPr/>
        </p:nvCxnSpPr>
        <p:spPr>
          <a:xfrm>
            <a:off x="8985447" y="2916535"/>
            <a:ext cx="1" cy="2880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직선 연결선 182"/>
          <p:cNvCxnSpPr>
            <a:stCxn id="189" idx="2"/>
            <a:endCxn id="186" idx="0"/>
          </p:cNvCxnSpPr>
          <p:nvPr/>
        </p:nvCxnSpPr>
        <p:spPr>
          <a:xfrm flipH="1">
            <a:off x="8103320" y="3474102"/>
            <a:ext cx="21884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직선 연결선 183"/>
          <p:cNvCxnSpPr>
            <a:stCxn id="190" idx="2"/>
            <a:endCxn id="187" idx="0"/>
          </p:cNvCxnSpPr>
          <p:nvPr/>
        </p:nvCxnSpPr>
        <p:spPr>
          <a:xfrm>
            <a:off x="8949464" y="3474102"/>
            <a:ext cx="42124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연결선 184"/>
          <p:cNvCxnSpPr>
            <a:stCxn id="190" idx="2"/>
            <a:endCxn id="186" idx="0"/>
          </p:cNvCxnSpPr>
          <p:nvPr/>
        </p:nvCxnSpPr>
        <p:spPr>
          <a:xfrm flipH="1">
            <a:off x="8103320" y="3474102"/>
            <a:ext cx="846144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모서리가 둥근 직사각형 185"/>
          <p:cNvSpPr/>
          <p:nvPr/>
        </p:nvSpPr>
        <p:spPr bwMode="auto">
          <a:xfrm>
            <a:off x="7833320" y="3862993"/>
            <a:ext cx="540000" cy="466107"/>
          </a:xfrm>
          <a:prstGeom prst="roundRect">
            <a:avLst>
              <a:gd name="adj" fmla="val 9065"/>
            </a:avLst>
          </a:prstGeom>
          <a:solidFill>
            <a:srgbClr val="4F81BD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b="1" kern="0" dirty="0" smtClean="0">
                <a:solidFill>
                  <a:sysClr val="windowText" lastClr="000000"/>
                </a:solidFill>
                <a:ea typeface="맑은 고딕" pitchFamily="50" charset="-127"/>
              </a:rPr>
              <a:t>DR</a:t>
            </a:r>
            <a:r>
              <a:rPr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</a:t>
            </a:r>
          </a:p>
          <a:p>
            <a:pPr defTabSz="911578" eaLnBrk="1" hangingPunct="1">
              <a:defRPr/>
            </a:pPr>
            <a:r>
              <a:rPr lang="en-US" altLang="ko-KR" sz="900" b="1" kern="0" dirty="0">
                <a:solidFill>
                  <a:srgbClr val="C00000"/>
                </a:solidFill>
                <a:ea typeface="맑은 고딕" pitchFamily="50" charset="-127"/>
              </a:rPr>
              <a:t>8C</a:t>
            </a:r>
          </a:p>
          <a:p>
            <a:pPr defTabSz="911578" eaLnBrk="1" hangingPunct="1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ea typeface="맑은 고딕" pitchFamily="50" charset="-127"/>
              </a:rPr>
              <a:t>80GB</a:t>
            </a:r>
            <a:endParaRPr lang="en-US" altLang="ko-KR" sz="900" b="1" kern="0" dirty="0">
              <a:solidFill>
                <a:srgbClr val="C00000"/>
              </a:solidFill>
              <a:ea typeface="맑은 고딕" pitchFamily="50" charset="-127"/>
            </a:endParaRPr>
          </a:p>
        </p:txBody>
      </p:sp>
      <p:sp>
        <p:nvSpPr>
          <p:cNvPr id="187" name="모서리가 둥근 직사각형 186"/>
          <p:cNvSpPr/>
          <p:nvPr/>
        </p:nvSpPr>
        <p:spPr bwMode="auto">
          <a:xfrm>
            <a:off x="8721588" y="3862993"/>
            <a:ext cx="540000" cy="466107"/>
          </a:xfrm>
          <a:prstGeom prst="roundRect">
            <a:avLst>
              <a:gd name="adj" fmla="val 9065"/>
            </a:avLst>
          </a:prstGeom>
          <a:solidFill>
            <a:srgbClr val="4F81BD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wrap="none" lIns="45720" rIns="45720" rtlCol="0" anchor="ctr"/>
          <a:lstStyle/>
          <a:p>
            <a:pPr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R</a:t>
            </a:r>
            <a:r>
              <a:rPr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</a:p>
          <a:p>
            <a:pPr defTabSz="911578" eaLnBrk="1" hangingPunct="1">
              <a:defRPr/>
            </a:pPr>
            <a:r>
              <a:rPr lang="en-US" altLang="ko-KR" sz="900" b="1" kern="0" dirty="0">
                <a:solidFill>
                  <a:srgbClr val="C00000"/>
                </a:solidFill>
                <a:ea typeface="맑은 고딕" pitchFamily="50" charset="-127"/>
              </a:rPr>
              <a:t>8C</a:t>
            </a:r>
          </a:p>
          <a:p>
            <a:pPr defTabSz="911578">
              <a:defRPr/>
            </a:pPr>
            <a:r>
              <a:rPr lang="en-US" altLang="ko-KR" sz="900" b="1" kern="0" dirty="0" smtClean="0">
                <a:solidFill>
                  <a:srgbClr val="C00000"/>
                </a:solidFill>
                <a:ea typeface="맑은 고딕" pitchFamily="50" charset="-127"/>
              </a:rPr>
              <a:t>96GB</a:t>
            </a:r>
            <a:endParaRPr lang="en-US" altLang="ko-KR" sz="900" b="1" kern="0" dirty="0">
              <a:solidFill>
                <a:srgbClr val="C00000"/>
              </a:solidFill>
              <a:ea typeface="맑은 고딕" pitchFamily="50" charset="-127"/>
            </a:endParaRPr>
          </a:p>
        </p:txBody>
      </p:sp>
      <p:cxnSp>
        <p:nvCxnSpPr>
          <p:cNvPr id="188" name="직선 연결선 187"/>
          <p:cNvCxnSpPr>
            <a:stCxn id="189" idx="2"/>
            <a:endCxn id="187" idx="0"/>
          </p:cNvCxnSpPr>
          <p:nvPr/>
        </p:nvCxnSpPr>
        <p:spPr>
          <a:xfrm>
            <a:off x="8125204" y="3474102"/>
            <a:ext cx="866384" cy="388891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9" name="Picture 3475" descr="services_switch_corp_yell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204" y="3142864"/>
            <a:ext cx="360000" cy="33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0" name="Picture 3476" descr="services_switch_corp_yell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464" y="3142864"/>
            <a:ext cx="360000" cy="33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1" name="Text Box 31"/>
          <p:cNvSpPr txBox="1">
            <a:spLocks noChangeArrowheads="1"/>
          </p:cNvSpPr>
          <p:nvPr/>
        </p:nvSpPr>
        <p:spPr bwMode="gray">
          <a:xfrm>
            <a:off x="8229100" y="3194166"/>
            <a:ext cx="604289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DR</a:t>
            </a: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2</a:t>
            </a: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192" name="그룹 191"/>
          <p:cNvGrpSpPr/>
          <p:nvPr/>
        </p:nvGrpSpPr>
        <p:grpSpPr>
          <a:xfrm>
            <a:off x="8197052" y="4719496"/>
            <a:ext cx="736812" cy="402820"/>
            <a:chOff x="3675457" y="4974923"/>
            <a:chExt cx="687342" cy="387554"/>
          </a:xfrm>
        </p:grpSpPr>
        <p:sp>
          <p:nvSpPr>
            <p:cNvPr id="193" name="모서리가 둥근 직사각형 192"/>
            <p:cNvSpPr/>
            <p:nvPr/>
          </p:nvSpPr>
          <p:spPr bwMode="auto">
            <a:xfrm>
              <a:off x="3675457" y="4974923"/>
              <a:ext cx="687342" cy="387554"/>
            </a:xfrm>
            <a:prstGeom prst="roundRect">
              <a:avLst/>
            </a:prstGeom>
            <a:solidFill>
              <a:srgbClr val="1F497D">
                <a:lumMod val="20000"/>
                <a:lumOff val="80000"/>
              </a:srgbClr>
            </a:solidFill>
            <a:ln w="25400" cap="flat" cmpd="sng" algn="ctr">
              <a:noFill/>
              <a:prstDash val="sysDash"/>
              <a:headEnd/>
              <a:tailEnd/>
            </a:ln>
            <a:effectLst/>
          </p:spPr>
          <p:txBody>
            <a:bodyPr wrap="none" lIns="45720" rIns="45720" rtlCol="0" anchor="ctr"/>
            <a:lstStyle/>
            <a:p>
              <a:pPr algn="ctr" defTabSz="911578">
                <a:defRPr/>
              </a:pPr>
              <a:endParaRPr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94" name="그룹 193"/>
            <p:cNvGrpSpPr/>
            <p:nvPr/>
          </p:nvGrpSpPr>
          <p:grpSpPr>
            <a:xfrm>
              <a:off x="3719781" y="5023255"/>
              <a:ext cx="598694" cy="290890"/>
              <a:chOff x="3709333" y="5013220"/>
              <a:chExt cx="598694" cy="290890"/>
            </a:xfrm>
          </p:grpSpPr>
          <p:pic>
            <p:nvPicPr>
              <p:cNvPr id="195" name="Picture 93" descr="Picture14"/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81" t="4512" r="9592" b="4789"/>
              <a:stretch/>
            </p:blipFill>
            <p:spPr bwMode="auto">
              <a:xfrm>
                <a:off x="3709333" y="5013220"/>
                <a:ext cx="367105" cy="2908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6" name="Picture 93" descr="Picture14"/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81" t="4512" r="9592" b="4789"/>
              <a:stretch/>
            </p:blipFill>
            <p:spPr bwMode="auto">
              <a:xfrm>
                <a:off x="3940922" y="5013220"/>
                <a:ext cx="367105" cy="2908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cxnSp>
        <p:nvCxnSpPr>
          <p:cNvPr id="197" name="직선 연결선 196"/>
          <p:cNvCxnSpPr>
            <a:stCxn id="187" idx="2"/>
            <a:endCxn id="193" idx="0"/>
          </p:cNvCxnSpPr>
          <p:nvPr/>
        </p:nvCxnSpPr>
        <p:spPr>
          <a:xfrm flipH="1">
            <a:off x="8565458" y="4329100"/>
            <a:ext cx="426130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sp>
        <p:nvSpPr>
          <p:cNvPr id="198" name="AutoShape 301"/>
          <p:cNvSpPr>
            <a:spLocks noChangeArrowheads="1"/>
          </p:cNvSpPr>
          <p:nvPr/>
        </p:nvSpPr>
        <p:spPr bwMode="auto">
          <a:xfrm flipH="1">
            <a:off x="8149679" y="5471857"/>
            <a:ext cx="828462" cy="538493"/>
          </a:xfrm>
          <a:prstGeom prst="can">
            <a:avLst>
              <a:gd name="adj" fmla="val 25000"/>
            </a:avLst>
          </a:prstGeom>
          <a:gradFill>
            <a:gsLst>
              <a:gs pos="24000">
                <a:srgbClr val="EAEAEA"/>
              </a:gs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50000"/>
                </a:sysClr>
              </a:gs>
            </a:gsLst>
            <a:lin ang="0" scaled="0"/>
          </a:gradFill>
          <a:ln>
            <a:noFill/>
          </a:ln>
          <a:effectLst>
            <a:innerShdw dist="38100" dir="5400000">
              <a:prstClr val="black">
                <a:alpha val="50000"/>
              </a:prstClr>
            </a:innerShdw>
          </a:effectLst>
          <a:extLst/>
        </p:spPr>
        <p:txBody>
          <a:bodyPr wrap="none" anchor="ctr"/>
          <a:lstStyle/>
          <a:p>
            <a:pPr lvl="0" algn="ctr" defTabSz="1498600">
              <a:defRPr/>
            </a:pPr>
            <a:r>
              <a:rPr lang="ko-KR" altLang="en-US" sz="800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</a:t>
            </a:r>
            <a:endParaRPr lang="en-US" altLang="ko-KR" sz="800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 algn="ctr" defTabSz="1498600">
              <a:defRPr/>
            </a:pPr>
            <a:endParaRPr lang="en-US" altLang="ko-KR" sz="800" b="1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 algn="ctr" defTabSz="1498600">
              <a:defRPr/>
            </a:pPr>
            <a:r>
              <a:rPr lang="en-US" altLang="ko-KR" sz="800" b="1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R</a:t>
            </a:r>
            <a:r>
              <a:rPr lang="ko-KR" altLang="en-US" sz="800" b="1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800" b="1" kern="0" dirty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6TB</a:t>
            </a:r>
          </a:p>
          <a:p>
            <a:pPr lvl="0" algn="ctr" defTabSz="1498600">
              <a:defRPr/>
            </a:pPr>
            <a:endParaRPr lang="en-US" altLang="ko-KR" sz="800" b="1" kern="0" dirty="0" smtClean="0">
              <a:solidFill>
                <a:srgbClr val="C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algn="ctr" defTabSz="1498600">
              <a:defRPr/>
            </a:pPr>
            <a:endParaRPr lang="en-US" altLang="ko-KR" sz="800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9" name="Rectangle 6147"/>
          <p:cNvSpPr>
            <a:spLocks noChangeArrowheads="1"/>
          </p:cNvSpPr>
          <p:nvPr/>
        </p:nvSpPr>
        <p:spPr bwMode="auto">
          <a:xfrm>
            <a:off x="8361932" y="6033737"/>
            <a:ext cx="40395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1374775" eaLnBrk="0" hangingPunct="0"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1374775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/>
            <a:r>
              <a:rPr lang="ko-KR" altLang="en-US" sz="900" b="1" dirty="0" smtClean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재해복구</a:t>
            </a:r>
            <a:endParaRPr lang="en-US" altLang="ko-KR" sz="900" b="1" dirty="0" smtClean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00" name="그룹 199"/>
          <p:cNvGrpSpPr/>
          <p:nvPr/>
        </p:nvGrpSpPr>
        <p:grpSpPr>
          <a:xfrm>
            <a:off x="8896154" y="5547974"/>
            <a:ext cx="398071" cy="359456"/>
            <a:chOff x="1186816" y="4257770"/>
            <a:chExt cx="398071" cy="266795"/>
          </a:xfrm>
        </p:grpSpPr>
        <p:sp>
          <p:nvSpPr>
            <p:cNvPr id="201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33599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914400" latinLnBrk="0"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  19TB</a:t>
              </a:r>
            </a:p>
          </p:txBody>
        </p:sp>
        <p:sp>
          <p:nvSpPr>
            <p:cNvPr id="202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390966"/>
              <a:ext cx="398071" cy="1335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16TB</a:t>
              </a:r>
            </a:p>
          </p:txBody>
        </p:sp>
      </p:grpSp>
      <p:cxnSp>
        <p:nvCxnSpPr>
          <p:cNvPr id="203" name="직선 연결선 202"/>
          <p:cNvCxnSpPr>
            <a:stCxn id="193" idx="2"/>
            <a:endCxn id="198" idx="1"/>
          </p:cNvCxnSpPr>
          <p:nvPr/>
        </p:nvCxnSpPr>
        <p:spPr>
          <a:xfrm flipH="1">
            <a:off x="8563910" y="5122316"/>
            <a:ext cx="1548" cy="349541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204" name="직선 화살표 연결선 385"/>
          <p:cNvCxnSpPr>
            <a:stCxn id="45" idx="2"/>
            <a:endCxn id="44" idx="2"/>
          </p:cNvCxnSpPr>
          <p:nvPr/>
        </p:nvCxnSpPr>
        <p:spPr>
          <a:xfrm rot="16200000" flipH="1">
            <a:off x="6491224" y="4167437"/>
            <a:ext cx="12700" cy="4051443"/>
          </a:xfrm>
          <a:prstGeom prst="bentConnector3">
            <a:avLst>
              <a:gd name="adj1" fmla="val 1800000"/>
            </a:avLst>
          </a:prstGeom>
          <a:ln>
            <a:solidFill>
              <a:srgbClr val="0070C0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 Box 31"/>
          <p:cNvSpPr txBox="1">
            <a:spLocks noChangeArrowheads="1"/>
          </p:cNvSpPr>
          <p:nvPr/>
        </p:nvSpPr>
        <p:spPr bwMode="gray">
          <a:xfrm>
            <a:off x="7581292" y="4753805"/>
            <a:ext cx="624996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DR</a:t>
            </a: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SAN</a:t>
            </a: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06" name="모서리가 둥근 직사각형 205"/>
          <p:cNvSpPr/>
          <p:nvPr/>
        </p:nvSpPr>
        <p:spPr bwMode="auto">
          <a:xfrm>
            <a:off x="7941472" y="2204928"/>
            <a:ext cx="1260000" cy="576000"/>
          </a:xfrm>
          <a:prstGeom prst="roundRect">
            <a:avLst>
              <a:gd name="adj" fmla="val 7026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noFill/>
            <a:prstDash val="sysDash"/>
            <a:headEnd/>
            <a:tailEnd/>
          </a:ln>
          <a:effectLst/>
        </p:spPr>
        <p:txBody>
          <a:bodyPr wrap="none" lIns="45720" rIns="45720" rtlCol="0" anchor="ctr"/>
          <a:lstStyle/>
          <a:p>
            <a:pPr algn="ctr" defTabSz="9115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07" name="직선 연결선 206"/>
          <p:cNvCxnSpPr/>
          <p:nvPr/>
        </p:nvCxnSpPr>
        <p:spPr>
          <a:xfrm flipH="1">
            <a:off x="8220477" y="2698301"/>
            <a:ext cx="1" cy="235189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직선 연결선 207"/>
          <p:cNvCxnSpPr/>
          <p:nvPr/>
        </p:nvCxnSpPr>
        <p:spPr>
          <a:xfrm flipH="1">
            <a:off x="8913252" y="2698301"/>
            <a:ext cx="1" cy="235189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" name="Picture 2" descr="C:\Users\wslee\Desktop\2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1951" y="2276920"/>
            <a:ext cx="273886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0" name="Picture 2" descr="C:\Users\wslee\Desktop\2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424" y="2276920"/>
            <a:ext cx="273886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" name="Text Box 31"/>
          <p:cNvSpPr txBox="1">
            <a:spLocks noChangeArrowheads="1"/>
          </p:cNvSpPr>
          <p:nvPr/>
        </p:nvSpPr>
        <p:spPr bwMode="gray">
          <a:xfrm>
            <a:off x="8299413" y="2346935"/>
            <a:ext cx="506015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1393825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defTabSz="1393825" eaLnBrk="0" fontAlgn="base" hangingPunct="0">
              <a:lnSpc>
                <a:spcPct val="120000"/>
              </a:lnSpc>
              <a:spcBef>
                <a:spcPct val="3000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백본</a:t>
            </a:r>
            <a:endParaRPr lang="en-US" altLang="ko-KR" sz="900" kern="0" dirty="0" smtClean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 defTabSz="1389522">
              <a:defRPr/>
            </a:pPr>
            <a:r>
              <a:rPr lang="ko-KR" altLang="en-US" sz="900" kern="0" dirty="0" smtClean="0">
                <a:solidFill>
                  <a:srgbClr val="4D4D4D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위치</a:t>
            </a:r>
            <a:endParaRPr lang="ko-KR" altLang="en-US" sz="900" kern="0" dirty="0">
              <a:solidFill>
                <a:srgbClr val="4D4D4D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12" name="Line 40"/>
          <p:cNvSpPr>
            <a:spLocks noChangeShapeType="1"/>
          </p:cNvSpPr>
          <p:nvPr/>
        </p:nvSpPr>
        <p:spPr bwMode="auto">
          <a:xfrm>
            <a:off x="7734809" y="2926118"/>
            <a:ext cx="1548000" cy="0"/>
          </a:xfrm>
          <a:prstGeom prst="line">
            <a:avLst/>
          </a:prstGeom>
          <a:noFill/>
          <a:ln w="9525" cmpd="sng">
            <a:solidFill>
              <a:schemeClr val="accent1">
                <a:lumMod val="75000"/>
              </a:schemeClr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1590" tIns="50795" rIns="101590" bIns="50795"/>
          <a:lstStyle/>
          <a:p>
            <a:pPr algn="ctr" eaLnBrk="1" hangingPunct="1"/>
            <a:endParaRPr kumimoji="1" lang="ko-KR" altLang="en-US" sz="105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13" name="그룹 212"/>
          <p:cNvGrpSpPr/>
          <p:nvPr/>
        </p:nvGrpSpPr>
        <p:grpSpPr>
          <a:xfrm>
            <a:off x="6071551" y="3942143"/>
            <a:ext cx="324000" cy="355699"/>
            <a:chOff x="1186816" y="4257770"/>
            <a:chExt cx="398071" cy="355699"/>
          </a:xfrm>
        </p:grpSpPr>
        <p:sp>
          <p:nvSpPr>
            <p:cNvPr id="214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16GB</a:t>
              </a:r>
            </a:p>
          </p:txBody>
        </p:sp>
        <p:sp>
          <p:nvSpPr>
            <p:cNvPr id="215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48GB</a:t>
              </a:r>
            </a:p>
          </p:txBody>
        </p:sp>
      </p:grpSp>
      <p:grpSp>
        <p:nvGrpSpPr>
          <p:cNvPr id="216" name="그룹 215"/>
          <p:cNvGrpSpPr/>
          <p:nvPr/>
        </p:nvGrpSpPr>
        <p:grpSpPr>
          <a:xfrm>
            <a:off x="6949347" y="3942143"/>
            <a:ext cx="324000" cy="355699"/>
            <a:chOff x="1186816" y="4257770"/>
            <a:chExt cx="398071" cy="355699"/>
          </a:xfrm>
        </p:grpSpPr>
        <p:sp>
          <p:nvSpPr>
            <p:cNvPr id="217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32GB</a:t>
              </a:r>
            </a:p>
          </p:txBody>
        </p:sp>
        <p:sp>
          <p:nvSpPr>
            <p:cNvPr id="218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64GB</a:t>
              </a:r>
            </a:p>
          </p:txBody>
        </p:sp>
      </p:grpSp>
      <p:grpSp>
        <p:nvGrpSpPr>
          <p:cNvPr id="219" name="그룹 218"/>
          <p:cNvGrpSpPr/>
          <p:nvPr/>
        </p:nvGrpSpPr>
        <p:grpSpPr>
          <a:xfrm>
            <a:off x="8301408" y="3942143"/>
            <a:ext cx="324000" cy="355699"/>
            <a:chOff x="1186816" y="4257770"/>
            <a:chExt cx="398071" cy="355699"/>
          </a:xfrm>
        </p:grpSpPr>
        <p:sp>
          <p:nvSpPr>
            <p:cNvPr id="220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32GB</a:t>
              </a:r>
            </a:p>
          </p:txBody>
        </p:sp>
        <p:sp>
          <p:nvSpPr>
            <p:cNvPr id="221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48GB</a:t>
              </a:r>
            </a:p>
          </p:txBody>
        </p:sp>
      </p:grpSp>
      <p:grpSp>
        <p:nvGrpSpPr>
          <p:cNvPr id="222" name="그룹 221"/>
          <p:cNvGrpSpPr/>
          <p:nvPr/>
        </p:nvGrpSpPr>
        <p:grpSpPr>
          <a:xfrm>
            <a:off x="9129500" y="3942143"/>
            <a:ext cx="324000" cy="355699"/>
            <a:chOff x="1186816" y="4257770"/>
            <a:chExt cx="398071" cy="355699"/>
          </a:xfrm>
        </p:grpSpPr>
        <p:sp>
          <p:nvSpPr>
            <p:cNvPr id="223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257770"/>
              <a:ext cx="398071" cy="180000"/>
            </a:xfrm>
            <a:prstGeom prst="rect">
              <a:avLst/>
            </a:prstGeom>
            <a:gradFill rotWithShape="1">
              <a:gsLst>
                <a:gs pos="0">
                  <a:srgbClr val="8FD4FF"/>
                </a:gs>
                <a:gs pos="100000">
                  <a:srgbClr val="3FB6FF"/>
                </a:gs>
              </a:gsLst>
              <a:lin ang="5400000" scaled="1"/>
            </a:gradFill>
            <a:ln w="9525" algn="ctr">
              <a:solidFill>
                <a:srgbClr val="64B4DC"/>
              </a:solidFill>
              <a:miter lim="800000"/>
              <a:headEnd/>
              <a:tailEnd/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32GB</a:t>
              </a:r>
            </a:p>
          </p:txBody>
        </p:sp>
        <p:sp>
          <p:nvSpPr>
            <p:cNvPr id="224" name="LcShp 28" descr="어두운 상향 대각선"/>
            <p:cNvSpPr>
              <a:spLocks noChangeArrowheads="1"/>
            </p:cNvSpPr>
            <p:nvPr/>
          </p:nvSpPr>
          <p:spPr bwMode="auto">
            <a:xfrm>
              <a:off x="1186816" y="4433469"/>
              <a:ext cx="398071" cy="1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xtLst/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defTabSz="914400" latinLnBrk="0"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anose="020B0604020202020204" pitchFamily="34" charset="0"/>
                </a:rPr>
                <a:t>64GB</a:t>
              </a:r>
            </a:p>
          </p:txBody>
        </p:sp>
      </p:grpSp>
      <p:pic>
        <p:nvPicPr>
          <p:cNvPr id="225" name="Picture 102" descr="Picture40"/>
          <p:cNvPicPr>
            <a:picLocks noChangeAspect="1" noChangeArrowheads="1"/>
          </p:cNvPicPr>
          <p:nvPr/>
        </p:nvPicPr>
        <p:blipFill>
          <a:blip r:embed="rId11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970" y="4684009"/>
            <a:ext cx="319062" cy="41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6" name="타원 225"/>
          <p:cNvSpPr/>
          <p:nvPr/>
        </p:nvSpPr>
        <p:spPr>
          <a:xfrm>
            <a:off x="884548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7" name="타원 226"/>
          <p:cNvSpPr/>
          <p:nvPr/>
        </p:nvSpPr>
        <p:spPr>
          <a:xfrm>
            <a:off x="1073199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8" name="타원 227"/>
          <p:cNvSpPr/>
          <p:nvPr/>
        </p:nvSpPr>
        <p:spPr>
          <a:xfrm>
            <a:off x="1591597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9" name="타원 228"/>
          <p:cNvSpPr/>
          <p:nvPr/>
        </p:nvSpPr>
        <p:spPr>
          <a:xfrm>
            <a:off x="1780248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0" name="타원 229"/>
          <p:cNvSpPr/>
          <p:nvPr/>
        </p:nvSpPr>
        <p:spPr>
          <a:xfrm>
            <a:off x="2372337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1" name="타원 230"/>
          <p:cNvSpPr/>
          <p:nvPr/>
        </p:nvSpPr>
        <p:spPr>
          <a:xfrm>
            <a:off x="2560988" y="3742796"/>
            <a:ext cx="144000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2" name="직선 연결선 231"/>
          <p:cNvCxnSpPr>
            <a:stCxn id="91" idx="2"/>
            <a:endCxn id="113" idx="0"/>
          </p:cNvCxnSpPr>
          <p:nvPr/>
        </p:nvCxnSpPr>
        <p:spPr>
          <a:xfrm flipH="1">
            <a:off x="4385105" y="4329100"/>
            <a:ext cx="1485967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cxnSp>
        <p:nvCxnSpPr>
          <p:cNvPr id="233" name="직선 연결선 232"/>
          <p:cNvCxnSpPr>
            <a:stCxn id="186" idx="2"/>
            <a:endCxn id="193" idx="0"/>
          </p:cNvCxnSpPr>
          <p:nvPr/>
        </p:nvCxnSpPr>
        <p:spPr>
          <a:xfrm>
            <a:off x="8103320" y="4329100"/>
            <a:ext cx="462138" cy="390396"/>
          </a:xfrm>
          <a:prstGeom prst="line">
            <a:avLst/>
          </a:prstGeom>
          <a:noFill/>
          <a:ln w="19050" algn="ctr">
            <a:pattFill prst="dkUpDiag">
              <a:fgClr>
                <a:srgbClr val="CC6600"/>
              </a:fgClr>
              <a:bgClr>
                <a:srgbClr val="FFCC00"/>
              </a:bgClr>
            </a:pattFill>
            <a:miter lim="800000"/>
            <a:headEnd/>
            <a:tailEnd/>
          </a:ln>
          <a:effectLst/>
        </p:spPr>
      </p:cxnSp>
      <p:pic>
        <p:nvPicPr>
          <p:cNvPr id="234" name="S4132" descr="Untitled-13-0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088392" y="3178864"/>
            <a:ext cx="35638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" name="S4132" descr="Untitled-13-0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198463" y="3178864"/>
            <a:ext cx="35638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768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3.4 </a:t>
            </a:r>
            <a:r>
              <a:rPr lang="ko-KR" altLang="en-US" dirty="0" smtClean="0"/>
              <a:t>주요기능 </a:t>
            </a:r>
            <a:r>
              <a:rPr lang="en-US" altLang="ko-KR" dirty="0" smtClean="0"/>
              <a:t>(1/2) - </a:t>
            </a:r>
            <a:r>
              <a:rPr lang="ko-KR" altLang="en-US" dirty="0" smtClean="0"/>
              <a:t>요주의리스트 관리 기능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동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동으로 적재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및 리스트의 상세정보를 조회하고 업데이트 이력 확인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요주의리스트 관리화면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4330" y="2069250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55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2816932"/>
            <a:ext cx="229075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체 또는 제공기관 별 요주의리스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적재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리스트 및 상세정보를 조회하고 업데이트 이력을 확인 하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7113487" y="2573308"/>
            <a:ext cx="1275889" cy="318769"/>
            <a:chOff x="7113487" y="2573308"/>
            <a:chExt cx="1275889" cy="318769"/>
          </a:xfrm>
        </p:grpSpPr>
        <p:sp>
          <p:nvSpPr>
            <p:cNvPr id="57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02912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r>
                <a:rPr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Times New Roman" panose="02020603050405020304" pitchFamily="18" charset="0"/>
                </a:rPr>
                <a:t>요주의리스트 관리</a:t>
              </a:r>
              <a:endParaRPr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endParaRPr>
            </a:p>
          </p:txBody>
        </p:sp>
        <p:pic>
          <p:nvPicPr>
            <p:cNvPr id="58" name="그림 57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59" name="그룹 58"/>
          <p:cNvGrpSpPr/>
          <p:nvPr/>
        </p:nvGrpSpPr>
        <p:grpSpPr>
          <a:xfrm>
            <a:off x="7113487" y="3537012"/>
            <a:ext cx="2376017" cy="552090"/>
            <a:chOff x="7113487" y="3439317"/>
            <a:chExt cx="2376017" cy="552090"/>
          </a:xfrm>
        </p:grpSpPr>
        <p:sp>
          <p:nvSpPr>
            <p:cNvPr id="60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683630"/>
              <a:ext cx="212925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요주의리스트에 대상의 상세정보를 확인하는 기능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61" name="그룹 60"/>
            <p:cNvGrpSpPr/>
            <p:nvPr/>
          </p:nvGrpSpPr>
          <p:grpSpPr>
            <a:xfrm>
              <a:off x="7113487" y="3439317"/>
              <a:ext cx="1424006" cy="318769"/>
              <a:chOff x="7113487" y="4132302"/>
              <a:chExt cx="1424006" cy="318769"/>
            </a:xfrm>
          </p:grpSpPr>
          <p:sp>
            <p:nvSpPr>
              <p:cNvPr id="62" name="Text Box 63">
                <a:extLst>
                  <a:ext uri="{FF2B5EF4-FFF2-40B4-BE49-F238E27FC236}">
                    <a16:creationId xmlns:a16="http://schemas.microsoft.com/office/drawing/2014/main" id="{9BAD3354-F8D3-4196-A35F-BB5B34A887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60248" y="4137881"/>
                <a:ext cx="1177245" cy="169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F9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3C4A5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415164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25488" indent="-27940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16013" indent="-222250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563688" indent="-227013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09775" indent="-223838" defTabSz="893763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4669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241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3813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38575" indent="-223838" defTabSz="893763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defTabSz="457200">
                  <a:defRPr/>
                </a:pPr>
                <a:r>
                  <a:rPr lang="ko-KR" altLang="en-US" sz="1100" spc="-70" dirty="0" smtClean="0">
                    <a:ln w="1270"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rgbClr val="333333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요주의리스트 상세정보</a:t>
                </a:r>
                <a:endParaRPr lang="ko-KR" altLang="en-US" sz="11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pic>
            <p:nvPicPr>
              <p:cNvPr id="63" name="그림 62">
                <a:extLst>
                  <a:ext uri="{FF2B5EF4-FFF2-40B4-BE49-F238E27FC236}">
                    <a16:creationId xmlns:a16="http://schemas.microsoft.com/office/drawing/2014/main" id="{CE68769D-7128-4807-88C2-CCBF74A3B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13487" y="4132302"/>
                <a:ext cx="318769" cy="318769"/>
              </a:xfrm>
              <a:prstGeom prst="rect">
                <a:avLst/>
              </a:prstGeom>
            </p:spPr>
          </p:pic>
        </p:grpSp>
      </p:grpSp>
      <p:cxnSp>
        <p:nvCxnSpPr>
          <p:cNvPr id="64" name="직선 연결선 63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35699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753433"/>
            <a:ext cx="2129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리스트 파일을 수동으로 적재하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6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514699"/>
            <a:ext cx="102912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요주의리스트 적재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67" name="직선 연결선 6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4329100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8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5723867"/>
            <a:ext cx="212925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리스트 적재 이력을 조회하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9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5474777"/>
            <a:ext cx="65883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ko-KR" altLang="en-US" sz="11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Times New Roman" panose="02020603050405020304" pitchFamily="18" charset="0"/>
              </a:rPr>
              <a:t>업로드 이력</a:t>
            </a:r>
            <a:endParaRPr lang="ko-KR" altLang="en-US" sz="1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70" name="직선 연결선 6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526520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1" name="그림 70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1666" y="4506949"/>
            <a:ext cx="320400" cy="320400"/>
          </a:xfrm>
          <a:prstGeom prst="rect">
            <a:avLst/>
          </a:prstGeom>
        </p:spPr>
      </p:pic>
      <p:pic>
        <p:nvPicPr>
          <p:cNvPr id="72" name="그림 71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547" y="5466049"/>
            <a:ext cx="320400" cy="320400"/>
          </a:xfrm>
          <a:prstGeom prst="rect">
            <a:avLst/>
          </a:prstGeom>
        </p:spPr>
      </p:pic>
      <p:grpSp>
        <p:nvGrpSpPr>
          <p:cNvPr id="109" name="그룹 108"/>
          <p:cNvGrpSpPr/>
          <p:nvPr/>
        </p:nvGrpSpPr>
        <p:grpSpPr>
          <a:xfrm>
            <a:off x="328533" y="2203967"/>
            <a:ext cx="4408501" cy="3519900"/>
            <a:chOff x="328533" y="2203967"/>
            <a:chExt cx="4408501" cy="3519900"/>
          </a:xfrm>
        </p:grpSpPr>
        <p:grpSp>
          <p:nvGrpSpPr>
            <p:cNvPr id="82" name="그룹 81"/>
            <p:cNvGrpSpPr/>
            <p:nvPr/>
          </p:nvGrpSpPr>
          <p:grpSpPr>
            <a:xfrm>
              <a:off x="385307" y="2269771"/>
              <a:ext cx="1569472" cy="188600"/>
              <a:chOff x="361442" y="2178385"/>
              <a:chExt cx="1569472" cy="188600"/>
            </a:xfrm>
          </p:grpSpPr>
          <p:sp>
            <p:nvSpPr>
              <p:cNvPr id="83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84" name="Rt40" descr="도식1"/>
              <p:cNvSpPr>
                <a:spLocks noChangeArrowheads="1"/>
              </p:cNvSpPr>
              <p:nvPr/>
            </p:nvSpPr>
            <p:spPr bwMode="auto">
              <a:xfrm>
                <a:off x="765469" y="2195741"/>
                <a:ext cx="761427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요주의리스트 관리</a:t>
                </a:r>
              </a:p>
            </p:txBody>
          </p:sp>
        </p:grpSp>
        <p:pic>
          <p:nvPicPr>
            <p:cNvPr id="85" name="그림 8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1131" y="2463997"/>
              <a:ext cx="4345903" cy="3259870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87" name="그림 86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8533" y="2203967"/>
              <a:ext cx="318769" cy="318769"/>
            </a:xfrm>
            <a:prstGeom prst="rect">
              <a:avLst/>
            </a:prstGeom>
          </p:spPr>
        </p:pic>
      </p:grpSp>
      <p:grpSp>
        <p:nvGrpSpPr>
          <p:cNvPr id="100" name="그룹 99"/>
          <p:cNvGrpSpPr/>
          <p:nvPr/>
        </p:nvGrpSpPr>
        <p:grpSpPr>
          <a:xfrm>
            <a:off x="3230907" y="2655572"/>
            <a:ext cx="3410865" cy="1879218"/>
            <a:chOff x="3368995" y="2683717"/>
            <a:chExt cx="3410865" cy="1879218"/>
          </a:xfrm>
        </p:grpSpPr>
        <p:grpSp>
          <p:nvGrpSpPr>
            <p:cNvPr id="88" name="그룹 87"/>
            <p:cNvGrpSpPr/>
            <p:nvPr/>
          </p:nvGrpSpPr>
          <p:grpSpPr>
            <a:xfrm>
              <a:off x="3408010" y="2753317"/>
              <a:ext cx="3371850" cy="1809618"/>
              <a:chOff x="2746756" y="4598389"/>
              <a:chExt cx="3371850" cy="1809618"/>
            </a:xfrm>
          </p:grpSpPr>
          <p:pic>
            <p:nvPicPr>
              <p:cNvPr id="89" name="그림 88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746756" y="4788757"/>
                <a:ext cx="3371850" cy="1619250"/>
              </a:xfrm>
              <a:prstGeom prst="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</p:pic>
          <p:grpSp>
            <p:nvGrpSpPr>
              <p:cNvPr id="90" name="그룹 89"/>
              <p:cNvGrpSpPr/>
              <p:nvPr/>
            </p:nvGrpSpPr>
            <p:grpSpPr>
              <a:xfrm>
                <a:off x="2746756" y="4598389"/>
                <a:ext cx="1569472" cy="188600"/>
                <a:chOff x="361442" y="2178385"/>
                <a:chExt cx="1569472" cy="188600"/>
              </a:xfrm>
            </p:grpSpPr>
            <p:sp>
              <p:nvSpPr>
                <p:cNvPr id="91" name="Text Box 358" descr="도식1"/>
                <p:cNvSpPr>
                  <a:spLocks noChangeArrowheads="1"/>
                </p:cNvSpPr>
                <p:nvPr/>
              </p:nvSpPr>
              <p:spPr bwMode="auto">
                <a:xfrm>
                  <a:off x="361442" y="2178385"/>
                  <a:ext cx="1569472" cy="1886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rgbClr val="0070C0"/>
                    </a:gs>
                  </a:gsLst>
                  <a:lin ang="10800000" scaled="1"/>
                  <a:tileRect/>
                </a:gradFill>
                <a:ln w="12700" cap="rnd" cmpd="sng">
                  <a:noFill/>
                  <a:prstDash val="solid"/>
                  <a:headEnd type="none" w="lg" len="med"/>
                  <a:tailEnd type="none" w="lg" len="med"/>
                </a:ln>
                <a:effectLst>
                  <a:outerShdw blurRad="38100" dist="12700" dir="5400000" sx="99000" sy="99000" algn="t" rotWithShape="0">
                    <a:prstClr val="black">
                      <a:alpha val="25000"/>
                    </a:prstClr>
                  </a:outerShdw>
                </a:effectLst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tIns="180000"/>
                <a:lstStyle/>
                <a:p>
                  <a:pPr algn="ctr" latinLnBrk="0"/>
                  <a:endParaRPr lang="ko-KR" altLang="en-US" sz="1000" b="1" dirty="0">
                    <a:gradFill>
                      <a:gsLst>
                        <a:gs pos="0">
                          <a:prstClr val="white"/>
                        </a:gs>
                        <a:gs pos="100000">
                          <a:prstClr val="white"/>
                        </a:gs>
                      </a:gsLst>
                      <a:lin ang="5400000" scaled="0"/>
                    </a:gra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나눔바른고딕" pitchFamily="50" charset="-127"/>
                    <a:ea typeface="나눔바른고딕" pitchFamily="50" charset="-127"/>
                  </a:endParaRPr>
                </a:p>
              </p:txBody>
            </p:sp>
            <p:sp>
              <p:nvSpPr>
                <p:cNvPr id="92" name="Rt40" descr="도식1"/>
                <p:cNvSpPr>
                  <a:spLocks noChangeArrowheads="1"/>
                </p:cNvSpPr>
                <p:nvPr/>
              </p:nvSpPr>
              <p:spPr bwMode="auto">
                <a:xfrm>
                  <a:off x="672495" y="2195741"/>
                  <a:ext cx="947375" cy="153888"/>
                </a:xfrm>
                <a:prstGeom prst="rect">
                  <a:avLst/>
                </a:prstGeom>
                <a:noFill/>
                <a:ln w="12700" cap="rnd" cmpd="sng">
                  <a:noFill/>
                  <a:prstDash val="solid"/>
                  <a:headEnd type="none" w="lg" len="med"/>
                  <a:tailEnd type="none" w="lg" len="med"/>
                </a:ln>
                <a:effectLst/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lIns="0" tIns="0" rIns="0" bIns="0" anchor="ctr" anchorCtr="0">
                  <a:spAutoFit/>
                  <a:scene3d>
                    <a:camera prst="orthographicFront"/>
                    <a:lightRig rig="threePt" dir="t"/>
                  </a:scene3d>
                  <a:sp3d>
                    <a:bevelT w="0" h="1270"/>
                  </a:sp3d>
                </a:bodyPr>
                <a:lstStyle/>
                <a:p>
                  <a:pPr algn="ctr" latinLnBrk="0"/>
                  <a:r>
                    <a:rPr lang="ko-KR" altLang="en-US" sz="1000" spc="-150" dirty="0" smtClean="0">
                      <a:solidFill>
                        <a:prstClr val="white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요주의리스트 상세정보</a:t>
                  </a:r>
                </a:p>
              </p:txBody>
            </p:sp>
          </p:grpSp>
        </p:grpSp>
        <p:pic>
          <p:nvPicPr>
            <p:cNvPr id="93" name="그림 92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68995" y="2683717"/>
              <a:ext cx="318769" cy="318769"/>
            </a:xfrm>
            <a:prstGeom prst="rect">
              <a:avLst/>
            </a:prstGeom>
          </p:spPr>
        </p:pic>
      </p:grpSp>
      <p:pic>
        <p:nvPicPr>
          <p:cNvPr id="95" name="그림 9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97890" y="4978901"/>
            <a:ext cx="2104656" cy="1224067"/>
          </a:xfrm>
          <a:prstGeom prst="rect">
            <a:avLst/>
          </a:prstGeom>
        </p:spPr>
      </p:pic>
      <p:grpSp>
        <p:nvGrpSpPr>
          <p:cNvPr id="96" name="그룹 95"/>
          <p:cNvGrpSpPr/>
          <p:nvPr/>
        </p:nvGrpSpPr>
        <p:grpSpPr>
          <a:xfrm>
            <a:off x="2197890" y="4787721"/>
            <a:ext cx="1569472" cy="188600"/>
            <a:chOff x="361442" y="2178385"/>
            <a:chExt cx="1569472" cy="188600"/>
          </a:xfrm>
        </p:grpSpPr>
        <p:sp>
          <p:nvSpPr>
            <p:cNvPr id="97" name="Text Box 358" descr="도식1"/>
            <p:cNvSpPr>
              <a:spLocks noChangeArrowheads="1"/>
            </p:cNvSpPr>
            <p:nvPr/>
          </p:nvSpPr>
          <p:spPr bwMode="auto">
            <a:xfrm>
              <a:off x="361442" y="2178385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바른고딕" pitchFamily="50" charset="-127"/>
                <a:ea typeface="나눔바른고딕" pitchFamily="50" charset="-127"/>
              </a:endParaRPr>
            </a:p>
          </p:txBody>
        </p:sp>
        <p:sp>
          <p:nvSpPr>
            <p:cNvPr id="98" name="Rt40" descr="도식1"/>
            <p:cNvSpPr>
              <a:spLocks noChangeArrowheads="1"/>
            </p:cNvSpPr>
            <p:nvPr/>
          </p:nvSpPr>
          <p:spPr bwMode="auto">
            <a:xfrm>
              <a:off x="765470" y="2195741"/>
              <a:ext cx="761427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1000" spc="-15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요주의리스트 적재</a:t>
              </a:r>
            </a:p>
          </p:txBody>
        </p:sp>
      </p:grpSp>
      <p:pic>
        <p:nvPicPr>
          <p:cNvPr id="99" name="그림 98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8376" y="4729130"/>
            <a:ext cx="320400" cy="320400"/>
          </a:xfrm>
          <a:prstGeom prst="rect">
            <a:avLst/>
          </a:prstGeom>
        </p:spPr>
      </p:pic>
      <p:grpSp>
        <p:nvGrpSpPr>
          <p:cNvPr id="103" name="그룹 102"/>
          <p:cNvGrpSpPr/>
          <p:nvPr/>
        </p:nvGrpSpPr>
        <p:grpSpPr>
          <a:xfrm>
            <a:off x="4529131" y="4803193"/>
            <a:ext cx="1569472" cy="188600"/>
            <a:chOff x="361442" y="2178385"/>
            <a:chExt cx="1569472" cy="188600"/>
          </a:xfrm>
        </p:grpSpPr>
        <p:sp>
          <p:nvSpPr>
            <p:cNvPr id="105" name="Text Box 358" descr="도식1"/>
            <p:cNvSpPr>
              <a:spLocks noChangeArrowheads="1"/>
            </p:cNvSpPr>
            <p:nvPr/>
          </p:nvSpPr>
          <p:spPr bwMode="auto">
            <a:xfrm>
              <a:off x="361442" y="2178385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바른고딕" pitchFamily="50" charset="-127"/>
                <a:ea typeface="나눔바른고딕" pitchFamily="50" charset="-127"/>
              </a:endParaRPr>
            </a:p>
          </p:txBody>
        </p:sp>
        <p:sp>
          <p:nvSpPr>
            <p:cNvPr id="106" name="Rt40" descr="도식1"/>
            <p:cNvSpPr>
              <a:spLocks noChangeArrowheads="1"/>
            </p:cNvSpPr>
            <p:nvPr/>
          </p:nvSpPr>
          <p:spPr bwMode="auto">
            <a:xfrm>
              <a:off x="904931" y="2195741"/>
              <a:ext cx="482504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1000" spc="-15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로드 이력</a:t>
              </a:r>
            </a:p>
          </p:txBody>
        </p:sp>
      </p:grpSp>
      <p:pic>
        <p:nvPicPr>
          <p:cNvPr id="104" name="그림 10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29131" y="4998436"/>
            <a:ext cx="2114550" cy="126682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07" name="그림 106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7077" y="4720725"/>
            <a:ext cx="320400" cy="320400"/>
          </a:xfrm>
          <a:prstGeom prst="rect">
            <a:avLst/>
          </a:prstGeom>
        </p:spPr>
      </p:pic>
      <p:pic>
        <p:nvPicPr>
          <p:cNvPr id="110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469712" y="2363635"/>
            <a:ext cx="325828" cy="17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27752" y="2874681"/>
            <a:ext cx="325828" cy="17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059885" y="4911988"/>
            <a:ext cx="325828" cy="17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7030" y="4911987"/>
            <a:ext cx="325828" cy="17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28963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필터링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4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3.4 </a:t>
            </a:r>
            <a:r>
              <a:rPr lang="ko-KR" altLang="en-US" dirty="0"/>
              <a:t>주요기능 </a:t>
            </a:r>
            <a:r>
              <a:rPr lang="en-US" altLang="ko-KR" dirty="0" smtClean="0"/>
              <a:t>(2/2</a:t>
            </a:r>
            <a:r>
              <a:rPr lang="en-US" altLang="ko-KR" dirty="0"/>
              <a:t>) - </a:t>
            </a:r>
            <a:r>
              <a:rPr lang="ko-KR" altLang="en-US" dirty="0" smtClean="0"/>
              <a:t>요주의리스트 </a:t>
            </a:r>
            <a:r>
              <a:rPr lang="ko-KR" altLang="en-US" dirty="0"/>
              <a:t>관리 기능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필터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배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온라인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행 결과 필터링 된 고객 리스트를 조회하고 실제 요주의리스트와 일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불일치 여부를 담당자가 판단 시스템에 등록하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요주의리스트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점검명세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37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41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42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95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6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주의리스트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필터링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배치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온라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수행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과 필터링 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스트를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회하고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 담당자가 상세정보를 확인 요주의리스트와 일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불일치 여부를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판단하고 판단사유를 등록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7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006731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8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311000"/>
            <a:ext cx="2190118" cy="94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영문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ull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Name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성별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국가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생년월일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출생지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주소 등을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인하여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요주의리스트와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치여부 판단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3175">
              <a:spcBef>
                <a:spcPts val="100"/>
              </a:spcBef>
              <a:spcAft>
                <a:spcPts val="100"/>
              </a:spcAft>
              <a:defRPr/>
            </a:pP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※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일치여부 판단된 정보는 고객프로파일등에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   업데이트 되어 고객확인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KYC)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에서 활용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825044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00" name="그림 99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101" name="그림 100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4001152"/>
            <a:ext cx="318769" cy="318769"/>
          </a:xfrm>
          <a:prstGeom prst="rect">
            <a:avLst/>
          </a:prstGeom>
        </p:spPr>
      </p:pic>
      <p:grpSp>
        <p:nvGrpSpPr>
          <p:cNvPr id="116" name="그룹 115"/>
          <p:cNvGrpSpPr/>
          <p:nvPr/>
        </p:nvGrpSpPr>
        <p:grpSpPr>
          <a:xfrm>
            <a:off x="469976" y="2352025"/>
            <a:ext cx="6058664" cy="3967421"/>
            <a:chOff x="469976" y="2352025"/>
            <a:chExt cx="6058664" cy="3967421"/>
          </a:xfrm>
        </p:grpSpPr>
        <p:grpSp>
          <p:nvGrpSpPr>
            <p:cNvPr id="86" name="그룹 85"/>
            <p:cNvGrpSpPr/>
            <p:nvPr/>
          </p:nvGrpSpPr>
          <p:grpSpPr>
            <a:xfrm>
              <a:off x="469976" y="2352025"/>
              <a:ext cx="1569472" cy="188600"/>
              <a:chOff x="361442" y="2178385"/>
              <a:chExt cx="1569472" cy="188600"/>
            </a:xfrm>
          </p:grpSpPr>
          <p:sp>
            <p:nvSpPr>
              <p:cNvPr id="87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88" name="Rt40" descr="도식1"/>
              <p:cNvSpPr>
                <a:spLocks noChangeArrowheads="1"/>
              </p:cNvSpPr>
              <p:nvPr/>
            </p:nvSpPr>
            <p:spPr bwMode="auto">
              <a:xfrm>
                <a:off x="663678" y="2195741"/>
                <a:ext cx="965009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/>
                <a:r>
                  <a:rPr lang="ko-KR" altLang="en-US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요주의리스트 </a:t>
                </a:r>
                <a:r>
                  <a:rPr lang="ko-KR" altLang="en-US" sz="1000" spc="-150" dirty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점검명세</a:t>
                </a:r>
              </a:p>
            </p:txBody>
          </p:sp>
        </p:grpSp>
        <p:pic>
          <p:nvPicPr>
            <p:cNvPr id="93" name="그림 9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4923" y="2556278"/>
              <a:ext cx="6053717" cy="3763168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grpSp>
        <p:nvGrpSpPr>
          <p:cNvPr id="117" name="그룹 116"/>
          <p:cNvGrpSpPr/>
          <p:nvPr/>
        </p:nvGrpSpPr>
        <p:grpSpPr>
          <a:xfrm>
            <a:off x="4152263" y="3328695"/>
            <a:ext cx="2277745" cy="960686"/>
            <a:chOff x="3627701" y="3924042"/>
            <a:chExt cx="2277745" cy="960686"/>
          </a:xfrm>
        </p:grpSpPr>
        <p:pic>
          <p:nvPicPr>
            <p:cNvPr id="106" name="그림 10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38496" y="4122728"/>
              <a:ext cx="2266950" cy="762000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08" name="그룹 107"/>
            <p:cNvGrpSpPr/>
            <p:nvPr/>
          </p:nvGrpSpPr>
          <p:grpSpPr>
            <a:xfrm>
              <a:off x="3627701" y="3924042"/>
              <a:ext cx="569216" cy="188600"/>
              <a:chOff x="361442" y="2178385"/>
              <a:chExt cx="1569472" cy="188600"/>
            </a:xfrm>
          </p:grpSpPr>
          <p:sp>
            <p:nvSpPr>
              <p:cNvPr id="109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10" name="Rt40" descr="도식1"/>
              <p:cNvSpPr>
                <a:spLocks noChangeArrowheads="1"/>
              </p:cNvSpPr>
              <p:nvPr/>
            </p:nvSpPr>
            <p:spPr bwMode="auto">
              <a:xfrm>
                <a:off x="695348" y="2203435"/>
                <a:ext cx="901660" cy="138499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9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점검사유</a:t>
                </a:r>
              </a:p>
            </p:txBody>
          </p:sp>
        </p:grpSp>
      </p:grpSp>
      <p:pic>
        <p:nvPicPr>
          <p:cNvPr id="104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300799" y="2469830"/>
            <a:ext cx="325828" cy="17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59646" y="3421826"/>
            <a:ext cx="325828" cy="172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28963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3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주의리스트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필터링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972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4 </a:t>
            </a:r>
            <a:r>
              <a:rPr lang="ko-KR" altLang="en-US" dirty="0" smtClean="0"/>
              <a:t>고객 </a:t>
            </a:r>
            <a:r>
              <a:rPr lang="ko-KR" altLang="en-US" dirty="0"/>
              <a:t>프로파일 구축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확인 관련법에서 요구하는 필수 수집정보와 타사 수집정보 수준을 고려하여 고객 유형별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 프로파일 기준을 수립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기초로 고객 거래확인서를 작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프로파일 구축을 위한 고객유형구분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및 수집정보 분류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" name="그룹 1"/>
          <p:cNvGrpSpPr/>
          <p:nvPr/>
        </p:nvGrpSpPr>
        <p:grpSpPr>
          <a:xfrm>
            <a:off x="415847" y="2336381"/>
            <a:ext cx="3112677" cy="3714000"/>
            <a:chOff x="415847" y="2336381"/>
            <a:chExt cx="3112677" cy="3714000"/>
          </a:xfrm>
        </p:grpSpPr>
        <p:grpSp>
          <p:nvGrpSpPr>
            <p:cNvPr id="193" name="그룹 192"/>
            <p:cNvGrpSpPr/>
            <p:nvPr/>
          </p:nvGrpSpPr>
          <p:grpSpPr>
            <a:xfrm>
              <a:off x="469679" y="2336381"/>
              <a:ext cx="3005013" cy="205229"/>
              <a:chOff x="2231446" y="2226795"/>
              <a:chExt cx="1099905" cy="226731"/>
            </a:xfrm>
          </p:grpSpPr>
          <p:sp>
            <p:nvSpPr>
              <p:cNvPr id="240" name="Text Box 52"/>
              <p:cNvSpPr txBox="1">
                <a:spLocks noChangeArrowheads="1"/>
              </p:cNvSpPr>
              <p:nvPr/>
            </p:nvSpPr>
            <p:spPr bwMode="auto">
              <a:xfrm>
                <a:off x="2623928" y="2226795"/>
                <a:ext cx="329929" cy="18701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79623" tIns="0" rIns="79623" bIns="0">
                <a:spAutoFit/>
              </a:bodyPr>
              <a:lstStyle/>
              <a:p>
                <a:pPr algn="ctr" latinLnBrk="0"/>
                <a:r>
                  <a:rPr kumimoji="1" lang="ko-KR" altLang="en-US" sz="1100" dirty="0" smtClean="0"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고객유형구분</a:t>
                </a:r>
                <a:endParaRPr kumimoji="1"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41" name="Line 57"/>
              <p:cNvSpPr>
                <a:spLocks noChangeShapeType="1"/>
              </p:cNvSpPr>
              <p:nvPr/>
            </p:nvSpPr>
            <p:spPr bwMode="auto">
              <a:xfrm>
                <a:off x="2231446" y="2453526"/>
                <a:ext cx="10999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lIns="79623" tIns="0" rIns="79623" bIns="0" anchor="ctr"/>
              <a:lstStyle/>
              <a:p>
                <a:pPr algn="ctr" latinLnBrk="0"/>
                <a:endParaRPr lang="en-GB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sp>
          <p:nvSpPr>
            <p:cNvPr id="233" name="Rectangle 9"/>
            <p:cNvSpPr>
              <a:spLocks noChangeArrowheads="1"/>
            </p:cNvSpPr>
            <p:nvPr/>
          </p:nvSpPr>
          <p:spPr bwMode="gray">
            <a:xfrm>
              <a:off x="936455" y="3073535"/>
              <a:ext cx="640175" cy="26304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내국인</a:t>
              </a:r>
            </a:p>
          </p:txBody>
        </p:sp>
        <p:sp>
          <p:nvSpPr>
            <p:cNvPr id="234" name="Rectangle 9"/>
            <p:cNvSpPr>
              <a:spLocks noChangeArrowheads="1"/>
            </p:cNvSpPr>
            <p:nvPr/>
          </p:nvSpPr>
          <p:spPr bwMode="gray">
            <a:xfrm>
              <a:off x="415847" y="4012212"/>
              <a:ext cx="640175" cy="263047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개인사업자</a:t>
              </a:r>
            </a:p>
          </p:txBody>
        </p:sp>
        <p:sp>
          <p:nvSpPr>
            <p:cNvPr id="235" name="Rectangle 9"/>
            <p:cNvSpPr>
              <a:spLocks noChangeArrowheads="1"/>
            </p:cNvSpPr>
            <p:nvPr/>
          </p:nvSpPr>
          <p:spPr bwMode="gray">
            <a:xfrm>
              <a:off x="936455" y="3400999"/>
              <a:ext cx="640175" cy="26304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외국인</a:t>
              </a:r>
            </a:p>
          </p:txBody>
        </p:sp>
        <p:sp>
          <p:nvSpPr>
            <p:cNvPr id="236" name="Rectangle 9"/>
            <p:cNvSpPr>
              <a:spLocks noChangeArrowheads="1"/>
            </p:cNvSpPr>
            <p:nvPr/>
          </p:nvSpPr>
          <p:spPr bwMode="gray">
            <a:xfrm>
              <a:off x="936455" y="4364379"/>
              <a:ext cx="640175" cy="26304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내국인</a:t>
              </a:r>
            </a:p>
          </p:txBody>
        </p:sp>
        <p:sp>
          <p:nvSpPr>
            <p:cNvPr id="237" name="Rectangle 9"/>
            <p:cNvSpPr>
              <a:spLocks noChangeArrowheads="1"/>
            </p:cNvSpPr>
            <p:nvPr/>
          </p:nvSpPr>
          <p:spPr bwMode="gray">
            <a:xfrm>
              <a:off x="936455" y="4691843"/>
              <a:ext cx="640175" cy="263047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외국인</a:t>
              </a:r>
            </a:p>
          </p:txBody>
        </p:sp>
        <p:sp>
          <p:nvSpPr>
            <p:cNvPr id="196" name="Rectangle 9"/>
            <p:cNvSpPr>
              <a:spLocks noChangeArrowheads="1"/>
            </p:cNvSpPr>
            <p:nvPr/>
          </p:nvSpPr>
          <p:spPr bwMode="gray">
            <a:xfrm>
              <a:off x="1728352" y="2708276"/>
              <a:ext cx="640175" cy="268164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법인</a:t>
              </a:r>
            </a:p>
          </p:txBody>
        </p:sp>
        <p:sp>
          <p:nvSpPr>
            <p:cNvPr id="197" name="Rectangle 9"/>
            <p:cNvSpPr>
              <a:spLocks noChangeArrowheads="1"/>
            </p:cNvSpPr>
            <p:nvPr/>
          </p:nvSpPr>
          <p:spPr bwMode="gray">
            <a:xfrm>
              <a:off x="2226878" y="3080641"/>
              <a:ext cx="640175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내국법인</a:t>
              </a:r>
            </a:p>
          </p:txBody>
        </p:sp>
        <p:sp>
          <p:nvSpPr>
            <p:cNvPr id="198" name="Rectangle 9"/>
            <p:cNvSpPr>
              <a:spLocks noChangeArrowheads="1"/>
            </p:cNvSpPr>
            <p:nvPr/>
          </p:nvSpPr>
          <p:spPr bwMode="gray">
            <a:xfrm>
              <a:off x="2226878" y="4102789"/>
              <a:ext cx="640175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외국법인</a:t>
              </a:r>
            </a:p>
          </p:txBody>
        </p:sp>
        <p:sp>
          <p:nvSpPr>
            <p:cNvPr id="199" name="Rectangle 9"/>
            <p:cNvSpPr>
              <a:spLocks noChangeArrowheads="1"/>
            </p:cNvSpPr>
            <p:nvPr/>
          </p:nvSpPr>
          <p:spPr bwMode="gray">
            <a:xfrm>
              <a:off x="2760313" y="3421358"/>
              <a:ext cx="768211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상장법인</a:t>
              </a:r>
            </a:p>
          </p:txBody>
        </p:sp>
        <p:sp>
          <p:nvSpPr>
            <p:cNvPr id="200" name="Rectangle 9"/>
            <p:cNvSpPr>
              <a:spLocks noChangeArrowheads="1"/>
            </p:cNvSpPr>
            <p:nvPr/>
          </p:nvSpPr>
          <p:spPr bwMode="gray">
            <a:xfrm>
              <a:off x="2760313" y="3762073"/>
              <a:ext cx="768211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비상장법인</a:t>
              </a:r>
            </a:p>
          </p:txBody>
        </p:sp>
        <p:sp>
          <p:nvSpPr>
            <p:cNvPr id="201" name="Rectangle 9"/>
            <p:cNvSpPr>
              <a:spLocks noChangeArrowheads="1"/>
            </p:cNvSpPr>
            <p:nvPr/>
          </p:nvSpPr>
          <p:spPr bwMode="gray">
            <a:xfrm>
              <a:off x="2226876" y="5112861"/>
              <a:ext cx="640175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비영리법인</a:t>
              </a:r>
            </a:p>
          </p:txBody>
        </p:sp>
        <p:sp>
          <p:nvSpPr>
            <p:cNvPr id="202" name="Rectangle 9"/>
            <p:cNvSpPr>
              <a:spLocks noChangeArrowheads="1"/>
            </p:cNvSpPr>
            <p:nvPr/>
          </p:nvSpPr>
          <p:spPr bwMode="gray">
            <a:xfrm>
              <a:off x="2760313" y="4431429"/>
              <a:ext cx="768211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상장법인</a:t>
              </a:r>
            </a:p>
          </p:txBody>
        </p:sp>
        <p:sp>
          <p:nvSpPr>
            <p:cNvPr id="203" name="Rectangle 9"/>
            <p:cNvSpPr>
              <a:spLocks noChangeArrowheads="1"/>
            </p:cNvSpPr>
            <p:nvPr/>
          </p:nvSpPr>
          <p:spPr bwMode="gray">
            <a:xfrm>
              <a:off x="2760313" y="4772145"/>
              <a:ext cx="768211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비상장법인</a:t>
              </a:r>
            </a:p>
          </p:txBody>
        </p:sp>
        <p:sp>
          <p:nvSpPr>
            <p:cNvPr id="204" name="Rectangle 9"/>
            <p:cNvSpPr>
              <a:spLocks noChangeArrowheads="1"/>
            </p:cNvSpPr>
            <p:nvPr/>
          </p:nvSpPr>
          <p:spPr bwMode="gray">
            <a:xfrm>
              <a:off x="2760313" y="5453577"/>
              <a:ext cx="768211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재단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사단</a:t>
              </a:r>
            </a:p>
          </p:txBody>
        </p:sp>
        <p:sp>
          <p:nvSpPr>
            <p:cNvPr id="205" name="Rectangle 9"/>
            <p:cNvSpPr>
              <a:spLocks noChangeArrowheads="1"/>
            </p:cNvSpPr>
            <p:nvPr/>
          </p:nvSpPr>
          <p:spPr bwMode="gray">
            <a:xfrm>
              <a:off x="2760312" y="5782217"/>
              <a:ext cx="768211" cy="268164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사회복지</a:t>
              </a:r>
              <a:r>
                <a:rPr lang="en-US" altLang="ko-KR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/</a:t>
              </a:r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의료</a:t>
              </a:r>
            </a:p>
          </p:txBody>
        </p:sp>
        <p:cxnSp>
          <p:nvCxnSpPr>
            <p:cNvPr id="206" name="꺾인 연결선 205"/>
            <p:cNvCxnSpPr>
              <a:stCxn id="72" idx="2"/>
              <a:endCxn id="233" idx="1"/>
            </p:cNvCxnSpPr>
            <p:nvPr/>
          </p:nvCxnSpPr>
          <p:spPr>
            <a:xfrm rot="16200000" flipH="1">
              <a:off x="719327" y="2987931"/>
              <a:ext cx="233736" cy="200521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7" name="꺾인 연결선 206"/>
            <p:cNvCxnSpPr>
              <a:stCxn id="72" idx="2"/>
              <a:endCxn id="235" idx="1"/>
            </p:cNvCxnSpPr>
            <p:nvPr/>
          </p:nvCxnSpPr>
          <p:spPr>
            <a:xfrm rot="16200000" flipH="1">
              <a:off x="555595" y="3151663"/>
              <a:ext cx="561200" cy="200521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8" name="꺾인 연결선 207"/>
            <p:cNvCxnSpPr>
              <a:stCxn id="234" idx="2"/>
              <a:endCxn id="237" idx="1"/>
            </p:cNvCxnSpPr>
            <p:nvPr/>
          </p:nvCxnSpPr>
          <p:spPr>
            <a:xfrm rot="16200000" flipH="1">
              <a:off x="562141" y="4449053"/>
              <a:ext cx="548108" cy="200521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9" name="꺾인 연결선 208"/>
            <p:cNvCxnSpPr>
              <a:stCxn id="234" idx="2"/>
              <a:endCxn id="236" idx="1"/>
            </p:cNvCxnSpPr>
            <p:nvPr/>
          </p:nvCxnSpPr>
          <p:spPr>
            <a:xfrm rot="16200000" flipH="1">
              <a:off x="725873" y="4285321"/>
              <a:ext cx="220644" cy="200521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0" name="꺾인 연결선 209"/>
            <p:cNvCxnSpPr>
              <a:stCxn id="196" idx="2"/>
              <a:endCxn id="197" idx="1"/>
            </p:cNvCxnSpPr>
            <p:nvPr/>
          </p:nvCxnSpPr>
          <p:spPr>
            <a:xfrm rot="16200000" flipH="1">
              <a:off x="2018517" y="3006362"/>
              <a:ext cx="238283" cy="178437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1" name="꺾인 연결선 210"/>
            <p:cNvCxnSpPr>
              <a:stCxn id="196" idx="2"/>
              <a:endCxn id="198" idx="1"/>
            </p:cNvCxnSpPr>
            <p:nvPr/>
          </p:nvCxnSpPr>
          <p:spPr>
            <a:xfrm rot="16200000" flipH="1">
              <a:off x="1507443" y="3517436"/>
              <a:ext cx="1260431" cy="178437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2" name="꺾인 연결선 211"/>
            <p:cNvCxnSpPr>
              <a:stCxn id="196" idx="2"/>
              <a:endCxn id="201" idx="1"/>
            </p:cNvCxnSpPr>
            <p:nvPr/>
          </p:nvCxnSpPr>
          <p:spPr>
            <a:xfrm rot="16200000" flipH="1">
              <a:off x="1002406" y="4022473"/>
              <a:ext cx="2270503" cy="178436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3" name="꺾인 연결선 212"/>
            <p:cNvCxnSpPr>
              <a:stCxn id="197" idx="2"/>
              <a:endCxn id="199" idx="1"/>
            </p:cNvCxnSpPr>
            <p:nvPr/>
          </p:nvCxnSpPr>
          <p:spPr>
            <a:xfrm rot="16200000" flipH="1">
              <a:off x="2550322" y="3345448"/>
              <a:ext cx="206635" cy="213347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4" name="꺾인 연결선 213"/>
            <p:cNvCxnSpPr>
              <a:stCxn id="197" idx="2"/>
              <a:endCxn id="200" idx="1"/>
            </p:cNvCxnSpPr>
            <p:nvPr/>
          </p:nvCxnSpPr>
          <p:spPr>
            <a:xfrm rot="16200000" flipH="1">
              <a:off x="2379964" y="3515806"/>
              <a:ext cx="547350" cy="213347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5" name="꺾인 연결선 214"/>
            <p:cNvCxnSpPr>
              <a:stCxn id="198" idx="2"/>
              <a:endCxn id="203" idx="1"/>
            </p:cNvCxnSpPr>
            <p:nvPr/>
          </p:nvCxnSpPr>
          <p:spPr>
            <a:xfrm rot="16200000" flipH="1">
              <a:off x="2386002" y="4531915"/>
              <a:ext cx="535274" cy="213348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6" name="꺾인 연결선 215"/>
            <p:cNvCxnSpPr>
              <a:stCxn id="198" idx="2"/>
              <a:endCxn id="202" idx="1"/>
            </p:cNvCxnSpPr>
            <p:nvPr/>
          </p:nvCxnSpPr>
          <p:spPr>
            <a:xfrm rot="16200000" flipH="1">
              <a:off x="2556360" y="4361557"/>
              <a:ext cx="194558" cy="213348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7" name="꺾인 연결선 216"/>
            <p:cNvCxnSpPr>
              <a:stCxn id="201" idx="2"/>
              <a:endCxn id="205" idx="1"/>
            </p:cNvCxnSpPr>
            <p:nvPr/>
          </p:nvCxnSpPr>
          <p:spPr>
            <a:xfrm rot="16200000" flipH="1">
              <a:off x="2386000" y="5541987"/>
              <a:ext cx="535274" cy="213348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8" name="꺾인 연결선 217"/>
            <p:cNvCxnSpPr>
              <a:stCxn id="201" idx="2"/>
              <a:endCxn id="204" idx="1"/>
            </p:cNvCxnSpPr>
            <p:nvPr/>
          </p:nvCxnSpPr>
          <p:spPr>
            <a:xfrm rot="16200000" flipH="1">
              <a:off x="2550321" y="5377667"/>
              <a:ext cx="206634" cy="213349"/>
            </a:xfrm>
            <a:prstGeom prst="bentConnector2">
              <a:avLst/>
            </a:prstGeom>
            <a:noFill/>
            <a:ln w="6350">
              <a:solidFill>
                <a:srgbClr val="969696"/>
              </a:solidFill>
              <a:round/>
              <a:headEnd type="none" w="med" len="sm"/>
              <a:tailEnd type="triangle" w="med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2" name="Rectangle 9"/>
            <p:cNvSpPr>
              <a:spLocks noChangeArrowheads="1"/>
            </p:cNvSpPr>
            <p:nvPr/>
          </p:nvSpPr>
          <p:spPr bwMode="gray">
            <a:xfrm>
              <a:off x="415847" y="2708276"/>
              <a:ext cx="640175" cy="263047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개인</a:t>
              </a: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3850195" y="2336381"/>
            <a:ext cx="2882367" cy="3788989"/>
            <a:chOff x="3850195" y="2336381"/>
            <a:chExt cx="2882367" cy="3788989"/>
          </a:xfrm>
        </p:grpSpPr>
        <p:grpSp>
          <p:nvGrpSpPr>
            <p:cNvPr id="194" name="그룹 193"/>
            <p:cNvGrpSpPr/>
            <p:nvPr/>
          </p:nvGrpSpPr>
          <p:grpSpPr>
            <a:xfrm>
              <a:off x="4185208" y="2336381"/>
              <a:ext cx="2420866" cy="205229"/>
              <a:chOff x="2231446" y="2226795"/>
              <a:chExt cx="1099905" cy="226731"/>
            </a:xfrm>
          </p:grpSpPr>
          <p:sp>
            <p:nvSpPr>
              <p:cNvPr id="238" name="Text Box 52"/>
              <p:cNvSpPr txBox="1">
                <a:spLocks noChangeArrowheads="1"/>
              </p:cNvSpPr>
              <p:nvPr/>
            </p:nvSpPr>
            <p:spPr bwMode="auto">
              <a:xfrm>
                <a:off x="2601777" y="2226795"/>
                <a:ext cx="428477" cy="18701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79623" tIns="0" rIns="79623" bIns="0">
                <a:spAutoFit/>
              </a:bodyPr>
              <a:lstStyle/>
              <a:p>
                <a:pPr algn="ctr" latinLnBrk="0"/>
                <a:r>
                  <a:rPr kumimoji="1" lang="ko-KR" altLang="en-US" sz="1100" dirty="0" smtClean="0"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수집정보 분류</a:t>
                </a:r>
                <a:endParaRPr kumimoji="1" lang="ko-KR" altLang="en-US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239" name="Line 57"/>
              <p:cNvSpPr>
                <a:spLocks noChangeShapeType="1"/>
              </p:cNvSpPr>
              <p:nvPr/>
            </p:nvSpPr>
            <p:spPr bwMode="auto">
              <a:xfrm>
                <a:off x="2231446" y="2453526"/>
                <a:ext cx="109990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lIns="79623" tIns="0" rIns="79623" bIns="0" anchor="ctr"/>
              <a:lstStyle/>
              <a:p>
                <a:pPr algn="ctr" latinLnBrk="0"/>
                <a:endParaRPr lang="en-GB" sz="1100" dirty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  <p:sp>
          <p:nvSpPr>
            <p:cNvPr id="219" name="직사각형 218"/>
            <p:cNvSpPr/>
            <p:nvPr/>
          </p:nvSpPr>
          <p:spPr bwMode="ltGray">
            <a:xfrm>
              <a:off x="3850195" y="2683186"/>
              <a:ext cx="738206" cy="521873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신원정보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20" name="직사각형 219"/>
            <p:cNvSpPr/>
            <p:nvPr/>
          </p:nvSpPr>
          <p:spPr bwMode="ltGray">
            <a:xfrm>
              <a:off x="4665588" y="2683186"/>
              <a:ext cx="2066974" cy="52187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36000" rtlCol="0" anchor="ctr" anchorCtr="0"/>
            <a:lstStyle/>
            <a:p>
              <a:pPr lvl="0" defTabSz="898885">
                <a:spcBef>
                  <a:spcPts val="300"/>
                </a:spcBef>
                <a:defRPr/>
              </a:pP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실명번호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명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국적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주소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전화번호 등</a:t>
              </a:r>
              <a:endPara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21" name="직사각형 220"/>
            <p:cNvSpPr/>
            <p:nvPr/>
          </p:nvSpPr>
          <p:spPr bwMode="ltGray">
            <a:xfrm>
              <a:off x="3850195" y="3271586"/>
              <a:ext cx="738206" cy="521873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실제소유자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정보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22" name="직사각형 221"/>
            <p:cNvSpPr/>
            <p:nvPr/>
          </p:nvSpPr>
          <p:spPr bwMode="ltGray">
            <a:xfrm>
              <a:off x="4665588" y="3271586"/>
              <a:ext cx="2066974" cy="52187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36000" rtlCol="0" anchor="ctr" anchorCtr="0"/>
            <a:lstStyle/>
            <a:p>
              <a:pPr lvl="0" defTabSz="898885">
                <a:spcBef>
                  <a:spcPts val="300"/>
                </a:spcBef>
                <a:defRPr/>
              </a:pP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소유자명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생년월일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지분율 등</a:t>
              </a:r>
              <a:endPara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23" name="직사각형 222"/>
            <p:cNvSpPr/>
            <p:nvPr/>
          </p:nvSpPr>
          <p:spPr bwMode="ltGray">
            <a:xfrm>
              <a:off x="3850195" y="3849079"/>
              <a:ext cx="738206" cy="521873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altLang="ko-KR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CDD/EDD</a:t>
              </a:r>
            </a:p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정보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24" name="직사각형 223"/>
            <p:cNvSpPr/>
            <p:nvPr/>
          </p:nvSpPr>
          <p:spPr bwMode="ltGray">
            <a:xfrm>
              <a:off x="4665588" y="3849079"/>
              <a:ext cx="2066974" cy="52187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36000" rtlCol="0" anchor="ctr" anchorCtr="0"/>
            <a:lstStyle/>
            <a:p>
              <a:pPr lvl="0" defTabSz="898885">
                <a:spcBef>
                  <a:spcPts val="300"/>
                </a:spcBef>
                <a:defRPr/>
              </a:pP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매출액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종업원수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원천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목적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설립목적 등</a:t>
              </a:r>
              <a:endPara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25" name="직사각형 224"/>
            <p:cNvSpPr/>
            <p:nvPr/>
          </p:nvSpPr>
          <p:spPr bwMode="ltGray">
            <a:xfrm>
              <a:off x="3850195" y="4430907"/>
              <a:ext cx="738206" cy="521873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고객위험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평가 정보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26" name="직사각형 225"/>
            <p:cNvSpPr/>
            <p:nvPr/>
          </p:nvSpPr>
          <p:spPr bwMode="ltGray">
            <a:xfrm>
              <a:off x="4665588" y="4430907"/>
              <a:ext cx="2066974" cy="52187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36000" rtlCol="0" anchor="ctr" anchorCtr="0"/>
            <a:lstStyle/>
            <a:p>
              <a:pPr lvl="0" defTabSz="898885">
                <a:spcBef>
                  <a:spcPts val="300"/>
                </a:spcBef>
                <a:defRPr/>
              </a:pP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업종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법인 상장여부 등</a:t>
              </a:r>
              <a:endPara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27" name="직사각형 226"/>
            <p:cNvSpPr/>
            <p:nvPr/>
          </p:nvSpPr>
          <p:spPr bwMode="ltGray">
            <a:xfrm>
              <a:off x="3850195" y="5012734"/>
              <a:ext cx="738206" cy="521873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관련자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정보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28" name="직사각형 227"/>
            <p:cNvSpPr/>
            <p:nvPr/>
          </p:nvSpPr>
          <p:spPr bwMode="ltGray">
            <a:xfrm>
              <a:off x="4665588" y="5012734"/>
              <a:ext cx="2066974" cy="52187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36000" rtlCol="0" anchor="ctr" anchorCtr="0"/>
            <a:lstStyle/>
            <a:p>
              <a:pPr lvl="0" defTabSz="898885">
                <a:spcBef>
                  <a:spcPts val="300"/>
                </a:spcBef>
                <a:defRPr/>
              </a:pP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대표자 정보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대리인 정보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증인 정보 등</a:t>
              </a:r>
              <a:endPara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229" name="직사각형 228"/>
            <p:cNvSpPr/>
            <p:nvPr/>
          </p:nvSpPr>
          <p:spPr bwMode="ltGray">
            <a:xfrm>
              <a:off x="3850195" y="5603497"/>
              <a:ext cx="738206" cy="521873"/>
            </a:xfrm>
            <a:prstGeom prst="rect">
              <a:avLst/>
            </a:prstGeom>
            <a:solidFill>
              <a:srgbClr val="22A8F0"/>
            </a:solidFill>
            <a:ln w="6350" algn="ctr">
              <a:noFill/>
              <a:miter lim="800000"/>
              <a:headEnd/>
              <a:tailEnd/>
            </a:ln>
            <a:effectLst>
              <a:outerShdw blurRad="25400" dist="12700" dir="5400000" algn="t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관리를 위한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  <a:p>
              <a:pPr algn="ctr"/>
              <a:r>
                <a:rPr lang="ko-KR" altLang="en-US" sz="1100" spc="-7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cs typeface="KoPubWorld돋움체 Medium" panose="00000600000000000000" pitchFamily="2" charset="-127"/>
                </a:rPr>
                <a:t>정보</a:t>
              </a:r>
              <a:endParaRPr lang="en-US" altLang="ko-KR" sz="1100" spc="-7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230" name="직사각형 229"/>
            <p:cNvSpPr/>
            <p:nvPr/>
          </p:nvSpPr>
          <p:spPr bwMode="ltGray">
            <a:xfrm>
              <a:off x="4665588" y="5603497"/>
              <a:ext cx="2066974" cy="52187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36000" rtlCol="0" anchor="ctr" anchorCtr="0"/>
            <a:lstStyle/>
            <a:p>
              <a:pPr lvl="0" defTabSz="898885">
                <a:spcBef>
                  <a:spcPts val="300"/>
                </a:spcBef>
                <a:defRPr/>
              </a:pPr>
              <a:r>
                <a:rPr lang="ko-KR" altLang="en-US" sz="100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객확인정보 제공 거부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여부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신원검증방법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</a:t>
              </a:r>
              <a:r>
                <a:rPr lang="ko-KR" altLang="en-US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실제 소유자 확인방법</a:t>
              </a:r>
              <a:r>
                <a:rPr lang="en-US" altLang="ko-KR" sz="1000" dirty="0" smtClean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, PEP </a:t>
              </a:r>
              <a:r>
                <a:rPr lang="ko-KR" altLang="en-US" sz="1000" dirty="0">
                  <a:solidFill>
                    <a:schemeClr val="tx1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등</a:t>
              </a:r>
              <a:endParaRPr lang="en-US" altLang="ko-KR" sz="10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200" y="2070000"/>
            <a:ext cx="2718000" cy="4420800"/>
            <a:chOff x="6951840" y="1844822"/>
            <a:chExt cx="2717684" cy="4420090"/>
          </a:xfrm>
        </p:grpSpPr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82" name="그룹 81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83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고객 프로파일 정의 방안</a:t>
                </a:r>
                <a:endParaRPr lang="ko-KR" altLang="en-US" sz="120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84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grpSp>
        <p:nvGrpSpPr>
          <p:cNvPr id="85" name="그룹 84"/>
          <p:cNvGrpSpPr/>
          <p:nvPr/>
        </p:nvGrpSpPr>
        <p:grpSpPr>
          <a:xfrm>
            <a:off x="7113487" y="2573308"/>
            <a:ext cx="2403769" cy="766941"/>
            <a:chOff x="7113487" y="2573308"/>
            <a:chExt cx="2403769" cy="766941"/>
          </a:xfrm>
        </p:grpSpPr>
        <p:sp>
          <p:nvSpPr>
            <p:cNvPr id="86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38980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 프로파일 및 코드 관리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87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2852936"/>
              <a:ext cx="2157008" cy="487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개인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법인 고객 유형 별 프로파일 정의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프로파일에 이용되는 주요정보에 대한 코드 관리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88" name="그림 87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cxnSp>
        <p:nvCxnSpPr>
          <p:cNvPr id="89" name="직선 연결선 8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741835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0" name="그룹 89"/>
          <p:cNvGrpSpPr/>
          <p:nvPr/>
        </p:nvGrpSpPr>
        <p:grpSpPr>
          <a:xfrm>
            <a:off x="7113487" y="3885851"/>
            <a:ext cx="2448025" cy="577877"/>
            <a:chOff x="7113487" y="3681028"/>
            <a:chExt cx="2448025" cy="577877"/>
          </a:xfrm>
        </p:grpSpPr>
        <p:sp>
          <p:nvSpPr>
            <p:cNvPr id="91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3686607"/>
              <a:ext cx="1095493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 거래확인서 개정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2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951128"/>
              <a:ext cx="220126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도출된 고객 프로파일을 기반으로 고객 유형별 고객거래 확인서 도출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93" name="그림 92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13487" y="3681028"/>
              <a:ext cx="318769" cy="318769"/>
            </a:xfrm>
            <a:prstGeom prst="rect">
              <a:avLst/>
            </a:prstGeom>
          </p:spPr>
        </p:pic>
      </p:grpSp>
      <p:sp>
        <p:nvSpPr>
          <p:cNvPr id="7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9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7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21214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95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48372" y="223225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96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338654" y="2232258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4449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4.1 </a:t>
            </a:r>
            <a:r>
              <a:rPr lang="ko-KR" altLang="en-US" dirty="0"/>
              <a:t>고객 프로파일 및 코드 관리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유형 및 수집정보를 통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프로파일 및 입력정보에 대한 코드를 정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 프로파일 및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거래확인서 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34" name="Rectangle 136"/>
          <p:cNvSpPr>
            <a:spLocks noChangeArrowheads="1"/>
          </p:cNvSpPr>
          <p:nvPr/>
        </p:nvSpPr>
        <p:spPr bwMode="auto">
          <a:xfrm>
            <a:off x="317329" y="2197745"/>
            <a:ext cx="4515285" cy="4147579"/>
          </a:xfrm>
          <a:prstGeom prst="rect">
            <a:avLst/>
          </a:prstGeom>
          <a:solidFill>
            <a:schemeClr val="bg1"/>
          </a:solidFill>
          <a:ln w="9525">
            <a:solidFill>
              <a:srgbClr val="93B5D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72000" tIns="36000" rIns="72000" bIns="36000" anchor="ctr"/>
          <a:lstStyle/>
          <a:p>
            <a:pPr algn="ctr"/>
            <a:endParaRPr lang="en-GB" altLang="ko-KR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93" name="그룹 192"/>
          <p:cNvGrpSpPr/>
          <p:nvPr/>
        </p:nvGrpSpPr>
        <p:grpSpPr>
          <a:xfrm>
            <a:off x="746175" y="2419621"/>
            <a:ext cx="3657593" cy="210231"/>
            <a:chOff x="2231446" y="2226795"/>
            <a:chExt cx="1099905" cy="226731"/>
          </a:xfrm>
        </p:grpSpPr>
        <p:sp>
          <p:nvSpPr>
            <p:cNvPr id="202" name="Text Box 52"/>
            <p:cNvSpPr txBox="1">
              <a:spLocks noChangeArrowheads="1"/>
            </p:cNvSpPr>
            <p:nvPr/>
          </p:nvSpPr>
          <p:spPr bwMode="auto">
            <a:xfrm>
              <a:off x="2544176" y="2226795"/>
              <a:ext cx="489434" cy="1825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개인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법인 프로파일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예시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)</a:t>
              </a:r>
              <a:endParaRPr kumimoji="1"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03" name="Line 57"/>
            <p:cNvSpPr>
              <a:spLocks noChangeShapeType="1"/>
            </p:cNvSpPr>
            <p:nvPr/>
          </p:nvSpPr>
          <p:spPr bwMode="auto">
            <a:xfrm>
              <a:off x="2231446" y="2453526"/>
              <a:ext cx="10999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437328" y="2823058"/>
            <a:ext cx="4275287" cy="3304651"/>
            <a:chOff x="719320" y="2823058"/>
            <a:chExt cx="4275287" cy="3304651"/>
          </a:xfrm>
        </p:grpSpPr>
        <p:pic>
          <p:nvPicPr>
            <p:cNvPr id="195" name="그림 194"/>
            <p:cNvPicPr>
              <a:picLocks noChangeAspect="1"/>
            </p:cNvPicPr>
            <p:nvPr/>
          </p:nvPicPr>
          <p:blipFill>
            <a:blip r:embed="rId2">
              <a:grayscl/>
            </a:blip>
            <a:stretch>
              <a:fillRect/>
            </a:stretch>
          </p:blipFill>
          <p:spPr>
            <a:xfrm>
              <a:off x="719320" y="2823058"/>
              <a:ext cx="4118745" cy="2189433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96" name="그림 195"/>
            <p:cNvPicPr>
              <a:picLocks noChangeAspect="1"/>
            </p:cNvPicPr>
            <p:nvPr/>
          </p:nvPicPr>
          <p:blipFill>
            <a:blip r:embed="rId3">
              <a:grayscl/>
            </a:blip>
            <a:stretch>
              <a:fillRect/>
            </a:stretch>
          </p:blipFill>
          <p:spPr>
            <a:xfrm>
              <a:off x="942248" y="4173769"/>
              <a:ext cx="4052359" cy="1953940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35" name="Rectangle 136"/>
          <p:cNvSpPr>
            <a:spLocks noChangeArrowheads="1"/>
          </p:cNvSpPr>
          <p:nvPr/>
        </p:nvSpPr>
        <p:spPr bwMode="auto">
          <a:xfrm>
            <a:off x="4926049" y="2182631"/>
            <a:ext cx="4634308" cy="4147579"/>
          </a:xfrm>
          <a:prstGeom prst="rect">
            <a:avLst/>
          </a:prstGeom>
          <a:solidFill>
            <a:schemeClr val="bg1"/>
          </a:solidFill>
          <a:ln w="9525">
            <a:solidFill>
              <a:srgbClr val="93B5D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72000" tIns="36000" rIns="72000" bIns="36000" anchor="ctr"/>
          <a:lstStyle/>
          <a:p>
            <a:pPr algn="ctr"/>
            <a:endParaRPr lang="en-GB" altLang="ko-KR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94" name="그룹 193"/>
          <p:cNvGrpSpPr/>
          <p:nvPr/>
        </p:nvGrpSpPr>
        <p:grpSpPr>
          <a:xfrm>
            <a:off x="5691107" y="2419621"/>
            <a:ext cx="3104193" cy="210231"/>
            <a:chOff x="2115688" y="2226795"/>
            <a:chExt cx="1099905" cy="226731"/>
          </a:xfrm>
        </p:grpSpPr>
        <p:sp>
          <p:nvSpPr>
            <p:cNvPr id="200" name="Text Box 52"/>
            <p:cNvSpPr txBox="1">
              <a:spLocks noChangeArrowheads="1"/>
            </p:cNvSpPr>
            <p:nvPr/>
          </p:nvSpPr>
          <p:spPr bwMode="auto">
            <a:xfrm>
              <a:off x="2315499" y="2226795"/>
              <a:ext cx="715277" cy="1825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주요 정보에 대한 코드관리 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</a:t>
              </a:r>
              <a:r>
                <a:rPr kumimoji="1" lang="ko-KR" altLang="en-US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예시</a:t>
              </a:r>
              <a:r>
                <a:rPr kumimoji="1" lang="en-US" altLang="ko-KR" sz="1100" dirty="0" smtClean="0"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)</a:t>
              </a:r>
              <a:endParaRPr kumimoji="1" lang="ko-KR" altLang="en-US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201" name="Line 57"/>
            <p:cNvSpPr>
              <a:spLocks noChangeShapeType="1"/>
            </p:cNvSpPr>
            <p:nvPr/>
          </p:nvSpPr>
          <p:spPr bwMode="auto">
            <a:xfrm>
              <a:off x="2115688" y="2453526"/>
              <a:ext cx="10999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pic>
        <p:nvPicPr>
          <p:cNvPr id="30" name="그림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5541" y="2828513"/>
            <a:ext cx="4180468" cy="3364670"/>
          </a:xfrm>
          <a:prstGeom prst="rect">
            <a:avLst/>
          </a:prstGeom>
        </p:spPr>
      </p:pic>
      <p:sp>
        <p:nvSpPr>
          <p:cNvPr id="2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0651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4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 프로파일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33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1584" y="216995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306677" y="217051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297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136"/>
          <p:cNvSpPr>
            <a:spLocks noChangeArrowheads="1"/>
          </p:cNvSpPr>
          <p:nvPr/>
        </p:nvSpPr>
        <p:spPr bwMode="auto">
          <a:xfrm>
            <a:off x="317329" y="2197745"/>
            <a:ext cx="4515285" cy="4147579"/>
          </a:xfrm>
          <a:prstGeom prst="rect">
            <a:avLst/>
          </a:prstGeom>
          <a:solidFill>
            <a:schemeClr val="bg1"/>
          </a:solidFill>
          <a:ln w="9525">
            <a:solidFill>
              <a:srgbClr val="93B5D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72000" tIns="36000" rIns="72000" bIns="36000" anchor="ctr"/>
          <a:lstStyle/>
          <a:p>
            <a:pPr algn="ctr"/>
            <a:endParaRPr lang="en-GB" altLang="ko-KR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3" name="Rectangle 136"/>
          <p:cNvSpPr>
            <a:spLocks noChangeArrowheads="1"/>
          </p:cNvSpPr>
          <p:nvPr/>
        </p:nvSpPr>
        <p:spPr bwMode="auto">
          <a:xfrm>
            <a:off x="4926049" y="2182631"/>
            <a:ext cx="4634308" cy="4147579"/>
          </a:xfrm>
          <a:prstGeom prst="rect">
            <a:avLst/>
          </a:prstGeom>
          <a:solidFill>
            <a:schemeClr val="bg1"/>
          </a:solidFill>
          <a:ln w="9525">
            <a:solidFill>
              <a:srgbClr val="93B5D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72000" tIns="36000" rIns="72000" bIns="36000" anchor="ctr"/>
          <a:lstStyle/>
          <a:p>
            <a:pPr algn="ctr"/>
            <a:endParaRPr lang="en-GB" altLang="ko-KR" sz="11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4.2 </a:t>
            </a:r>
            <a:r>
              <a:rPr lang="ko-KR" altLang="en-US" dirty="0"/>
              <a:t>고객거래확인서 개정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 유형별 프로파일 및 입정정보를 기반으로 고객거래확인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강화된 고객거래확인서를 개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en-US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 프로파일 및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객거래확인서 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93" name="그룹 192"/>
          <p:cNvGrpSpPr/>
          <p:nvPr/>
        </p:nvGrpSpPr>
        <p:grpSpPr>
          <a:xfrm>
            <a:off x="746175" y="2419621"/>
            <a:ext cx="3657593" cy="210231"/>
            <a:chOff x="2231446" y="2226795"/>
            <a:chExt cx="1099905" cy="226731"/>
          </a:xfrm>
        </p:grpSpPr>
        <p:sp>
          <p:nvSpPr>
            <p:cNvPr id="202" name="Text Box 52"/>
            <p:cNvSpPr txBox="1">
              <a:spLocks noChangeArrowheads="1"/>
            </p:cNvSpPr>
            <p:nvPr/>
          </p:nvSpPr>
          <p:spPr bwMode="auto">
            <a:xfrm>
              <a:off x="2504648" y="2226795"/>
              <a:ext cx="568490" cy="1825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개인고객 고객거래확인서 </a:t>
              </a:r>
              <a:r>
                <a:rPr kumimoji="1" lang="en-US" altLang="ko-KR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</a:t>
              </a:r>
              <a:r>
                <a:rPr kumimoji="1" lang="ko-KR" altLang="en-US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예시</a:t>
              </a:r>
              <a:r>
                <a:rPr kumimoji="1" lang="en-US" altLang="ko-KR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)</a:t>
              </a:r>
              <a:endParaRPr kumimoji="1" lang="ko-KR" altLang="en-US" sz="1100" b="1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3" name="Line 57"/>
            <p:cNvSpPr>
              <a:spLocks noChangeShapeType="1"/>
            </p:cNvSpPr>
            <p:nvPr/>
          </p:nvSpPr>
          <p:spPr bwMode="auto">
            <a:xfrm>
              <a:off x="2231446" y="2453526"/>
              <a:ext cx="10999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b="1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</p:grpSp>
      <p:grpSp>
        <p:nvGrpSpPr>
          <p:cNvPr id="194" name="그룹 193"/>
          <p:cNvGrpSpPr/>
          <p:nvPr/>
        </p:nvGrpSpPr>
        <p:grpSpPr>
          <a:xfrm>
            <a:off x="5596854" y="2419621"/>
            <a:ext cx="3104193" cy="210231"/>
            <a:chOff x="2115688" y="2226795"/>
            <a:chExt cx="1099905" cy="226731"/>
          </a:xfrm>
        </p:grpSpPr>
        <p:sp>
          <p:nvSpPr>
            <p:cNvPr id="200" name="Text Box 52"/>
            <p:cNvSpPr txBox="1">
              <a:spLocks noChangeArrowheads="1"/>
            </p:cNvSpPr>
            <p:nvPr/>
          </p:nvSpPr>
          <p:spPr bwMode="auto">
            <a:xfrm>
              <a:off x="2267218" y="2226795"/>
              <a:ext cx="811836" cy="1825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algn="ctr" latinLnBrk="0"/>
              <a:r>
                <a:rPr kumimoji="1" lang="ko-KR" altLang="en-US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개인고객 강화된 고객거래확인서 </a:t>
              </a:r>
              <a:r>
                <a:rPr kumimoji="1" lang="en-US" altLang="ko-KR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(</a:t>
              </a:r>
              <a:r>
                <a:rPr kumimoji="1" lang="ko-KR" altLang="en-US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예시</a:t>
              </a:r>
              <a:r>
                <a:rPr kumimoji="1" lang="en-US" altLang="ko-KR" sz="1100" b="1" dirty="0" smtClean="0">
                  <a:solidFill>
                    <a:srgbClr val="000000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)</a:t>
              </a:r>
              <a:endParaRPr kumimoji="1" lang="ko-KR" altLang="en-US" sz="1100" b="1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sp>
          <p:nvSpPr>
            <p:cNvPr id="201" name="Line 57"/>
            <p:cNvSpPr>
              <a:spLocks noChangeShapeType="1"/>
            </p:cNvSpPr>
            <p:nvPr/>
          </p:nvSpPr>
          <p:spPr bwMode="auto">
            <a:xfrm>
              <a:off x="2115688" y="2453526"/>
              <a:ext cx="10999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ctr" latinLnBrk="0"/>
              <a:endParaRPr lang="en-GB" sz="1100" b="1" dirty="0">
                <a:solidFill>
                  <a:srgbClr val="000000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401" y="2802741"/>
            <a:ext cx="4339141" cy="339856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5425" y="2951537"/>
            <a:ext cx="4428075" cy="3249771"/>
          </a:xfrm>
          <a:prstGeom prst="rect">
            <a:avLst/>
          </a:prstGeom>
        </p:spPr>
      </p:pic>
      <p:sp>
        <p:nvSpPr>
          <p:cNvPr id="2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90651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4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 프로파일 구축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29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1584" y="216995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306677" y="217051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3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3550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5.1 </a:t>
            </a:r>
            <a:r>
              <a:rPr lang="ko-KR" altLang="en-US" dirty="0"/>
              <a:t>환거래 은행 관리 절차 수립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5238614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계약 은행에 대한 실사 절차와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준에 따른 환거래 계약 승인 절차를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환거래 은행 관리 절차 수립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직사각형 15"/>
          <p:cNvSpPr/>
          <p:nvPr/>
        </p:nvSpPr>
        <p:spPr>
          <a:xfrm>
            <a:off x="353115" y="2204864"/>
            <a:ext cx="2165798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환거래 계약</a:t>
            </a:r>
            <a:endParaRPr lang="en-US" altLang="ko-KR" sz="11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208720" y="2744923"/>
            <a:ext cx="1224000" cy="720081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Nostro</a:t>
            </a:r>
            <a:endParaRPr lang="en-US" altLang="ko-KR" sz="12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계좌</a:t>
            </a:r>
            <a:endParaRPr lang="ko-KR" altLang="en-US" sz="12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208720" y="4437111"/>
            <a:ext cx="1224000" cy="72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SWIFT RMA</a:t>
            </a:r>
            <a:endParaRPr lang="ko-KR" altLang="en-US" sz="12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2" name="순서도: 판단 21"/>
          <p:cNvSpPr/>
          <p:nvPr/>
        </p:nvSpPr>
        <p:spPr>
          <a:xfrm>
            <a:off x="1208720" y="5363581"/>
            <a:ext cx="1224000" cy="883366"/>
          </a:xfrm>
          <a:prstGeom prst="flowChartDecision">
            <a:avLst/>
          </a:prstGeom>
          <a:solidFill>
            <a:srgbClr val="CFD6DB"/>
          </a:solidFill>
          <a:ln w="6350">
            <a:solidFill>
              <a:srgbClr val="B5BF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ayment</a:t>
            </a:r>
          </a:p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essage 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EY 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교환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3" name="직선 화살표 연결선 22"/>
          <p:cNvCxnSpPr>
            <a:stCxn id="21" idx="2"/>
            <a:endCxn id="22" idx="0"/>
          </p:cNvCxnSpPr>
          <p:nvPr/>
        </p:nvCxnSpPr>
        <p:spPr>
          <a:xfrm>
            <a:off x="1820720" y="5157111"/>
            <a:ext cx="0" cy="20647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모서리가 둥근 직사각형 27"/>
          <p:cNvSpPr/>
          <p:nvPr/>
        </p:nvSpPr>
        <p:spPr>
          <a:xfrm>
            <a:off x="416496" y="2744923"/>
            <a:ext cx="741703" cy="1493424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예치환</a:t>
            </a:r>
          </a:p>
        </p:txBody>
      </p:sp>
      <p:sp>
        <p:nvSpPr>
          <p:cNvPr id="30" name="모서리가 둥근 직사각형 29"/>
          <p:cNvSpPr/>
          <p:nvPr/>
        </p:nvSpPr>
        <p:spPr>
          <a:xfrm>
            <a:off x="416496" y="4437111"/>
            <a:ext cx="741703" cy="1833653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무예치환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2936776" y="2204864"/>
            <a:ext cx="3132348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환거래 은행 실사 절차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080792" y="2708920"/>
            <a:ext cx="2808120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Questionnaire </a:t>
            </a:r>
            <a:r>
              <a:rPr lang="ko-KR" altLang="en-US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요청</a:t>
            </a:r>
            <a:endParaRPr lang="ko-KR" altLang="en-US" sz="12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080792" y="3465004"/>
            <a:ext cx="2808120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BANK</a:t>
            </a:r>
          </a:p>
          <a:p>
            <a:pPr algn="ctr" defTabSz="914400"/>
            <a:r>
              <a:rPr lang="en-US" altLang="ko-KR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AML Risk Assessment</a:t>
            </a:r>
            <a:endParaRPr lang="ko-KR" altLang="en-US" sz="12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4" name="오른쪽 화살표 33"/>
          <p:cNvSpPr/>
          <p:nvPr/>
        </p:nvSpPr>
        <p:spPr>
          <a:xfrm>
            <a:off x="2652471" y="3700584"/>
            <a:ext cx="143692" cy="1512169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8" name="아래쪽 화살표 37"/>
          <p:cNvSpPr/>
          <p:nvPr/>
        </p:nvSpPr>
        <p:spPr>
          <a:xfrm>
            <a:off x="4394852" y="3249737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7009486"/>
              </p:ext>
            </p:extLst>
          </p:nvPr>
        </p:nvGraphicFramePr>
        <p:xfrm>
          <a:off x="3080793" y="4084460"/>
          <a:ext cx="2808119" cy="2186305"/>
        </p:xfrm>
        <a:graphic>
          <a:graphicData uri="http://schemas.openxmlformats.org/drawingml/2006/table">
            <a:tbl>
              <a:tblPr/>
              <a:tblGrid>
                <a:gridCol w="1080119">
                  <a:extLst>
                    <a:ext uri="{9D8B030D-6E8A-4147-A177-3AD203B41FA5}">
                      <a16:colId xmlns:a16="http://schemas.microsoft.com/office/drawing/2014/main" val="167504253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622676349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953814225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974262691"/>
                    </a:ext>
                  </a:extLst>
                </a:gridCol>
              </a:tblGrid>
              <a:tr h="1987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평가항목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High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Medium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Low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455206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점 국가 위험 수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7170513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지배구조 위험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6039902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활동의 위험성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9553720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평판 위험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7722738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제재 이력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6907297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법률 위반 이력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0467561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감독 평가 위험 수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5019918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부통제 위험 수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●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5238037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55031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합계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High Risk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4872124"/>
                  </a:ext>
                </a:extLst>
              </a:tr>
            </a:tbl>
          </a:graphicData>
        </a:graphic>
      </p:graphicFrame>
      <p:sp>
        <p:nvSpPr>
          <p:cNvPr id="45" name="직사각형 44"/>
          <p:cNvSpPr/>
          <p:nvPr/>
        </p:nvSpPr>
        <p:spPr>
          <a:xfrm>
            <a:off x="2936776" y="2636912"/>
            <a:ext cx="3132348" cy="38164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7" name="직사각형 46"/>
          <p:cNvSpPr/>
          <p:nvPr/>
        </p:nvSpPr>
        <p:spPr>
          <a:xfrm>
            <a:off x="1208720" y="3518266"/>
            <a:ext cx="1224000" cy="720081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Vostro</a:t>
            </a:r>
            <a:endParaRPr lang="en-US" altLang="ko-KR" sz="12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2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계좌</a:t>
            </a:r>
            <a:endParaRPr lang="ko-KR" altLang="en-US" sz="12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353115" y="2636912"/>
            <a:ext cx="2165798" cy="38164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직사각형 55"/>
          <p:cNvSpPr/>
          <p:nvPr/>
        </p:nvSpPr>
        <p:spPr>
          <a:xfrm>
            <a:off x="6466805" y="2204864"/>
            <a:ext cx="2950691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위험에 따른 승인 절차</a:t>
            </a:r>
          </a:p>
        </p:txBody>
      </p:sp>
      <p:sp>
        <p:nvSpPr>
          <p:cNvPr id="57" name="직사각형 56"/>
          <p:cNvSpPr/>
          <p:nvPr/>
        </p:nvSpPr>
        <p:spPr>
          <a:xfrm>
            <a:off x="6591655" y="2708920"/>
            <a:ext cx="1169657" cy="504056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저위험</a:t>
            </a:r>
            <a:endParaRPr lang="ko-KR" altLang="en-US" sz="12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8085348" y="2708920"/>
            <a:ext cx="1169657" cy="504056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고위험</a:t>
            </a:r>
            <a:endParaRPr lang="ko-KR" altLang="en-US" sz="12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591655" y="3681028"/>
            <a:ext cx="1169657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계약 담당자</a:t>
            </a:r>
            <a:endParaRPr lang="ko-KR" altLang="en-US" sz="12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6591655" y="4300484"/>
            <a:ext cx="1169657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부서장 승인</a:t>
            </a:r>
            <a:endParaRPr lang="ko-KR" altLang="en-US" sz="12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6591655" y="4923089"/>
            <a:ext cx="1169657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부행장 전결</a:t>
            </a:r>
            <a:endParaRPr lang="ko-KR" altLang="en-US" sz="12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2" name="아래쪽 화살표 61"/>
          <p:cNvSpPr/>
          <p:nvPr/>
        </p:nvSpPr>
        <p:spPr>
          <a:xfrm>
            <a:off x="7086483" y="4181935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3" name="아래쪽 화살표 62"/>
          <p:cNvSpPr/>
          <p:nvPr/>
        </p:nvSpPr>
        <p:spPr>
          <a:xfrm>
            <a:off x="7086483" y="4804540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8087018" y="3681028"/>
            <a:ext cx="1169657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계약 담당자</a:t>
            </a:r>
            <a:endParaRPr lang="ko-KR" altLang="en-US" sz="12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8087018" y="4300484"/>
            <a:ext cx="1169657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부서장 승인</a:t>
            </a:r>
            <a:endParaRPr lang="ko-KR" altLang="en-US" sz="12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8087018" y="4923089"/>
            <a:ext cx="1169657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준법 감시부 합의</a:t>
            </a:r>
          </a:p>
        </p:txBody>
      </p:sp>
      <p:sp>
        <p:nvSpPr>
          <p:cNvPr id="67" name="아래쪽 화살표 66"/>
          <p:cNvSpPr/>
          <p:nvPr/>
        </p:nvSpPr>
        <p:spPr>
          <a:xfrm>
            <a:off x="8581846" y="4181935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8" name="아래쪽 화살표 67"/>
          <p:cNvSpPr/>
          <p:nvPr/>
        </p:nvSpPr>
        <p:spPr>
          <a:xfrm>
            <a:off x="8581846" y="4804540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8087018" y="5545694"/>
            <a:ext cx="1169657" cy="504056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2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부행장 전결</a:t>
            </a:r>
            <a:endParaRPr lang="ko-KR" altLang="en-US" sz="12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0" name="아래쪽 화살표 69"/>
          <p:cNvSpPr/>
          <p:nvPr/>
        </p:nvSpPr>
        <p:spPr>
          <a:xfrm>
            <a:off x="8581846" y="5431693"/>
            <a:ext cx="180000" cy="179263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591654" y="3271360"/>
            <a:ext cx="116965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환거래 은행 실사</a:t>
            </a:r>
            <a:endParaRPr lang="en-US" altLang="ko-KR" sz="1000" dirty="0" smtClean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algn="ctr"/>
            <a:r>
              <a:rPr lang="ko-KR" altLang="en-US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재이행 주기 </a:t>
            </a:r>
            <a:r>
              <a:rPr lang="en-US" altLang="ko-KR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3</a:t>
            </a:r>
            <a:r>
              <a:rPr lang="ko-KR" altLang="en-US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년</a:t>
            </a:r>
            <a:endParaRPr lang="ko-KR" altLang="en-US" sz="100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097739" y="3271360"/>
            <a:ext cx="11572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ko-KR" altLang="en-US" sz="1000" dirty="0" smtClean="0"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환거래 은행 실사</a:t>
            </a:r>
            <a:endParaRPr lang="en-US" altLang="ko-KR" sz="1000" dirty="0" smtClean="0"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algn="ctr"/>
            <a:r>
              <a:rPr lang="ko-KR" altLang="en-US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재이행 주기 </a:t>
            </a:r>
            <a:r>
              <a:rPr lang="en-US" altLang="ko-KR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100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년</a:t>
            </a:r>
            <a:endParaRPr lang="ko-KR" altLang="en-US" sz="100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6466805" y="2636912"/>
            <a:ext cx="2950691" cy="38164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7" name="오른쪽 화살표 76"/>
          <p:cNvSpPr/>
          <p:nvPr/>
        </p:nvSpPr>
        <p:spPr>
          <a:xfrm>
            <a:off x="6188842" y="3700584"/>
            <a:ext cx="143692" cy="1512169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1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119244" y="2400128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690914" y="4014160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직사각형 52"/>
          <p:cNvSpPr/>
          <p:nvPr/>
        </p:nvSpPr>
        <p:spPr>
          <a:xfrm>
            <a:off x="4232920" y="5949280"/>
            <a:ext cx="1728192" cy="432048"/>
          </a:xfrm>
          <a:prstGeom prst="rect">
            <a:avLst/>
          </a:prstGeom>
          <a:noFill/>
          <a:ln w="38100">
            <a:solidFill>
              <a:srgbClr val="FD641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72" name="꺾인 연결선 71"/>
          <p:cNvCxnSpPr/>
          <p:nvPr/>
        </p:nvCxnSpPr>
        <p:spPr>
          <a:xfrm flipV="1">
            <a:off x="5961112" y="2960948"/>
            <a:ext cx="2124236" cy="3204356"/>
          </a:xfrm>
          <a:prstGeom prst="bentConnector3">
            <a:avLst>
              <a:gd name="adj1" fmla="val 90610"/>
            </a:avLst>
          </a:prstGeom>
          <a:ln w="19050">
            <a:solidFill>
              <a:srgbClr val="FD641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3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5.2 </a:t>
            </a:r>
            <a:r>
              <a:rPr lang="ko-KR" altLang="en-US" dirty="0"/>
              <a:t>환거래 은행 무역거래 위험 평가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6357510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를 통한 무역거래에 대해 고객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서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거래의 위험속성에 기반해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을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환거래 은행 무역거래 위험 평가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직사각형 15"/>
          <p:cNvSpPr/>
          <p:nvPr/>
        </p:nvSpPr>
        <p:spPr>
          <a:xfrm>
            <a:off x="353114" y="2204864"/>
            <a:ext cx="9172393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환거래 은행 무역거래 위험평가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452375" y="2636912"/>
            <a:ext cx="684233" cy="1836000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입</a:t>
            </a:r>
          </a:p>
        </p:txBody>
      </p:sp>
      <p:sp>
        <p:nvSpPr>
          <p:cNvPr id="19" name="모서리가 둥근 직사각형 18"/>
          <p:cNvSpPr/>
          <p:nvPr/>
        </p:nvSpPr>
        <p:spPr>
          <a:xfrm>
            <a:off x="452375" y="4539562"/>
            <a:ext cx="684233" cy="1836000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출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2954897" y="3964634"/>
            <a:ext cx="5764911" cy="119255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E0301E"/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/>
          </a:p>
        </p:txBody>
      </p:sp>
      <p:cxnSp>
        <p:nvCxnSpPr>
          <p:cNvPr id="21" name="직선 화살표 연결선 20"/>
          <p:cNvCxnSpPr>
            <a:stCxn id="35" idx="2"/>
            <a:endCxn id="25" idx="0"/>
          </p:cNvCxnSpPr>
          <p:nvPr/>
        </p:nvCxnSpPr>
        <p:spPr>
          <a:xfrm>
            <a:off x="3793346" y="3540942"/>
            <a:ext cx="0" cy="745115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순서도: 연결자 21"/>
          <p:cNvSpPr/>
          <p:nvPr/>
        </p:nvSpPr>
        <p:spPr>
          <a:xfrm>
            <a:off x="7683624" y="3054942"/>
            <a:ext cx="504000" cy="504000"/>
          </a:xfrm>
          <a:prstGeom prst="flowChartConnector">
            <a:avLst/>
          </a:prstGeom>
          <a:solidFill>
            <a:srgbClr val="AA2417"/>
          </a:solidFill>
          <a:ln w="3175">
            <a:solidFill>
              <a:srgbClr val="AA2417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</a:t>
            </a:r>
            <a:r>
              <a:rPr lang="en-US" altLang="ko-KR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10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속</a:t>
            </a:r>
            <a:endParaRPr lang="ko-KR" altLang="en-US" sz="110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원통[C] 138"/>
          <p:cNvSpPr/>
          <p:nvPr/>
        </p:nvSpPr>
        <p:spPr bwMode="ltGray">
          <a:xfrm>
            <a:off x="2166509" y="5733727"/>
            <a:ext cx="3253674" cy="359569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isk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프로파일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품</a:t>
            </a:r>
            <a:r>
              <a:rPr lang="en-US" altLang="ko-KR" sz="9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및 서비스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즈니스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 상대방等</a:t>
            </a:r>
            <a:endParaRPr lang="ko-KR" altLang="en-US" sz="9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136799" y="4286057"/>
            <a:ext cx="1313094" cy="504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TRR</a:t>
            </a:r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26" name="직선 화살표 연결선 25"/>
          <p:cNvCxnSpPr>
            <a:stCxn id="23" idx="1"/>
            <a:endCxn id="25" idx="2"/>
          </p:cNvCxnSpPr>
          <p:nvPr/>
        </p:nvCxnSpPr>
        <p:spPr>
          <a:xfrm flipV="1">
            <a:off x="3793346" y="4790057"/>
            <a:ext cx="0" cy="94367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직선 화살표 연결선 26"/>
          <p:cNvCxnSpPr>
            <a:stCxn id="48" idx="6"/>
            <a:endCxn id="35" idx="1"/>
          </p:cNvCxnSpPr>
          <p:nvPr/>
        </p:nvCxnSpPr>
        <p:spPr>
          <a:xfrm>
            <a:off x="2281584" y="3306942"/>
            <a:ext cx="855215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직선 화살표 연결선 27"/>
          <p:cNvCxnSpPr>
            <a:stCxn id="35" idx="3"/>
            <a:endCxn id="36" idx="1"/>
          </p:cNvCxnSpPr>
          <p:nvPr/>
        </p:nvCxnSpPr>
        <p:spPr>
          <a:xfrm>
            <a:off x="4449893" y="3306942"/>
            <a:ext cx="867565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순서도: 판단 28"/>
          <p:cNvSpPr/>
          <p:nvPr/>
        </p:nvSpPr>
        <p:spPr>
          <a:xfrm>
            <a:off x="5317005" y="4232057"/>
            <a:ext cx="1314000" cy="612000"/>
          </a:xfrm>
          <a:prstGeom prst="flowChartDecision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dirty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High Risk</a:t>
            </a:r>
            <a:endParaRPr lang="ko-KR" altLang="en-US" sz="14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0" name="직선 화살표 연결선 29"/>
          <p:cNvCxnSpPr>
            <a:stCxn id="25" idx="3"/>
            <a:endCxn id="29" idx="1"/>
          </p:cNvCxnSpPr>
          <p:nvPr/>
        </p:nvCxnSpPr>
        <p:spPr>
          <a:xfrm>
            <a:off x="4449893" y="4538057"/>
            <a:ext cx="867112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직사각형 30"/>
          <p:cNvSpPr/>
          <p:nvPr/>
        </p:nvSpPr>
        <p:spPr>
          <a:xfrm>
            <a:off x="7279077" y="4286057"/>
            <a:ext cx="1313094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DD</a:t>
            </a:r>
            <a:endParaRPr lang="ko-KR" altLang="en-US" sz="14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2" name="직선 화살표 연결선 31"/>
          <p:cNvCxnSpPr>
            <a:stCxn id="29" idx="3"/>
            <a:endCxn id="31" idx="1"/>
          </p:cNvCxnSpPr>
          <p:nvPr/>
        </p:nvCxnSpPr>
        <p:spPr>
          <a:xfrm>
            <a:off x="6631005" y="4538057"/>
            <a:ext cx="648072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직선 화살표 연결선 32"/>
          <p:cNvCxnSpPr>
            <a:stCxn id="36" idx="3"/>
            <a:endCxn id="22" idx="2"/>
          </p:cNvCxnSpPr>
          <p:nvPr/>
        </p:nvCxnSpPr>
        <p:spPr>
          <a:xfrm>
            <a:off x="6631458" y="3306942"/>
            <a:ext cx="1052166" cy="0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직선 화살표 연결선 33"/>
          <p:cNvCxnSpPr>
            <a:stCxn id="31" idx="0"/>
            <a:endCxn id="22" idx="4"/>
          </p:cNvCxnSpPr>
          <p:nvPr/>
        </p:nvCxnSpPr>
        <p:spPr>
          <a:xfrm flipV="1">
            <a:off x="7935624" y="3558942"/>
            <a:ext cx="0" cy="727115"/>
          </a:xfrm>
          <a:prstGeom prst="straightConnector1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직사각형 34"/>
          <p:cNvSpPr/>
          <p:nvPr/>
        </p:nvSpPr>
        <p:spPr>
          <a:xfrm>
            <a:off x="3136799" y="3072942"/>
            <a:ext cx="1313094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Due Diligence</a:t>
            </a:r>
            <a:endParaRPr lang="ko-KR" altLang="en-US" sz="14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317458" y="3072942"/>
            <a:ext cx="1314000" cy="4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dirty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Verification</a:t>
            </a:r>
            <a:endParaRPr lang="ko-KR" altLang="en-US" sz="14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7" name="직선 화살표 연결선 36"/>
          <p:cNvCxnSpPr>
            <a:stCxn id="29" idx="0"/>
            <a:endCxn id="36" idx="2"/>
          </p:cNvCxnSpPr>
          <p:nvPr/>
        </p:nvCxnSpPr>
        <p:spPr>
          <a:xfrm flipV="1">
            <a:off x="5974005" y="3540942"/>
            <a:ext cx="453" cy="691115"/>
          </a:xfrm>
          <a:prstGeom prst="straightConnector1">
            <a:avLst/>
          </a:prstGeom>
          <a:ln w="3175" cap="sq">
            <a:solidFill>
              <a:srgbClr val="FD64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4" name="그룹 3"/>
          <p:cNvGrpSpPr/>
          <p:nvPr/>
        </p:nvGrpSpPr>
        <p:grpSpPr>
          <a:xfrm>
            <a:off x="1596806" y="3054942"/>
            <a:ext cx="865558" cy="744999"/>
            <a:chOff x="1596806" y="3054942"/>
            <a:chExt cx="865558" cy="744999"/>
          </a:xfrm>
        </p:grpSpPr>
        <p:grpSp>
          <p:nvGrpSpPr>
            <p:cNvPr id="47" name="그룹 46"/>
            <p:cNvGrpSpPr/>
            <p:nvPr/>
          </p:nvGrpSpPr>
          <p:grpSpPr>
            <a:xfrm>
              <a:off x="1777584" y="3054942"/>
              <a:ext cx="504000" cy="504000"/>
              <a:chOff x="2671920" y="2708920"/>
              <a:chExt cx="504000" cy="504000"/>
            </a:xfrm>
          </p:grpSpPr>
          <p:sp>
            <p:nvSpPr>
              <p:cNvPr id="48" name="순서도: 연결자 47"/>
              <p:cNvSpPr/>
              <p:nvPr/>
            </p:nvSpPr>
            <p:spPr>
              <a:xfrm>
                <a:off x="2671920" y="2708920"/>
                <a:ext cx="504000" cy="504000"/>
              </a:xfrm>
              <a:prstGeom prst="flowChartConnector">
                <a:avLst/>
              </a:prstGeom>
              <a:solidFill>
                <a:srgbClr val="AA2417"/>
              </a:solidFill>
              <a:ln w="3175">
                <a:solidFill>
                  <a:srgbClr val="AA2417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ko-KR" altLang="en-US" sz="9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Freeform 42"/>
              <p:cNvSpPr>
                <a:spLocks noChangeAspect="1" noEditPoints="1"/>
              </p:cNvSpPr>
              <p:nvPr/>
            </p:nvSpPr>
            <p:spPr bwMode="auto">
              <a:xfrm>
                <a:off x="2766451" y="2834861"/>
                <a:ext cx="296939" cy="252119"/>
              </a:xfrm>
              <a:custGeom>
                <a:avLst/>
                <a:gdLst>
                  <a:gd name="T0" fmla="*/ 201 w 210"/>
                  <a:gd name="T1" fmla="*/ 150 h 178"/>
                  <a:gd name="T2" fmla="*/ 105 w 210"/>
                  <a:gd name="T3" fmla="*/ 112 h 178"/>
                  <a:gd name="T4" fmla="*/ 9 w 210"/>
                  <a:gd name="T5" fmla="*/ 150 h 178"/>
                  <a:gd name="T6" fmla="*/ 23 w 210"/>
                  <a:gd name="T7" fmla="*/ 178 h 178"/>
                  <a:gd name="T8" fmla="*/ 187 w 210"/>
                  <a:gd name="T9" fmla="*/ 178 h 178"/>
                  <a:gd name="T10" fmla="*/ 201 w 210"/>
                  <a:gd name="T11" fmla="*/ 150 h 178"/>
                  <a:gd name="T12" fmla="*/ 105 w 210"/>
                  <a:gd name="T13" fmla="*/ 81 h 178"/>
                  <a:gd name="T14" fmla="*/ 146 w 210"/>
                  <a:gd name="T15" fmla="*/ 40 h 178"/>
                  <a:gd name="T16" fmla="*/ 105 w 210"/>
                  <a:gd name="T17" fmla="*/ 0 h 178"/>
                  <a:gd name="T18" fmla="*/ 64 w 210"/>
                  <a:gd name="T19" fmla="*/ 40 h 178"/>
                  <a:gd name="T20" fmla="*/ 105 w 210"/>
                  <a:gd name="T21" fmla="*/ 81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0" h="178">
                    <a:moveTo>
                      <a:pt x="201" y="150"/>
                    </a:moveTo>
                    <a:cubicBezTo>
                      <a:pt x="184" y="127"/>
                      <a:pt x="148" y="112"/>
                      <a:pt x="105" y="112"/>
                    </a:cubicBezTo>
                    <a:cubicBezTo>
                      <a:pt x="62" y="112"/>
                      <a:pt x="26" y="127"/>
                      <a:pt x="9" y="150"/>
                    </a:cubicBezTo>
                    <a:cubicBezTo>
                      <a:pt x="0" y="161"/>
                      <a:pt x="8" y="178"/>
                      <a:pt x="23" y="178"/>
                    </a:cubicBezTo>
                    <a:cubicBezTo>
                      <a:pt x="187" y="178"/>
                      <a:pt x="187" y="178"/>
                      <a:pt x="187" y="178"/>
                    </a:cubicBezTo>
                    <a:cubicBezTo>
                      <a:pt x="202" y="178"/>
                      <a:pt x="210" y="161"/>
                      <a:pt x="201" y="150"/>
                    </a:cubicBezTo>
                    <a:close/>
                    <a:moveTo>
                      <a:pt x="105" y="81"/>
                    </a:moveTo>
                    <a:cubicBezTo>
                      <a:pt x="127" y="81"/>
                      <a:pt x="146" y="63"/>
                      <a:pt x="146" y="40"/>
                    </a:cubicBezTo>
                    <a:cubicBezTo>
                      <a:pt x="146" y="18"/>
                      <a:pt x="127" y="0"/>
                      <a:pt x="105" y="0"/>
                    </a:cubicBezTo>
                    <a:cubicBezTo>
                      <a:pt x="83" y="0"/>
                      <a:pt x="64" y="18"/>
                      <a:pt x="64" y="40"/>
                    </a:cubicBezTo>
                    <a:cubicBezTo>
                      <a:pt x="64" y="63"/>
                      <a:pt x="83" y="81"/>
                      <a:pt x="105" y="8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3530" tIns="31766" rIns="63530" bIns="3176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5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0" name="직사각형 49"/>
            <p:cNvSpPr/>
            <p:nvPr/>
          </p:nvSpPr>
          <p:spPr>
            <a:xfrm>
              <a:off x="1596806" y="3522942"/>
              <a:ext cx="86555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600"/>
                </a:spcAft>
                <a:buSzPct val="100000"/>
              </a:pPr>
              <a:r>
                <a:rPr lang="en-US" altLang="ko-KR" sz="1200" dirty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Customer</a:t>
              </a:r>
              <a:endParaRPr lang="ko-KR" altLang="en-US" sz="12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sp>
        <p:nvSpPr>
          <p:cNvPr id="51" name="직사각형 50"/>
          <p:cNvSpPr/>
          <p:nvPr/>
        </p:nvSpPr>
        <p:spPr>
          <a:xfrm>
            <a:off x="5964840" y="4017684"/>
            <a:ext cx="4106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en-US" altLang="ko-KR" sz="14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No</a:t>
            </a:r>
            <a:endParaRPr lang="ko-KR" altLang="en-US" sz="14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6474668" y="4544399"/>
            <a:ext cx="4752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en-US" altLang="ko-KR" sz="14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Yes</a:t>
            </a:r>
            <a:endParaRPr lang="ko-KR" altLang="en-US" sz="14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1536503" y="3877514"/>
            <a:ext cx="986168" cy="770058"/>
            <a:chOff x="1536503" y="3861048"/>
            <a:chExt cx="986168" cy="770058"/>
          </a:xfrm>
        </p:grpSpPr>
        <p:sp>
          <p:nvSpPr>
            <p:cNvPr id="57" name="순서도: 연결자 56"/>
            <p:cNvSpPr/>
            <p:nvPr/>
          </p:nvSpPr>
          <p:spPr>
            <a:xfrm>
              <a:off x="1777584" y="3861048"/>
              <a:ext cx="504000" cy="504000"/>
            </a:xfrm>
            <a:prstGeom prst="flowChartConnector">
              <a:avLst/>
            </a:prstGeom>
            <a:solidFill>
              <a:srgbClr val="AA2417"/>
            </a:solidFill>
            <a:ln w="3175">
              <a:solidFill>
                <a:srgbClr val="AA2417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ko-KR" alt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 38"/>
            <p:cNvSpPr>
              <a:spLocks noChangeAspect="1" noEditPoints="1"/>
            </p:cNvSpPr>
            <p:nvPr/>
          </p:nvSpPr>
          <p:spPr bwMode="auto">
            <a:xfrm>
              <a:off x="1879040" y="3958063"/>
              <a:ext cx="265648" cy="327200"/>
            </a:xfrm>
            <a:custGeom>
              <a:avLst/>
              <a:gdLst>
                <a:gd name="T0" fmla="*/ 149 w 162"/>
                <a:gd name="T1" fmla="*/ 200 h 200"/>
                <a:gd name="T2" fmla="*/ 13 w 162"/>
                <a:gd name="T3" fmla="*/ 200 h 200"/>
                <a:gd name="T4" fmla="*/ 0 w 162"/>
                <a:gd name="T5" fmla="*/ 186 h 200"/>
                <a:gd name="T6" fmla="*/ 0 w 162"/>
                <a:gd name="T7" fmla="*/ 13 h 200"/>
                <a:gd name="T8" fmla="*/ 13 w 162"/>
                <a:gd name="T9" fmla="*/ 0 h 200"/>
                <a:gd name="T10" fmla="*/ 149 w 162"/>
                <a:gd name="T11" fmla="*/ 0 h 200"/>
                <a:gd name="T12" fmla="*/ 162 w 162"/>
                <a:gd name="T13" fmla="*/ 13 h 200"/>
                <a:gd name="T14" fmla="*/ 162 w 162"/>
                <a:gd name="T15" fmla="*/ 186 h 200"/>
                <a:gd name="T16" fmla="*/ 149 w 162"/>
                <a:gd name="T17" fmla="*/ 200 h 200"/>
                <a:gd name="T18" fmla="*/ 25 w 162"/>
                <a:gd name="T19" fmla="*/ 100 h 200"/>
                <a:gd name="T20" fmla="*/ 137 w 162"/>
                <a:gd name="T21" fmla="*/ 100 h 200"/>
                <a:gd name="T22" fmla="*/ 137 w 162"/>
                <a:gd name="T23" fmla="*/ 75 h 200"/>
                <a:gd name="T24" fmla="*/ 25 w 162"/>
                <a:gd name="T25" fmla="*/ 75 h 200"/>
                <a:gd name="T26" fmla="*/ 25 w 162"/>
                <a:gd name="T27" fmla="*/ 100 h 200"/>
                <a:gd name="T28" fmla="*/ 25 w 162"/>
                <a:gd name="T29" fmla="*/ 150 h 200"/>
                <a:gd name="T30" fmla="*/ 137 w 162"/>
                <a:gd name="T31" fmla="*/ 150 h 200"/>
                <a:gd name="T32" fmla="*/ 137 w 162"/>
                <a:gd name="T33" fmla="*/ 125 h 200"/>
                <a:gd name="T34" fmla="*/ 25 w 162"/>
                <a:gd name="T35" fmla="*/ 125 h 200"/>
                <a:gd name="T36" fmla="*/ 25 w 162"/>
                <a:gd name="T37" fmla="*/ 150 h 200"/>
                <a:gd name="T38" fmla="*/ 25 w 162"/>
                <a:gd name="T39" fmla="*/ 50 h 200"/>
                <a:gd name="T40" fmla="*/ 75 w 162"/>
                <a:gd name="T41" fmla="*/ 50 h 200"/>
                <a:gd name="T42" fmla="*/ 75 w 162"/>
                <a:gd name="T43" fmla="*/ 25 h 200"/>
                <a:gd name="T44" fmla="*/ 25 w 162"/>
                <a:gd name="T45" fmla="*/ 25 h 200"/>
                <a:gd name="T46" fmla="*/ 25 w 162"/>
                <a:gd name="T47" fmla="*/ 5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2" h="200">
                  <a:moveTo>
                    <a:pt x="149" y="200"/>
                  </a:moveTo>
                  <a:cubicBezTo>
                    <a:pt x="13" y="200"/>
                    <a:pt x="13" y="200"/>
                    <a:pt x="13" y="200"/>
                  </a:cubicBezTo>
                  <a:cubicBezTo>
                    <a:pt x="6" y="200"/>
                    <a:pt x="0" y="194"/>
                    <a:pt x="0" y="18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7" y="0"/>
                    <a:pt x="162" y="6"/>
                    <a:pt x="162" y="13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62" y="194"/>
                    <a:pt x="157" y="200"/>
                    <a:pt x="149" y="200"/>
                  </a:cubicBezTo>
                  <a:close/>
                  <a:moveTo>
                    <a:pt x="25" y="100"/>
                  </a:moveTo>
                  <a:cubicBezTo>
                    <a:pt x="137" y="100"/>
                    <a:pt x="137" y="100"/>
                    <a:pt x="137" y="100"/>
                  </a:cubicBezTo>
                  <a:cubicBezTo>
                    <a:pt x="137" y="75"/>
                    <a:pt x="137" y="75"/>
                    <a:pt x="137" y="75"/>
                  </a:cubicBezTo>
                  <a:cubicBezTo>
                    <a:pt x="25" y="75"/>
                    <a:pt x="25" y="75"/>
                    <a:pt x="25" y="75"/>
                  </a:cubicBezTo>
                  <a:lnTo>
                    <a:pt x="25" y="100"/>
                  </a:lnTo>
                  <a:close/>
                  <a:moveTo>
                    <a:pt x="25" y="150"/>
                  </a:moveTo>
                  <a:cubicBezTo>
                    <a:pt x="137" y="150"/>
                    <a:pt x="137" y="150"/>
                    <a:pt x="137" y="150"/>
                  </a:cubicBezTo>
                  <a:cubicBezTo>
                    <a:pt x="137" y="125"/>
                    <a:pt x="137" y="125"/>
                    <a:pt x="137" y="125"/>
                  </a:cubicBezTo>
                  <a:cubicBezTo>
                    <a:pt x="25" y="125"/>
                    <a:pt x="25" y="125"/>
                    <a:pt x="25" y="125"/>
                  </a:cubicBezTo>
                  <a:lnTo>
                    <a:pt x="25" y="150"/>
                  </a:lnTo>
                  <a:close/>
                  <a:moveTo>
                    <a:pt x="25" y="50"/>
                  </a:moveTo>
                  <a:cubicBezTo>
                    <a:pt x="75" y="50"/>
                    <a:pt x="75" y="50"/>
                    <a:pt x="75" y="5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25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3530" tIns="31766" rIns="63530" bIns="31766" numCol="1" anchor="t" anchorCtr="0" compatLnSpc="1">
              <a:prstTxWarp prst="textNoShape">
                <a:avLst/>
              </a:prstTxWarp>
            </a:bodyPr>
            <a:lstStyle/>
            <a:p>
              <a:endParaRPr lang="en-US" sz="650" dirty="0"/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1536503" y="4354107"/>
              <a:ext cx="98616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600"/>
                </a:spcAft>
                <a:buSzPct val="100000"/>
              </a:pPr>
              <a:r>
                <a:rPr lang="en-US" altLang="ko-KR" sz="12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Documents</a:t>
              </a:r>
              <a:endParaRPr lang="ko-KR" altLang="en-US" sz="12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1331675" y="4725144"/>
            <a:ext cx="1395831" cy="781055"/>
            <a:chOff x="1331675" y="4725144"/>
            <a:chExt cx="1395831" cy="781055"/>
          </a:xfrm>
        </p:grpSpPr>
        <p:sp>
          <p:nvSpPr>
            <p:cNvPr id="62" name="순서도: 연결자 61"/>
            <p:cNvSpPr/>
            <p:nvPr/>
          </p:nvSpPr>
          <p:spPr>
            <a:xfrm>
              <a:off x="1777584" y="4725144"/>
              <a:ext cx="504000" cy="504000"/>
            </a:xfrm>
            <a:prstGeom prst="flowChartConnector">
              <a:avLst/>
            </a:prstGeom>
            <a:solidFill>
              <a:srgbClr val="AA2417"/>
            </a:solidFill>
            <a:ln w="3175">
              <a:solidFill>
                <a:srgbClr val="AA2417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ko-KR" alt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1331675" y="5229200"/>
              <a:ext cx="139583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600"/>
                </a:spcAft>
                <a:buSzPct val="100000"/>
              </a:pPr>
              <a:r>
                <a:rPr lang="en-US" altLang="ko-KR" sz="12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Trade Transaction</a:t>
              </a:r>
              <a:endParaRPr lang="ko-KR" altLang="en-US" sz="12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64" name="Freeform 46"/>
            <p:cNvSpPr>
              <a:spLocks noChangeAspect="1"/>
            </p:cNvSpPr>
            <p:nvPr/>
          </p:nvSpPr>
          <p:spPr bwMode="auto">
            <a:xfrm>
              <a:off x="1872115" y="4850320"/>
              <a:ext cx="272573" cy="271747"/>
            </a:xfrm>
            <a:custGeom>
              <a:avLst/>
              <a:gdLst>
                <a:gd name="T0" fmla="*/ 53 w 217"/>
                <a:gd name="T1" fmla="*/ 214 h 214"/>
                <a:gd name="T2" fmla="*/ 47 w 217"/>
                <a:gd name="T3" fmla="*/ 209 h 214"/>
                <a:gd name="T4" fmla="*/ 38 w 217"/>
                <a:gd name="T5" fmla="*/ 175 h 214"/>
                <a:gd name="T6" fmla="*/ 5 w 217"/>
                <a:gd name="T7" fmla="*/ 166 h 214"/>
                <a:gd name="T8" fmla="*/ 0 w 217"/>
                <a:gd name="T9" fmla="*/ 160 h 214"/>
                <a:gd name="T10" fmla="*/ 40 w 217"/>
                <a:gd name="T11" fmla="*/ 143 h 214"/>
                <a:gd name="T12" fmla="*/ 89 w 217"/>
                <a:gd name="T13" fmla="*/ 94 h 214"/>
                <a:gd name="T14" fmla="*/ 14 w 217"/>
                <a:gd name="T15" fmla="*/ 53 h 214"/>
                <a:gd name="T16" fmla="*/ 14 w 217"/>
                <a:gd name="T17" fmla="*/ 51 h 214"/>
                <a:gd name="T18" fmla="*/ 15 w 217"/>
                <a:gd name="T19" fmla="*/ 48 h 214"/>
                <a:gd name="T20" fmla="*/ 69 w 217"/>
                <a:gd name="T21" fmla="*/ 47 h 214"/>
                <a:gd name="T22" fmla="*/ 97 w 217"/>
                <a:gd name="T23" fmla="*/ 50 h 214"/>
                <a:gd name="T24" fmla="*/ 130 w 217"/>
                <a:gd name="T25" fmla="*/ 53 h 214"/>
                <a:gd name="T26" fmla="*/ 163 w 217"/>
                <a:gd name="T27" fmla="*/ 19 h 214"/>
                <a:gd name="T28" fmla="*/ 196 w 217"/>
                <a:gd name="T29" fmla="*/ 2 h 214"/>
                <a:gd name="T30" fmla="*/ 210 w 217"/>
                <a:gd name="T31" fmla="*/ 7 h 214"/>
                <a:gd name="T32" fmla="*/ 193 w 217"/>
                <a:gd name="T33" fmla="*/ 49 h 214"/>
                <a:gd name="T34" fmla="*/ 159 w 217"/>
                <a:gd name="T35" fmla="*/ 83 h 214"/>
                <a:gd name="T36" fmla="*/ 164 w 217"/>
                <a:gd name="T37" fmla="*/ 199 h 214"/>
                <a:gd name="T38" fmla="*/ 162 w 217"/>
                <a:gd name="T39" fmla="*/ 200 h 214"/>
                <a:gd name="T40" fmla="*/ 159 w 217"/>
                <a:gd name="T41" fmla="*/ 199 h 214"/>
                <a:gd name="T42" fmla="*/ 119 w 217"/>
                <a:gd name="T43" fmla="*/ 124 h 214"/>
                <a:gd name="T44" fmla="*/ 70 w 217"/>
                <a:gd name="T45" fmla="*/ 174 h 214"/>
                <a:gd name="T46" fmla="*/ 54 w 217"/>
                <a:gd name="T47" fmla="*/ 214 h 214"/>
                <a:gd name="T48" fmla="*/ 53 w 217"/>
                <a:gd name="T49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214">
                  <a:moveTo>
                    <a:pt x="53" y="214"/>
                  </a:moveTo>
                  <a:cubicBezTo>
                    <a:pt x="51" y="214"/>
                    <a:pt x="48" y="212"/>
                    <a:pt x="47" y="209"/>
                  </a:cubicBezTo>
                  <a:cubicBezTo>
                    <a:pt x="47" y="207"/>
                    <a:pt x="41" y="187"/>
                    <a:pt x="38" y="175"/>
                  </a:cubicBezTo>
                  <a:cubicBezTo>
                    <a:pt x="27" y="172"/>
                    <a:pt x="6" y="167"/>
                    <a:pt x="5" y="166"/>
                  </a:cubicBezTo>
                  <a:cubicBezTo>
                    <a:pt x="2" y="165"/>
                    <a:pt x="0" y="162"/>
                    <a:pt x="0" y="160"/>
                  </a:cubicBezTo>
                  <a:cubicBezTo>
                    <a:pt x="0" y="155"/>
                    <a:pt x="0" y="153"/>
                    <a:pt x="40" y="143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17" y="60"/>
                    <a:pt x="15" y="56"/>
                    <a:pt x="14" y="53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18" y="43"/>
                    <a:pt x="69" y="47"/>
                  </a:cubicBezTo>
                  <a:cubicBezTo>
                    <a:pt x="78" y="48"/>
                    <a:pt x="87" y="49"/>
                    <a:pt x="97" y="50"/>
                  </a:cubicBezTo>
                  <a:cubicBezTo>
                    <a:pt x="108" y="51"/>
                    <a:pt x="120" y="52"/>
                    <a:pt x="130" y="53"/>
                  </a:cubicBezTo>
                  <a:cubicBezTo>
                    <a:pt x="163" y="19"/>
                    <a:pt x="163" y="19"/>
                    <a:pt x="163" y="19"/>
                  </a:cubicBezTo>
                  <a:cubicBezTo>
                    <a:pt x="164" y="19"/>
                    <a:pt x="176" y="7"/>
                    <a:pt x="196" y="2"/>
                  </a:cubicBezTo>
                  <a:cubicBezTo>
                    <a:pt x="205" y="0"/>
                    <a:pt x="209" y="4"/>
                    <a:pt x="210" y="7"/>
                  </a:cubicBezTo>
                  <a:cubicBezTo>
                    <a:pt x="217" y="18"/>
                    <a:pt x="201" y="42"/>
                    <a:pt x="193" y="49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71" y="195"/>
                    <a:pt x="169" y="196"/>
                    <a:pt x="164" y="199"/>
                  </a:cubicBezTo>
                  <a:cubicBezTo>
                    <a:pt x="162" y="200"/>
                    <a:pt x="162" y="200"/>
                    <a:pt x="162" y="200"/>
                  </a:cubicBezTo>
                  <a:cubicBezTo>
                    <a:pt x="159" y="199"/>
                    <a:pt x="159" y="199"/>
                    <a:pt x="159" y="199"/>
                  </a:cubicBezTo>
                  <a:cubicBezTo>
                    <a:pt x="157" y="198"/>
                    <a:pt x="153" y="197"/>
                    <a:pt x="119" y="124"/>
                  </a:cubicBezTo>
                  <a:cubicBezTo>
                    <a:pt x="70" y="174"/>
                    <a:pt x="70" y="174"/>
                    <a:pt x="70" y="174"/>
                  </a:cubicBezTo>
                  <a:cubicBezTo>
                    <a:pt x="61" y="213"/>
                    <a:pt x="58" y="213"/>
                    <a:pt x="54" y="214"/>
                  </a:cubicBezTo>
                  <a:cubicBezTo>
                    <a:pt x="54" y="214"/>
                    <a:pt x="53" y="214"/>
                    <a:pt x="53" y="2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63530" tIns="31766" rIns="63530" bIns="31766" numCol="1" anchor="t" anchorCtr="0" compatLnSpc="1">
              <a:prstTxWarp prst="textNoShape">
                <a:avLst/>
              </a:prstTxWarp>
            </a:bodyPr>
            <a:lstStyle/>
            <a:p>
              <a:endParaRPr lang="en-US" sz="650" dirty="0"/>
            </a:p>
          </p:txBody>
        </p:sp>
      </p:grpSp>
      <p:cxnSp>
        <p:nvCxnSpPr>
          <p:cNvPr id="67" name="꺾인 연결선 66"/>
          <p:cNvCxnSpPr>
            <a:stCxn id="57" idx="6"/>
            <a:endCxn id="35" idx="1"/>
          </p:cNvCxnSpPr>
          <p:nvPr/>
        </p:nvCxnSpPr>
        <p:spPr>
          <a:xfrm flipV="1">
            <a:off x="2281584" y="3306942"/>
            <a:ext cx="855215" cy="822572"/>
          </a:xfrm>
          <a:prstGeom prst="bentConnector3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꺾인 연결선 67"/>
          <p:cNvCxnSpPr>
            <a:stCxn id="62" idx="6"/>
            <a:endCxn id="35" idx="1"/>
          </p:cNvCxnSpPr>
          <p:nvPr/>
        </p:nvCxnSpPr>
        <p:spPr>
          <a:xfrm flipV="1">
            <a:off x="2281584" y="3306942"/>
            <a:ext cx="855215" cy="1670202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8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324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76" y="836712"/>
            <a:ext cx="9433048" cy="200055"/>
          </a:xfrm>
        </p:spPr>
        <p:txBody>
          <a:bodyPr/>
          <a:lstStyle/>
          <a:p>
            <a:r>
              <a:rPr lang="en-US" altLang="ko-KR" dirty="0" smtClean="0"/>
              <a:t>2.2.3.5.3 </a:t>
            </a:r>
            <a:r>
              <a:rPr lang="ko-KR" altLang="en-US" dirty="0"/>
              <a:t>환거래 은행 무역거래 위험 평가 모델 </a:t>
            </a:r>
            <a:r>
              <a:rPr lang="en-US" altLang="ko-KR" dirty="0" smtClean="0"/>
              <a:t>Framework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7303281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거래 위험평가 모델은 고객위험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품위험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지역위험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거래상대방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거래 위험을 식별하여 위험수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계량화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안을 마련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환거래 은행 무역거래 위험 평가 모델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TRR) Framework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구성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6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6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66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353114" y="2379646"/>
            <a:ext cx="9152815" cy="262429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3800872" y="2364460"/>
            <a:ext cx="5689203" cy="4123355"/>
          </a:xfrm>
          <a:prstGeom prst="rect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69" b="0" i="0" u="none" strike="noStrike" kern="120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  <a:cs typeface="+mn-cs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353114" y="2067198"/>
            <a:ext cx="9172393" cy="269565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0" i="0" u="none" strike="noStrike" kern="0" cap="none" spc="0" normalizeH="0" baseline="0" noProof="0" dirty="0">
              <a:ln w="0"/>
              <a:solidFill>
                <a:prstClr val="white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103" name="직선 연결선 102"/>
          <p:cNvCxnSpPr/>
          <p:nvPr/>
        </p:nvCxnSpPr>
        <p:spPr>
          <a:xfrm>
            <a:off x="1789145" y="2301901"/>
            <a:ext cx="0" cy="4185914"/>
          </a:xfrm>
          <a:prstGeom prst="line">
            <a:avLst/>
          </a:prstGeom>
          <a:ln w="12700" cap="sq">
            <a:solidFill>
              <a:srgbClr val="FD641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04" name="직선 연결선 103"/>
          <p:cNvCxnSpPr/>
          <p:nvPr/>
        </p:nvCxnSpPr>
        <p:spPr>
          <a:xfrm>
            <a:off x="3729903" y="2301901"/>
            <a:ext cx="0" cy="4185914"/>
          </a:xfrm>
          <a:prstGeom prst="line">
            <a:avLst/>
          </a:prstGeom>
          <a:ln w="12700" cap="sq">
            <a:solidFill>
              <a:srgbClr val="FD641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05" name="직선 연결선 104"/>
          <p:cNvCxnSpPr/>
          <p:nvPr/>
        </p:nvCxnSpPr>
        <p:spPr>
          <a:xfrm>
            <a:off x="5670661" y="2301901"/>
            <a:ext cx="0" cy="4185914"/>
          </a:xfrm>
          <a:prstGeom prst="line">
            <a:avLst/>
          </a:prstGeom>
          <a:ln w="12700" cap="sq">
            <a:solidFill>
              <a:srgbClr val="FD641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06" name="직선 연결선 105"/>
          <p:cNvCxnSpPr/>
          <p:nvPr/>
        </p:nvCxnSpPr>
        <p:spPr>
          <a:xfrm>
            <a:off x="7610689" y="2301901"/>
            <a:ext cx="0" cy="4185914"/>
          </a:xfrm>
          <a:prstGeom prst="line">
            <a:avLst/>
          </a:prstGeom>
          <a:ln w="12700" cap="sq">
            <a:solidFill>
              <a:srgbClr val="FD641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7" name="직사각형 106"/>
          <p:cNvSpPr/>
          <p:nvPr/>
        </p:nvSpPr>
        <p:spPr>
          <a:xfrm>
            <a:off x="7762222" y="5049179"/>
            <a:ext cx="1672752" cy="135717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10" name="직사각형 109"/>
          <p:cNvSpPr/>
          <p:nvPr/>
        </p:nvSpPr>
        <p:spPr>
          <a:xfrm>
            <a:off x="5791162" y="5049179"/>
            <a:ext cx="1755127" cy="135717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3874357" y="5049179"/>
            <a:ext cx="1728000" cy="135717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1930425" y="5049179"/>
            <a:ext cx="1728000" cy="135717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415926" y="5049179"/>
            <a:ext cx="1298568" cy="135717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16" name="내용 개체 틀 1"/>
          <p:cNvSpPr txBox="1">
            <a:spLocks/>
          </p:cNvSpPr>
          <p:nvPr/>
        </p:nvSpPr>
        <p:spPr>
          <a:xfrm>
            <a:off x="415925" y="2110081"/>
            <a:ext cx="1304575" cy="209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 sz="1200" b="1" kern="1200" spc="-3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•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-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›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1451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89314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7177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45040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isk Rating</a:t>
            </a:r>
            <a:r>
              <a:rPr kumimoji="0" lang="ko-KR" altLang="en-US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Model</a:t>
            </a:r>
            <a:endParaRPr kumimoji="0" lang="en-US" altLang="ko-KR" sz="12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452500" y="2484323"/>
            <a:ext cx="1226708" cy="79353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AML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Customer</a:t>
            </a:r>
            <a:br>
              <a:rPr kumimoji="0" lang="en-US" altLang="ko-KR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</a:br>
            <a:r>
              <a:rPr kumimoji="0" lang="en-US" altLang="ko-KR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Risk Rating Model</a:t>
            </a:r>
          </a:p>
        </p:txBody>
      </p:sp>
      <p:sp>
        <p:nvSpPr>
          <p:cNvPr id="118" name="직사각형 117"/>
          <p:cNvSpPr/>
          <p:nvPr/>
        </p:nvSpPr>
        <p:spPr>
          <a:xfrm>
            <a:off x="1930737" y="2484322"/>
            <a:ext cx="1728000" cy="7935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t"/>
          <a:lstStyle/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Customer risk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Product risk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Geographic risk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Behavior risk</a:t>
            </a:r>
          </a:p>
        </p:txBody>
      </p:sp>
      <p:sp>
        <p:nvSpPr>
          <p:cNvPr id="119" name="내용 개체 틀 1"/>
          <p:cNvSpPr txBox="1">
            <a:spLocks/>
          </p:cNvSpPr>
          <p:nvPr/>
        </p:nvSpPr>
        <p:spPr>
          <a:xfrm>
            <a:off x="2111045" y="2110081"/>
            <a:ext cx="1367385" cy="209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 sz="1200" b="1" kern="1200" spc="-3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•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-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›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1451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89314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7177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45040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isk Category </a:t>
            </a:r>
            <a:r>
              <a:rPr kumimoji="0" lang="ko-KR" altLang="en-US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의</a:t>
            </a:r>
            <a:endParaRPr kumimoji="0" lang="en-US" altLang="ko-KR" sz="12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20" name="직선 화살표 연결선 119"/>
          <p:cNvCxnSpPr/>
          <p:nvPr/>
        </p:nvCxnSpPr>
        <p:spPr>
          <a:xfrm>
            <a:off x="1679208" y="2881090"/>
            <a:ext cx="251529" cy="0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21" name="직선 화살표 연결선 120"/>
          <p:cNvCxnSpPr/>
          <p:nvPr/>
        </p:nvCxnSpPr>
        <p:spPr>
          <a:xfrm>
            <a:off x="1679208" y="4166002"/>
            <a:ext cx="251529" cy="1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22" name="내용 개체 틀 1"/>
          <p:cNvSpPr txBox="1">
            <a:spLocks/>
          </p:cNvSpPr>
          <p:nvPr/>
        </p:nvSpPr>
        <p:spPr>
          <a:xfrm>
            <a:off x="4150175" y="2110081"/>
            <a:ext cx="1139681" cy="209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 sz="1200" b="1" kern="1200" spc="-3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•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-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›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1451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89314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7177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45040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isk Factor </a:t>
            </a:r>
            <a:r>
              <a:rPr kumimoji="0" lang="ko-KR" altLang="en-US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의</a:t>
            </a:r>
            <a:endParaRPr kumimoji="0" lang="en-US" altLang="ko-KR" sz="12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3" name="직사각형 122"/>
          <p:cNvSpPr/>
          <p:nvPr/>
        </p:nvSpPr>
        <p:spPr>
          <a:xfrm>
            <a:off x="5817787" y="2477434"/>
            <a:ext cx="1728000" cy="81566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CRR </a:t>
            </a:r>
            <a:r>
              <a:rPr kumimoji="0" lang="ko-KR" altLang="en-US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험 등급 가중치 적용</a:t>
            </a:r>
            <a:endParaRPr kumimoji="0" lang="en-US" altLang="ko-KR" sz="10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예시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)</a:t>
            </a:r>
            <a:b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</a:b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고객위험등급 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x 35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저위험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 = 25%,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중위험 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= 50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고위험 고객 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= 100%</a:t>
            </a:r>
          </a:p>
        </p:txBody>
      </p:sp>
      <p:sp>
        <p:nvSpPr>
          <p:cNvPr id="124" name="내용 개체 틀 1"/>
          <p:cNvSpPr txBox="1">
            <a:spLocks/>
          </p:cNvSpPr>
          <p:nvPr/>
        </p:nvSpPr>
        <p:spPr>
          <a:xfrm>
            <a:off x="6031279" y="2110081"/>
            <a:ext cx="1301016" cy="209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 sz="1200" b="1" kern="1200" spc="-3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•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-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›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1451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89314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7177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45040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isk Weight </a:t>
            </a:r>
            <a:r>
              <a:rPr kumimoji="0" lang="ko-KR" altLang="en-US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산출</a:t>
            </a:r>
            <a:endParaRPr kumimoji="0" lang="en-US" altLang="ko-KR" sz="12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25" name="꺾인 연결선 124"/>
          <p:cNvCxnSpPr>
            <a:stCxn id="123" idx="3"/>
            <a:endCxn id="140" idx="1"/>
          </p:cNvCxnSpPr>
          <p:nvPr/>
        </p:nvCxnSpPr>
        <p:spPr>
          <a:xfrm>
            <a:off x="7545787" y="2885266"/>
            <a:ext cx="215525" cy="822727"/>
          </a:xfrm>
          <a:prstGeom prst="bentConnector3">
            <a:avLst>
              <a:gd name="adj1" fmla="val 50000"/>
            </a:avLst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26" name="꺾인 연결선 125"/>
          <p:cNvCxnSpPr>
            <a:stCxn id="141" idx="3"/>
            <a:endCxn id="140" idx="1"/>
          </p:cNvCxnSpPr>
          <p:nvPr/>
        </p:nvCxnSpPr>
        <p:spPr>
          <a:xfrm flipV="1">
            <a:off x="7545787" y="3707993"/>
            <a:ext cx="215525" cy="476096"/>
          </a:xfrm>
          <a:prstGeom prst="bentConnector3">
            <a:avLst>
              <a:gd name="adj1" fmla="val 50000"/>
            </a:avLst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27" name="갈매기형 수장 126"/>
          <p:cNvSpPr/>
          <p:nvPr/>
        </p:nvSpPr>
        <p:spPr>
          <a:xfrm>
            <a:off x="3729903" y="2103202"/>
            <a:ext cx="72008" cy="216024"/>
          </a:xfrm>
          <a:prstGeom prst="chevron">
            <a:avLst/>
          </a:prstGeom>
          <a:solidFill>
            <a:srgbClr val="F8F8F8"/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8" name="갈매기형 수장 127"/>
          <p:cNvSpPr/>
          <p:nvPr/>
        </p:nvSpPr>
        <p:spPr>
          <a:xfrm>
            <a:off x="1789145" y="2103202"/>
            <a:ext cx="72008" cy="216024"/>
          </a:xfrm>
          <a:prstGeom prst="chevron">
            <a:avLst/>
          </a:prstGeom>
          <a:solidFill>
            <a:srgbClr val="F8F8F8"/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9" name="갈매기형 수장 128"/>
          <p:cNvSpPr/>
          <p:nvPr/>
        </p:nvSpPr>
        <p:spPr>
          <a:xfrm>
            <a:off x="5670661" y="2103202"/>
            <a:ext cx="72008" cy="216024"/>
          </a:xfrm>
          <a:prstGeom prst="chevron">
            <a:avLst/>
          </a:prstGeom>
          <a:solidFill>
            <a:srgbClr val="F8F8F8"/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0" name="갈매기형 수장 129"/>
          <p:cNvSpPr/>
          <p:nvPr/>
        </p:nvSpPr>
        <p:spPr>
          <a:xfrm>
            <a:off x="7610689" y="2103202"/>
            <a:ext cx="72008" cy="216024"/>
          </a:xfrm>
          <a:prstGeom prst="chevron">
            <a:avLst/>
          </a:prstGeom>
          <a:solidFill>
            <a:srgbClr val="F8F8F8"/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458759" y="5110377"/>
            <a:ext cx="1220449" cy="123494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36000" tIns="0" rIns="0" bIns="0" rtlCol="0" anchor="t"/>
          <a:lstStyle/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평가 대상을 선정하고</a:t>
            </a: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정의</a:t>
            </a:r>
            <a:endParaRPr kumimoji="0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법령 및 관련 규정 등에서 요구하는 위험 식별 대상</a:t>
            </a:r>
            <a:endParaRPr kumimoji="0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정량적 위험평가 모델 구성</a:t>
            </a:r>
            <a:endParaRPr kumimoji="0" lang="en-US" altLang="ko-KR" sz="1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1929799" y="5110377"/>
            <a:ext cx="1728910" cy="105492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36000" tIns="0" rIns="0" bIns="0" rtlCol="0" anchor="t"/>
          <a:lstStyle/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평가 대상을 구성하는 주요 위험 영역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을 식별하는 위험요인의 상위 그룹으로 식별된 위험을 그룹으로 묶어 위험 영역으로 구성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3874015" y="5110377"/>
            <a:ext cx="1728910" cy="105492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36000" tIns="0" rIns="0" bIns="0" rtlCol="0" anchor="t"/>
          <a:lstStyle/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영역 별로 위험을 식별하기 위한 위험요인을 정의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요인은 정량화된 데이터에 기초하여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TBML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관련 위험을 산출하는 단위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5811314" y="5110377"/>
            <a:ext cx="1728910" cy="1234947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36000" tIns="0" rIns="0" bIns="0" rtlCol="0" anchor="t"/>
          <a:lstStyle/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요인의 상대적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절대적 가중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중요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를 정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요인의 산출 결과에 가중치를 적용하여 위험점수 산출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특정된 위험 또는 상당한 주의가 필요한 요인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(wildcard factor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를 정의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7774338" y="5110377"/>
            <a:ext cx="1660607" cy="910911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36000" tIns="0" rIns="0" bIns="0" rtlCol="0" anchor="t"/>
          <a:lstStyle/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Risk Score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를 위험등급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고위험</a:t>
            </a: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중위험</a:t>
            </a: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저위험</a:t>
            </a:r>
            <a:r>
              <a:rPr kumimoji="0" lang="en-US" altLang="ko-KR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) </a:t>
            </a:r>
            <a:r>
              <a:rPr kumimoji="0" lang="ko-KR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으로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구성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85725" marR="0" lvl="0" indent="-857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위험 등급을 구성하는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Threshold value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를 정의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38" name="내용 개체 틀 1"/>
          <p:cNvSpPr txBox="1">
            <a:spLocks/>
          </p:cNvSpPr>
          <p:nvPr/>
        </p:nvSpPr>
        <p:spPr>
          <a:xfrm>
            <a:off x="8170376" y="2110081"/>
            <a:ext cx="855504" cy="209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 sz="1200" b="1" kern="1200" spc="-3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44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•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-"/>
              <a:tabLst/>
              <a:defRPr sz="12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marR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eorgia" pitchFamily="18" charset="0"/>
              <a:buChar char="›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1451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89314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67177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–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45040" indent="-177863" algn="l" defTabSz="666985" rtl="0" eaLnBrk="1" latinLnBrk="1" hangingPunct="1">
              <a:lnSpc>
                <a:spcPct val="100000"/>
              </a:lnSpc>
              <a:spcBef>
                <a:spcPts val="0"/>
              </a:spcBef>
              <a:spcAft>
                <a:spcPts val="583"/>
              </a:spcAft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44000" algn="l" defTabSz="914126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3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isk Rating</a:t>
            </a:r>
            <a:endParaRPr kumimoji="0" lang="en-US" altLang="ko-KR" sz="12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7761312" y="2499562"/>
            <a:ext cx="1673633" cy="241686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Risk </a:t>
            </a:r>
            <a: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Score = </a:t>
            </a:r>
            <a:b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</a:br>
            <a:r>
              <a:rPr kumimoji="0" lang="ko-KR" altLang="en-US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∑</a:t>
            </a:r>
            <a: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(Risk Factor x Weight 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0" i="0" u="none" strike="noStrike" kern="0" cap="none" spc="0" normalizeH="0" baseline="0" noProof="0" dirty="0">
              <a:ln w="0"/>
              <a:solidFill>
                <a:prstClr val="white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Weight =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Customer Risk x 35% +</a:t>
            </a:r>
            <a:b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</a:br>
            <a: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Counterparty Risk x 35% +</a:t>
            </a:r>
            <a:b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</a:br>
            <a:r>
              <a:rPr kumimoji="0" lang="en-US" altLang="ko-KR" sz="900" b="0" i="0" u="none" strike="noStrike" kern="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Transaction Risk x 30</a:t>
            </a:r>
            <a:r>
              <a:rPr kumimoji="0" lang="en-US" altLang="ko-KR" sz="900" b="0" i="0" u="none" strike="noStrike" kern="0" cap="none" spc="0" normalizeH="0" baseline="0" noProof="0" dirty="0" smtClean="0">
                <a:ln w="0"/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%</a:t>
            </a:r>
            <a:endParaRPr kumimoji="0" lang="en-US" altLang="ko-KR" sz="900" b="0" i="0" u="none" strike="noStrike" kern="0" cap="none" spc="0" normalizeH="0" baseline="0" noProof="0" dirty="0">
              <a:ln w="0"/>
              <a:solidFill>
                <a:prstClr val="white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41" name="직사각형 140"/>
          <p:cNvSpPr/>
          <p:nvPr/>
        </p:nvSpPr>
        <p:spPr>
          <a:xfrm>
            <a:off x="5817787" y="3428089"/>
            <a:ext cx="1728000" cy="151200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0" i="0" u="none" strike="noStrike" kern="1200" cap="none" spc="-50" normalizeH="0" baseline="0" noProof="0" dirty="0" smtClean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Risk </a:t>
            </a:r>
            <a:r>
              <a:rPr kumimoji="0" lang="en-US" altLang="ko-KR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Category </a:t>
            </a:r>
            <a:r>
              <a:rPr kumimoji="0" lang="ko-KR" altLang="en-US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별 위험 가중치 적용</a:t>
            </a:r>
            <a:endParaRPr kumimoji="0" lang="en-US" altLang="ko-KR" sz="10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예시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)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Counterparty risk 35%</a:t>
            </a:r>
            <a:b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</a:b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rPr>
              <a:t>Transaction risk 30%</a:t>
            </a:r>
          </a:p>
        </p:txBody>
      </p:sp>
      <p:sp>
        <p:nvSpPr>
          <p:cNvPr id="142" name="직사각형 141"/>
          <p:cNvSpPr/>
          <p:nvPr/>
        </p:nvSpPr>
        <p:spPr>
          <a:xfrm>
            <a:off x="1930737" y="3410003"/>
            <a:ext cx="1728000" cy="1512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t"/>
          <a:lstStyle/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Customer risk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Geographic risk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Counterparty 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risk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Transaction 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risk</a:t>
            </a:r>
          </a:p>
        </p:txBody>
      </p:sp>
      <p:sp>
        <p:nvSpPr>
          <p:cNvPr id="143" name="직사각형 142"/>
          <p:cNvSpPr/>
          <p:nvPr/>
        </p:nvSpPr>
        <p:spPr>
          <a:xfrm>
            <a:off x="458759" y="3410002"/>
            <a:ext cx="1220449" cy="1512000"/>
          </a:xfrm>
          <a:prstGeom prst="rect">
            <a:avLst/>
          </a:prstGeom>
          <a:solidFill>
            <a:srgbClr val="D3EDFD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TBML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:</a:t>
            </a:r>
            <a:b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</a:br>
            <a:r>
              <a:rPr kumimoji="0" lang="en-US" altLang="ko-KR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Transaction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Risk Rating Model</a:t>
            </a:r>
            <a:endParaRPr kumimoji="0" lang="en-US" altLang="ko-K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144" name="직사각형 143"/>
          <p:cNvSpPr/>
          <p:nvPr/>
        </p:nvSpPr>
        <p:spPr>
          <a:xfrm>
            <a:off x="3874015" y="2477433"/>
            <a:ext cx="1692000" cy="61545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0" i="0" u="none" strike="noStrike" kern="1200" cap="none" spc="-50" normalizeH="0" baseline="0" noProof="0" dirty="0" smtClean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  <a:cs typeface="+mn-cs"/>
            </a:endParaRPr>
          </a:p>
        </p:txBody>
      </p:sp>
      <p:cxnSp>
        <p:nvCxnSpPr>
          <p:cNvPr id="146" name="직선 화살표 연결선 145"/>
          <p:cNvCxnSpPr>
            <a:stCxn id="118" idx="3"/>
          </p:cNvCxnSpPr>
          <p:nvPr/>
        </p:nvCxnSpPr>
        <p:spPr>
          <a:xfrm>
            <a:off x="3658737" y="2881090"/>
            <a:ext cx="214673" cy="0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47" name="직선 화살표 연결선 146"/>
          <p:cNvCxnSpPr>
            <a:stCxn id="123" idx="2"/>
            <a:endCxn id="141" idx="0"/>
          </p:cNvCxnSpPr>
          <p:nvPr/>
        </p:nvCxnSpPr>
        <p:spPr>
          <a:xfrm>
            <a:off x="6681787" y="3293098"/>
            <a:ext cx="0" cy="134991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48" name="직사각형 147"/>
          <p:cNvSpPr/>
          <p:nvPr/>
        </p:nvSpPr>
        <p:spPr>
          <a:xfrm>
            <a:off x="3937252" y="2724161"/>
            <a:ext cx="1612909" cy="32495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사업분야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(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업종</a:t>
            </a:r>
            <a:r>
              <a:rPr kumimoji="0" lang="en-US" altLang="ko-KR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), </a:t>
            </a:r>
            <a:r>
              <a:rPr kumimoji="0" lang="ko-KR" altLang="en-US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국적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설립 </a:t>
            </a:r>
            <a:r>
              <a:rPr kumimoji="0" lang="ko-KR" altLang="en-US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국가</a:t>
            </a:r>
            <a:r>
              <a:rPr kumimoji="0" lang="en-US" altLang="ko-KR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</a:t>
            </a:r>
            <a:endParaRPr kumimoji="0" lang="en-US" altLang="ko-KR" sz="9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고객 위험 </a:t>
            </a:r>
            <a:r>
              <a:rPr kumimoji="0" lang="ko-KR" altLang="en-US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등급</a:t>
            </a:r>
            <a:r>
              <a:rPr kumimoji="0" lang="en-US" altLang="ko-KR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거래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패턴</a:t>
            </a:r>
          </a:p>
        </p:txBody>
      </p:sp>
      <p:sp>
        <p:nvSpPr>
          <p:cNvPr id="149" name="직사각형 148"/>
          <p:cNvSpPr/>
          <p:nvPr/>
        </p:nvSpPr>
        <p:spPr>
          <a:xfrm>
            <a:off x="3926767" y="2528900"/>
            <a:ext cx="1586496" cy="1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Customer 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risk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sp>
        <p:nvSpPr>
          <p:cNvPr id="154" name="직사각형 153"/>
          <p:cNvSpPr/>
          <p:nvPr/>
        </p:nvSpPr>
        <p:spPr>
          <a:xfrm>
            <a:off x="3874015" y="3189789"/>
            <a:ext cx="1692000" cy="41161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0" i="0" u="none" strike="noStrike" kern="1200" cap="none" spc="-50" normalizeH="0" baseline="0" noProof="0" dirty="0" smtClean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  <a:cs typeface="+mn-cs"/>
            </a:endParaRPr>
          </a:p>
        </p:txBody>
      </p:sp>
      <p:sp>
        <p:nvSpPr>
          <p:cNvPr id="155" name="직사각형 154"/>
          <p:cNvSpPr/>
          <p:nvPr/>
        </p:nvSpPr>
        <p:spPr>
          <a:xfrm>
            <a:off x="3933543" y="3216765"/>
            <a:ext cx="1586496" cy="1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Geographic risk</a:t>
            </a:r>
          </a:p>
        </p:txBody>
      </p:sp>
      <p:sp>
        <p:nvSpPr>
          <p:cNvPr id="157" name="직사각형 156"/>
          <p:cNvSpPr/>
          <p:nvPr/>
        </p:nvSpPr>
        <p:spPr>
          <a:xfrm>
            <a:off x="3937252" y="3403893"/>
            <a:ext cx="1612909" cy="22036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거래 지역 또는 국가</a:t>
            </a:r>
          </a:p>
        </p:txBody>
      </p:sp>
      <p:sp>
        <p:nvSpPr>
          <p:cNvPr id="167" name="직사각형 166"/>
          <p:cNvSpPr/>
          <p:nvPr/>
        </p:nvSpPr>
        <p:spPr>
          <a:xfrm>
            <a:off x="3873410" y="3660264"/>
            <a:ext cx="1692000" cy="67906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0" i="0" u="none" strike="noStrike" kern="1200" cap="none" spc="-50" normalizeH="0" baseline="0" noProof="0" dirty="0" smtClean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  <a:cs typeface="+mn-cs"/>
            </a:endParaRPr>
          </a:p>
        </p:txBody>
      </p:sp>
      <p:sp>
        <p:nvSpPr>
          <p:cNvPr id="168" name="직사각형 167"/>
          <p:cNvSpPr/>
          <p:nvPr/>
        </p:nvSpPr>
        <p:spPr>
          <a:xfrm>
            <a:off x="3936647" y="3907938"/>
            <a:ext cx="1612909" cy="43138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Buyer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설립 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/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영업 국가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Seller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설립 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/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영업 국가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거래 상대 은행 국가</a:t>
            </a:r>
          </a:p>
        </p:txBody>
      </p:sp>
      <p:sp>
        <p:nvSpPr>
          <p:cNvPr id="169" name="직사각형 168"/>
          <p:cNvSpPr/>
          <p:nvPr/>
        </p:nvSpPr>
        <p:spPr>
          <a:xfrm>
            <a:off x="3926162" y="3691914"/>
            <a:ext cx="1586496" cy="1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Counterparty risk</a:t>
            </a:r>
          </a:p>
        </p:txBody>
      </p:sp>
      <p:cxnSp>
        <p:nvCxnSpPr>
          <p:cNvPr id="170" name="직선 화살표 연결선 169"/>
          <p:cNvCxnSpPr/>
          <p:nvPr/>
        </p:nvCxnSpPr>
        <p:spPr>
          <a:xfrm>
            <a:off x="5559542" y="4053154"/>
            <a:ext cx="251772" cy="1157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71" name="직선 화살표 연결선 170"/>
          <p:cNvCxnSpPr/>
          <p:nvPr/>
        </p:nvCxnSpPr>
        <p:spPr>
          <a:xfrm flipV="1">
            <a:off x="3656856" y="4066763"/>
            <a:ext cx="144000" cy="1157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72" name="직사각형 171"/>
          <p:cNvSpPr/>
          <p:nvPr/>
        </p:nvSpPr>
        <p:spPr>
          <a:xfrm>
            <a:off x="3866634" y="4393486"/>
            <a:ext cx="1692000" cy="54000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0" i="0" u="none" strike="noStrike" kern="1200" cap="none" spc="-50" normalizeH="0" baseline="0" noProof="0" dirty="0" smtClean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2020603020101020101" pitchFamily="18" charset="-127"/>
              <a:ea typeface="KoPub돋움체 Medium" panose="02020603020101020101" pitchFamily="18" charset="-127"/>
              <a:cs typeface="+mn-cs"/>
            </a:endParaRPr>
          </a:p>
        </p:txBody>
      </p:sp>
      <p:sp>
        <p:nvSpPr>
          <p:cNvPr id="173" name="직사각형 172"/>
          <p:cNvSpPr/>
          <p:nvPr/>
        </p:nvSpPr>
        <p:spPr>
          <a:xfrm>
            <a:off x="3926162" y="4420464"/>
            <a:ext cx="1586496" cy="1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Transaction risk</a:t>
            </a:r>
          </a:p>
        </p:txBody>
      </p:sp>
      <p:sp>
        <p:nvSpPr>
          <p:cNvPr id="174" name="직사각형 173"/>
          <p:cNvSpPr/>
          <p:nvPr/>
        </p:nvSpPr>
        <p:spPr>
          <a:xfrm>
            <a:off x="3952159" y="4621801"/>
            <a:ext cx="1612909" cy="294623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수출입 품목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원산지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선적항</a:t>
            </a:r>
            <a:r>
              <a:rPr kumimoji="0" lang="en-US" altLang="ko-KR" sz="9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Vessel </a:t>
            </a:r>
            <a:r>
              <a:rPr kumimoji="0" lang="en-US" altLang="ko-KR" sz="9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Flag</a:t>
            </a:r>
            <a:endParaRPr kumimoji="0" lang="en-US" altLang="ko-KR" sz="9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cxnSp>
        <p:nvCxnSpPr>
          <p:cNvPr id="175" name="직선 화살표 연결선 174"/>
          <p:cNvCxnSpPr>
            <a:stCxn id="144" idx="2"/>
          </p:cNvCxnSpPr>
          <p:nvPr/>
        </p:nvCxnSpPr>
        <p:spPr>
          <a:xfrm>
            <a:off x="4720015" y="3092892"/>
            <a:ext cx="0" cy="108000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76" name="직선 화살표 연결선 175"/>
          <p:cNvCxnSpPr/>
          <p:nvPr/>
        </p:nvCxnSpPr>
        <p:spPr>
          <a:xfrm>
            <a:off x="5559542" y="2881089"/>
            <a:ext cx="251772" cy="1157"/>
          </a:xfrm>
          <a:prstGeom prst="straightConnector1">
            <a:avLst/>
          </a:prstGeom>
          <a:ln w="3175" cap="sq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77" name="Rt91">
            <a:extLst>
              <a:ext uri="{FF2B5EF4-FFF2-40B4-BE49-F238E27FC236}">
                <a16:creationId xmlns:a16="http://schemas.microsoft.com/office/drawing/2014/main" id="{6E51A076-7709-4D90-B883-806242A4BD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6268" y="2211214"/>
            <a:ext cx="603350" cy="61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74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5.4 </a:t>
            </a:r>
            <a:r>
              <a:rPr lang="ko-KR" altLang="en-US" dirty="0"/>
              <a:t>환거래 은행 무역거래 위험 평가 모델 구성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6357510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거래 위험평가 모델은 정보계 시스템 데이터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데이터를 활용하여 위험을 평가 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환거래 은행 무역거래 위험 평가 모델 구성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cxnSp>
        <p:nvCxnSpPr>
          <p:cNvPr id="64" name="꺾인 연결선 63"/>
          <p:cNvCxnSpPr>
            <a:stCxn id="121" idx="2"/>
            <a:endCxn id="122" idx="2"/>
          </p:cNvCxnSpPr>
          <p:nvPr/>
        </p:nvCxnSpPr>
        <p:spPr>
          <a:xfrm rot="10800000">
            <a:off x="1928665" y="3500939"/>
            <a:ext cx="12700" cy="346500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꺾인 연결선 66"/>
          <p:cNvCxnSpPr>
            <a:stCxn id="120" idx="2"/>
            <a:endCxn id="121" idx="2"/>
          </p:cNvCxnSpPr>
          <p:nvPr/>
        </p:nvCxnSpPr>
        <p:spPr>
          <a:xfrm rot="10800000">
            <a:off x="1928665" y="3847439"/>
            <a:ext cx="12700" cy="346500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직사각형 67"/>
          <p:cNvSpPr/>
          <p:nvPr/>
        </p:nvSpPr>
        <p:spPr>
          <a:xfrm>
            <a:off x="4485096" y="2720250"/>
            <a:ext cx="1332000" cy="782990"/>
          </a:xfrm>
          <a:prstGeom prst="rect">
            <a:avLst/>
          </a:prstGeom>
          <a:solidFill>
            <a:srgbClr val="D04A02"/>
          </a:solidFill>
          <a:ln w="3175">
            <a:solidFill>
              <a:srgbClr val="93340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Customer</a:t>
            </a:r>
            <a:br>
              <a:rPr lang="en-US" altLang="ko-KR" sz="1200" b="1" dirty="0" smtClean="0">
                <a:solidFill>
                  <a:schemeClr val="bg1"/>
                </a:solidFill>
                <a:latin typeface="+mn-ea"/>
              </a:rPr>
            </a:br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Risk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3" name="원통[C] 138"/>
          <p:cNvSpPr/>
          <p:nvPr/>
        </p:nvSpPr>
        <p:spPr bwMode="ltGray">
          <a:xfrm>
            <a:off x="1928665" y="5847867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(SAR)</a:t>
            </a:r>
            <a:br>
              <a:rPr lang="en-US" altLang="ko-KR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고 이력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4" name="원통[C] 138"/>
          <p:cNvSpPr/>
          <p:nvPr/>
        </p:nvSpPr>
        <p:spPr bwMode="ltGray">
          <a:xfrm>
            <a:off x="1928665" y="5501368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WLF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행 결과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5" name="원통[C] 138"/>
          <p:cNvSpPr/>
          <p:nvPr/>
        </p:nvSpPr>
        <p:spPr bwMode="ltGray">
          <a:xfrm>
            <a:off x="1928665" y="5154868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ML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 위험 등급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4485096" y="3609498"/>
            <a:ext cx="1332000" cy="782990"/>
          </a:xfrm>
          <a:prstGeom prst="rect">
            <a:avLst/>
          </a:prstGeom>
          <a:solidFill>
            <a:srgbClr val="D04A02"/>
          </a:solidFill>
          <a:ln w="3175">
            <a:solidFill>
              <a:srgbClr val="93340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Counter parties</a:t>
            </a:r>
            <a:br>
              <a:rPr lang="en-US" altLang="ko-KR" sz="1200" b="1" dirty="0" smtClean="0">
                <a:solidFill>
                  <a:schemeClr val="bg1"/>
                </a:solidFill>
                <a:latin typeface="+mn-ea"/>
              </a:rPr>
            </a:br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Risk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4485096" y="4482086"/>
            <a:ext cx="1332000" cy="782990"/>
          </a:xfrm>
          <a:prstGeom prst="rect">
            <a:avLst/>
          </a:prstGeom>
          <a:solidFill>
            <a:srgbClr val="D04A02"/>
          </a:solidFill>
          <a:ln w="3175">
            <a:solidFill>
              <a:srgbClr val="93340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Transaction</a:t>
            </a:r>
            <a:br>
              <a:rPr lang="en-US" altLang="ko-KR" sz="1200" b="1" dirty="0" smtClean="0">
                <a:solidFill>
                  <a:schemeClr val="bg1"/>
                </a:solidFill>
                <a:latin typeface="+mn-ea"/>
              </a:rPr>
            </a:br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Risk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8" name="직사각형 117"/>
          <p:cNvSpPr/>
          <p:nvPr/>
        </p:nvSpPr>
        <p:spPr>
          <a:xfrm>
            <a:off x="4478843" y="5470222"/>
            <a:ext cx="1332000" cy="782990"/>
          </a:xfrm>
          <a:prstGeom prst="rect">
            <a:avLst/>
          </a:prstGeom>
          <a:solidFill>
            <a:srgbClr val="933401"/>
          </a:solidFill>
          <a:ln w="3175">
            <a:solidFill>
              <a:srgbClr val="93340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b="1" dirty="0">
                <a:solidFill>
                  <a:schemeClr val="bg1"/>
                </a:solidFill>
                <a:latin typeface="+mn-ea"/>
              </a:rPr>
              <a:t>특정 고위험</a:t>
            </a:r>
          </a:p>
        </p:txBody>
      </p:sp>
      <p:sp>
        <p:nvSpPr>
          <p:cNvPr id="119" name="원통[C] 138"/>
          <p:cNvSpPr/>
          <p:nvPr/>
        </p:nvSpPr>
        <p:spPr bwMode="ltGray">
          <a:xfrm>
            <a:off x="1928665" y="4337766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중 용도 물품</a:t>
            </a:r>
            <a:r>
              <a:rPr lang="en-US" altLang="ko-KR" sz="11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1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SCODE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0" name="원통[C] 138"/>
          <p:cNvSpPr/>
          <p:nvPr/>
        </p:nvSpPr>
        <p:spPr bwMode="ltGray">
          <a:xfrm>
            <a:off x="1928665" y="3991266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선사 정보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1" name="원통[C] 138"/>
          <p:cNvSpPr/>
          <p:nvPr/>
        </p:nvSpPr>
        <p:spPr bwMode="ltGray">
          <a:xfrm>
            <a:off x="1928665" y="3644766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선박 정보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2" name="원통[C] 138"/>
          <p:cNvSpPr/>
          <p:nvPr/>
        </p:nvSpPr>
        <p:spPr bwMode="ltGray">
          <a:xfrm>
            <a:off x="1928665" y="3298266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외 금융회사 정보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3" name="원통[C] 138"/>
          <p:cNvSpPr/>
          <p:nvPr/>
        </p:nvSpPr>
        <p:spPr bwMode="ltGray">
          <a:xfrm>
            <a:off x="1928665" y="2951766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무역 거래 내역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18713" y="2605266"/>
            <a:ext cx="1071165" cy="2145074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정보계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시스템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518713" y="4808368"/>
            <a:ext cx="1071165" cy="1444845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ko-KR" dirty="0"/>
              <a:t>AML</a:t>
            </a:r>
            <a:br>
              <a:rPr lang="en-US" altLang="ko-KR" dirty="0"/>
            </a:br>
            <a:r>
              <a:rPr lang="ko-KR" altLang="en-US" dirty="0"/>
              <a:t>시스템</a:t>
            </a:r>
          </a:p>
        </p:txBody>
      </p:sp>
      <p:sp>
        <p:nvSpPr>
          <p:cNvPr id="126" name="원통[C] 138"/>
          <p:cNvSpPr/>
          <p:nvPr/>
        </p:nvSpPr>
        <p:spPr bwMode="ltGray">
          <a:xfrm>
            <a:off x="1928665" y="2605266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 </a:t>
            </a:r>
            <a:r>
              <a:rPr lang="en-US" altLang="ko-KR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IF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27" name="직선 화살표 연결선 126"/>
          <p:cNvCxnSpPr>
            <a:stCxn id="126" idx="4"/>
            <a:endCxn id="68" idx="1"/>
          </p:cNvCxnSpPr>
          <p:nvPr/>
        </p:nvCxnSpPr>
        <p:spPr>
          <a:xfrm>
            <a:off x="3260665" y="2807939"/>
            <a:ext cx="1224431" cy="303806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28" name="원통[C] 138"/>
          <p:cNvSpPr/>
          <p:nvPr/>
        </p:nvSpPr>
        <p:spPr bwMode="ltGray">
          <a:xfrm>
            <a:off x="1928665" y="4808368"/>
            <a:ext cx="1332000" cy="405345"/>
          </a:xfrm>
          <a:prstGeom prst="can">
            <a:avLst/>
          </a:prstGeom>
          <a:solidFill>
            <a:srgbClr val="DEDED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36000" rIns="0" bIns="0" rtlCol="0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YC </a:t>
            </a:r>
            <a:r>
              <a:rPr lang="ko-KR" altLang="en-US" sz="1100" dirty="0" smtClean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장</a:t>
            </a:r>
            <a:endParaRPr lang="ko-KR" altLang="en-US" sz="11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29" name="직선 화살표 연결선 128"/>
          <p:cNvCxnSpPr>
            <a:stCxn id="123" idx="4"/>
            <a:endCxn id="117" idx="1"/>
          </p:cNvCxnSpPr>
          <p:nvPr/>
        </p:nvCxnSpPr>
        <p:spPr>
          <a:xfrm>
            <a:off x="3260665" y="3154439"/>
            <a:ext cx="1224431" cy="1719142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0" name="직선 화살표 연결선 129"/>
          <p:cNvCxnSpPr>
            <a:stCxn id="122" idx="4"/>
            <a:endCxn id="116" idx="1"/>
          </p:cNvCxnSpPr>
          <p:nvPr/>
        </p:nvCxnSpPr>
        <p:spPr>
          <a:xfrm>
            <a:off x="3260665" y="3500939"/>
            <a:ext cx="1224431" cy="500054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1" name="직선 화살표 연결선 130"/>
          <p:cNvCxnSpPr>
            <a:stCxn id="121" idx="4"/>
            <a:endCxn id="117" idx="1"/>
          </p:cNvCxnSpPr>
          <p:nvPr/>
        </p:nvCxnSpPr>
        <p:spPr>
          <a:xfrm>
            <a:off x="3260665" y="3847439"/>
            <a:ext cx="1224431" cy="1026142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2" name="직선 화살표 연결선 131"/>
          <p:cNvCxnSpPr>
            <a:stCxn id="120" idx="4"/>
            <a:endCxn id="117" idx="1"/>
          </p:cNvCxnSpPr>
          <p:nvPr/>
        </p:nvCxnSpPr>
        <p:spPr>
          <a:xfrm>
            <a:off x="3260665" y="4193939"/>
            <a:ext cx="1224431" cy="679642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3" name="직선 화살표 연결선 132"/>
          <p:cNvCxnSpPr>
            <a:stCxn id="119" idx="4"/>
            <a:endCxn id="117" idx="1"/>
          </p:cNvCxnSpPr>
          <p:nvPr/>
        </p:nvCxnSpPr>
        <p:spPr>
          <a:xfrm>
            <a:off x="3260665" y="4540439"/>
            <a:ext cx="1224431" cy="333142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4" name="직선 화살표 연결선 133"/>
          <p:cNvCxnSpPr>
            <a:stCxn id="126" idx="4"/>
            <a:endCxn id="116" idx="1"/>
          </p:cNvCxnSpPr>
          <p:nvPr/>
        </p:nvCxnSpPr>
        <p:spPr>
          <a:xfrm>
            <a:off x="3260665" y="2807939"/>
            <a:ext cx="1224431" cy="1193054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5" name="직선 화살표 연결선 134"/>
          <p:cNvCxnSpPr>
            <a:stCxn id="128" idx="4"/>
            <a:endCxn id="68" idx="1"/>
          </p:cNvCxnSpPr>
          <p:nvPr/>
        </p:nvCxnSpPr>
        <p:spPr>
          <a:xfrm flipV="1">
            <a:off x="3260665" y="3111745"/>
            <a:ext cx="1224431" cy="1899296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6" name="직선 화살표 연결선 135"/>
          <p:cNvCxnSpPr>
            <a:stCxn id="115" idx="4"/>
            <a:endCxn id="68" idx="1"/>
          </p:cNvCxnSpPr>
          <p:nvPr/>
        </p:nvCxnSpPr>
        <p:spPr>
          <a:xfrm flipV="1">
            <a:off x="3260665" y="3111745"/>
            <a:ext cx="1224431" cy="2245796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7" name="직선 화살표 연결선 136"/>
          <p:cNvCxnSpPr>
            <a:stCxn id="128" idx="4"/>
            <a:endCxn id="116" idx="1"/>
          </p:cNvCxnSpPr>
          <p:nvPr/>
        </p:nvCxnSpPr>
        <p:spPr>
          <a:xfrm flipV="1">
            <a:off x="3260665" y="4000993"/>
            <a:ext cx="1224431" cy="1010048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8" name="직선 화살표 연결선 137"/>
          <p:cNvCxnSpPr>
            <a:stCxn id="114" idx="4"/>
            <a:endCxn id="118" idx="1"/>
          </p:cNvCxnSpPr>
          <p:nvPr/>
        </p:nvCxnSpPr>
        <p:spPr>
          <a:xfrm>
            <a:off x="3260665" y="5704041"/>
            <a:ext cx="1218178" cy="157676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9" name="직선 화살표 연결선 138"/>
          <p:cNvCxnSpPr>
            <a:stCxn id="113" idx="4"/>
            <a:endCxn id="118" idx="1"/>
          </p:cNvCxnSpPr>
          <p:nvPr/>
        </p:nvCxnSpPr>
        <p:spPr>
          <a:xfrm flipV="1">
            <a:off x="3260665" y="5861717"/>
            <a:ext cx="1218178" cy="188823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40" name="직선 화살표 연결선 139"/>
          <p:cNvCxnSpPr>
            <a:stCxn id="126" idx="4"/>
            <a:endCxn id="118" idx="1"/>
          </p:cNvCxnSpPr>
          <p:nvPr/>
        </p:nvCxnSpPr>
        <p:spPr>
          <a:xfrm>
            <a:off x="3260665" y="2807939"/>
            <a:ext cx="1218178" cy="3053778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41" name="꺾인 연결선 140"/>
          <p:cNvCxnSpPr>
            <a:stCxn id="126" idx="2"/>
            <a:endCxn id="114" idx="2"/>
          </p:cNvCxnSpPr>
          <p:nvPr/>
        </p:nvCxnSpPr>
        <p:spPr>
          <a:xfrm rot="10800000" flipV="1">
            <a:off x="1928665" y="2807938"/>
            <a:ext cx="12700" cy="2896102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2" name="꺾인 연결선 141"/>
          <p:cNvCxnSpPr>
            <a:stCxn id="68" idx="3"/>
            <a:endCxn id="147" idx="2"/>
          </p:cNvCxnSpPr>
          <p:nvPr/>
        </p:nvCxnSpPr>
        <p:spPr>
          <a:xfrm>
            <a:off x="5817096" y="3111745"/>
            <a:ext cx="593755" cy="889249"/>
          </a:xfrm>
          <a:prstGeom prst="bentConnector3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43" name="꺾인 연결선 142"/>
          <p:cNvCxnSpPr>
            <a:stCxn id="117" idx="3"/>
            <a:endCxn id="147" idx="2"/>
          </p:cNvCxnSpPr>
          <p:nvPr/>
        </p:nvCxnSpPr>
        <p:spPr>
          <a:xfrm flipV="1">
            <a:off x="5817096" y="4000994"/>
            <a:ext cx="593755" cy="872587"/>
          </a:xfrm>
          <a:prstGeom prst="bentConnector3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44" name="직선 화살표 연결선 143"/>
          <p:cNvCxnSpPr>
            <a:stCxn id="116" idx="3"/>
            <a:endCxn id="147" idx="2"/>
          </p:cNvCxnSpPr>
          <p:nvPr/>
        </p:nvCxnSpPr>
        <p:spPr>
          <a:xfrm>
            <a:off x="5817096" y="4000993"/>
            <a:ext cx="593755" cy="1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145" name="그룹 144"/>
          <p:cNvGrpSpPr/>
          <p:nvPr/>
        </p:nvGrpSpPr>
        <p:grpSpPr>
          <a:xfrm>
            <a:off x="6410851" y="3231284"/>
            <a:ext cx="1134437" cy="1539418"/>
            <a:chOff x="6399413" y="2539031"/>
            <a:chExt cx="1134437" cy="1698691"/>
          </a:xfrm>
        </p:grpSpPr>
        <p:pic>
          <p:nvPicPr>
            <p:cNvPr id="146" name="Picture 4" descr="Gauge with low, medium, and high; needle points to high.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6243285" y="2947158"/>
              <a:ext cx="1698691" cy="8824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7" name="순서도: 연결자 146"/>
            <p:cNvSpPr/>
            <p:nvPr/>
          </p:nvSpPr>
          <p:spPr>
            <a:xfrm>
              <a:off x="6399413" y="3136377"/>
              <a:ext cx="504000" cy="504000"/>
            </a:xfrm>
            <a:prstGeom prst="flowChartConnector">
              <a:avLst/>
            </a:prstGeom>
            <a:solidFill>
              <a:srgbClr val="FD6412"/>
            </a:solidFill>
            <a:ln w="3175">
              <a:solidFill>
                <a:srgbClr val="FD641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ko-KR" sz="1100" b="1" dirty="0" smtClean="0">
                  <a:solidFill>
                    <a:schemeClr val="bg1"/>
                  </a:solidFill>
                </a:rPr>
                <a:t>Risk</a:t>
              </a:r>
              <a:br>
                <a:rPr lang="en-US" altLang="ko-KR" sz="1100" b="1" dirty="0" smtClean="0">
                  <a:solidFill>
                    <a:schemeClr val="bg1"/>
                  </a:solidFill>
                </a:rPr>
              </a:br>
              <a:r>
                <a:rPr lang="en-US" altLang="ko-KR" sz="1100" b="1" dirty="0" smtClean="0">
                  <a:solidFill>
                    <a:schemeClr val="bg1"/>
                  </a:solidFill>
                </a:rPr>
                <a:t>Score</a:t>
              </a:r>
              <a:endParaRPr lang="ko-KR" altLang="en-US" sz="11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48" name="꺾인 연결선 147"/>
          <p:cNvCxnSpPr>
            <a:stCxn id="118" idx="3"/>
          </p:cNvCxnSpPr>
          <p:nvPr/>
        </p:nvCxnSpPr>
        <p:spPr>
          <a:xfrm flipV="1">
            <a:off x="5810843" y="4730678"/>
            <a:ext cx="1158381" cy="1131038"/>
          </a:xfrm>
          <a:prstGeom prst="bentConnector2">
            <a:avLst/>
          </a:prstGeom>
          <a:noFill/>
          <a:ln w="15875">
            <a:solidFill>
              <a:srgbClr val="969696"/>
            </a:solidFill>
            <a:round/>
            <a:headEnd type="none" w="med" len="sm"/>
            <a:tailEnd type="triangle" w="med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9" name="직사각형 148"/>
          <p:cNvSpPr/>
          <p:nvPr/>
        </p:nvSpPr>
        <p:spPr>
          <a:xfrm>
            <a:off x="4088904" y="2605266"/>
            <a:ext cx="3635959" cy="3703459"/>
          </a:xfrm>
          <a:prstGeom prst="rect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50" name="직사각형 149"/>
          <p:cNvSpPr/>
          <p:nvPr/>
        </p:nvSpPr>
        <p:spPr>
          <a:xfrm>
            <a:off x="425451" y="2132856"/>
            <a:ext cx="3591445" cy="35887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Data Source</a:t>
            </a:r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51" name="직사각형 150"/>
          <p:cNvSpPr/>
          <p:nvPr/>
        </p:nvSpPr>
        <p:spPr>
          <a:xfrm>
            <a:off x="4088904" y="2132856"/>
            <a:ext cx="3635959" cy="35887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TRR Model</a:t>
            </a:r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52" name="직사각형 151"/>
          <p:cNvSpPr/>
          <p:nvPr/>
        </p:nvSpPr>
        <p:spPr>
          <a:xfrm>
            <a:off x="8157449" y="3231283"/>
            <a:ext cx="963389" cy="999321"/>
          </a:xfrm>
          <a:prstGeom prst="rect">
            <a:avLst/>
          </a:prstGeom>
          <a:solidFill>
            <a:srgbClr val="FEB791"/>
          </a:solidFill>
          <a:ln w="3175">
            <a:solidFill>
              <a:srgbClr val="FEB79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b="1" dirty="0" smtClean="0">
                <a:solidFill>
                  <a:schemeClr val="tx1"/>
                </a:solidFill>
                <a:latin typeface="+mn-ea"/>
              </a:rPr>
              <a:t>CDD</a:t>
            </a:r>
            <a:endParaRPr lang="ko-KR" altLang="en-US" sz="11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3" name="직사각형 152"/>
          <p:cNvSpPr/>
          <p:nvPr/>
        </p:nvSpPr>
        <p:spPr>
          <a:xfrm>
            <a:off x="8157449" y="4248195"/>
            <a:ext cx="963389" cy="515756"/>
          </a:xfrm>
          <a:prstGeom prst="rect">
            <a:avLst/>
          </a:prstGeom>
          <a:solidFill>
            <a:srgbClr val="FD6412"/>
          </a:solidFill>
          <a:ln w="3175">
            <a:solidFill>
              <a:srgbClr val="FD641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b="1" dirty="0" smtClean="0">
                <a:solidFill>
                  <a:schemeClr val="bg1"/>
                </a:solidFill>
                <a:latin typeface="+mn-ea"/>
              </a:rPr>
              <a:t>EDD</a:t>
            </a:r>
            <a:endParaRPr lang="ko-KR" altLang="en-US" sz="11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54" name="직선 연결선 153"/>
          <p:cNvCxnSpPr/>
          <p:nvPr/>
        </p:nvCxnSpPr>
        <p:spPr>
          <a:xfrm>
            <a:off x="6851200" y="3231284"/>
            <a:ext cx="1332000" cy="0"/>
          </a:xfrm>
          <a:prstGeom prst="line">
            <a:avLst/>
          </a:prstGeom>
          <a:ln w="3175" cap="sq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55" name="직선 연결선 154"/>
          <p:cNvCxnSpPr/>
          <p:nvPr/>
        </p:nvCxnSpPr>
        <p:spPr>
          <a:xfrm>
            <a:off x="6851200" y="4770703"/>
            <a:ext cx="1332000" cy="0"/>
          </a:xfrm>
          <a:prstGeom prst="line">
            <a:avLst/>
          </a:prstGeom>
          <a:ln w="3175" cap="sq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56" name="직선 연결선 155"/>
          <p:cNvCxnSpPr/>
          <p:nvPr/>
        </p:nvCxnSpPr>
        <p:spPr>
          <a:xfrm>
            <a:off x="7221400" y="4239416"/>
            <a:ext cx="936000" cy="0"/>
          </a:xfrm>
          <a:prstGeom prst="line">
            <a:avLst/>
          </a:prstGeom>
          <a:ln w="3175" cap="sq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57" name="직사각형 156"/>
          <p:cNvSpPr/>
          <p:nvPr/>
        </p:nvSpPr>
        <p:spPr>
          <a:xfrm>
            <a:off x="7796872" y="2132856"/>
            <a:ext cx="1702730" cy="35887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Due Diligence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5857834" y="2728987"/>
            <a:ext cx="306174" cy="1673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200" b="1" dirty="0" smtClean="0"/>
              <a:t>35%</a:t>
            </a:r>
            <a:endParaRPr lang="ko-KR" altLang="en-US" sz="1200" b="1" dirty="0"/>
          </a:p>
        </p:txBody>
      </p:sp>
      <p:sp>
        <p:nvSpPr>
          <p:cNvPr id="159" name="TextBox 158"/>
          <p:cNvSpPr txBox="1"/>
          <p:nvPr/>
        </p:nvSpPr>
        <p:spPr>
          <a:xfrm>
            <a:off x="5857834" y="3616310"/>
            <a:ext cx="306174" cy="1673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200" b="1" dirty="0" smtClean="0"/>
              <a:t>35%</a:t>
            </a:r>
            <a:endParaRPr lang="ko-KR" altLang="en-US" sz="1200" b="1" dirty="0"/>
          </a:p>
        </p:txBody>
      </p:sp>
      <p:sp>
        <p:nvSpPr>
          <p:cNvPr id="160" name="TextBox 159"/>
          <p:cNvSpPr txBox="1"/>
          <p:nvPr/>
        </p:nvSpPr>
        <p:spPr>
          <a:xfrm>
            <a:off x="5857834" y="4483640"/>
            <a:ext cx="306174" cy="1673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200" b="1" dirty="0" smtClean="0"/>
              <a:t>30%</a:t>
            </a:r>
            <a:endParaRPr lang="ko-KR" altLang="en-US" sz="1200" b="1" dirty="0"/>
          </a:p>
        </p:txBody>
      </p:sp>
      <p:sp>
        <p:nvSpPr>
          <p:cNvPr id="161" name="TextBox 160"/>
          <p:cNvSpPr txBox="1"/>
          <p:nvPr/>
        </p:nvSpPr>
        <p:spPr>
          <a:xfrm>
            <a:off x="5857834" y="5478266"/>
            <a:ext cx="391133" cy="1673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200" b="1" dirty="0" smtClean="0"/>
              <a:t>100%</a:t>
            </a:r>
            <a:endParaRPr lang="ko-KR" altLang="en-US" sz="1200" b="1" dirty="0"/>
          </a:p>
        </p:txBody>
      </p:sp>
      <p:sp>
        <p:nvSpPr>
          <p:cNvPr id="162" name="TextBox 161"/>
          <p:cNvSpPr txBox="1"/>
          <p:nvPr/>
        </p:nvSpPr>
        <p:spPr>
          <a:xfrm>
            <a:off x="7401272" y="3335889"/>
            <a:ext cx="67646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200" b="1" dirty="0" smtClean="0">
                <a:latin typeface="+mn-ea"/>
              </a:rPr>
              <a:t>30% </a:t>
            </a:r>
            <a:r>
              <a:rPr lang="ko-KR" altLang="en-US" sz="1200" b="1" dirty="0" smtClean="0">
                <a:latin typeface="+mn-ea"/>
              </a:rPr>
              <a:t>미만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7401272" y="3895304"/>
            <a:ext cx="67646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200" b="1" dirty="0" smtClean="0">
                <a:latin typeface="+mn-ea"/>
              </a:rPr>
              <a:t>50% </a:t>
            </a:r>
            <a:r>
              <a:rPr lang="ko-KR" altLang="en-US" sz="1200" b="1" dirty="0" smtClean="0">
                <a:latin typeface="+mn-ea"/>
              </a:rPr>
              <a:t>미만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7401272" y="4518690"/>
            <a:ext cx="67646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altLang="ko-KR" sz="1200" b="1" dirty="0" smtClean="0">
                <a:latin typeface="+mn-ea"/>
              </a:rPr>
              <a:t>50% </a:t>
            </a:r>
            <a:r>
              <a:rPr lang="ko-KR" altLang="en-US" sz="1200" b="1" dirty="0" smtClean="0">
                <a:latin typeface="+mn-ea"/>
              </a:rPr>
              <a:t>이상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6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7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2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7495389" y="254872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306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5.5 </a:t>
            </a:r>
            <a:r>
              <a:rPr lang="ko-KR" altLang="en-US" dirty="0"/>
              <a:t>무역거래 </a:t>
            </a:r>
            <a:r>
              <a:rPr lang="en-US" altLang="ko-KR" dirty="0"/>
              <a:t>Sanctions Screening </a:t>
            </a:r>
            <a:r>
              <a:rPr lang="ko-KR" altLang="en-US" dirty="0"/>
              <a:t>구성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6732612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 거래 전반에 대해 상세하게 검토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anctions Screening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을 식별하여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creening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완전성을 제고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무역거래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anctions Screening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구성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83" name="직사각형 82"/>
          <p:cNvSpPr/>
          <p:nvPr/>
        </p:nvSpPr>
        <p:spPr bwMode="ltGray">
          <a:xfrm>
            <a:off x="415274" y="2204864"/>
            <a:ext cx="2762953" cy="38523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무역거래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415274" y="2747850"/>
            <a:ext cx="2762953" cy="3560588"/>
          </a:xfrm>
          <a:prstGeom prst="rect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Bank guarantee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ocumentary Collection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Financing under open account transaction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Forfaiting and Risk participation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Import/export loan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acking loan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re-shipment loan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uctured trade financing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rust receipt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Warehouse financing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Import/export invoice discounting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Letters of credit 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Financing for transactions under L/Cs</a:t>
            </a:r>
          </a:p>
          <a:p>
            <a:pPr>
              <a:lnSpc>
                <a:spcPct val="150000"/>
              </a:lnSpc>
            </a:pPr>
            <a:r>
              <a:rPr lang="en-US" altLang="ko-KR" sz="1100" spc="-100" dirty="0" smtClean="0"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</a:t>
            </a:r>
            <a:endParaRPr lang="en-US" altLang="ko-KR" sz="1100" spc="-100" dirty="0"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9" name="오른쪽 화살표 68"/>
          <p:cNvSpPr/>
          <p:nvPr/>
        </p:nvSpPr>
        <p:spPr>
          <a:xfrm>
            <a:off x="6140592" y="5077376"/>
            <a:ext cx="413061" cy="797412"/>
          </a:xfrm>
          <a:prstGeom prst="rightArrow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3325562" y="3140968"/>
            <a:ext cx="2699397" cy="1235805"/>
          </a:xfrm>
          <a:prstGeom prst="rect">
            <a:avLst/>
          </a:prstGeom>
          <a:noFill/>
          <a:ln w="3175">
            <a:solidFill>
              <a:srgbClr val="4472C4"/>
            </a:solidFill>
          </a:ln>
          <a:effectLst/>
        </p:spPr>
        <p:txBody>
          <a:bodyPr tIns="108000" rtlCol="0" anchor="t"/>
          <a:lstStyle/>
          <a:p>
            <a:pPr marL="171450" marR="0" lvl="0" indent="-171450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 상대방 </a:t>
            </a:r>
            <a:endParaRPr kumimoji="0" lang="en-US" altLang="ko-KR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171450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기관</a:t>
            </a:r>
            <a:endParaRPr kumimoji="0" lang="en-US" altLang="ko-KR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171450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 국가 및 주소지</a:t>
            </a:r>
            <a:endParaRPr kumimoji="0" lang="en-US" altLang="ko-KR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171450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 품목명</a:t>
            </a:r>
            <a:endParaRPr kumimoji="0" lang="en-US" altLang="ko-KR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171450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1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..</a:t>
            </a:r>
          </a:p>
        </p:txBody>
      </p:sp>
      <p:sp>
        <p:nvSpPr>
          <p:cNvPr id="82" name="직사각형 81"/>
          <p:cNvSpPr/>
          <p:nvPr/>
        </p:nvSpPr>
        <p:spPr>
          <a:xfrm>
            <a:off x="3325562" y="2747850"/>
            <a:ext cx="2699397" cy="360000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WIFT Message</a:t>
            </a:r>
            <a:endParaRPr lang="ko-KR" altLang="en-US" sz="120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3325562" y="4941168"/>
            <a:ext cx="2699397" cy="1367270"/>
          </a:xfrm>
          <a:prstGeom prst="rect">
            <a:avLst/>
          </a:prstGeom>
          <a:noFill/>
          <a:ln w="3175">
            <a:solidFill>
              <a:srgbClr val="4472C4"/>
            </a:solidFill>
          </a:ln>
          <a:effectLst/>
        </p:spPr>
        <p:txBody>
          <a:bodyPr tIns="108000" rtlCol="0" anchor="t"/>
          <a:lstStyle/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상대방 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기관명 </a:t>
            </a:r>
            <a:r>
              <a:rPr lang="en-US" altLang="ko-KR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소</a:t>
            </a:r>
            <a:r>
              <a:rPr lang="en-US" altLang="ko-KR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국가 및 주소지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altLang="ko-KR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S Code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거래 품목명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 품목의 생산지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altLang="ko-KR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.</a:t>
            </a: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3325562" y="4554022"/>
            <a:ext cx="2699397" cy="360000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출입 계약 </a:t>
            </a:r>
            <a:r>
              <a:rPr lang="en-US" altLang="ko-KR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 </a:t>
            </a:r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출입 서류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6523769" y="3140968"/>
            <a:ext cx="2699397" cy="1235805"/>
          </a:xfrm>
          <a:prstGeom prst="rect">
            <a:avLst/>
          </a:prstGeom>
          <a:noFill/>
          <a:ln w="3175">
            <a:solidFill>
              <a:srgbClr val="4472C4"/>
            </a:solidFill>
          </a:ln>
          <a:effectLst/>
        </p:spPr>
        <p:txBody>
          <a:bodyPr tIns="108000" rtlCol="0" anchor="t"/>
          <a:lstStyle/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의 선사 명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용 선박 명 및 선박 </a:t>
            </a:r>
            <a:r>
              <a:rPr lang="en-US" altLang="ko-KR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Flag</a:t>
            </a: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선적항</a:t>
            </a:r>
            <a:r>
              <a:rPr lang="en-US" altLang="ko-KR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역항 정보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상대방의 실제 소유자</a:t>
            </a:r>
            <a:endParaRPr lang="en-US" altLang="ko-KR" sz="1100" kern="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altLang="ko-KR" sz="1100" kern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</a:p>
        </p:txBody>
      </p:sp>
      <p:sp>
        <p:nvSpPr>
          <p:cNvPr id="78" name="직사각형 77"/>
          <p:cNvSpPr/>
          <p:nvPr/>
        </p:nvSpPr>
        <p:spPr>
          <a:xfrm>
            <a:off x="6523769" y="2747850"/>
            <a:ext cx="2699397" cy="360000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BL </a:t>
            </a:r>
            <a:r>
              <a:rPr lang="ko-KR" altLang="en-US" sz="120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</a:p>
        </p:txBody>
      </p:sp>
      <p:sp>
        <p:nvSpPr>
          <p:cNvPr id="75" name="직사각형 74"/>
          <p:cNvSpPr/>
          <p:nvPr/>
        </p:nvSpPr>
        <p:spPr bwMode="ltGray">
          <a:xfrm>
            <a:off x="3325562" y="2204864"/>
            <a:ext cx="6234503" cy="38523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Sanctions Screening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대상 식별</a:t>
            </a:r>
          </a:p>
        </p:txBody>
      </p:sp>
      <p:sp>
        <p:nvSpPr>
          <p:cNvPr id="76" name="직사각형 75"/>
          <p:cNvSpPr/>
          <p:nvPr/>
        </p:nvSpPr>
        <p:spPr>
          <a:xfrm>
            <a:off x="6442812" y="5135555"/>
            <a:ext cx="2780353" cy="681053"/>
          </a:xfrm>
          <a:prstGeom prst="rect">
            <a:avLst/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“</a:t>
            </a:r>
            <a:r>
              <a:rPr kumimoji="0" lang="ko-KR" altLang="en-US" sz="140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각</a:t>
            </a:r>
            <a:r>
              <a:rPr kumimoji="0" lang="en-US" altLang="ko-KR" sz="140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kumimoji="0" lang="ko-KR" altLang="en-US" sz="140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단계에서 </a:t>
            </a:r>
            <a:r>
              <a:rPr kumimoji="0" lang="en-US" altLang="ko-KR" sz="140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anctions </a:t>
            </a:r>
            <a:r>
              <a:rPr lang="en-US" altLang="ko-KR" sz="1400" i="1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creening </a:t>
            </a:r>
            <a:r>
              <a:rPr kumimoji="0" lang="ko-KR" altLang="en-US" sz="140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상 식별 </a:t>
            </a:r>
            <a:r>
              <a:rPr kumimoji="0" lang="en-US" altLang="ko-KR" sz="140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”</a:t>
            </a:r>
            <a:endParaRPr kumimoji="0" lang="ko-KR" altLang="en-US" sz="140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8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5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4530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2 </a:t>
            </a:r>
            <a:r>
              <a:rPr lang="ko-KR" altLang="en-US" dirty="0" smtClean="0"/>
              <a:t>고가용성 및 안정성 확보 방안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6488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『</a:t>
            </a:r>
            <a:r>
              <a:rPr lang="ko-KR" altLang="en-US" sz="1100" dirty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자금세탁방지시스템</a:t>
            </a:r>
            <a:r>
              <a:rPr lang="en-US" altLang="ko-KR" sz="1100" dirty="0" smtClean="0"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』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P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서버는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4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위치를 통해 서비스 이중화를 구성하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DB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서버는 오라클 클러스터 및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HP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클러스터 소프트웨어를 통하여 안정적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서비스 체계를 제공하도록 구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서버 이중화를 통한 서버 가용성 확보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135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1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128" name="그룹 127"/>
          <p:cNvGrpSpPr/>
          <p:nvPr/>
        </p:nvGrpSpPr>
        <p:grpSpPr>
          <a:xfrm>
            <a:off x="6352356" y="2186781"/>
            <a:ext cx="3183530" cy="4302919"/>
            <a:chOff x="6352356" y="2186781"/>
            <a:chExt cx="3183530" cy="4302919"/>
          </a:xfrm>
        </p:grpSpPr>
        <p:sp>
          <p:nvSpPr>
            <p:cNvPr id="129" name="Freeform 78"/>
            <p:cNvSpPr>
              <a:spLocks/>
            </p:cNvSpPr>
            <p:nvPr/>
          </p:nvSpPr>
          <p:spPr bwMode="auto">
            <a:xfrm flipH="1">
              <a:off x="6352356" y="6024479"/>
              <a:ext cx="341764" cy="251430"/>
            </a:xfrm>
            <a:custGeom>
              <a:avLst/>
              <a:gdLst>
                <a:gd name="T0" fmla="*/ 0 w 204"/>
                <a:gd name="T1" fmla="*/ 1031 h 91"/>
                <a:gd name="T2" fmla="*/ 208 w 204"/>
                <a:gd name="T3" fmla="*/ 1031 h 91"/>
                <a:gd name="T4" fmla="*/ 314 w 204"/>
                <a:gd name="T5" fmla="*/ 0 h 91"/>
                <a:gd name="T6" fmla="*/ 106 w 204"/>
                <a:gd name="T7" fmla="*/ 0 h 91"/>
                <a:gd name="T8" fmla="*/ 0 w 204"/>
                <a:gd name="T9" fmla="*/ 1031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4"/>
                <a:gd name="T16" fmla="*/ 0 h 91"/>
                <a:gd name="T17" fmla="*/ 204 w 204"/>
                <a:gd name="T18" fmla="*/ 91 h 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4" h="91">
                  <a:moveTo>
                    <a:pt x="0" y="91"/>
                  </a:moveTo>
                  <a:lnTo>
                    <a:pt x="136" y="91"/>
                  </a:lnTo>
                  <a:lnTo>
                    <a:pt x="204" y="0"/>
                  </a:lnTo>
                  <a:lnTo>
                    <a:pt x="68" y="0"/>
                  </a:lnTo>
                  <a:lnTo>
                    <a:pt x="0" y="9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4D4D4D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0" tIns="0" rIns="0" bIns="0" anchor="ctr"/>
            <a:lstStyle/>
            <a:p>
              <a:endPara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130" name="그룹 129"/>
            <p:cNvGrpSpPr/>
            <p:nvPr/>
          </p:nvGrpSpPr>
          <p:grpSpPr>
            <a:xfrm>
              <a:off x="6451724" y="2186781"/>
              <a:ext cx="3084162" cy="4268291"/>
              <a:chOff x="6451724" y="2186781"/>
              <a:chExt cx="2943389" cy="4268291"/>
            </a:xfrm>
          </p:grpSpPr>
          <p:sp>
            <p:nvSpPr>
              <p:cNvPr id="132" name="AutoShape 79"/>
              <p:cNvSpPr>
                <a:spLocks noChangeArrowheads="1"/>
              </p:cNvSpPr>
              <p:nvPr/>
            </p:nvSpPr>
            <p:spPr bwMode="auto">
              <a:xfrm>
                <a:off x="6451724" y="2186781"/>
                <a:ext cx="2901233" cy="4098161"/>
              </a:xfrm>
              <a:prstGeom prst="roundRect">
                <a:avLst>
                  <a:gd name="adj" fmla="val 1500"/>
                </a:avLst>
              </a:prstGeom>
              <a:solidFill>
                <a:srgbClr val="F8F8F8"/>
              </a:solidFill>
              <a:ln w="6350" algn="ctr">
                <a:solidFill>
                  <a:srgbClr val="D5D5D5"/>
                </a:solidFill>
                <a:prstDash val="dash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33" name="AutoShape 81"/>
              <p:cNvSpPr>
                <a:spLocks noChangeArrowheads="1"/>
              </p:cNvSpPr>
              <p:nvPr/>
            </p:nvSpPr>
            <p:spPr bwMode="auto">
              <a:xfrm>
                <a:off x="6493880" y="2221409"/>
                <a:ext cx="2901233" cy="4233663"/>
              </a:xfrm>
              <a:prstGeom prst="roundRect">
                <a:avLst>
                  <a:gd name="adj" fmla="val 1500"/>
                </a:avLst>
              </a:prstGeom>
              <a:noFill/>
              <a:ln w="6350" algn="ctr">
                <a:solidFill>
                  <a:srgbClr val="D5D5D5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pic>
          <p:nvPicPr>
            <p:cNvPr id="131" name="Picture 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8506827" y="5890483"/>
              <a:ext cx="915386" cy="59921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</p:pic>
      </p:grpSp>
      <p:grpSp>
        <p:nvGrpSpPr>
          <p:cNvPr id="134" name="Group 185"/>
          <p:cNvGrpSpPr>
            <a:grpSpLocks/>
          </p:cNvGrpSpPr>
          <p:nvPr/>
        </p:nvGrpSpPr>
        <p:grpSpPr bwMode="auto">
          <a:xfrm>
            <a:off x="3440832" y="2203450"/>
            <a:ext cx="2916241" cy="4248151"/>
            <a:chOff x="2213" y="1388"/>
            <a:chExt cx="1837" cy="2676"/>
          </a:xfrm>
        </p:grpSpPr>
        <p:sp>
          <p:nvSpPr>
            <p:cNvPr id="135" name="Rectangle 158"/>
            <p:cNvSpPr>
              <a:spLocks noChangeArrowheads="1"/>
            </p:cNvSpPr>
            <p:nvPr/>
          </p:nvSpPr>
          <p:spPr bwMode="auto">
            <a:xfrm>
              <a:off x="2213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kumimoji="0" lang="ko-KR" altLang="en-US" sz="1800" dirty="0"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charset="0"/>
              </a:endParaRPr>
            </a:p>
          </p:txBody>
        </p:sp>
        <p:grpSp>
          <p:nvGrpSpPr>
            <p:cNvPr id="136" name="Group 179"/>
            <p:cNvGrpSpPr>
              <a:grpSpLocks/>
            </p:cNvGrpSpPr>
            <p:nvPr/>
          </p:nvGrpSpPr>
          <p:grpSpPr bwMode="auto">
            <a:xfrm>
              <a:off x="2213" y="1388"/>
              <a:ext cx="1240" cy="136"/>
              <a:chOff x="2286" y="1388"/>
              <a:chExt cx="1240" cy="136"/>
            </a:xfrm>
          </p:grpSpPr>
          <p:grpSp>
            <p:nvGrpSpPr>
              <p:cNvPr id="137" name="Group 165"/>
              <p:cNvGrpSpPr>
                <a:grpSpLocks/>
              </p:cNvGrpSpPr>
              <p:nvPr/>
            </p:nvGrpSpPr>
            <p:grpSpPr bwMode="auto">
              <a:xfrm>
                <a:off x="2286" y="1388"/>
                <a:ext cx="1240" cy="136"/>
                <a:chOff x="1313" y="1782"/>
                <a:chExt cx="1240" cy="136"/>
              </a:xfrm>
            </p:grpSpPr>
            <p:sp>
              <p:nvSpPr>
                <p:cNvPr id="139" name="AutoShape 161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40" name="Rectangle 162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41" name="Rectangle 163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</p:grpSp>
          <p:sp>
            <p:nvSpPr>
              <p:cNvPr id="138" name="Rectangle 166"/>
              <p:cNvSpPr>
                <a:spLocks noChangeArrowheads="1"/>
              </p:cNvSpPr>
              <p:nvPr/>
            </p:nvSpPr>
            <p:spPr bwMode="auto">
              <a:xfrm>
                <a:off x="2648" y="1403"/>
                <a:ext cx="537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en-US" altLang="ko-KR" sz="1100" dirty="0" smtClean="0"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DB</a:t>
                </a:r>
                <a:r>
                  <a:rPr lang="ko-KR" altLang="en-US" sz="1100" dirty="0" smtClean="0"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서버 이중화</a:t>
                </a:r>
                <a:endParaRPr lang="ko-KR" altLang="en-US" sz="1100" dirty="0"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grpSp>
        <p:nvGrpSpPr>
          <p:cNvPr id="142" name="Group 275"/>
          <p:cNvGrpSpPr>
            <a:grpSpLocks/>
          </p:cNvGrpSpPr>
          <p:nvPr/>
        </p:nvGrpSpPr>
        <p:grpSpPr bwMode="auto">
          <a:xfrm>
            <a:off x="394155" y="2203450"/>
            <a:ext cx="2916241" cy="4248151"/>
            <a:chOff x="214" y="1388"/>
            <a:chExt cx="1837" cy="2676"/>
          </a:xfrm>
        </p:grpSpPr>
        <p:sp>
          <p:nvSpPr>
            <p:cNvPr id="143" name="Rectangle 158"/>
            <p:cNvSpPr>
              <a:spLocks noChangeArrowheads="1"/>
            </p:cNvSpPr>
            <p:nvPr/>
          </p:nvSpPr>
          <p:spPr bwMode="auto">
            <a:xfrm>
              <a:off x="214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529ED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144" name="Group 216"/>
            <p:cNvGrpSpPr>
              <a:grpSpLocks/>
            </p:cNvGrpSpPr>
            <p:nvPr/>
          </p:nvGrpSpPr>
          <p:grpSpPr bwMode="auto">
            <a:xfrm>
              <a:off x="214" y="1388"/>
              <a:ext cx="1240" cy="136"/>
              <a:chOff x="1313" y="1320"/>
              <a:chExt cx="1240" cy="136"/>
            </a:xfrm>
          </p:grpSpPr>
          <p:grpSp>
            <p:nvGrpSpPr>
              <p:cNvPr id="145" name="Group 165"/>
              <p:cNvGrpSpPr>
                <a:grpSpLocks/>
              </p:cNvGrpSpPr>
              <p:nvPr/>
            </p:nvGrpSpPr>
            <p:grpSpPr bwMode="auto">
              <a:xfrm>
                <a:off x="1313" y="1320"/>
                <a:ext cx="1240" cy="136"/>
                <a:chOff x="1313" y="1782"/>
                <a:chExt cx="1240" cy="136"/>
              </a:xfrm>
            </p:grpSpPr>
            <p:sp>
              <p:nvSpPr>
                <p:cNvPr id="147" name="AutoShape 161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round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48" name="Rectangle 162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  <p:sp>
              <p:nvSpPr>
                <p:cNvPr id="149" name="Rectangle 163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Light" panose="02020603020101020101" pitchFamily="18" charset="-127"/>
                    <a:ea typeface="KoPub돋움체 Light" panose="02020603020101020101" pitchFamily="18" charset="-127"/>
                  </a:endParaRPr>
                </a:p>
              </p:txBody>
            </p:sp>
          </p:grpSp>
          <p:sp>
            <p:nvSpPr>
              <p:cNvPr id="146" name="Rectangle 166"/>
              <p:cNvSpPr>
                <a:spLocks noChangeArrowheads="1"/>
              </p:cNvSpPr>
              <p:nvPr/>
            </p:nvSpPr>
            <p:spPr bwMode="auto">
              <a:xfrm>
                <a:off x="1679" y="1335"/>
                <a:ext cx="528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en-US" altLang="ko-KR" sz="1100" dirty="0" smtClean="0">
                    <a:solidFill>
                      <a:schemeClr val="bg1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AP</a:t>
                </a:r>
                <a:r>
                  <a:rPr lang="ko-KR" altLang="en-US" sz="1100" dirty="0" smtClean="0">
                    <a:solidFill>
                      <a:schemeClr val="bg1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서버 이중화</a:t>
                </a:r>
                <a:endParaRPr lang="ko-KR" altLang="en-US" sz="110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sp>
        <p:nvSpPr>
          <p:cNvPr id="150" name="Text Box 40"/>
          <p:cNvSpPr txBox="1">
            <a:spLocks noChangeArrowheads="1"/>
          </p:cNvSpPr>
          <p:nvPr/>
        </p:nvSpPr>
        <p:spPr bwMode="auto">
          <a:xfrm>
            <a:off x="6730255" y="2630922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 #1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 장애 시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L4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위치에 의하여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 #2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로 경로 재 배정</a:t>
            </a:r>
          </a:p>
        </p:txBody>
      </p:sp>
      <p:pic>
        <p:nvPicPr>
          <p:cNvPr id="151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2650494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3004091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" name="AutoShape 137" descr="oj-02"/>
          <p:cNvSpPr>
            <a:spLocks noChangeArrowheads="1"/>
          </p:cNvSpPr>
          <p:nvPr/>
        </p:nvSpPr>
        <p:spPr bwMode="auto">
          <a:xfrm>
            <a:off x="6570664" y="2289160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en-US" altLang="ko-KR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L4</a:t>
            </a: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스위치를 이용한 </a:t>
            </a:r>
            <a:r>
              <a:rPr kumimoji="0" lang="en-US" altLang="ko-KR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AP</a:t>
            </a: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서버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154" name="Text Box 40"/>
          <p:cNvSpPr txBox="1">
            <a:spLocks noChangeArrowheads="1"/>
          </p:cNvSpPr>
          <p:nvPr/>
        </p:nvSpPr>
        <p:spPr bwMode="auto">
          <a:xfrm>
            <a:off x="6730255" y="2987400"/>
            <a:ext cx="2690454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비스 프로세스 장애 발생 시에도 정상적인 서비스를 위하여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L4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위치를 이용하여 부하 분산하도록 구성</a:t>
            </a:r>
          </a:p>
        </p:txBody>
      </p:sp>
      <p:sp>
        <p:nvSpPr>
          <p:cNvPr id="155" name="Text Box 40"/>
          <p:cNvSpPr txBox="1">
            <a:spLocks noChangeArrowheads="1"/>
          </p:cNvSpPr>
          <p:nvPr/>
        </p:nvSpPr>
        <p:spPr bwMode="auto">
          <a:xfrm>
            <a:off x="6730255" y="3999074"/>
            <a:ext cx="2690454" cy="153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#1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장애 시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#2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에 의해 서비스 지속</a:t>
            </a:r>
          </a:p>
        </p:txBody>
      </p:sp>
      <p:pic>
        <p:nvPicPr>
          <p:cNvPr id="156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4018646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7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4231016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8" name="AutoShape 137" descr="oj-02"/>
          <p:cNvSpPr>
            <a:spLocks noChangeArrowheads="1"/>
          </p:cNvSpPr>
          <p:nvPr/>
        </p:nvSpPr>
        <p:spPr bwMode="auto">
          <a:xfrm>
            <a:off x="6570664" y="3657312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클러스터 소프트웨어를 통한 </a:t>
            </a:r>
            <a:r>
              <a:rPr kumimoji="0" lang="en-US" altLang="ko-KR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DB</a:t>
            </a: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서버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159" name="Text Box 40"/>
          <p:cNvSpPr txBox="1">
            <a:spLocks noChangeArrowheads="1"/>
          </p:cNvSpPr>
          <p:nvPr/>
        </p:nvSpPr>
        <p:spPr bwMode="auto">
          <a:xfrm>
            <a:off x="6730255" y="4211536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#1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에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해서는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OGG(Oracle Golden Gate)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가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비스 장애를 감지하여 서비스 전환</a:t>
            </a:r>
          </a:p>
        </p:txBody>
      </p:sp>
      <p:grpSp>
        <p:nvGrpSpPr>
          <p:cNvPr id="160" name="Group 836"/>
          <p:cNvGrpSpPr>
            <a:grpSpLocks/>
          </p:cNvGrpSpPr>
          <p:nvPr/>
        </p:nvGrpSpPr>
        <p:grpSpPr bwMode="auto">
          <a:xfrm>
            <a:off x="2975250" y="3831736"/>
            <a:ext cx="752475" cy="742950"/>
            <a:chOff x="1918" y="3019"/>
            <a:chExt cx="474" cy="468"/>
          </a:xfrm>
        </p:grpSpPr>
        <p:grpSp>
          <p:nvGrpSpPr>
            <p:cNvPr id="161" name="Group 110"/>
            <p:cNvGrpSpPr>
              <a:grpSpLocks noChangeAspect="1"/>
            </p:cNvGrpSpPr>
            <p:nvPr/>
          </p:nvGrpSpPr>
          <p:grpSpPr bwMode="auto">
            <a:xfrm>
              <a:off x="1922" y="3019"/>
              <a:ext cx="470" cy="468"/>
              <a:chOff x="-1559" y="1262"/>
              <a:chExt cx="709" cy="705"/>
            </a:xfrm>
          </p:grpSpPr>
          <p:pic>
            <p:nvPicPr>
              <p:cNvPr id="167" name="Picture 111" descr="도형-원_수정"/>
              <p:cNvPicPr>
                <a:picLocks noChangeAspect="1" noChangeArrowheads="1"/>
              </p:cNvPicPr>
              <p:nvPr/>
            </p:nvPicPr>
            <p:blipFill>
              <a:blip r:embed="rId5">
                <a:lum bright="42000" contrast="-6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139" t="909" r="68611" b="81020"/>
              <a:stretch>
                <a:fillRect/>
              </a:stretch>
            </p:blipFill>
            <p:spPr bwMode="gray">
              <a:xfrm>
                <a:off x="-1559" y="1262"/>
                <a:ext cx="709" cy="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8" name="Rectangle 112"/>
              <p:cNvSpPr>
                <a:spLocks noChangeAspect="1" noChangeArrowheads="1"/>
              </p:cNvSpPr>
              <p:nvPr/>
            </p:nvSpPr>
            <p:spPr bwMode="gray">
              <a:xfrm>
                <a:off x="-1441" y="1463"/>
                <a:ext cx="475" cy="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fontAlgn="t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0" kern="0" dirty="0" smtClean="0">
                    <a:ln>
                      <a:solidFill>
                        <a:srgbClr val="000000">
                          <a:alpha val="0"/>
                        </a:srgbClr>
                      </a:solidFill>
                    </a:ln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가용성 확보</a:t>
                </a:r>
              </a:p>
            </p:txBody>
          </p:sp>
        </p:grpSp>
        <p:grpSp>
          <p:nvGrpSpPr>
            <p:cNvPr id="162" name="Group 829"/>
            <p:cNvGrpSpPr>
              <a:grpSpLocks/>
            </p:cNvGrpSpPr>
            <p:nvPr/>
          </p:nvGrpSpPr>
          <p:grpSpPr bwMode="auto">
            <a:xfrm rot="310330">
              <a:off x="1918" y="3022"/>
              <a:ext cx="474" cy="464"/>
              <a:chOff x="2731" y="3047"/>
              <a:chExt cx="458" cy="448"/>
            </a:xfrm>
          </p:grpSpPr>
          <p:sp>
            <p:nvSpPr>
              <p:cNvPr id="163" name="Arc 825"/>
              <p:cNvSpPr>
                <a:spLocks/>
              </p:cNvSpPr>
              <p:nvPr/>
            </p:nvSpPr>
            <p:spPr bwMode="gray">
              <a:xfrm>
                <a:off x="2962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64" name="Arc 826"/>
              <p:cNvSpPr>
                <a:spLocks/>
              </p:cNvSpPr>
              <p:nvPr/>
            </p:nvSpPr>
            <p:spPr bwMode="gray">
              <a:xfrm rot="5400000">
                <a:off x="2962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65" name="Arc 827"/>
              <p:cNvSpPr>
                <a:spLocks/>
              </p:cNvSpPr>
              <p:nvPr/>
            </p:nvSpPr>
            <p:spPr bwMode="gray">
              <a:xfrm rot="5400000" flipH="1" flipV="1">
                <a:off x="2731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66" name="Arc 828"/>
              <p:cNvSpPr>
                <a:spLocks/>
              </p:cNvSpPr>
              <p:nvPr/>
            </p:nvSpPr>
            <p:spPr bwMode="gray">
              <a:xfrm rot="10800000">
                <a:off x="2737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sp>
        <p:nvSpPr>
          <p:cNvPr id="169" name="Text Box 21"/>
          <p:cNvSpPr txBox="1">
            <a:spLocks noChangeArrowheads="1"/>
          </p:cNvSpPr>
          <p:nvPr/>
        </p:nvSpPr>
        <p:spPr bwMode="auto">
          <a:xfrm>
            <a:off x="2894075" y="2774813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170" name="Text Box 21"/>
          <p:cNvSpPr txBox="1">
            <a:spLocks noChangeArrowheads="1"/>
          </p:cNvSpPr>
          <p:nvPr/>
        </p:nvSpPr>
        <p:spPr bwMode="auto">
          <a:xfrm>
            <a:off x="1640126" y="2788507"/>
            <a:ext cx="4664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L4 </a:t>
            </a: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1" name="Text Box 21"/>
          <p:cNvSpPr txBox="1">
            <a:spLocks noChangeArrowheads="1"/>
          </p:cNvSpPr>
          <p:nvPr/>
        </p:nvSpPr>
        <p:spPr bwMode="auto">
          <a:xfrm>
            <a:off x="717613" y="2774813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172" name="직선 연결선 677"/>
          <p:cNvCxnSpPr>
            <a:cxnSpLocks noChangeShapeType="1"/>
          </p:cNvCxnSpPr>
          <p:nvPr/>
        </p:nvCxnSpPr>
        <p:spPr bwMode="auto">
          <a:xfrm>
            <a:off x="620632" y="2600908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3" name="직선 연결선 238"/>
          <p:cNvCxnSpPr>
            <a:cxnSpLocks noChangeShapeType="1"/>
          </p:cNvCxnSpPr>
          <p:nvPr/>
        </p:nvCxnSpPr>
        <p:spPr bwMode="auto">
          <a:xfrm>
            <a:off x="1139745" y="2604082"/>
            <a:ext cx="0" cy="216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4" name="직선 연결선 238"/>
          <p:cNvCxnSpPr>
            <a:cxnSpLocks noChangeShapeType="1"/>
          </p:cNvCxnSpPr>
          <p:nvPr/>
        </p:nvCxnSpPr>
        <p:spPr bwMode="auto">
          <a:xfrm>
            <a:off x="2605007" y="2604082"/>
            <a:ext cx="0" cy="216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5" name="Line 20"/>
          <p:cNvSpPr>
            <a:spLocks noChangeShapeType="1"/>
          </p:cNvSpPr>
          <p:nvPr/>
        </p:nvSpPr>
        <p:spPr bwMode="auto">
          <a:xfrm>
            <a:off x="1174670" y="2893494"/>
            <a:ext cx="1316038" cy="598488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6" name="Line 20"/>
          <p:cNvSpPr>
            <a:spLocks noChangeShapeType="1"/>
          </p:cNvSpPr>
          <p:nvPr/>
        </p:nvSpPr>
        <p:spPr bwMode="auto">
          <a:xfrm flipH="1">
            <a:off x="1269920" y="2898257"/>
            <a:ext cx="1309688" cy="6064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7" name="Line 20"/>
          <p:cNvSpPr>
            <a:spLocks noChangeShapeType="1"/>
          </p:cNvSpPr>
          <p:nvPr/>
        </p:nvSpPr>
        <p:spPr bwMode="auto">
          <a:xfrm flipH="1">
            <a:off x="1046082" y="2903019"/>
            <a:ext cx="0" cy="6191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8" name="Line 20"/>
          <p:cNvSpPr>
            <a:spLocks noChangeShapeType="1"/>
          </p:cNvSpPr>
          <p:nvPr/>
        </p:nvSpPr>
        <p:spPr bwMode="auto">
          <a:xfrm flipH="1">
            <a:off x="2709782" y="2893494"/>
            <a:ext cx="0" cy="6064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79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983" y="3396905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0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834" y="3396905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1" name="Text Box 22"/>
          <p:cNvSpPr txBox="1">
            <a:spLocks noChangeArrowheads="1"/>
          </p:cNvSpPr>
          <p:nvPr/>
        </p:nvSpPr>
        <p:spPr bwMode="auto">
          <a:xfrm>
            <a:off x="2422265" y="4130711"/>
            <a:ext cx="309380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182" name="Text Box 22"/>
          <p:cNvSpPr txBox="1">
            <a:spLocks noChangeArrowheads="1"/>
          </p:cNvSpPr>
          <p:nvPr/>
        </p:nvSpPr>
        <p:spPr bwMode="auto">
          <a:xfrm>
            <a:off x="957002" y="4130711"/>
            <a:ext cx="309380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sp>
        <p:nvSpPr>
          <p:cNvPr id="183" name="Rectangle 188"/>
          <p:cNvSpPr>
            <a:spLocks noChangeArrowheads="1"/>
          </p:cNvSpPr>
          <p:nvPr/>
        </p:nvSpPr>
        <p:spPr bwMode="auto">
          <a:xfrm>
            <a:off x="878022" y="3735068"/>
            <a:ext cx="546650" cy="218993"/>
          </a:xfrm>
          <a:prstGeom prst="rect">
            <a:avLst/>
          </a:prstGeom>
          <a:solidFill>
            <a:srgbClr val="FFFFFF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84" name="Rectangle 188"/>
          <p:cNvSpPr>
            <a:spLocks noChangeArrowheads="1"/>
          </p:cNvSpPr>
          <p:nvPr/>
        </p:nvSpPr>
        <p:spPr bwMode="auto">
          <a:xfrm>
            <a:off x="2341731" y="3743357"/>
            <a:ext cx="546650" cy="218993"/>
          </a:xfrm>
          <a:prstGeom prst="rect">
            <a:avLst/>
          </a:prstGeom>
          <a:solidFill>
            <a:srgbClr val="FFFFFF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85" name="S4132" descr="Untitled-13-0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83690" y="2753133"/>
            <a:ext cx="35638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S4132" descr="Untitled-13-0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412417" y="2753133"/>
            <a:ext cx="35638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7" name="Group 529"/>
          <p:cNvGrpSpPr>
            <a:grpSpLocks/>
          </p:cNvGrpSpPr>
          <p:nvPr/>
        </p:nvGrpSpPr>
        <p:grpSpPr bwMode="auto">
          <a:xfrm>
            <a:off x="1371520" y="4193327"/>
            <a:ext cx="1063625" cy="401638"/>
            <a:chOff x="803" y="2654"/>
            <a:chExt cx="670" cy="253"/>
          </a:xfrm>
        </p:grpSpPr>
        <p:sp>
          <p:nvSpPr>
            <p:cNvPr id="188" name="오른쪽 화살표 227"/>
            <p:cNvSpPr>
              <a:spLocks noChangeArrowheads="1"/>
            </p:cNvSpPr>
            <p:nvPr/>
          </p:nvSpPr>
          <p:spPr bwMode="auto">
            <a:xfrm rot="5400000">
              <a:off x="1011" y="2446"/>
              <a:ext cx="253" cy="670"/>
            </a:xfrm>
            <a:prstGeom prst="rightArrow">
              <a:avLst>
                <a:gd name="adj1" fmla="val 70454"/>
                <a:gd name="adj2" fmla="val 39528"/>
              </a:avLst>
            </a:prstGeom>
            <a:gradFill rotWithShape="0">
              <a:gsLst>
                <a:gs pos="0">
                  <a:srgbClr val="EEECE1"/>
                </a:gs>
                <a:gs pos="100000">
                  <a:srgbClr val="0097E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89" name="Text Box 52"/>
            <p:cNvSpPr txBox="1">
              <a:spLocks noChangeArrowheads="1"/>
            </p:cNvSpPr>
            <p:nvPr/>
          </p:nvSpPr>
          <p:spPr bwMode="auto">
            <a:xfrm>
              <a:off x="980" y="2712"/>
              <a:ext cx="30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1" lang="ko-KR" altLang="en-US" sz="1100" b="1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장애발생</a:t>
              </a:r>
              <a:endParaRPr kumimoji="1" lang="en-US" altLang="ko-KR" sz="1100" b="1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190" name="Text Box 21"/>
          <p:cNvSpPr txBox="1">
            <a:spLocks noChangeArrowheads="1"/>
          </p:cNvSpPr>
          <p:nvPr/>
        </p:nvSpPr>
        <p:spPr bwMode="auto">
          <a:xfrm>
            <a:off x="2903863" y="4864776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191" name="Text Box 21"/>
          <p:cNvSpPr txBox="1">
            <a:spLocks noChangeArrowheads="1"/>
          </p:cNvSpPr>
          <p:nvPr/>
        </p:nvSpPr>
        <p:spPr bwMode="auto">
          <a:xfrm>
            <a:off x="1609362" y="4803180"/>
            <a:ext cx="4664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L4 </a:t>
            </a: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2" name="Text Box 21"/>
          <p:cNvSpPr txBox="1">
            <a:spLocks noChangeArrowheads="1"/>
          </p:cNvSpPr>
          <p:nvPr/>
        </p:nvSpPr>
        <p:spPr bwMode="auto">
          <a:xfrm>
            <a:off x="717613" y="4864776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193" name="직선 연결선 677"/>
          <p:cNvCxnSpPr>
            <a:cxnSpLocks noChangeShapeType="1"/>
          </p:cNvCxnSpPr>
          <p:nvPr/>
        </p:nvCxnSpPr>
        <p:spPr bwMode="auto">
          <a:xfrm>
            <a:off x="630420" y="4690871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4" name="직선 연결선 238"/>
          <p:cNvCxnSpPr>
            <a:cxnSpLocks noChangeShapeType="1"/>
          </p:cNvCxnSpPr>
          <p:nvPr/>
        </p:nvCxnSpPr>
        <p:spPr bwMode="auto">
          <a:xfrm>
            <a:off x="1149533" y="4694045"/>
            <a:ext cx="0" cy="216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5" name="직선 연결선 238"/>
          <p:cNvCxnSpPr>
            <a:cxnSpLocks noChangeShapeType="1"/>
          </p:cNvCxnSpPr>
          <p:nvPr/>
        </p:nvCxnSpPr>
        <p:spPr bwMode="auto">
          <a:xfrm>
            <a:off x="2614795" y="4694045"/>
            <a:ext cx="0" cy="216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6" name="Line 20"/>
          <p:cNvSpPr>
            <a:spLocks noChangeShapeType="1"/>
          </p:cNvSpPr>
          <p:nvPr/>
        </p:nvSpPr>
        <p:spPr bwMode="auto">
          <a:xfrm>
            <a:off x="1184458" y="4983457"/>
            <a:ext cx="1316038" cy="598488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7" name="Line 20"/>
          <p:cNvSpPr>
            <a:spLocks noChangeShapeType="1"/>
          </p:cNvSpPr>
          <p:nvPr/>
        </p:nvSpPr>
        <p:spPr bwMode="auto">
          <a:xfrm flipH="1">
            <a:off x="1279708" y="4988220"/>
            <a:ext cx="1309688" cy="6064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8" name="Line 20"/>
          <p:cNvSpPr>
            <a:spLocks noChangeShapeType="1"/>
          </p:cNvSpPr>
          <p:nvPr/>
        </p:nvSpPr>
        <p:spPr bwMode="auto">
          <a:xfrm flipH="1">
            <a:off x="1055870" y="4992982"/>
            <a:ext cx="0" cy="6191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9" name="Line 20"/>
          <p:cNvSpPr>
            <a:spLocks noChangeShapeType="1"/>
          </p:cNvSpPr>
          <p:nvPr/>
        </p:nvSpPr>
        <p:spPr bwMode="auto">
          <a:xfrm flipH="1">
            <a:off x="2719570" y="4983457"/>
            <a:ext cx="0" cy="6064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00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771" y="5486868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1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622" y="5486868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2" name="Text Box 22"/>
          <p:cNvSpPr txBox="1">
            <a:spLocks noChangeArrowheads="1"/>
          </p:cNvSpPr>
          <p:nvPr/>
        </p:nvSpPr>
        <p:spPr bwMode="auto">
          <a:xfrm>
            <a:off x="2432053" y="6220674"/>
            <a:ext cx="309380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203" name="Text Box 22"/>
          <p:cNvSpPr txBox="1">
            <a:spLocks noChangeArrowheads="1"/>
          </p:cNvSpPr>
          <p:nvPr/>
        </p:nvSpPr>
        <p:spPr bwMode="auto">
          <a:xfrm>
            <a:off x="966790" y="6220674"/>
            <a:ext cx="309380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P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sp>
        <p:nvSpPr>
          <p:cNvPr id="204" name="Rectangle 188"/>
          <p:cNvSpPr>
            <a:spLocks noChangeArrowheads="1"/>
          </p:cNvSpPr>
          <p:nvPr/>
        </p:nvSpPr>
        <p:spPr bwMode="auto">
          <a:xfrm>
            <a:off x="887810" y="5825031"/>
            <a:ext cx="546650" cy="218993"/>
          </a:xfrm>
          <a:prstGeom prst="rect">
            <a:avLst/>
          </a:prstGeom>
          <a:solidFill>
            <a:srgbClr val="FFFFFF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5" name="Rectangle 188"/>
          <p:cNvSpPr>
            <a:spLocks noChangeArrowheads="1"/>
          </p:cNvSpPr>
          <p:nvPr/>
        </p:nvSpPr>
        <p:spPr bwMode="auto">
          <a:xfrm>
            <a:off x="2351519" y="5833320"/>
            <a:ext cx="546650" cy="218993"/>
          </a:xfrm>
          <a:prstGeom prst="rect">
            <a:avLst/>
          </a:prstGeom>
          <a:solidFill>
            <a:srgbClr val="FFFFFF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06" name="S4132" descr="Untitled-13-0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93478" y="4834887"/>
            <a:ext cx="35638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" name="S4132" descr="Untitled-13-0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422205" y="4843096"/>
            <a:ext cx="35638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8" name="Line 20"/>
          <p:cNvSpPr>
            <a:spLocks noChangeShapeType="1"/>
          </p:cNvSpPr>
          <p:nvPr/>
        </p:nvSpPr>
        <p:spPr bwMode="auto">
          <a:xfrm flipH="1">
            <a:off x="1149533" y="3032924"/>
            <a:ext cx="0" cy="378492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9" name="Line 20"/>
          <p:cNvSpPr>
            <a:spLocks noChangeShapeType="1"/>
          </p:cNvSpPr>
          <p:nvPr/>
        </p:nvSpPr>
        <p:spPr bwMode="auto">
          <a:xfrm flipH="1">
            <a:off x="2614795" y="3032924"/>
            <a:ext cx="0" cy="378492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10" name="Text Box 21"/>
          <p:cNvSpPr txBox="1">
            <a:spLocks noChangeArrowheads="1"/>
          </p:cNvSpPr>
          <p:nvPr/>
        </p:nvSpPr>
        <p:spPr bwMode="auto">
          <a:xfrm>
            <a:off x="1244064" y="3146485"/>
            <a:ext cx="3125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세션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A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11" name="Text Box 21"/>
          <p:cNvSpPr txBox="1">
            <a:spLocks noChangeArrowheads="1"/>
          </p:cNvSpPr>
          <p:nvPr/>
        </p:nvSpPr>
        <p:spPr bwMode="auto">
          <a:xfrm>
            <a:off x="2230041" y="3146485"/>
            <a:ext cx="3125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세션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B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12" name="Picture 142" descr="번개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13128" y="5388386"/>
            <a:ext cx="5238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3" name="Rectangle 188"/>
          <p:cNvSpPr>
            <a:spLocks noChangeArrowheads="1"/>
          </p:cNvSpPr>
          <p:nvPr/>
        </p:nvSpPr>
        <p:spPr bwMode="gray">
          <a:xfrm>
            <a:off x="1087376" y="5441344"/>
            <a:ext cx="1827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장애</a:t>
            </a:r>
          </a:p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생</a:t>
            </a:r>
          </a:p>
        </p:txBody>
      </p:sp>
      <p:sp>
        <p:nvSpPr>
          <p:cNvPr id="214" name="Line 20"/>
          <p:cNvSpPr>
            <a:spLocks noChangeShapeType="1"/>
          </p:cNvSpPr>
          <p:nvPr/>
        </p:nvSpPr>
        <p:spPr bwMode="auto">
          <a:xfrm>
            <a:off x="1381178" y="5142086"/>
            <a:ext cx="1031239" cy="470021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15" name="Line 20"/>
          <p:cNvSpPr>
            <a:spLocks noChangeShapeType="1"/>
          </p:cNvSpPr>
          <p:nvPr/>
        </p:nvSpPr>
        <p:spPr bwMode="auto">
          <a:xfrm flipH="1">
            <a:off x="2614716" y="5130357"/>
            <a:ext cx="0" cy="378492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16" name="Text Box 21"/>
          <p:cNvSpPr txBox="1">
            <a:spLocks noChangeArrowheads="1"/>
          </p:cNvSpPr>
          <p:nvPr/>
        </p:nvSpPr>
        <p:spPr bwMode="auto">
          <a:xfrm>
            <a:off x="2230041" y="5243918"/>
            <a:ext cx="3125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세션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B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17" name="Text Box 21"/>
          <p:cNvSpPr txBox="1">
            <a:spLocks noChangeArrowheads="1"/>
          </p:cNvSpPr>
          <p:nvPr/>
        </p:nvSpPr>
        <p:spPr bwMode="auto">
          <a:xfrm>
            <a:off x="1274945" y="5260046"/>
            <a:ext cx="3125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세션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A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18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4545124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9" name="Text Box 40"/>
          <p:cNvSpPr txBox="1">
            <a:spLocks noChangeArrowheads="1"/>
          </p:cNvSpPr>
          <p:nvPr/>
        </p:nvSpPr>
        <p:spPr bwMode="auto">
          <a:xfrm>
            <a:off x="6730255" y="4565902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#2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에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해서는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A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소프트웨어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(HP Service Guard)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가 서비스 장애를 감지하여 서비스 전환</a:t>
            </a:r>
          </a:p>
        </p:txBody>
      </p:sp>
      <p:sp>
        <p:nvSpPr>
          <p:cNvPr id="220" name="Text Box 21"/>
          <p:cNvSpPr txBox="1">
            <a:spLocks noChangeArrowheads="1"/>
          </p:cNvSpPr>
          <p:nvPr/>
        </p:nvSpPr>
        <p:spPr bwMode="auto">
          <a:xfrm>
            <a:off x="5869056" y="2733052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221" name="Text Box 21"/>
          <p:cNvSpPr txBox="1">
            <a:spLocks noChangeArrowheads="1"/>
          </p:cNvSpPr>
          <p:nvPr/>
        </p:nvSpPr>
        <p:spPr bwMode="auto">
          <a:xfrm>
            <a:off x="4412940" y="2732478"/>
            <a:ext cx="7437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22" name="Text Box 21"/>
          <p:cNvSpPr txBox="1">
            <a:spLocks noChangeArrowheads="1"/>
          </p:cNvSpPr>
          <p:nvPr/>
        </p:nvSpPr>
        <p:spPr bwMode="auto">
          <a:xfrm>
            <a:off x="3692594" y="2733052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223" name="직선 연결선 677"/>
          <p:cNvCxnSpPr>
            <a:cxnSpLocks noChangeShapeType="1"/>
          </p:cNvCxnSpPr>
          <p:nvPr/>
        </p:nvCxnSpPr>
        <p:spPr bwMode="auto">
          <a:xfrm>
            <a:off x="3595613" y="2600908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4" name="직선 연결선 238"/>
          <p:cNvCxnSpPr>
            <a:cxnSpLocks noChangeShapeType="1"/>
          </p:cNvCxnSpPr>
          <p:nvPr/>
        </p:nvCxnSpPr>
        <p:spPr bwMode="auto">
          <a:xfrm>
            <a:off x="4114726" y="2604082"/>
            <a:ext cx="0" cy="180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5" name="직선 연결선 238"/>
          <p:cNvCxnSpPr>
            <a:cxnSpLocks noChangeShapeType="1"/>
          </p:cNvCxnSpPr>
          <p:nvPr/>
        </p:nvCxnSpPr>
        <p:spPr bwMode="auto">
          <a:xfrm>
            <a:off x="5579988" y="2604082"/>
            <a:ext cx="0" cy="180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6" name="Line 20"/>
          <p:cNvSpPr>
            <a:spLocks noChangeShapeType="1"/>
          </p:cNvSpPr>
          <p:nvPr/>
        </p:nvSpPr>
        <p:spPr bwMode="auto">
          <a:xfrm flipH="1">
            <a:off x="4114726" y="3032924"/>
            <a:ext cx="0" cy="252000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27" name="Line 20"/>
          <p:cNvSpPr>
            <a:spLocks noChangeShapeType="1"/>
          </p:cNvSpPr>
          <p:nvPr/>
        </p:nvSpPr>
        <p:spPr bwMode="auto">
          <a:xfrm>
            <a:off x="4149651" y="2851733"/>
            <a:ext cx="1316038" cy="598488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28" name="Line 20"/>
          <p:cNvSpPr>
            <a:spLocks noChangeShapeType="1"/>
          </p:cNvSpPr>
          <p:nvPr/>
        </p:nvSpPr>
        <p:spPr bwMode="auto">
          <a:xfrm flipH="1">
            <a:off x="4244901" y="2856496"/>
            <a:ext cx="1309688" cy="606425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29" name="Line 20"/>
          <p:cNvSpPr>
            <a:spLocks noChangeShapeType="1"/>
          </p:cNvSpPr>
          <p:nvPr/>
        </p:nvSpPr>
        <p:spPr bwMode="auto">
          <a:xfrm flipH="1">
            <a:off x="4021063" y="2861258"/>
            <a:ext cx="0" cy="6191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30" name="Line 20"/>
          <p:cNvSpPr>
            <a:spLocks noChangeShapeType="1"/>
          </p:cNvSpPr>
          <p:nvPr/>
        </p:nvSpPr>
        <p:spPr bwMode="auto">
          <a:xfrm flipH="1">
            <a:off x="5601072" y="2851733"/>
            <a:ext cx="0" cy="606425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31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964" y="3285036"/>
            <a:ext cx="379884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2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3829" y="3285036"/>
            <a:ext cx="379884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3" name="Text Box 22"/>
          <p:cNvSpPr txBox="1">
            <a:spLocks noChangeArrowheads="1"/>
          </p:cNvSpPr>
          <p:nvPr/>
        </p:nvSpPr>
        <p:spPr bwMode="auto">
          <a:xfrm>
            <a:off x="5397246" y="3789040"/>
            <a:ext cx="320601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234" name="Text Box 22"/>
          <p:cNvSpPr txBox="1">
            <a:spLocks noChangeArrowheads="1"/>
          </p:cNvSpPr>
          <p:nvPr/>
        </p:nvSpPr>
        <p:spPr bwMode="auto">
          <a:xfrm>
            <a:off x="3931983" y="3789040"/>
            <a:ext cx="320601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pic>
        <p:nvPicPr>
          <p:cNvPr id="235" name="S4131" descr="Untitled-13-01"/>
          <p:cNvPicPr>
            <a:picLocks noChangeAspect="1" noChangeArrowheads="1"/>
          </p:cNvPicPr>
          <p:nvPr/>
        </p:nvPicPr>
        <p:blipFill>
          <a:blip r:embed="rId9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2753133"/>
            <a:ext cx="329836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6" name="S4131" descr="Untitled-13-01"/>
          <p:cNvPicPr>
            <a:picLocks noChangeAspect="1" noChangeArrowheads="1"/>
          </p:cNvPicPr>
          <p:nvPr/>
        </p:nvPicPr>
        <p:blipFill>
          <a:blip r:embed="rId9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441" y="2753133"/>
            <a:ext cx="329836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7" name="Rectangle 188"/>
          <p:cNvSpPr>
            <a:spLocks noChangeArrowheads="1"/>
          </p:cNvSpPr>
          <p:nvPr/>
        </p:nvSpPr>
        <p:spPr bwMode="auto">
          <a:xfrm>
            <a:off x="3779343" y="3432014"/>
            <a:ext cx="546650" cy="218993"/>
          </a:xfrm>
          <a:prstGeom prst="rect">
            <a:avLst/>
          </a:prstGeom>
          <a:solidFill>
            <a:srgbClr val="FFFFFF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38" name="Rectangle 188"/>
          <p:cNvSpPr>
            <a:spLocks noChangeArrowheads="1"/>
          </p:cNvSpPr>
          <p:nvPr/>
        </p:nvSpPr>
        <p:spPr bwMode="auto">
          <a:xfrm>
            <a:off x="5270446" y="3432014"/>
            <a:ext cx="546650" cy="218993"/>
          </a:xfrm>
          <a:prstGeom prst="rect">
            <a:avLst/>
          </a:prstGeom>
          <a:solidFill>
            <a:srgbClr val="92D050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by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239" name="Group 529"/>
          <p:cNvGrpSpPr>
            <a:grpSpLocks/>
          </p:cNvGrpSpPr>
          <p:nvPr/>
        </p:nvGrpSpPr>
        <p:grpSpPr bwMode="auto">
          <a:xfrm>
            <a:off x="4346501" y="4193327"/>
            <a:ext cx="1063625" cy="401638"/>
            <a:chOff x="803" y="2654"/>
            <a:chExt cx="670" cy="253"/>
          </a:xfrm>
        </p:grpSpPr>
        <p:sp>
          <p:nvSpPr>
            <p:cNvPr id="240" name="오른쪽 화살표 227"/>
            <p:cNvSpPr>
              <a:spLocks noChangeArrowheads="1"/>
            </p:cNvSpPr>
            <p:nvPr/>
          </p:nvSpPr>
          <p:spPr bwMode="auto">
            <a:xfrm rot="5400000">
              <a:off x="1011" y="2446"/>
              <a:ext cx="253" cy="670"/>
            </a:xfrm>
            <a:prstGeom prst="rightArrow">
              <a:avLst>
                <a:gd name="adj1" fmla="val 70454"/>
                <a:gd name="adj2" fmla="val 39528"/>
              </a:avLst>
            </a:prstGeom>
            <a:gradFill rotWithShape="0">
              <a:gsLst>
                <a:gs pos="0">
                  <a:srgbClr val="EEECE1"/>
                </a:gs>
                <a:gs pos="100000">
                  <a:srgbClr val="0097E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241" name="Text Box 52"/>
            <p:cNvSpPr txBox="1">
              <a:spLocks noChangeArrowheads="1"/>
            </p:cNvSpPr>
            <p:nvPr/>
          </p:nvSpPr>
          <p:spPr bwMode="auto">
            <a:xfrm>
              <a:off x="980" y="2712"/>
              <a:ext cx="30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1" lang="ko-KR" altLang="en-US" sz="1100" b="1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장애발생</a:t>
              </a:r>
              <a:endParaRPr kumimoji="1" lang="en-US" altLang="ko-KR" sz="1100" b="1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242" name="Line 20"/>
          <p:cNvSpPr>
            <a:spLocks noChangeShapeType="1"/>
          </p:cNvSpPr>
          <p:nvPr/>
        </p:nvSpPr>
        <p:spPr bwMode="auto">
          <a:xfrm>
            <a:off x="4181073" y="3639581"/>
            <a:ext cx="663915" cy="257471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3" name="Line 20"/>
          <p:cNvSpPr>
            <a:spLocks noChangeShapeType="1"/>
          </p:cNvSpPr>
          <p:nvPr/>
        </p:nvSpPr>
        <p:spPr bwMode="auto">
          <a:xfrm flipH="1">
            <a:off x="4817383" y="3639581"/>
            <a:ext cx="663915" cy="257471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44" name="Picture 512" descr="Untitled-2-0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56956" y="3874010"/>
            <a:ext cx="603250" cy="29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" name="F458"/>
          <p:cNvSpPr txBox="1">
            <a:spLocks noChangeAspect="1" noChangeArrowheads="1"/>
          </p:cNvSpPr>
          <p:nvPr/>
        </p:nvSpPr>
        <p:spPr bwMode="auto">
          <a:xfrm>
            <a:off x="4627128" y="3999072"/>
            <a:ext cx="457088" cy="137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3763" latinLnBrk="0"/>
            <a:r>
              <a:rPr kumimoji="0" lang="ko-KR" altLang="en-US" sz="900" b="1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</a:t>
            </a:r>
            <a:endParaRPr kumimoji="0" lang="ko-KR" altLang="ko-KR" sz="900" b="1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46" name="직선 화살표 연결선 245"/>
          <p:cNvCxnSpPr>
            <a:stCxn id="237" idx="3"/>
            <a:endCxn id="238" idx="1"/>
          </p:cNvCxnSpPr>
          <p:nvPr/>
        </p:nvCxnSpPr>
        <p:spPr bwMode="auto">
          <a:xfrm>
            <a:off x="4325993" y="3541511"/>
            <a:ext cx="944453" cy="0"/>
          </a:xfrm>
          <a:prstGeom prst="straightConnector1">
            <a:avLst/>
          </a:prstGeom>
          <a:noFill/>
          <a:ln w="6350" cap="flat" cmpd="sng" algn="ctr">
            <a:solidFill>
              <a:srgbClr val="CC0000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247" name="Text Box 21"/>
          <p:cNvSpPr txBox="1">
            <a:spLocks noChangeArrowheads="1"/>
          </p:cNvSpPr>
          <p:nvPr/>
        </p:nvSpPr>
        <p:spPr bwMode="auto">
          <a:xfrm>
            <a:off x="4448944" y="3384501"/>
            <a:ext cx="75501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eartbeat </a:t>
            </a: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체크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8" name="Text Box 21"/>
          <p:cNvSpPr txBox="1">
            <a:spLocks noChangeArrowheads="1"/>
          </p:cNvSpPr>
          <p:nvPr/>
        </p:nvSpPr>
        <p:spPr bwMode="auto">
          <a:xfrm>
            <a:off x="4572146" y="3577954"/>
            <a:ext cx="5834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OGG or HA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9" name="Text Box 21"/>
          <p:cNvSpPr txBox="1">
            <a:spLocks noChangeArrowheads="1"/>
          </p:cNvSpPr>
          <p:nvPr/>
        </p:nvSpPr>
        <p:spPr bwMode="auto">
          <a:xfrm>
            <a:off x="5878967" y="4817030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250" name="Text Box 21"/>
          <p:cNvSpPr txBox="1">
            <a:spLocks noChangeArrowheads="1"/>
          </p:cNvSpPr>
          <p:nvPr/>
        </p:nvSpPr>
        <p:spPr bwMode="auto">
          <a:xfrm>
            <a:off x="4422851" y="4816456"/>
            <a:ext cx="7437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1" name="Text Box 21"/>
          <p:cNvSpPr txBox="1">
            <a:spLocks noChangeArrowheads="1"/>
          </p:cNvSpPr>
          <p:nvPr/>
        </p:nvSpPr>
        <p:spPr bwMode="auto">
          <a:xfrm>
            <a:off x="3702505" y="4817030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252" name="직선 연결선 677"/>
          <p:cNvCxnSpPr>
            <a:cxnSpLocks noChangeShapeType="1"/>
          </p:cNvCxnSpPr>
          <p:nvPr/>
        </p:nvCxnSpPr>
        <p:spPr bwMode="auto">
          <a:xfrm>
            <a:off x="3605524" y="4684886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3" name="직선 연결선 238"/>
          <p:cNvCxnSpPr>
            <a:cxnSpLocks noChangeShapeType="1"/>
          </p:cNvCxnSpPr>
          <p:nvPr/>
        </p:nvCxnSpPr>
        <p:spPr bwMode="auto">
          <a:xfrm>
            <a:off x="4124637" y="4688060"/>
            <a:ext cx="0" cy="180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4" name="직선 연결선 238"/>
          <p:cNvCxnSpPr>
            <a:cxnSpLocks noChangeShapeType="1"/>
          </p:cNvCxnSpPr>
          <p:nvPr/>
        </p:nvCxnSpPr>
        <p:spPr bwMode="auto">
          <a:xfrm>
            <a:off x="5589899" y="4688060"/>
            <a:ext cx="0" cy="180000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5" name="Line 20"/>
          <p:cNvSpPr>
            <a:spLocks noChangeShapeType="1"/>
          </p:cNvSpPr>
          <p:nvPr/>
        </p:nvSpPr>
        <p:spPr bwMode="auto">
          <a:xfrm>
            <a:off x="4159562" y="4935711"/>
            <a:ext cx="1316038" cy="598488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6" name="Line 20"/>
          <p:cNvSpPr>
            <a:spLocks noChangeShapeType="1"/>
          </p:cNvSpPr>
          <p:nvPr/>
        </p:nvSpPr>
        <p:spPr bwMode="auto">
          <a:xfrm flipH="1">
            <a:off x="4254812" y="4940474"/>
            <a:ext cx="1309688" cy="606425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7" name="Line 20"/>
          <p:cNvSpPr>
            <a:spLocks noChangeShapeType="1"/>
          </p:cNvSpPr>
          <p:nvPr/>
        </p:nvSpPr>
        <p:spPr bwMode="auto">
          <a:xfrm flipH="1">
            <a:off x="4030974" y="4945236"/>
            <a:ext cx="0" cy="6191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8" name="Line 20"/>
          <p:cNvSpPr>
            <a:spLocks noChangeShapeType="1"/>
          </p:cNvSpPr>
          <p:nvPr/>
        </p:nvSpPr>
        <p:spPr bwMode="auto">
          <a:xfrm flipH="1">
            <a:off x="5610983" y="4935711"/>
            <a:ext cx="0" cy="606425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59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5875" y="5369014"/>
            <a:ext cx="379884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0" name="Picture 99" descr="Picture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740" y="5369014"/>
            <a:ext cx="379884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1" name="Text Box 22"/>
          <p:cNvSpPr txBox="1">
            <a:spLocks noChangeArrowheads="1"/>
          </p:cNvSpPr>
          <p:nvPr/>
        </p:nvSpPr>
        <p:spPr bwMode="auto">
          <a:xfrm>
            <a:off x="5407157" y="5873018"/>
            <a:ext cx="320601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262" name="Text Box 22"/>
          <p:cNvSpPr txBox="1">
            <a:spLocks noChangeArrowheads="1"/>
          </p:cNvSpPr>
          <p:nvPr/>
        </p:nvSpPr>
        <p:spPr bwMode="auto">
          <a:xfrm>
            <a:off x="3941894" y="5873018"/>
            <a:ext cx="320601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B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pic>
        <p:nvPicPr>
          <p:cNvPr id="263" name="S4131" descr="Untitled-13-01"/>
          <p:cNvPicPr>
            <a:picLocks noChangeAspect="1" noChangeArrowheads="1"/>
          </p:cNvPicPr>
          <p:nvPr/>
        </p:nvPicPr>
        <p:blipFill>
          <a:blip r:embed="rId9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799" y="4837111"/>
            <a:ext cx="329836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4" name="S4131" descr="Untitled-13-01"/>
          <p:cNvPicPr>
            <a:picLocks noChangeAspect="1" noChangeArrowheads="1"/>
          </p:cNvPicPr>
          <p:nvPr/>
        </p:nvPicPr>
        <p:blipFill>
          <a:blip r:embed="rId9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52" y="4837111"/>
            <a:ext cx="329836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5" name="Rectangle 188"/>
          <p:cNvSpPr>
            <a:spLocks noChangeArrowheads="1"/>
          </p:cNvSpPr>
          <p:nvPr/>
        </p:nvSpPr>
        <p:spPr bwMode="auto">
          <a:xfrm>
            <a:off x="3789254" y="5515992"/>
            <a:ext cx="546650" cy="218993"/>
          </a:xfrm>
          <a:prstGeom prst="rect">
            <a:avLst/>
          </a:prstGeom>
          <a:solidFill>
            <a:srgbClr val="FFFFFF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6" name="Rectangle 188"/>
          <p:cNvSpPr>
            <a:spLocks noChangeArrowheads="1"/>
          </p:cNvSpPr>
          <p:nvPr/>
        </p:nvSpPr>
        <p:spPr bwMode="auto">
          <a:xfrm>
            <a:off x="5280357" y="5515992"/>
            <a:ext cx="546650" cy="218993"/>
          </a:xfrm>
          <a:prstGeom prst="rect">
            <a:avLst/>
          </a:prstGeom>
          <a:solidFill>
            <a:srgbClr val="92D050"/>
          </a:solidFill>
          <a:ln w="12700">
            <a:solidFill>
              <a:srgbClr val="97D1E5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kern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  <a:endParaRPr kumimoji="1" lang="ko-KR" altLang="en-US" sz="1000" b="1" i="0" u="none" strike="noStrike" kern="0" cap="none" spc="0" normalizeH="0" noProof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7" name="Line 20"/>
          <p:cNvSpPr>
            <a:spLocks noChangeShapeType="1"/>
          </p:cNvSpPr>
          <p:nvPr/>
        </p:nvSpPr>
        <p:spPr bwMode="auto">
          <a:xfrm>
            <a:off x="4190984" y="5723559"/>
            <a:ext cx="663915" cy="257471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8" name="Line 20"/>
          <p:cNvSpPr>
            <a:spLocks noChangeShapeType="1"/>
          </p:cNvSpPr>
          <p:nvPr/>
        </p:nvSpPr>
        <p:spPr bwMode="auto">
          <a:xfrm flipH="1">
            <a:off x="4827294" y="5723559"/>
            <a:ext cx="663915" cy="257471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69" name="Picture 512" descr="Untitled-2-0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66867" y="5957988"/>
            <a:ext cx="603250" cy="29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0" name="F458"/>
          <p:cNvSpPr txBox="1">
            <a:spLocks noChangeAspect="1" noChangeArrowheads="1"/>
          </p:cNvSpPr>
          <p:nvPr/>
        </p:nvSpPr>
        <p:spPr bwMode="auto">
          <a:xfrm>
            <a:off x="4637039" y="6083050"/>
            <a:ext cx="457088" cy="137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3763" latinLnBrk="0"/>
            <a:r>
              <a:rPr kumimoji="0" lang="ko-KR" altLang="en-US" sz="900" b="1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</a:t>
            </a:r>
            <a:endParaRPr kumimoji="0" lang="ko-KR" altLang="ko-KR" sz="900" b="1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71" name="Picture 142" descr="번개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757091" y="5256562"/>
            <a:ext cx="5238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2" name="Rectangle 188"/>
          <p:cNvSpPr>
            <a:spLocks noChangeArrowheads="1"/>
          </p:cNvSpPr>
          <p:nvPr/>
        </p:nvSpPr>
        <p:spPr bwMode="gray">
          <a:xfrm>
            <a:off x="3931339" y="5309520"/>
            <a:ext cx="1827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장애</a:t>
            </a:r>
          </a:p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생</a:t>
            </a:r>
          </a:p>
        </p:txBody>
      </p:sp>
      <p:pic>
        <p:nvPicPr>
          <p:cNvPr id="273" name="아래로 구부러진 화살표 561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90" y="5444466"/>
            <a:ext cx="10731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4" name="Text Box 21"/>
          <p:cNvSpPr txBox="1">
            <a:spLocks noChangeArrowheads="1"/>
          </p:cNvSpPr>
          <p:nvPr/>
        </p:nvSpPr>
        <p:spPr bwMode="auto">
          <a:xfrm>
            <a:off x="4529299" y="5497720"/>
            <a:ext cx="5033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Take over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517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5.6 </a:t>
            </a:r>
            <a:r>
              <a:rPr lang="ko-KR" altLang="en-US" dirty="0"/>
              <a:t>무역거래 </a:t>
            </a:r>
            <a:r>
              <a:rPr lang="en-US" altLang="ko-KR" dirty="0"/>
              <a:t>Sanctions Screening </a:t>
            </a:r>
            <a:r>
              <a:rPr lang="ko-KR" altLang="en-US" dirty="0"/>
              <a:t>시나리오 구성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7899598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거래에 대한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anctions Screening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나리오를 개발하여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국제 제재 대상을 적시에 효율적으로 모니터링 할 수 있는 체계를 구성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무역거래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anctions Screening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시나리오 구성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6" name="직사각형 25"/>
          <p:cNvSpPr/>
          <p:nvPr/>
        </p:nvSpPr>
        <p:spPr>
          <a:xfrm>
            <a:off x="488504" y="2348879"/>
            <a:ext cx="6192688" cy="2902597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ko-KR" altLang="en-US" sz="1100" spc="-100" dirty="0"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7" name="순서도: 자기 디스크 26"/>
          <p:cNvSpPr/>
          <p:nvPr/>
        </p:nvSpPr>
        <p:spPr>
          <a:xfrm>
            <a:off x="3669182" y="5662961"/>
            <a:ext cx="1287527" cy="427311"/>
          </a:xfrm>
          <a:prstGeom prst="flowChartMagneticDisk">
            <a:avLst/>
          </a:prstGeom>
          <a:solidFill>
            <a:srgbClr val="FFFFFF">
              <a:lumMod val="85000"/>
            </a:srgbClr>
          </a:solidFill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선박 정보</a:t>
            </a:r>
          </a:p>
        </p:txBody>
      </p:sp>
      <p:sp>
        <p:nvSpPr>
          <p:cNvPr id="28" name="순서도: 자기 디스크 27"/>
          <p:cNvSpPr/>
          <p:nvPr/>
        </p:nvSpPr>
        <p:spPr>
          <a:xfrm>
            <a:off x="2100204" y="5662961"/>
            <a:ext cx="1287527" cy="427311"/>
          </a:xfrm>
          <a:prstGeom prst="flowChartMagneticDisk">
            <a:avLst/>
          </a:prstGeom>
          <a:solidFill>
            <a:srgbClr val="FFFFFF">
              <a:lumMod val="85000"/>
            </a:srgbClr>
          </a:solidFill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BL</a:t>
            </a:r>
            <a:r>
              <a:rPr lang="ko-KR" altLang="en-US" sz="11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kumimoji="0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순서도: 자기 디스크 28"/>
          <p:cNvSpPr/>
          <p:nvPr/>
        </p:nvSpPr>
        <p:spPr>
          <a:xfrm>
            <a:off x="531226" y="5662961"/>
            <a:ext cx="1287527" cy="427311"/>
          </a:xfrm>
          <a:prstGeom prst="flowChartMagneticDisk">
            <a:avLst/>
          </a:prstGeom>
          <a:solidFill>
            <a:srgbClr val="FFFFFF">
              <a:lumMod val="85000"/>
            </a:srgbClr>
          </a:solidFill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/C</a:t>
            </a:r>
            <a:r>
              <a:rPr lang="ko-KR" altLang="en-US" sz="11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kumimoji="0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632522" y="2413797"/>
            <a:ext cx="5932466" cy="2726906"/>
            <a:chOff x="776538" y="1921938"/>
            <a:chExt cx="5932466" cy="3239277"/>
          </a:xfrm>
        </p:grpSpPr>
        <p:grpSp>
          <p:nvGrpSpPr>
            <p:cNvPr id="62" name="Gruppieren 5"/>
            <p:cNvGrpSpPr/>
            <p:nvPr/>
          </p:nvGrpSpPr>
          <p:grpSpPr>
            <a:xfrm>
              <a:off x="776538" y="1921938"/>
              <a:ext cx="5932466" cy="3239277"/>
              <a:chOff x="679459" y="1916843"/>
              <a:chExt cx="7758204" cy="4108511"/>
            </a:xfrm>
          </p:grpSpPr>
          <p:sp>
            <p:nvSpPr>
              <p:cNvPr id="7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84222" y="1921606"/>
                <a:ext cx="7753441" cy="41037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" name="Freeform 5"/>
              <p:cNvSpPr>
                <a:spLocks/>
              </p:cNvSpPr>
              <p:nvPr/>
            </p:nvSpPr>
            <p:spPr bwMode="auto">
              <a:xfrm>
                <a:off x="4984811" y="3966335"/>
                <a:ext cx="339730" cy="271466"/>
              </a:xfrm>
              <a:custGeom>
                <a:avLst/>
                <a:gdLst/>
                <a:ahLst/>
                <a:cxnLst>
                  <a:cxn ang="0">
                    <a:pos x="168" y="0"/>
                  </a:cxn>
                  <a:cxn ang="0">
                    <a:pos x="158" y="0"/>
                  </a:cxn>
                  <a:cxn ang="0">
                    <a:pos x="145" y="3"/>
                  </a:cxn>
                  <a:cxn ang="0">
                    <a:pos x="151" y="23"/>
                  </a:cxn>
                  <a:cxn ang="0">
                    <a:pos x="132" y="46"/>
                  </a:cxn>
                  <a:cxn ang="0">
                    <a:pos x="119" y="46"/>
                  </a:cxn>
                  <a:cxn ang="0">
                    <a:pos x="105" y="36"/>
                  </a:cxn>
                  <a:cxn ang="0">
                    <a:pos x="92" y="46"/>
                  </a:cxn>
                  <a:cxn ang="0">
                    <a:pos x="86" y="49"/>
                  </a:cxn>
                  <a:cxn ang="0">
                    <a:pos x="72" y="52"/>
                  </a:cxn>
                  <a:cxn ang="0">
                    <a:pos x="63" y="49"/>
                  </a:cxn>
                  <a:cxn ang="0">
                    <a:pos x="36" y="49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43"/>
                  </a:cxn>
                  <a:cxn ang="0">
                    <a:pos x="6" y="49"/>
                  </a:cxn>
                  <a:cxn ang="0">
                    <a:pos x="3" y="69"/>
                  </a:cxn>
                  <a:cxn ang="0">
                    <a:pos x="16" y="72"/>
                  </a:cxn>
                  <a:cxn ang="0">
                    <a:pos x="16" y="79"/>
                  </a:cxn>
                  <a:cxn ang="0">
                    <a:pos x="36" y="89"/>
                  </a:cxn>
                  <a:cxn ang="0">
                    <a:pos x="36" y="99"/>
                  </a:cxn>
                  <a:cxn ang="0">
                    <a:pos x="53" y="112"/>
                  </a:cxn>
                  <a:cxn ang="0">
                    <a:pos x="59" y="122"/>
                  </a:cxn>
                  <a:cxn ang="0">
                    <a:pos x="66" y="135"/>
                  </a:cxn>
                  <a:cxn ang="0">
                    <a:pos x="69" y="142"/>
                  </a:cxn>
                  <a:cxn ang="0">
                    <a:pos x="72" y="145"/>
                  </a:cxn>
                  <a:cxn ang="0">
                    <a:pos x="89" y="155"/>
                  </a:cxn>
                  <a:cxn ang="0">
                    <a:pos x="99" y="155"/>
                  </a:cxn>
                  <a:cxn ang="0">
                    <a:pos x="105" y="151"/>
                  </a:cxn>
                  <a:cxn ang="0">
                    <a:pos x="115" y="161"/>
                  </a:cxn>
                  <a:cxn ang="0">
                    <a:pos x="128" y="171"/>
                  </a:cxn>
                  <a:cxn ang="0">
                    <a:pos x="128" y="168"/>
                  </a:cxn>
                  <a:cxn ang="0">
                    <a:pos x="142" y="168"/>
                  </a:cxn>
                  <a:cxn ang="0">
                    <a:pos x="145" y="171"/>
                  </a:cxn>
                  <a:cxn ang="0">
                    <a:pos x="155" y="168"/>
                  </a:cxn>
                  <a:cxn ang="0">
                    <a:pos x="171" y="168"/>
                  </a:cxn>
                  <a:cxn ang="0">
                    <a:pos x="178" y="155"/>
                  </a:cxn>
                  <a:cxn ang="0">
                    <a:pos x="188" y="151"/>
                  </a:cxn>
                  <a:cxn ang="0">
                    <a:pos x="214" y="151"/>
                  </a:cxn>
                  <a:cxn ang="0">
                    <a:pos x="208" y="135"/>
                  </a:cxn>
                  <a:cxn ang="0">
                    <a:pos x="198" y="132"/>
                  </a:cxn>
                  <a:cxn ang="0">
                    <a:pos x="191" y="118"/>
                  </a:cxn>
                  <a:cxn ang="0">
                    <a:pos x="188" y="105"/>
                  </a:cxn>
                  <a:cxn ang="0">
                    <a:pos x="168" y="89"/>
                  </a:cxn>
                  <a:cxn ang="0">
                    <a:pos x="161" y="82"/>
                  </a:cxn>
                  <a:cxn ang="0">
                    <a:pos x="168" y="76"/>
                  </a:cxn>
                  <a:cxn ang="0">
                    <a:pos x="178" y="72"/>
                  </a:cxn>
                  <a:cxn ang="0">
                    <a:pos x="184" y="49"/>
                  </a:cxn>
                  <a:cxn ang="0">
                    <a:pos x="184" y="43"/>
                  </a:cxn>
                  <a:cxn ang="0">
                    <a:pos x="168" y="26"/>
                  </a:cxn>
                  <a:cxn ang="0">
                    <a:pos x="168" y="0"/>
                  </a:cxn>
                </a:cxnLst>
                <a:rect l="0" t="0" r="r" b="b"/>
                <a:pathLst>
                  <a:path w="214" h="171">
                    <a:moveTo>
                      <a:pt x="168" y="0"/>
                    </a:moveTo>
                    <a:lnTo>
                      <a:pt x="158" y="0"/>
                    </a:lnTo>
                    <a:lnTo>
                      <a:pt x="145" y="3"/>
                    </a:lnTo>
                    <a:lnTo>
                      <a:pt x="151" y="23"/>
                    </a:lnTo>
                    <a:lnTo>
                      <a:pt x="132" y="46"/>
                    </a:lnTo>
                    <a:lnTo>
                      <a:pt x="119" y="46"/>
                    </a:lnTo>
                    <a:lnTo>
                      <a:pt x="105" y="36"/>
                    </a:lnTo>
                    <a:lnTo>
                      <a:pt x="92" y="46"/>
                    </a:lnTo>
                    <a:lnTo>
                      <a:pt x="86" y="49"/>
                    </a:lnTo>
                    <a:lnTo>
                      <a:pt x="72" y="52"/>
                    </a:lnTo>
                    <a:lnTo>
                      <a:pt x="63" y="49"/>
                    </a:lnTo>
                    <a:lnTo>
                      <a:pt x="36" y="49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43"/>
                    </a:lnTo>
                    <a:lnTo>
                      <a:pt x="6" y="49"/>
                    </a:lnTo>
                    <a:lnTo>
                      <a:pt x="3" y="69"/>
                    </a:lnTo>
                    <a:lnTo>
                      <a:pt x="16" y="72"/>
                    </a:lnTo>
                    <a:lnTo>
                      <a:pt x="16" y="79"/>
                    </a:lnTo>
                    <a:lnTo>
                      <a:pt x="36" y="89"/>
                    </a:lnTo>
                    <a:lnTo>
                      <a:pt x="36" y="99"/>
                    </a:lnTo>
                    <a:lnTo>
                      <a:pt x="53" y="112"/>
                    </a:lnTo>
                    <a:lnTo>
                      <a:pt x="59" y="122"/>
                    </a:lnTo>
                    <a:lnTo>
                      <a:pt x="66" y="135"/>
                    </a:lnTo>
                    <a:lnTo>
                      <a:pt x="69" y="142"/>
                    </a:lnTo>
                    <a:lnTo>
                      <a:pt x="72" y="145"/>
                    </a:lnTo>
                    <a:lnTo>
                      <a:pt x="89" y="155"/>
                    </a:lnTo>
                    <a:lnTo>
                      <a:pt x="99" y="155"/>
                    </a:lnTo>
                    <a:lnTo>
                      <a:pt x="105" y="151"/>
                    </a:lnTo>
                    <a:lnTo>
                      <a:pt x="115" y="161"/>
                    </a:lnTo>
                    <a:lnTo>
                      <a:pt x="128" y="171"/>
                    </a:lnTo>
                    <a:lnTo>
                      <a:pt x="128" y="168"/>
                    </a:lnTo>
                    <a:lnTo>
                      <a:pt x="142" y="168"/>
                    </a:lnTo>
                    <a:lnTo>
                      <a:pt x="145" y="171"/>
                    </a:lnTo>
                    <a:lnTo>
                      <a:pt x="155" y="168"/>
                    </a:lnTo>
                    <a:lnTo>
                      <a:pt x="171" y="168"/>
                    </a:lnTo>
                    <a:lnTo>
                      <a:pt x="178" y="155"/>
                    </a:lnTo>
                    <a:lnTo>
                      <a:pt x="188" y="151"/>
                    </a:lnTo>
                    <a:lnTo>
                      <a:pt x="214" y="151"/>
                    </a:lnTo>
                    <a:lnTo>
                      <a:pt x="208" y="135"/>
                    </a:lnTo>
                    <a:lnTo>
                      <a:pt x="198" y="132"/>
                    </a:lnTo>
                    <a:lnTo>
                      <a:pt x="191" y="118"/>
                    </a:lnTo>
                    <a:lnTo>
                      <a:pt x="188" y="105"/>
                    </a:lnTo>
                    <a:lnTo>
                      <a:pt x="168" y="89"/>
                    </a:lnTo>
                    <a:lnTo>
                      <a:pt x="161" y="82"/>
                    </a:lnTo>
                    <a:lnTo>
                      <a:pt x="168" y="76"/>
                    </a:lnTo>
                    <a:lnTo>
                      <a:pt x="178" y="72"/>
                    </a:lnTo>
                    <a:lnTo>
                      <a:pt x="184" y="49"/>
                    </a:lnTo>
                    <a:lnTo>
                      <a:pt x="184" y="43"/>
                    </a:lnTo>
                    <a:lnTo>
                      <a:pt x="168" y="26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" name="Freeform 6"/>
              <p:cNvSpPr>
                <a:spLocks/>
              </p:cNvSpPr>
              <p:nvPr/>
            </p:nvSpPr>
            <p:spPr bwMode="auto">
              <a:xfrm>
                <a:off x="4943534" y="3625018"/>
                <a:ext cx="433393" cy="423869"/>
              </a:xfrm>
              <a:custGeom>
                <a:avLst/>
                <a:gdLst/>
                <a:ahLst/>
                <a:cxnLst>
                  <a:cxn ang="0">
                    <a:pos x="78" y="25"/>
                  </a:cxn>
                  <a:cxn ang="0">
                    <a:pos x="67" y="0"/>
                  </a:cxn>
                  <a:cxn ang="0">
                    <a:pos x="65" y="2"/>
                  </a:cxn>
                  <a:cxn ang="0">
                    <a:pos x="64" y="1"/>
                  </a:cxn>
                  <a:cxn ang="0">
                    <a:pos x="62" y="4"/>
                  </a:cxn>
                  <a:cxn ang="0">
                    <a:pos x="60" y="6"/>
                  </a:cxn>
                  <a:cxn ang="0">
                    <a:pos x="59" y="7"/>
                  </a:cxn>
                  <a:cxn ang="0">
                    <a:pos x="53" y="7"/>
                  </a:cxn>
                  <a:cxn ang="0">
                    <a:pos x="47" y="6"/>
                  </a:cxn>
                  <a:cxn ang="0">
                    <a:pos x="47" y="6"/>
                  </a:cxn>
                  <a:cxn ang="0">
                    <a:pos x="45" y="6"/>
                  </a:cxn>
                  <a:cxn ang="0">
                    <a:pos x="14" y="6"/>
                  </a:cxn>
                  <a:cxn ang="0">
                    <a:pos x="14" y="12"/>
                  </a:cxn>
                  <a:cxn ang="0">
                    <a:pos x="15" y="19"/>
                  </a:cxn>
                  <a:cxn ang="0">
                    <a:pos x="10" y="19"/>
                  </a:cxn>
                  <a:cxn ang="0">
                    <a:pos x="10" y="21"/>
                  </a:cxn>
                  <a:cxn ang="0">
                    <a:pos x="10" y="39"/>
                  </a:cxn>
                  <a:cxn ang="0">
                    <a:pos x="11" y="44"/>
                  </a:cxn>
                  <a:cxn ang="0">
                    <a:pos x="7" y="44"/>
                  </a:cxn>
                  <a:cxn ang="0">
                    <a:pos x="5" y="46"/>
                  </a:cxn>
                  <a:cxn ang="0">
                    <a:pos x="3" y="50"/>
                  </a:cxn>
                  <a:cxn ang="0">
                    <a:pos x="3" y="53"/>
                  </a:cxn>
                  <a:cxn ang="0">
                    <a:pos x="2" y="54"/>
                  </a:cxn>
                  <a:cxn ang="0">
                    <a:pos x="2" y="57"/>
                  </a:cxn>
                  <a:cxn ang="0">
                    <a:pos x="0" y="61"/>
                  </a:cxn>
                  <a:cxn ang="0">
                    <a:pos x="2" y="63"/>
                  </a:cxn>
                  <a:cxn ang="0">
                    <a:pos x="4" y="67"/>
                  </a:cxn>
                  <a:cxn ang="0">
                    <a:pos x="4" y="69"/>
                  </a:cxn>
                  <a:cxn ang="0">
                    <a:pos x="5" y="73"/>
                  </a:cxn>
                  <a:cxn ang="0">
                    <a:pos x="7" y="77"/>
                  </a:cxn>
                  <a:cxn ang="0">
                    <a:pos x="8" y="78"/>
                  </a:cxn>
                  <a:cxn ang="0">
                    <a:pos x="12" y="75"/>
                  </a:cxn>
                  <a:cxn ang="0">
                    <a:pos x="16" y="75"/>
                  </a:cxn>
                  <a:cxn ang="0">
                    <a:pos x="19" y="80"/>
                  </a:cxn>
                  <a:cxn ang="0">
                    <a:pos x="27" y="80"/>
                  </a:cxn>
                  <a:cxn ang="0">
                    <a:pos x="30" y="81"/>
                  </a:cxn>
                  <a:cxn ang="0">
                    <a:pos x="34" y="80"/>
                  </a:cxn>
                  <a:cxn ang="0">
                    <a:pos x="36" y="79"/>
                  </a:cxn>
                  <a:cxn ang="0">
                    <a:pos x="40" y="76"/>
                  </a:cxn>
                  <a:cxn ang="0">
                    <a:pos x="44" y="79"/>
                  </a:cxn>
                  <a:cxn ang="0">
                    <a:pos x="48" y="79"/>
                  </a:cxn>
                  <a:cxn ang="0">
                    <a:pos x="54" y="72"/>
                  </a:cxn>
                  <a:cxn ang="0">
                    <a:pos x="52" y="66"/>
                  </a:cxn>
                  <a:cxn ang="0">
                    <a:pos x="56" y="65"/>
                  </a:cxn>
                  <a:cxn ang="0">
                    <a:pos x="59" y="65"/>
                  </a:cxn>
                  <a:cxn ang="0">
                    <a:pos x="59" y="73"/>
                  </a:cxn>
                  <a:cxn ang="0">
                    <a:pos x="64" y="78"/>
                  </a:cxn>
                  <a:cxn ang="0">
                    <a:pos x="65" y="74"/>
                  </a:cxn>
                  <a:cxn ang="0">
                    <a:pos x="67" y="74"/>
                  </a:cxn>
                  <a:cxn ang="0">
                    <a:pos x="68" y="67"/>
                  </a:cxn>
                  <a:cxn ang="0">
                    <a:pos x="73" y="57"/>
                  </a:cxn>
                  <a:cxn ang="0">
                    <a:pos x="75" y="53"/>
                  </a:cxn>
                  <a:cxn ang="0">
                    <a:pos x="75" y="44"/>
                  </a:cxn>
                  <a:cxn ang="0">
                    <a:pos x="77" y="37"/>
                  </a:cxn>
                  <a:cxn ang="0">
                    <a:pos x="80" y="33"/>
                  </a:cxn>
                  <a:cxn ang="0">
                    <a:pos x="83" y="31"/>
                  </a:cxn>
                  <a:cxn ang="0">
                    <a:pos x="78" y="25"/>
                  </a:cxn>
                </a:cxnLst>
                <a:rect l="0" t="0" r="r" b="b"/>
                <a:pathLst>
                  <a:path w="83" h="81">
                    <a:moveTo>
                      <a:pt x="78" y="25"/>
                    </a:moveTo>
                    <a:cubicBezTo>
                      <a:pt x="75" y="15"/>
                      <a:pt x="77" y="8"/>
                      <a:pt x="67" y="0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4" y="1"/>
                      <a:pt x="64" y="1"/>
                      <a:pt x="64" y="1"/>
                    </a:cubicBezTo>
                    <a:cubicBezTo>
                      <a:pt x="62" y="4"/>
                      <a:pt x="62" y="4"/>
                      <a:pt x="62" y="4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3" y="50"/>
                      <a:pt x="3" y="50"/>
                      <a:pt x="3" y="50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7"/>
                      <a:pt x="2" y="57"/>
                      <a:pt x="2" y="57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3"/>
                      <a:pt x="2" y="63"/>
                      <a:pt x="2" y="63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4" y="69"/>
                      <a:pt x="4" y="69"/>
                      <a:pt x="4" y="69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7" y="77"/>
                      <a:pt x="7" y="77"/>
                      <a:pt x="7" y="77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7" y="80"/>
                      <a:pt x="27" y="80"/>
                      <a:pt x="27" y="80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34" y="80"/>
                      <a:pt x="34" y="80"/>
                      <a:pt x="34" y="80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4" y="79"/>
                      <a:pt x="44" y="79"/>
                      <a:pt x="44" y="79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4" y="72"/>
                      <a:pt x="54" y="72"/>
                      <a:pt x="54" y="72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6" y="65"/>
                      <a:pt x="56" y="65"/>
                      <a:pt x="56" y="65"/>
                    </a:cubicBezTo>
                    <a:cubicBezTo>
                      <a:pt x="59" y="65"/>
                      <a:pt x="59" y="65"/>
                      <a:pt x="59" y="65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64" y="78"/>
                      <a:pt x="64" y="78"/>
                      <a:pt x="64" y="78"/>
                    </a:cubicBezTo>
                    <a:cubicBezTo>
                      <a:pt x="65" y="74"/>
                      <a:pt x="65" y="74"/>
                      <a:pt x="65" y="74"/>
                    </a:cubicBezTo>
                    <a:cubicBezTo>
                      <a:pt x="67" y="74"/>
                      <a:pt x="67" y="74"/>
                      <a:pt x="67" y="74"/>
                    </a:cubicBezTo>
                    <a:cubicBezTo>
                      <a:pt x="68" y="67"/>
                      <a:pt x="68" y="67"/>
                      <a:pt x="68" y="67"/>
                    </a:cubicBezTo>
                    <a:cubicBezTo>
                      <a:pt x="73" y="57"/>
                      <a:pt x="73" y="57"/>
                      <a:pt x="73" y="57"/>
                    </a:cubicBezTo>
                    <a:cubicBezTo>
                      <a:pt x="75" y="53"/>
                      <a:pt x="75" y="53"/>
                      <a:pt x="75" y="53"/>
                    </a:cubicBezTo>
                    <a:cubicBezTo>
                      <a:pt x="75" y="44"/>
                      <a:pt x="75" y="44"/>
                      <a:pt x="75" y="44"/>
                    </a:cubicBezTo>
                    <a:cubicBezTo>
                      <a:pt x="77" y="37"/>
                      <a:pt x="77" y="37"/>
                      <a:pt x="77" y="37"/>
                    </a:cubicBezTo>
                    <a:cubicBezTo>
                      <a:pt x="80" y="33"/>
                      <a:pt x="80" y="33"/>
                      <a:pt x="80" y="33"/>
                    </a:cubicBezTo>
                    <a:cubicBezTo>
                      <a:pt x="83" y="31"/>
                      <a:pt x="83" y="31"/>
                      <a:pt x="83" y="31"/>
                    </a:cubicBezTo>
                    <a:lnTo>
                      <a:pt x="78" y="25"/>
                    </a:lnTo>
                    <a:close/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" name="Freeform 7"/>
              <p:cNvSpPr>
                <a:spLocks/>
              </p:cNvSpPr>
              <p:nvPr/>
            </p:nvSpPr>
            <p:spPr bwMode="auto">
              <a:xfrm>
                <a:off x="3116300" y="1916843"/>
                <a:ext cx="1047762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" name="Freeform 8"/>
              <p:cNvSpPr>
                <a:spLocks/>
              </p:cNvSpPr>
              <p:nvPr/>
            </p:nvSpPr>
            <p:spPr bwMode="auto">
              <a:xfrm>
                <a:off x="3116300" y="1916843"/>
                <a:ext cx="1047762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" name="Freeform 9"/>
              <p:cNvSpPr>
                <a:spLocks/>
              </p:cNvSpPr>
              <p:nvPr/>
            </p:nvSpPr>
            <p:spPr bwMode="auto">
              <a:xfrm>
                <a:off x="3116300" y="1916843"/>
                <a:ext cx="1047762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" name="Freeform 10"/>
              <p:cNvSpPr>
                <a:spLocks/>
              </p:cNvSpPr>
              <p:nvPr/>
            </p:nvSpPr>
            <p:spPr bwMode="auto">
              <a:xfrm>
                <a:off x="3116300" y="1916843"/>
                <a:ext cx="1047762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" name="Freeform 11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" name="Freeform 12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" name="Freeform 13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" name="Freeform 14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" name="Freeform 15"/>
              <p:cNvSpPr>
                <a:spLocks/>
              </p:cNvSpPr>
              <p:nvPr/>
            </p:nvSpPr>
            <p:spPr bwMode="auto">
              <a:xfrm>
                <a:off x="6904119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" name="Freeform 16"/>
              <p:cNvSpPr>
                <a:spLocks/>
              </p:cNvSpPr>
              <p:nvPr/>
            </p:nvSpPr>
            <p:spPr bwMode="auto">
              <a:xfrm>
                <a:off x="6904119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" name="Freeform 17"/>
              <p:cNvSpPr>
                <a:spLocks/>
              </p:cNvSpPr>
              <p:nvPr/>
            </p:nvSpPr>
            <p:spPr bwMode="auto">
              <a:xfrm>
                <a:off x="6904119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" name="Freeform 18"/>
              <p:cNvSpPr>
                <a:spLocks/>
              </p:cNvSpPr>
              <p:nvPr/>
            </p:nvSpPr>
            <p:spPr bwMode="auto">
              <a:xfrm>
                <a:off x="6904119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" name="Freeform 19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" name="Freeform 20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" name="Freeform 21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" name="Freeform 22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" name="Freeform 23"/>
              <p:cNvSpPr>
                <a:spLocks/>
              </p:cNvSpPr>
              <p:nvPr/>
            </p:nvSpPr>
            <p:spPr bwMode="auto">
              <a:xfrm>
                <a:off x="7170823" y="4536258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" name="Freeform 24"/>
              <p:cNvSpPr>
                <a:spLocks/>
              </p:cNvSpPr>
              <p:nvPr/>
            </p:nvSpPr>
            <p:spPr bwMode="auto">
              <a:xfrm>
                <a:off x="7170823" y="4536258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" name="Freeform 25"/>
              <p:cNvSpPr>
                <a:spLocks/>
              </p:cNvSpPr>
              <p:nvPr/>
            </p:nvSpPr>
            <p:spPr bwMode="auto">
              <a:xfrm>
                <a:off x="7170823" y="4536258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" name="Freeform 26"/>
              <p:cNvSpPr>
                <a:spLocks/>
              </p:cNvSpPr>
              <p:nvPr/>
            </p:nvSpPr>
            <p:spPr bwMode="auto">
              <a:xfrm>
                <a:off x="7170823" y="4536258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" name="Freeform 27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" name="Freeform 28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" name="Freeform 29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" name="Freeform 30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" name="Freeform 31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" name="Freeform 32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" name="Freeform 33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" name="Freeform 34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" name="Freeform 35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" name="Freeform 36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" name="Freeform 37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" name="Freeform 38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" name="Freeform 39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" name="Freeform 40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" name="Freeform 41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" name="Freeform 42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" name="Freeform 43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" name="Freeform 44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" name="Freeform 45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" name="Freeform 46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" name="Freeform 47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" name="Freeform 48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" name="Freeform 49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" name="Freeform 50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" name="Freeform 51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" name="Freeform 52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" name="Freeform 53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" name="Freeform 54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" name="Freeform 55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" name="Freeform 56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" name="Freeform 57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" name="Freeform 58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" name="Freeform 59"/>
              <p:cNvSpPr>
                <a:spLocks/>
              </p:cNvSpPr>
              <p:nvPr/>
            </p:nvSpPr>
            <p:spPr bwMode="auto">
              <a:xfrm>
                <a:off x="7291474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" name="Freeform 60"/>
              <p:cNvSpPr>
                <a:spLocks/>
              </p:cNvSpPr>
              <p:nvPr/>
            </p:nvSpPr>
            <p:spPr bwMode="auto">
              <a:xfrm>
                <a:off x="7291474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" name="Freeform 61"/>
              <p:cNvSpPr>
                <a:spLocks/>
              </p:cNvSpPr>
              <p:nvPr/>
            </p:nvSpPr>
            <p:spPr bwMode="auto">
              <a:xfrm>
                <a:off x="7291474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" name="Freeform 62"/>
              <p:cNvSpPr>
                <a:spLocks/>
              </p:cNvSpPr>
              <p:nvPr/>
            </p:nvSpPr>
            <p:spPr bwMode="auto">
              <a:xfrm>
                <a:off x="7291474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" name="Freeform 63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" name="Freeform 64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" name="Freeform 65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" name="Freeform 66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" name="Freeform 67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" name="Freeform 68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" name="Freeform 69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" name="Freeform 70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" name="Freeform 71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" name="Freeform 72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" name="Freeform 73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" name="Freeform 74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" name="Freeform 75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" name="Freeform 76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" name="Freeform 77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" name="Freeform 78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" name="Freeform 79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" name="Freeform 80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" name="Freeform 81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" name="Freeform 82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" name="Freeform 83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" name="Freeform 84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" name="Freeform 85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" name="Freeform 86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" name="Freeform 87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" name="Freeform 88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" name="Freeform 89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" name="Freeform 90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" name="Freeform 91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" name="Freeform 92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" name="Freeform 93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" name="Freeform 94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" name="Freeform 95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" name="Freeform 96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" name="Freeform 97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" name="Freeform 98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" name="Freeform 99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" name="Freeform 100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" name="Freeform 101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" name="Freeform 102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" name="Freeform 103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29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" name="Freeform 104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29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" name="Freeform 105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29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" name="Freeform 106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29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" name="Freeform 107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" name="Freeform 108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" name="Freeform 109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" name="Freeform 110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" name="Freeform 111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" name="Freeform 112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" name="Freeform 113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" name="Freeform 114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" name="Freeform 115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" name="Freeform 116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" name="Freeform 117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" name="Freeform 118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" name="Freeform 119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" name="Freeform 120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" name="Freeform 121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" name="Freeform 122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" name="Freeform 123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" name="Freeform 124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" name="Freeform 125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" name="Freeform 126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" name="Freeform 127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" name="Freeform 128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" name="Freeform 129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" name="Freeform 130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" name="Freeform 131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" name="Freeform 132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" name="Freeform 133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" name="Freeform 134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" name="Freeform 135"/>
              <p:cNvSpPr>
                <a:spLocks/>
              </p:cNvSpPr>
              <p:nvPr/>
            </p:nvSpPr>
            <p:spPr bwMode="auto">
              <a:xfrm>
                <a:off x="5675380" y="3536118"/>
                <a:ext cx="1588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" name="Line 136"/>
              <p:cNvSpPr>
                <a:spLocks noChangeShapeType="1"/>
              </p:cNvSpPr>
              <p:nvPr/>
            </p:nvSpPr>
            <p:spPr bwMode="auto">
              <a:xfrm>
                <a:off x="5675380" y="3536118"/>
                <a:ext cx="1588" cy="4763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" name="Freeform 137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" name="Freeform 138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" name="Freeform 139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" name="Freeform 140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" name="Freeform 141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" name="Freeform 142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" name="Freeform 143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3" name="Freeform 144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4" name="Freeform 145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5" name="Freeform 146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6" name="Freeform 147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7" name="Freeform 148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8" name="Freeform 149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9" name="Freeform 150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0" name="Freeform 151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1" name="Freeform 152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2" name="Freeform 153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3" name="Freeform 154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4" name="Freeform 155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5" name="Freeform 156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6" name="Freeform 157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7" name="Freeform 158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8" name="Freeform 159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39" name="Freeform 160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0" name="Freeform 161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1" name="Freeform 162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2" name="Freeform 163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3" name="Freeform 164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4" name="Freeform 165"/>
              <p:cNvSpPr>
                <a:spLocks/>
              </p:cNvSpPr>
              <p:nvPr/>
            </p:nvSpPr>
            <p:spPr bwMode="auto">
              <a:xfrm>
                <a:off x="4749857" y="4007612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5" name="Freeform 166"/>
              <p:cNvSpPr>
                <a:spLocks/>
              </p:cNvSpPr>
              <p:nvPr/>
            </p:nvSpPr>
            <p:spPr bwMode="auto">
              <a:xfrm>
                <a:off x="4749857" y="4007612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6" name="Freeform 167"/>
              <p:cNvSpPr>
                <a:spLocks/>
              </p:cNvSpPr>
              <p:nvPr/>
            </p:nvSpPr>
            <p:spPr bwMode="auto">
              <a:xfrm>
                <a:off x="4749857" y="4007612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7" name="Freeform 168"/>
              <p:cNvSpPr>
                <a:spLocks/>
              </p:cNvSpPr>
              <p:nvPr/>
            </p:nvSpPr>
            <p:spPr bwMode="auto">
              <a:xfrm>
                <a:off x="4749857" y="4007612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8" name="Freeform 169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49" name="Freeform 170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0" name="Freeform 171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1" name="Freeform 172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2" name="Freeform 173"/>
              <p:cNvSpPr>
                <a:spLocks/>
              </p:cNvSpPr>
              <p:nvPr/>
            </p:nvSpPr>
            <p:spPr bwMode="auto">
              <a:xfrm>
                <a:off x="4137075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3" name="Freeform 174"/>
              <p:cNvSpPr>
                <a:spLocks/>
              </p:cNvSpPr>
              <p:nvPr/>
            </p:nvSpPr>
            <p:spPr bwMode="auto">
              <a:xfrm>
                <a:off x="4137075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4" name="Freeform 175"/>
              <p:cNvSpPr>
                <a:spLocks/>
              </p:cNvSpPr>
              <p:nvPr/>
            </p:nvSpPr>
            <p:spPr bwMode="auto">
              <a:xfrm>
                <a:off x="4137075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5" name="Freeform 176"/>
              <p:cNvSpPr>
                <a:spLocks/>
              </p:cNvSpPr>
              <p:nvPr/>
            </p:nvSpPr>
            <p:spPr bwMode="auto">
              <a:xfrm>
                <a:off x="4137075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6" name="Freeform 177"/>
              <p:cNvSpPr>
                <a:spLocks/>
              </p:cNvSpPr>
              <p:nvPr/>
            </p:nvSpPr>
            <p:spPr bwMode="auto">
              <a:xfrm>
                <a:off x="4137075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7" name="Freeform 178"/>
              <p:cNvSpPr>
                <a:spLocks/>
              </p:cNvSpPr>
              <p:nvPr/>
            </p:nvSpPr>
            <p:spPr bwMode="auto">
              <a:xfrm>
                <a:off x="4137075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8" name="Freeform 179"/>
              <p:cNvSpPr>
                <a:spLocks/>
              </p:cNvSpPr>
              <p:nvPr/>
            </p:nvSpPr>
            <p:spPr bwMode="auto">
              <a:xfrm>
                <a:off x="4137075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59" name="Freeform 180"/>
              <p:cNvSpPr>
                <a:spLocks/>
              </p:cNvSpPr>
              <p:nvPr/>
            </p:nvSpPr>
            <p:spPr bwMode="auto">
              <a:xfrm>
                <a:off x="4137075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0" name="Freeform 181"/>
              <p:cNvSpPr>
                <a:spLocks/>
              </p:cNvSpPr>
              <p:nvPr/>
            </p:nvSpPr>
            <p:spPr bwMode="auto">
              <a:xfrm>
                <a:off x="4602218" y="3315451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1" name="Freeform 182"/>
              <p:cNvSpPr>
                <a:spLocks/>
              </p:cNvSpPr>
              <p:nvPr/>
            </p:nvSpPr>
            <p:spPr bwMode="auto">
              <a:xfrm>
                <a:off x="4602218" y="3315451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2" name="Freeform 183"/>
              <p:cNvSpPr>
                <a:spLocks/>
              </p:cNvSpPr>
              <p:nvPr/>
            </p:nvSpPr>
            <p:spPr bwMode="auto">
              <a:xfrm>
                <a:off x="4602218" y="3315451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3" name="Freeform 184"/>
              <p:cNvSpPr>
                <a:spLocks/>
              </p:cNvSpPr>
              <p:nvPr/>
            </p:nvSpPr>
            <p:spPr bwMode="auto">
              <a:xfrm>
                <a:off x="4602218" y="3315451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4" name="Freeform 185"/>
              <p:cNvSpPr>
                <a:spLocks/>
              </p:cNvSpPr>
              <p:nvPr/>
            </p:nvSpPr>
            <p:spPr bwMode="auto">
              <a:xfrm>
                <a:off x="4037061" y="3567868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5" name="Freeform 186"/>
              <p:cNvSpPr>
                <a:spLocks/>
              </p:cNvSpPr>
              <p:nvPr/>
            </p:nvSpPr>
            <p:spPr bwMode="auto">
              <a:xfrm>
                <a:off x="4037061" y="3567868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6" name="Freeform 187"/>
              <p:cNvSpPr>
                <a:spLocks/>
              </p:cNvSpPr>
              <p:nvPr/>
            </p:nvSpPr>
            <p:spPr bwMode="auto">
              <a:xfrm>
                <a:off x="4037061" y="3567868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7" name="Freeform 188"/>
              <p:cNvSpPr>
                <a:spLocks/>
              </p:cNvSpPr>
              <p:nvPr/>
            </p:nvSpPr>
            <p:spPr bwMode="auto">
              <a:xfrm>
                <a:off x="4037061" y="3567868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8" name="Freeform 189"/>
              <p:cNvSpPr>
                <a:spLocks/>
              </p:cNvSpPr>
              <p:nvPr/>
            </p:nvSpPr>
            <p:spPr bwMode="auto">
              <a:xfrm>
                <a:off x="3917997" y="3499605"/>
                <a:ext cx="319091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69" name="Freeform 190"/>
              <p:cNvSpPr>
                <a:spLocks/>
              </p:cNvSpPr>
              <p:nvPr/>
            </p:nvSpPr>
            <p:spPr bwMode="auto">
              <a:xfrm>
                <a:off x="3917997" y="3499605"/>
                <a:ext cx="319091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0" name="Freeform 191"/>
              <p:cNvSpPr>
                <a:spLocks/>
              </p:cNvSpPr>
              <p:nvPr/>
            </p:nvSpPr>
            <p:spPr bwMode="auto">
              <a:xfrm>
                <a:off x="3917997" y="3499605"/>
                <a:ext cx="319091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1" name="Freeform 192"/>
              <p:cNvSpPr>
                <a:spLocks/>
              </p:cNvSpPr>
              <p:nvPr/>
            </p:nvSpPr>
            <p:spPr bwMode="auto">
              <a:xfrm>
                <a:off x="3917997" y="3499605"/>
                <a:ext cx="319091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2" name="Freeform 193"/>
              <p:cNvSpPr>
                <a:spLocks/>
              </p:cNvSpPr>
              <p:nvPr/>
            </p:nvSpPr>
            <p:spPr bwMode="auto">
              <a:xfrm>
                <a:off x="4027536" y="3226550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3" name="Freeform 194"/>
              <p:cNvSpPr>
                <a:spLocks/>
              </p:cNvSpPr>
              <p:nvPr/>
            </p:nvSpPr>
            <p:spPr bwMode="auto">
              <a:xfrm>
                <a:off x="4027536" y="3226550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4" name="Freeform 195"/>
              <p:cNvSpPr>
                <a:spLocks/>
              </p:cNvSpPr>
              <p:nvPr/>
            </p:nvSpPr>
            <p:spPr bwMode="auto">
              <a:xfrm>
                <a:off x="4027536" y="3226550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5" name="Freeform 196"/>
              <p:cNvSpPr>
                <a:spLocks/>
              </p:cNvSpPr>
              <p:nvPr/>
            </p:nvSpPr>
            <p:spPr bwMode="auto">
              <a:xfrm>
                <a:off x="4027536" y="3226550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6" name="Freeform 197"/>
              <p:cNvSpPr>
                <a:spLocks/>
              </p:cNvSpPr>
              <p:nvPr/>
            </p:nvSpPr>
            <p:spPr bwMode="auto">
              <a:xfrm>
                <a:off x="4372028" y="3613906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7" name="Freeform 198"/>
              <p:cNvSpPr>
                <a:spLocks/>
              </p:cNvSpPr>
              <p:nvPr/>
            </p:nvSpPr>
            <p:spPr bwMode="auto">
              <a:xfrm>
                <a:off x="4372028" y="3613906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8" name="Freeform 199"/>
              <p:cNvSpPr>
                <a:spLocks/>
              </p:cNvSpPr>
              <p:nvPr/>
            </p:nvSpPr>
            <p:spPr bwMode="auto">
              <a:xfrm>
                <a:off x="4372028" y="3613906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79" name="Freeform 200"/>
              <p:cNvSpPr>
                <a:spLocks/>
              </p:cNvSpPr>
              <p:nvPr/>
            </p:nvSpPr>
            <p:spPr bwMode="auto">
              <a:xfrm>
                <a:off x="4372028" y="3613906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0" name="Freeform 201"/>
              <p:cNvSpPr>
                <a:spLocks/>
              </p:cNvSpPr>
              <p:nvPr/>
            </p:nvSpPr>
            <p:spPr bwMode="auto">
              <a:xfrm>
                <a:off x="4549829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1" name="Freeform 202"/>
              <p:cNvSpPr>
                <a:spLocks/>
              </p:cNvSpPr>
              <p:nvPr/>
            </p:nvSpPr>
            <p:spPr bwMode="auto">
              <a:xfrm>
                <a:off x="4549829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2" name="Freeform 203"/>
              <p:cNvSpPr>
                <a:spLocks/>
              </p:cNvSpPr>
              <p:nvPr/>
            </p:nvSpPr>
            <p:spPr bwMode="auto">
              <a:xfrm>
                <a:off x="4549829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3" name="Freeform 204"/>
              <p:cNvSpPr>
                <a:spLocks/>
              </p:cNvSpPr>
              <p:nvPr/>
            </p:nvSpPr>
            <p:spPr bwMode="auto">
              <a:xfrm>
                <a:off x="4549829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4" name="Freeform 206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5" name="Freeform 207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6" name="Freeform 208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7" name="Freeform 209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8" name="Freeform 210"/>
              <p:cNvSpPr>
                <a:spLocks/>
              </p:cNvSpPr>
              <p:nvPr/>
            </p:nvSpPr>
            <p:spPr bwMode="auto">
              <a:xfrm>
                <a:off x="4383140" y="3959987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89" name="Freeform 211"/>
              <p:cNvSpPr>
                <a:spLocks/>
              </p:cNvSpPr>
              <p:nvPr/>
            </p:nvSpPr>
            <p:spPr bwMode="auto">
              <a:xfrm>
                <a:off x="4383140" y="3959987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0" name="Freeform 212"/>
              <p:cNvSpPr>
                <a:spLocks/>
              </p:cNvSpPr>
              <p:nvPr/>
            </p:nvSpPr>
            <p:spPr bwMode="auto">
              <a:xfrm>
                <a:off x="4383140" y="3959987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1" name="Freeform 213"/>
              <p:cNvSpPr>
                <a:spLocks/>
              </p:cNvSpPr>
              <p:nvPr/>
            </p:nvSpPr>
            <p:spPr bwMode="auto">
              <a:xfrm>
                <a:off x="4383140" y="3959987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2" name="Freeform 214"/>
              <p:cNvSpPr>
                <a:spLocks/>
              </p:cNvSpPr>
              <p:nvPr/>
            </p:nvSpPr>
            <p:spPr bwMode="auto">
              <a:xfrm>
                <a:off x="4214863" y="3877435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3" name="Freeform 215"/>
              <p:cNvSpPr>
                <a:spLocks/>
              </p:cNvSpPr>
              <p:nvPr/>
            </p:nvSpPr>
            <p:spPr bwMode="auto">
              <a:xfrm>
                <a:off x="4214863" y="3877435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4" name="Freeform 216"/>
              <p:cNvSpPr>
                <a:spLocks/>
              </p:cNvSpPr>
              <p:nvPr/>
            </p:nvSpPr>
            <p:spPr bwMode="auto">
              <a:xfrm>
                <a:off x="4214863" y="3877435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5" name="Freeform 217"/>
              <p:cNvSpPr>
                <a:spLocks/>
              </p:cNvSpPr>
              <p:nvPr/>
            </p:nvSpPr>
            <p:spPr bwMode="auto">
              <a:xfrm>
                <a:off x="4214863" y="3877435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6" name="Freeform 218"/>
              <p:cNvSpPr>
                <a:spLocks/>
              </p:cNvSpPr>
              <p:nvPr/>
            </p:nvSpPr>
            <p:spPr bwMode="auto">
              <a:xfrm>
                <a:off x="3964035" y="3955223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7" name="Freeform 219"/>
              <p:cNvSpPr>
                <a:spLocks/>
              </p:cNvSpPr>
              <p:nvPr/>
            </p:nvSpPr>
            <p:spPr bwMode="auto">
              <a:xfrm>
                <a:off x="3964035" y="3955223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8" name="Freeform 220"/>
              <p:cNvSpPr>
                <a:spLocks/>
              </p:cNvSpPr>
              <p:nvPr/>
            </p:nvSpPr>
            <p:spPr bwMode="auto">
              <a:xfrm>
                <a:off x="3964035" y="3955223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99" name="Freeform 221"/>
              <p:cNvSpPr>
                <a:spLocks/>
              </p:cNvSpPr>
              <p:nvPr/>
            </p:nvSpPr>
            <p:spPr bwMode="auto">
              <a:xfrm>
                <a:off x="3964035" y="3955223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0" name="Freeform 222"/>
              <p:cNvSpPr>
                <a:spLocks/>
              </p:cNvSpPr>
              <p:nvPr/>
            </p:nvSpPr>
            <p:spPr bwMode="auto">
              <a:xfrm>
                <a:off x="4440291" y="3913949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1" name="Freeform 223"/>
              <p:cNvSpPr>
                <a:spLocks/>
              </p:cNvSpPr>
              <p:nvPr/>
            </p:nvSpPr>
            <p:spPr bwMode="auto">
              <a:xfrm>
                <a:off x="4440291" y="3913949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2" name="Freeform 224"/>
              <p:cNvSpPr>
                <a:spLocks/>
              </p:cNvSpPr>
              <p:nvPr/>
            </p:nvSpPr>
            <p:spPr bwMode="auto">
              <a:xfrm>
                <a:off x="4440291" y="3913949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3" name="Freeform 225"/>
              <p:cNvSpPr>
                <a:spLocks/>
              </p:cNvSpPr>
              <p:nvPr/>
            </p:nvSpPr>
            <p:spPr bwMode="auto">
              <a:xfrm>
                <a:off x="4440291" y="3913949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4" name="Freeform 226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5" name="Freeform 227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6" name="Freeform 228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7" name="Freeform 229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8" name="Freeform 230"/>
              <p:cNvSpPr>
                <a:spLocks/>
              </p:cNvSpPr>
              <p:nvPr/>
            </p:nvSpPr>
            <p:spPr bwMode="auto">
              <a:xfrm>
                <a:off x="2263803" y="3959987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09" name="Freeform 231"/>
              <p:cNvSpPr>
                <a:spLocks/>
              </p:cNvSpPr>
              <p:nvPr/>
            </p:nvSpPr>
            <p:spPr bwMode="auto">
              <a:xfrm>
                <a:off x="2263803" y="3959987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0" name="Freeform 232"/>
              <p:cNvSpPr>
                <a:spLocks/>
              </p:cNvSpPr>
              <p:nvPr/>
            </p:nvSpPr>
            <p:spPr bwMode="auto">
              <a:xfrm>
                <a:off x="2263803" y="3959987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1" name="Freeform 233"/>
              <p:cNvSpPr>
                <a:spLocks/>
              </p:cNvSpPr>
              <p:nvPr/>
            </p:nvSpPr>
            <p:spPr bwMode="auto">
              <a:xfrm>
                <a:off x="2263803" y="3959987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2" name="Freeform 234"/>
              <p:cNvSpPr>
                <a:spLocks/>
              </p:cNvSpPr>
              <p:nvPr/>
            </p:nvSpPr>
            <p:spPr bwMode="auto">
              <a:xfrm>
                <a:off x="2730533" y="4080638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3" name="Freeform 235"/>
              <p:cNvSpPr>
                <a:spLocks/>
              </p:cNvSpPr>
              <p:nvPr/>
            </p:nvSpPr>
            <p:spPr bwMode="auto">
              <a:xfrm>
                <a:off x="2730533" y="4080638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4" name="Freeform 236"/>
              <p:cNvSpPr>
                <a:spLocks/>
              </p:cNvSpPr>
              <p:nvPr/>
            </p:nvSpPr>
            <p:spPr bwMode="auto">
              <a:xfrm>
                <a:off x="2730533" y="4080638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5" name="Freeform 237"/>
              <p:cNvSpPr>
                <a:spLocks/>
              </p:cNvSpPr>
              <p:nvPr/>
            </p:nvSpPr>
            <p:spPr bwMode="auto">
              <a:xfrm>
                <a:off x="2730533" y="4080638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6" name="Freeform 238"/>
              <p:cNvSpPr>
                <a:spLocks/>
              </p:cNvSpPr>
              <p:nvPr/>
            </p:nvSpPr>
            <p:spPr bwMode="auto">
              <a:xfrm>
                <a:off x="2813083" y="4164777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7" name="Freeform 239"/>
              <p:cNvSpPr>
                <a:spLocks/>
              </p:cNvSpPr>
              <p:nvPr/>
            </p:nvSpPr>
            <p:spPr bwMode="auto">
              <a:xfrm>
                <a:off x="2813083" y="4164777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8" name="Freeform 240"/>
              <p:cNvSpPr>
                <a:spLocks/>
              </p:cNvSpPr>
              <p:nvPr/>
            </p:nvSpPr>
            <p:spPr bwMode="auto">
              <a:xfrm>
                <a:off x="2813083" y="4164777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19" name="Freeform 241"/>
              <p:cNvSpPr>
                <a:spLocks/>
              </p:cNvSpPr>
              <p:nvPr/>
            </p:nvSpPr>
            <p:spPr bwMode="auto">
              <a:xfrm>
                <a:off x="2813083" y="4164777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0" name="Freeform 242"/>
              <p:cNvSpPr>
                <a:spLocks/>
              </p:cNvSpPr>
              <p:nvPr/>
            </p:nvSpPr>
            <p:spPr bwMode="auto">
              <a:xfrm>
                <a:off x="2416204" y="3966337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1" name="Freeform 243"/>
              <p:cNvSpPr>
                <a:spLocks/>
              </p:cNvSpPr>
              <p:nvPr/>
            </p:nvSpPr>
            <p:spPr bwMode="auto">
              <a:xfrm>
                <a:off x="2416204" y="3966337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2" name="Freeform 244"/>
              <p:cNvSpPr>
                <a:spLocks/>
              </p:cNvSpPr>
              <p:nvPr/>
            </p:nvSpPr>
            <p:spPr bwMode="auto">
              <a:xfrm>
                <a:off x="2416204" y="3966337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3" name="Freeform 245"/>
              <p:cNvSpPr>
                <a:spLocks/>
              </p:cNvSpPr>
              <p:nvPr/>
            </p:nvSpPr>
            <p:spPr bwMode="auto">
              <a:xfrm>
                <a:off x="2416204" y="3966337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4" name="Freeform 246"/>
              <p:cNvSpPr>
                <a:spLocks/>
              </p:cNvSpPr>
              <p:nvPr/>
            </p:nvSpPr>
            <p:spPr bwMode="auto">
              <a:xfrm>
                <a:off x="2149501" y="3620256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5" name="Freeform 247"/>
              <p:cNvSpPr>
                <a:spLocks/>
              </p:cNvSpPr>
              <p:nvPr/>
            </p:nvSpPr>
            <p:spPr bwMode="auto">
              <a:xfrm>
                <a:off x="2149501" y="3620256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6" name="Freeform 248"/>
              <p:cNvSpPr>
                <a:spLocks/>
              </p:cNvSpPr>
              <p:nvPr/>
            </p:nvSpPr>
            <p:spPr bwMode="auto">
              <a:xfrm>
                <a:off x="2149501" y="3620256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7" name="Freeform 249"/>
              <p:cNvSpPr>
                <a:spLocks/>
              </p:cNvSpPr>
              <p:nvPr/>
            </p:nvSpPr>
            <p:spPr bwMode="auto">
              <a:xfrm>
                <a:off x="2149501" y="3620256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8" name="Freeform 250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29" name="Freeform 251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0" name="Freeform 252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1" name="Freeform 253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2" name="Freeform 254"/>
              <p:cNvSpPr>
                <a:spLocks noEditPoints="1"/>
              </p:cNvSpPr>
              <p:nvPr/>
            </p:nvSpPr>
            <p:spPr bwMode="auto">
              <a:xfrm>
                <a:off x="2263803" y="3729795"/>
                <a:ext cx="11113" cy="158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0" y="0"/>
                    </a:lnTo>
                    <a:lnTo>
                      <a:pt x="7" y="0"/>
                    </a:lnTo>
                    <a:close/>
                    <a:moveTo>
                      <a:pt x="7" y="0"/>
                    </a:move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3" name="Freeform 255"/>
              <p:cNvSpPr>
                <a:spLocks noEditPoints="1"/>
              </p:cNvSpPr>
              <p:nvPr/>
            </p:nvSpPr>
            <p:spPr bwMode="auto">
              <a:xfrm>
                <a:off x="2263803" y="3729795"/>
                <a:ext cx="11113" cy="158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0" y="0"/>
                    </a:lnTo>
                    <a:moveTo>
                      <a:pt x="7" y="0"/>
                    </a:moveTo>
                    <a:lnTo>
                      <a:pt x="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4" name="Freeform 256"/>
              <p:cNvSpPr>
                <a:spLocks/>
              </p:cNvSpPr>
              <p:nvPr/>
            </p:nvSpPr>
            <p:spPr bwMode="auto">
              <a:xfrm>
                <a:off x="2478118" y="3729795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5" name="Freeform 257"/>
              <p:cNvSpPr>
                <a:spLocks/>
              </p:cNvSpPr>
              <p:nvPr/>
            </p:nvSpPr>
            <p:spPr bwMode="auto">
              <a:xfrm>
                <a:off x="2478118" y="3729795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6" name="Freeform 258"/>
              <p:cNvSpPr>
                <a:spLocks/>
              </p:cNvSpPr>
              <p:nvPr/>
            </p:nvSpPr>
            <p:spPr bwMode="auto">
              <a:xfrm>
                <a:off x="2478118" y="3729795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7" name="Freeform 259"/>
              <p:cNvSpPr>
                <a:spLocks/>
              </p:cNvSpPr>
              <p:nvPr/>
            </p:nvSpPr>
            <p:spPr bwMode="auto">
              <a:xfrm>
                <a:off x="2478118" y="3729795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8" name="Freeform 260"/>
              <p:cNvSpPr>
                <a:spLocks/>
              </p:cNvSpPr>
              <p:nvPr/>
            </p:nvSpPr>
            <p:spPr bwMode="auto">
              <a:xfrm>
                <a:off x="2405091" y="3729795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39" name="Freeform 261"/>
              <p:cNvSpPr>
                <a:spLocks/>
              </p:cNvSpPr>
              <p:nvPr/>
            </p:nvSpPr>
            <p:spPr bwMode="auto">
              <a:xfrm>
                <a:off x="2405091" y="3729795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0" name="Freeform 262"/>
              <p:cNvSpPr>
                <a:spLocks/>
              </p:cNvSpPr>
              <p:nvPr/>
            </p:nvSpPr>
            <p:spPr bwMode="auto">
              <a:xfrm>
                <a:off x="2405091" y="3729795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1" name="Freeform 263"/>
              <p:cNvSpPr>
                <a:spLocks/>
              </p:cNvSpPr>
              <p:nvPr/>
            </p:nvSpPr>
            <p:spPr bwMode="auto">
              <a:xfrm>
                <a:off x="2405091" y="3729795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2" name="Freeform 264"/>
              <p:cNvSpPr>
                <a:spLocks/>
              </p:cNvSpPr>
              <p:nvPr/>
            </p:nvSpPr>
            <p:spPr bwMode="auto">
              <a:xfrm>
                <a:off x="2165376" y="4055238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3" name="Freeform 265"/>
              <p:cNvSpPr>
                <a:spLocks/>
              </p:cNvSpPr>
              <p:nvPr/>
            </p:nvSpPr>
            <p:spPr bwMode="auto">
              <a:xfrm>
                <a:off x="2165376" y="4055238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4" name="Freeform 266"/>
              <p:cNvSpPr>
                <a:spLocks/>
              </p:cNvSpPr>
              <p:nvPr/>
            </p:nvSpPr>
            <p:spPr bwMode="auto">
              <a:xfrm>
                <a:off x="2165376" y="4055238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5" name="Freeform 267"/>
              <p:cNvSpPr>
                <a:spLocks/>
              </p:cNvSpPr>
              <p:nvPr/>
            </p:nvSpPr>
            <p:spPr bwMode="auto">
              <a:xfrm>
                <a:off x="2165376" y="4055238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6" name="Freeform 268"/>
              <p:cNvSpPr>
                <a:spLocks/>
              </p:cNvSpPr>
              <p:nvPr/>
            </p:nvSpPr>
            <p:spPr bwMode="auto">
              <a:xfrm>
                <a:off x="2238401" y="4055238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7" name="Freeform 269"/>
              <p:cNvSpPr>
                <a:spLocks/>
              </p:cNvSpPr>
              <p:nvPr/>
            </p:nvSpPr>
            <p:spPr bwMode="auto">
              <a:xfrm>
                <a:off x="2238401" y="4055238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8" name="Freeform 270"/>
              <p:cNvSpPr>
                <a:spLocks/>
              </p:cNvSpPr>
              <p:nvPr/>
            </p:nvSpPr>
            <p:spPr bwMode="auto">
              <a:xfrm>
                <a:off x="2238401" y="4055238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49" name="Freeform 271"/>
              <p:cNvSpPr>
                <a:spLocks/>
              </p:cNvSpPr>
              <p:nvPr/>
            </p:nvSpPr>
            <p:spPr bwMode="auto">
              <a:xfrm>
                <a:off x="2238401" y="4055238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0" name="Freeform 272"/>
              <p:cNvSpPr>
                <a:spLocks/>
              </p:cNvSpPr>
              <p:nvPr/>
            </p:nvSpPr>
            <p:spPr bwMode="auto">
              <a:xfrm>
                <a:off x="2086000" y="4007612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1" name="Freeform 273"/>
              <p:cNvSpPr>
                <a:spLocks/>
              </p:cNvSpPr>
              <p:nvPr/>
            </p:nvSpPr>
            <p:spPr bwMode="auto">
              <a:xfrm>
                <a:off x="2086000" y="4007612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2" name="Freeform 274"/>
              <p:cNvSpPr>
                <a:spLocks/>
              </p:cNvSpPr>
              <p:nvPr/>
            </p:nvSpPr>
            <p:spPr bwMode="auto">
              <a:xfrm>
                <a:off x="2086000" y="4007612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3" name="Freeform 275"/>
              <p:cNvSpPr>
                <a:spLocks/>
              </p:cNvSpPr>
              <p:nvPr/>
            </p:nvSpPr>
            <p:spPr bwMode="auto">
              <a:xfrm>
                <a:off x="2086000" y="4007612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4" name="Freeform 276"/>
              <p:cNvSpPr>
                <a:spLocks/>
              </p:cNvSpPr>
              <p:nvPr/>
            </p:nvSpPr>
            <p:spPr bwMode="auto">
              <a:xfrm>
                <a:off x="2509868" y="3950460"/>
                <a:ext cx="4763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6"/>
                  </a:cxn>
                  <a:cxn ang="0">
                    <a:pos x="0" y="0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3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5" name="Line 277"/>
              <p:cNvSpPr>
                <a:spLocks noChangeShapeType="1"/>
              </p:cNvSpPr>
              <p:nvPr/>
            </p:nvSpPr>
            <p:spPr bwMode="auto">
              <a:xfrm>
                <a:off x="2509868" y="3950460"/>
                <a:ext cx="4763" cy="9525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6" name="Freeform 278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7" name="Freeform 279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8" name="Freeform 280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59" name="Freeform 281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0" name="Freeform 282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1" name="Freeform 283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2" name="Freeform 284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3" name="Freeform 285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4" name="Freeform 286"/>
              <p:cNvSpPr>
                <a:spLocks/>
              </p:cNvSpPr>
              <p:nvPr/>
            </p:nvSpPr>
            <p:spPr bwMode="auto">
              <a:xfrm>
                <a:off x="2039962" y="3877435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5" name="Freeform 287"/>
              <p:cNvSpPr>
                <a:spLocks/>
              </p:cNvSpPr>
              <p:nvPr/>
            </p:nvSpPr>
            <p:spPr bwMode="auto">
              <a:xfrm>
                <a:off x="2039962" y="3877435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6" name="Freeform 288"/>
              <p:cNvSpPr>
                <a:spLocks/>
              </p:cNvSpPr>
              <p:nvPr/>
            </p:nvSpPr>
            <p:spPr bwMode="auto">
              <a:xfrm>
                <a:off x="2039962" y="3877435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7" name="Freeform 289"/>
              <p:cNvSpPr>
                <a:spLocks/>
              </p:cNvSpPr>
              <p:nvPr/>
            </p:nvSpPr>
            <p:spPr bwMode="auto">
              <a:xfrm>
                <a:off x="2039962" y="3877435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8" name="Freeform 290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69" name="Freeform 291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0" name="Freeform 292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1" name="Freeform 293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2" name="Freeform 294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3" name="Freeform 295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4" name="Freeform 296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5" name="Freeform 297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6" name="Freeform 298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7" name="Freeform 299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8" name="Freeform 300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79" name="Freeform 301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0" name="Freeform 302"/>
              <p:cNvSpPr>
                <a:spLocks/>
              </p:cNvSpPr>
              <p:nvPr/>
            </p:nvSpPr>
            <p:spPr bwMode="auto">
              <a:xfrm>
                <a:off x="7270836" y="4688660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1" name="Freeform 303"/>
              <p:cNvSpPr>
                <a:spLocks/>
              </p:cNvSpPr>
              <p:nvPr/>
            </p:nvSpPr>
            <p:spPr bwMode="auto">
              <a:xfrm>
                <a:off x="7270836" y="4688660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2" name="Freeform 304"/>
              <p:cNvSpPr>
                <a:spLocks/>
              </p:cNvSpPr>
              <p:nvPr/>
            </p:nvSpPr>
            <p:spPr bwMode="auto">
              <a:xfrm>
                <a:off x="7270836" y="4688660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3" name="Freeform 305"/>
              <p:cNvSpPr>
                <a:spLocks/>
              </p:cNvSpPr>
              <p:nvPr/>
            </p:nvSpPr>
            <p:spPr bwMode="auto">
              <a:xfrm>
                <a:off x="7270836" y="4688660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4" name="Freeform 306"/>
              <p:cNvSpPr>
                <a:spLocks/>
              </p:cNvSpPr>
              <p:nvPr/>
            </p:nvSpPr>
            <p:spPr bwMode="auto">
              <a:xfrm>
                <a:off x="5141974" y="4421955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5" name="Freeform 307"/>
              <p:cNvSpPr>
                <a:spLocks/>
              </p:cNvSpPr>
              <p:nvPr/>
            </p:nvSpPr>
            <p:spPr bwMode="auto">
              <a:xfrm>
                <a:off x="5141974" y="4421955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6" name="Freeform 308"/>
              <p:cNvSpPr>
                <a:spLocks/>
              </p:cNvSpPr>
              <p:nvPr/>
            </p:nvSpPr>
            <p:spPr bwMode="auto">
              <a:xfrm>
                <a:off x="5141974" y="4421955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7" name="Freeform 309"/>
              <p:cNvSpPr>
                <a:spLocks/>
              </p:cNvSpPr>
              <p:nvPr/>
            </p:nvSpPr>
            <p:spPr bwMode="auto">
              <a:xfrm>
                <a:off x="5141974" y="4421955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8" name="Freeform 310"/>
              <p:cNvSpPr>
                <a:spLocks/>
              </p:cNvSpPr>
              <p:nvPr/>
            </p:nvSpPr>
            <p:spPr bwMode="auto">
              <a:xfrm>
                <a:off x="4660956" y="4237803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89" name="Freeform 311"/>
              <p:cNvSpPr>
                <a:spLocks/>
              </p:cNvSpPr>
              <p:nvPr/>
            </p:nvSpPr>
            <p:spPr bwMode="auto">
              <a:xfrm>
                <a:off x="4660956" y="4237803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0" name="Freeform 312"/>
              <p:cNvSpPr>
                <a:spLocks/>
              </p:cNvSpPr>
              <p:nvPr/>
            </p:nvSpPr>
            <p:spPr bwMode="auto">
              <a:xfrm>
                <a:off x="4660956" y="4237803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1" name="Freeform 313"/>
              <p:cNvSpPr>
                <a:spLocks/>
              </p:cNvSpPr>
              <p:nvPr/>
            </p:nvSpPr>
            <p:spPr bwMode="auto">
              <a:xfrm>
                <a:off x="4660956" y="4237803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2" name="Freeform 314"/>
              <p:cNvSpPr>
                <a:spLocks/>
              </p:cNvSpPr>
              <p:nvPr/>
            </p:nvSpPr>
            <p:spPr bwMode="auto">
              <a:xfrm>
                <a:off x="5272149" y="4201290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3" name="Freeform 315"/>
              <p:cNvSpPr>
                <a:spLocks/>
              </p:cNvSpPr>
              <p:nvPr/>
            </p:nvSpPr>
            <p:spPr bwMode="auto">
              <a:xfrm>
                <a:off x="5272149" y="4201290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4" name="Freeform 316"/>
              <p:cNvSpPr>
                <a:spLocks/>
              </p:cNvSpPr>
              <p:nvPr/>
            </p:nvSpPr>
            <p:spPr bwMode="auto">
              <a:xfrm>
                <a:off x="5272149" y="4201290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5" name="Freeform 317"/>
              <p:cNvSpPr>
                <a:spLocks/>
              </p:cNvSpPr>
              <p:nvPr/>
            </p:nvSpPr>
            <p:spPr bwMode="auto">
              <a:xfrm>
                <a:off x="5272149" y="4201290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6" name="Freeform 318"/>
              <p:cNvSpPr>
                <a:spLocks/>
              </p:cNvSpPr>
              <p:nvPr/>
            </p:nvSpPr>
            <p:spPr bwMode="auto">
              <a:xfrm>
                <a:off x="5130862" y="4385442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7" name="Freeform 319"/>
              <p:cNvSpPr>
                <a:spLocks/>
              </p:cNvSpPr>
              <p:nvPr/>
            </p:nvSpPr>
            <p:spPr bwMode="auto">
              <a:xfrm>
                <a:off x="5130862" y="4385442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8" name="Freeform 320"/>
              <p:cNvSpPr>
                <a:spLocks/>
              </p:cNvSpPr>
              <p:nvPr/>
            </p:nvSpPr>
            <p:spPr bwMode="auto">
              <a:xfrm>
                <a:off x="5130862" y="4385442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399" name="Freeform 321"/>
              <p:cNvSpPr>
                <a:spLocks/>
              </p:cNvSpPr>
              <p:nvPr/>
            </p:nvSpPr>
            <p:spPr bwMode="auto">
              <a:xfrm>
                <a:off x="5130862" y="4385442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0" name="Freeform 322"/>
              <p:cNvSpPr>
                <a:spLocks/>
              </p:cNvSpPr>
              <p:nvPr/>
            </p:nvSpPr>
            <p:spPr bwMode="auto">
              <a:xfrm>
                <a:off x="5141974" y="4379092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1" name="Freeform 323"/>
              <p:cNvSpPr>
                <a:spLocks/>
              </p:cNvSpPr>
              <p:nvPr/>
            </p:nvSpPr>
            <p:spPr bwMode="auto">
              <a:xfrm>
                <a:off x="5141974" y="4379092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2" name="Freeform 324"/>
              <p:cNvSpPr>
                <a:spLocks/>
              </p:cNvSpPr>
              <p:nvPr/>
            </p:nvSpPr>
            <p:spPr bwMode="auto">
              <a:xfrm>
                <a:off x="5141974" y="4379092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3" name="Freeform 325"/>
              <p:cNvSpPr>
                <a:spLocks/>
              </p:cNvSpPr>
              <p:nvPr/>
            </p:nvSpPr>
            <p:spPr bwMode="auto">
              <a:xfrm>
                <a:off x="5141974" y="4379092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4" name="Freeform 326"/>
              <p:cNvSpPr>
                <a:spLocks/>
              </p:cNvSpPr>
              <p:nvPr/>
            </p:nvSpPr>
            <p:spPr bwMode="auto">
              <a:xfrm>
                <a:off x="5157849" y="4212403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5" name="Freeform 327"/>
              <p:cNvSpPr>
                <a:spLocks/>
              </p:cNvSpPr>
              <p:nvPr/>
            </p:nvSpPr>
            <p:spPr bwMode="auto">
              <a:xfrm>
                <a:off x="5157849" y="4212403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6" name="Freeform 328"/>
              <p:cNvSpPr>
                <a:spLocks/>
              </p:cNvSpPr>
              <p:nvPr/>
            </p:nvSpPr>
            <p:spPr bwMode="auto">
              <a:xfrm>
                <a:off x="5157849" y="4212403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7" name="Freeform 329"/>
              <p:cNvSpPr>
                <a:spLocks/>
              </p:cNvSpPr>
              <p:nvPr/>
            </p:nvSpPr>
            <p:spPr bwMode="auto">
              <a:xfrm>
                <a:off x="5157849" y="4212403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8" name="Freeform 330"/>
              <p:cNvSpPr>
                <a:spLocks/>
              </p:cNvSpPr>
              <p:nvPr/>
            </p:nvSpPr>
            <p:spPr bwMode="auto">
              <a:xfrm>
                <a:off x="4691119" y="4175890"/>
                <a:ext cx="508006" cy="592147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09" name="Freeform 331"/>
              <p:cNvSpPr>
                <a:spLocks/>
              </p:cNvSpPr>
              <p:nvPr/>
            </p:nvSpPr>
            <p:spPr bwMode="auto">
              <a:xfrm>
                <a:off x="4691119" y="4175890"/>
                <a:ext cx="508006" cy="592147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0" name="Freeform 332"/>
              <p:cNvSpPr>
                <a:spLocks/>
              </p:cNvSpPr>
              <p:nvPr/>
            </p:nvSpPr>
            <p:spPr bwMode="auto">
              <a:xfrm>
                <a:off x="4691119" y="4175890"/>
                <a:ext cx="508006" cy="592147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1" name="Freeform 333"/>
              <p:cNvSpPr>
                <a:spLocks/>
              </p:cNvSpPr>
              <p:nvPr/>
            </p:nvSpPr>
            <p:spPr bwMode="auto">
              <a:xfrm>
                <a:off x="4691119" y="4175890"/>
                <a:ext cx="508006" cy="592147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2" name="Freeform 334"/>
              <p:cNvSpPr>
                <a:spLocks/>
              </p:cNvSpPr>
              <p:nvPr/>
            </p:nvSpPr>
            <p:spPr bwMode="auto">
              <a:xfrm>
                <a:off x="4675244" y="4882338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3" name="Freeform 335"/>
              <p:cNvSpPr>
                <a:spLocks/>
              </p:cNvSpPr>
              <p:nvPr/>
            </p:nvSpPr>
            <p:spPr bwMode="auto">
              <a:xfrm>
                <a:off x="4675244" y="4882338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4" name="Freeform 336"/>
              <p:cNvSpPr>
                <a:spLocks/>
              </p:cNvSpPr>
              <p:nvPr/>
            </p:nvSpPr>
            <p:spPr bwMode="auto">
              <a:xfrm>
                <a:off x="4675244" y="4882338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5" name="Freeform 337"/>
              <p:cNvSpPr>
                <a:spLocks/>
              </p:cNvSpPr>
              <p:nvPr/>
            </p:nvSpPr>
            <p:spPr bwMode="auto">
              <a:xfrm>
                <a:off x="4675244" y="4882338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6" name="Freeform 338"/>
              <p:cNvSpPr>
                <a:spLocks/>
              </p:cNvSpPr>
              <p:nvPr/>
            </p:nvSpPr>
            <p:spPr bwMode="auto">
              <a:xfrm>
                <a:off x="2520980" y="4656909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7" name="Freeform 339"/>
              <p:cNvSpPr>
                <a:spLocks/>
              </p:cNvSpPr>
              <p:nvPr/>
            </p:nvSpPr>
            <p:spPr bwMode="auto">
              <a:xfrm>
                <a:off x="2520980" y="4656909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8" name="Freeform 340"/>
              <p:cNvSpPr>
                <a:spLocks/>
              </p:cNvSpPr>
              <p:nvPr/>
            </p:nvSpPr>
            <p:spPr bwMode="auto">
              <a:xfrm>
                <a:off x="2520980" y="4656909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19" name="Freeform 341"/>
              <p:cNvSpPr>
                <a:spLocks/>
              </p:cNvSpPr>
              <p:nvPr/>
            </p:nvSpPr>
            <p:spPr bwMode="auto">
              <a:xfrm>
                <a:off x="2520980" y="4656909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0" name="Freeform 342"/>
              <p:cNvSpPr>
                <a:spLocks/>
              </p:cNvSpPr>
              <p:nvPr/>
            </p:nvSpPr>
            <p:spPr bwMode="auto">
              <a:xfrm>
                <a:off x="4891146" y="4909325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1" name="Freeform 343"/>
              <p:cNvSpPr>
                <a:spLocks/>
              </p:cNvSpPr>
              <p:nvPr/>
            </p:nvSpPr>
            <p:spPr bwMode="auto">
              <a:xfrm>
                <a:off x="4891146" y="4909325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2" name="Freeform 344"/>
              <p:cNvSpPr>
                <a:spLocks/>
              </p:cNvSpPr>
              <p:nvPr/>
            </p:nvSpPr>
            <p:spPr bwMode="auto">
              <a:xfrm>
                <a:off x="4891146" y="4909325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3" name="Freeform 345"/>
              <p:cNvSpPr>
                <a:spLocks/>
              </p:cNvSpPr>
              <p:nvPr/>
            </p:nvSpPr>
            <p:spPr bwMode="auto">
              <a:xfrm>
                <a:off x="4891146" y="4909325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4" name="Freeform 346"/>
              <p:cNvSpPr>
                <a:spLocks/>
              </p:cNvSpPr>
              <p:nvPr/>
            </p:nvSpPr>
            <p:spPr bwMode="auto">
              <a:xfrm>
                <a:off x="5062598" y="5244293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5" name="Freeform 347"/>
              <p:cNvSpPr>
                <a:spLocks/>
              </p:cNvSpPr>
              <p:nvPr/>
            </p:nvSpPr>
            <p:spPr bwMode="auto">
              <a:xfrm>
                <a:off x="5062598" y="5244293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6" name="Freeform 348"/>
              <p:cNvSpPr>
                <a:spLocks/>
              </p:cNvSpPr>
              <p:nvPr/>
            </p:nvSpPr>
            <p:spPr bwMode="auto">
              <a:xfrm>
                <a:off x="5062598" y="5244293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7" name="Freeform 349"/>
              <p:cNvSpPr>
                <a:spLocks/>
              </p:cNvSpPr>
              <p:nvPr/>
            </p:nvSpPr>
            <p:spPr bwMode="auto">
              <a:xfrm>
                <a:off x="5062598" y="5244293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8" name="Freeform 350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29" name="Freeform 351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0" name="Freeform 352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1" name="Freeform 353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2" name="Freeform 354"/>
              <p:cNvSpPr>
                <a:spLocks/>
              </p:cNvSpPr>
              <p:nvPr/>
            </p:nvSpPr>
            <p:spPr bwMode="auto">
              <a:xfrm>
                <a:off x="5230874" y="4636272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3" name="Freeform 355"/>
              <p:cNvSpPr>
                <a:spLocks/>
              </p:cNvSpPr>
              <p:nvPr/>
            </p:nvSpPr>
            <p:spPr bwMode="auto">
              <a:xfrm>
                <a:off x="5230874" y="4636272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4" name="Freeform 356"/>
              <p:cNvSpPr>
                <a:spLocks/>
              </p:cNvSpPr>
              <p:nvPr/>
            </p:nvSpPr>
            <p:spPr bwMode="auto">
              <a:xfrm>
                <a:off x="5230874" y="4636272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5" name="Freeform 357"/>
              <p:cNvSpPr>
                <a:spLocks/>
              </p:cNvSpPr>
              <p:nvPr/>
            </p:nvSpPr>
            <p:spPr bwMode="auto">
              <a:xfrm>
                <a:off x="5230874" y="4636272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6" name="Freeform 358"/>
              <p:cNvSpPr>
                <a:spLocks/>
              </p:cNvSpPr>
              <p:nvPr/>
            </p:nvSpPr>
            <p:spPr bwMode="auto">
              <a:xfrm>
                <a:off x="5167374" y="4672784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7" name="Freeform 359"/>
              <p:cNvSpPr>
                <a:spLocks/>
              </p:cNvSpPr>
              <p:nvPr/>
            </p:nvSpPr>
            <p:spPr bwMode="auto">
              <a:xfrm>
                <a:off x="5167374" y="4672784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8" name="Freeform 360"/>
              <p:cNvSpPr>
                <a:spLocks/>
              </p:cNvSpPr>
              <p:nvPr/>
            </p:nvSpPr>
            <p:spPr bwMode="auto">
              <a:xfrm>
                <a:off x="5167374" y="4672784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39" name="Freeform 361"/>
              <p:cNvSpPr>
                <a:spLocks/>
              </p:cNvSpPr>
              <p:nvPr/>
            </p:nvSpPr>
            <p:spPr bwMode="auto">
              <a:xfrm>
                <a:off x="5167374" y="4672784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0" name="Freeform 362"/>
              <p:cNvSpPr>
                <a:spLocks/>
              </p:cNvSpPr>
              <p:nvPr/>
            </p:nvSpPr>
            <p:spPr bwMode="auto">
              <a:xfrm>
                <a:off x="4786369" y="5039502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70"/>
                  </a:cxn>
                  <a:cxn ang="0">
                    <a:pos x="56" y="126"/>
                  </a:cxn>
                  <a:cxn ang="0">
                    <a:pos x="16" y="129"/>
                  </a:cxn>
                  <a:cxn ang="0">
                    <a:pos x="0" y="126"/>
                  </a:cxn>
                  <a:cxn ang="0">
                    <a:pos x="13" y="162"/>
                  </a:cxn>
                  <a:cxn ang="0">
                    <a:pos x="29" y="19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52" y="251"/>
                  </a:cxn>
                  <a:cxn ang="0">
                    <a:pos x="85" y="235"/>
                  </a:cxn>
                  <a:cxn ang="0">
                    <a:pos x="145" y="231"/>
                  </a:cxn>
                  <a:cxn ang="0">
                    <a:pos x="171" y="218"/>
                  </a:cxn>
                  <a:cxn ang="0">
                    <a:pos x="201" y="195"/>
                  </a:cxn>
                  <a:cxn ang="0">
                    <a:pos x="224" y="172"/>
                  </a:cxn>
                  <a:cxn ang="0">
                    <a:pos x="244" y="149"/>
                  </a:cxn>
                  <a:cxn ang="0">
                    <a:pos x="263" y="109"/>
                  </a:cxn>
                  <a:cxn ang="0">
                    <a:pos x="263" y="93"/>
                  </a:cxn>
                  <a:cxn ang="0">
                    <a:pos x="240" y="96"/>
                  </a:cxn>
                  <a:cxn ang="0">
                    <a:pos x="250" y="70"/>
                  </a:cxn>
                  <a:cxn ang="0">
                    <a:pos x="257" y="33"/>
                  </a:cxn>
                  <a:cxn ang="0">
                    <a:pos x="250" y="4"/>
                  </a:cxn>
                  <a:cxn ang="0">
                    <a:pos x="217" y="0"/>
                  </a:cxn>
                  <a:cxn ang="0">
                    <a:pos x="181" y="30"/>
                  </a:cxn>
                  <a:cxn ang="0">
                    <a:pos x="158" y="56"/>
                  </a:cxn>
                  <a:cxn ang="0">
                    <a:pos x="125" y="66"/>
                  </a:cxn>
                  <a:cxn ang="0">
                    <a:pos x="102" y="73"/>
                  </a:cxn>
                  <a:cxn ang="0">
                    <a:pos x="75" y="93"/>
                  </a:cxn>
                  <a:cxn ang="0">
                    <a:pos x="75" y="70"/>
                  </a:cxn>
                  <a:cxn ang="0">
                    <a:pos x="191" y="132"/>
                  </a:cxn>
                  <a:cxn ang="0">
                    <a:pos x="188" y="165"/>
                  </a:cxn>
                  <a:cxn ang="0">
                    <a:pos x="207" y="149"/>
                  </a:cxn>
                  <a:cxn ang="0">
                    <a:pos x="197" y="129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lnTo>
                      <a:pt x="191" y="132"/>
                    </a:lnTo>
                    <a:lnTo>
                      <a:pt x="174" y="152"/>
                    </a:lnTo>
                    <a:lnTo>
                      <a:pt x="188" y="165"/>
                    </a:lnTo>
                    <a:lnTo>
                      <a:pt x="194" y="162"/>
                    </a:lnTo>
                    <a:lnTo>
                      <a:pt x="207" y="149"/>
                    </a:lnTo>
                    <a:lnTo>
                      <a:pt x="211" y="136"/>
                    </a:lnTo>
                    <a:lnTo>
                      <a:pt x="197" y="129"/>
                    </a:lnTo>
                    <a:lnTo>
                      <a:pt x="191" y="132"/>
                    </a:lnTo>
                    <a:lnTo>
                      <a:pt x="62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1" name="Freeform 363"/>
              <p:cNvSpPr>
                <a:spLocks/>
              </p:cNvSpPr>
              <p:nvPr/>
            </p:nvSpPr>
            <p:spPr bwMode="auto">
              <a:xfrm>
                <a:off x="4786369" y="5039502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70"/>
                  </a:cxn>
                  <a:cxn ang="0">
                    <a:pos x="56" y="126"/>
                  </a:cxn>
                  <a:cxn ang="0">
                    <a:pos x="16" y="129"/>
                  </a:cxn>
                  <a:cxn ang="0">
                    <a:pos x="0" y="126"/>
                  </a:cxn>
                  <a:cxn ang="0">
                    <a:pos x="13" y="162"/>
                  </a:cxn>
                  <a:cxn ang="0">
                    <a:pos x="29" y="19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52" y="251"/>
                  </a:cxn>
                  <a:cxn ang="0">
                    <a:pos x="85" y="235"/>
                  </a:cxn>
                  <a:cxn ang="0">
                    <a:pos x="145" y="231"/>
                  </a:cxn>
                  <a:cxn ang="0">
                    <a:pos x="171" y="218"/>
                  </a:cxn>
                  <a:cxn ang="0">
                    <a:pos x="201" y="195"/>
                  </a:cxn>
                  <a:cxn ang="0">
                    <a:pos x="224" y="172"/>
                  </a:cxn>
                  <a:cxn ang="0">
                    <a:pos x="244" y="149"/>
                  </a:cxn>
                  <a:cxn ang="0">
                    <a:pos x="263" y="109"/>
                  </a:cxn>
                  <a:cxn ang="0">
                    <a:pos x="263" y="93"/>
                  </a:cxn>
                  <a:cxn ang="0">
                    <a:pos x="240" y="96"/>
                  </a:cxn>
                  <a:cxn ang="0">
                    <a:pos x="250" y="70"/>
                  </a:cxn>
                  <a:cxn ang="0">
                    <a:pos x="257" y="33"/>
                  </a:cxn>
                  <a:cxn ang="0">
                    <a:pos x="250" y="4"/>
                  </a:cxn>
                  <a:cxn ang="0">
                    <a:pos x="217" y="0"/>
                  </a:cxn>
                  <a:cxn ang="0">
                    <a:pos x="181" y="30"/>
                  </a:cxn>
                  <a:cxn ang="0">
                    <a:pos x="158" y="56"/>
                  </a:cxn>
                  <a:cxn ang="0">
                    <a:pos x="125" y="66"/>
                  </a:cxn>
                  <a:cxn ang="0">
                    <a:pos x="102" y="73"/>
                  </a:cxn>
                  <a:cxn ang="0">
                    <a:pos x="75" y="93"/>
                  </a:cxn>
                  <a:cxn ang="0">
                    <a:pos x="75" y="70"/>
                  </a:cxn>
                  <a:cxn ang="0">
                    <a:pos x="191" y="132"/>
                  </a:cxn>
                  <a:cxn ang="0">
                    <a:pos x="188" y="165"/>
                  </a:cxn>
                  <a:cxn ang="0">
                    <a:pos x="207" y="149"/>
                  </a:cxn>
                  <a:cxn ang="0">
                    <a:pos x="197" y="129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lnTo>
                      <a:pt x="191" y="132"/>
                    </a:lnTo>
                    <a:lnTo>
                      <a:pt x="174" y="152"/>
                    </a:lnTo>
                    <a:lnTo>
                      <a:pt x="188" y="165"/>
                    </a:lnTo>
                    <a:lnTo>
                      <a:pt x="194" y="162"/>
                    </a:lnTo>
                    <a:lnTo>
                      <a:pt x="207" y="149"/>
                    </a:lnTo>
                    <a:lnTo>
                      <a:pt x="211" y="136"/>
                    </a:lnTo>
                    <a:lnTo>
                      <a:pt x="197" y="129"/>
                    </a:lnTo>
                    <a:lnTo>
                      <a:pt x="191" y="132"/>
                    </a:lnTo>
                    <a:lnTo>
                      <a:pt x="62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2" name="Freeform 364"/>
              <p:cNvSpPr>
                <a:spLocks/>
              </p:cNvSpPr>
              <p:nvPr/>
            </p:nvSpPr>
            <p:spPr bwMode="auto">
              <a:xfrm>
                <a:off x="4786369" y="5039502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3" name="Freeform 365"/>
              <p:cNvSpPr>
                <a:spLocks/>
              </p:cNvSpPr>
              <p:nvPr/>
            </p:nvSpPr>
            <p:spPr bwMode="auto">
              <a:xfrm>
                <a:off x="4786369" y="5039502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4" name="Freeform 366"/>
              <p:cNvSpPr>
                <a:spLocks/>
              </p:cNvSpPr>
              <p:nvPr/>
            </p:nvSpPr>
            <p:spPr bwMode="auto">
              <a:xfrm>
                <a:off x="4786369" y="5039502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5" name="Freeform 367"/>
              <p:cNvSpPr>
                <a:spLocks/>
              </p:cNvSpPr>
              <p:nvPr/>
            </p:nvSpPr>
            <p:spPr bwMode="auto">
              <a:xfrm>
                <a:off x="4786369" y="5039502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6" name="Freeform 368"/>
              <p:cNvSpPr>
                <a:spLocks/>
              </p:cNvSpPr>
              <p:nvPr/>
            </p:nvSpPr>
            <p:spPr bwMode="auto">
              <a:xfrm>
                <a:off x="4943534" y="4599759"/>
                <a:ext cx="319090" cy="314329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7" name="Freeform 369"/>
              <p:cNvSpPr>
                <a:spLocks/>
              </p:cNvSpPr>
              <p:nvPr/>
            </p:nvSpPr>
            <p:spPr bwMode="auto">
              <a:xfrm>
                <a:off x="4943534" y="4599759"/>
                <a:ext cx="319090" cy="314329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8" name="Freeform 370"/>
              <p:cNvSpPr>
                <a:spLocks/>
              </p:cNvSpPr>
              <p:nvPr/>
            </p:nvSpPr>
            <p:spPr bwMode="auto">
              <a:xfrm>
                <a:off x="4943534" y="4599759"/>
                <a:ext cx="319090" cy="314329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49" name="Freeform 371"/>
              <p:cNvSpPr>
                <a:spLocks/>
              </p:cNvSpPr>
              <p:nvPr/>
            </p:nvSpPr>
            <p:spPr bwMode="auto">
              <a:xfrm>
                <a:off x="4943534" y="4599759"/>
                <a:ext cx="319090" cy="314329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0" name="Freeform 372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1" name="Freeform 373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2" name="Freeform 374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3" name="Freeform 375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4" name="Freeform 376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5" name="Freeform 377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6" name="Freeform 378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7" name="Freeform 379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8" name="Freeform 380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59" name="Freeform 381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0" name="Freeform 382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1" name="Freeform 383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2" name="Freeform 384"/>
              <p:cNvSpPr>
                <a:spLocks/>
              </p:cNvSpPr>
              <p:nvPr/>
            </p:nvSpPr>
            <p:spPr bwMode="auto">
              <a:xfrm>
                <a:off x="2395566" y="4180652"/>
                <a:ext cx="1039826" cy="1220806"/>
              </a:xfrm>
              <a:custGeom>
                <a:avLst/>
                <a:gdLst/>
                <a:ahLst/>
                <a:cxnLst>
                  <a:cxn ang="0">
                    <a:pos x="149" y="46"/>
                  </a:cxn>
                  <a:cxn ang="0">
                    <a:pos x="148" y="40"/>
                  </a:cxn>
                  <a:cxn ang="0">
                    <a:pos x="139" y="37"/>
                  </a:cxn>
                  <a:cxn ang="0">
                    <a:pos x="131" y="37"/>
                  </a:cxn>
                  <a:cxn ang="0">
                    <a:pos x="124" y="47"/>
                  </a:cxn>
                  <a:cxn ang="0">
                    <a:pos x="118" y="43"/>
                  </a:cxn>
                  <a:cxn ang="0">
                    <a:pos x="108" y="40"/>
                  </a:cxn>
                  <a:cxn ang="0">
                    <a:pos x="122" y="24"/>
                  </a:cxn>
                  <a:cxn ang="0">
                    <a:pos x="116" y="8"/>
                  </a:cxn>
                  <a:cxn ang="0">
                    <a:pos x="113" y="7"/>
                  </a:cxn>
                  <a:cxn ang="0">
                    <a:pos x="98" y="17"/>
                  </a:cxn>
                  <a:cxn ang="0">
                    <a:pos x="83" y="20"/>
                  </a:cxn>
                  <a:cxn ang="0">
                    <a:pos x="71" y="13"/>
                  </a:cxn>
                  <a:cxn ang="0">
                    <a:pos x="66" y="0"/>
                  </a:cxn>
                  <a:cxn ang="0">
                    <a:pos x="57" y="7"/>
                  </a:cxn>
                  <a:cxn ang="0">
                    <a:pos x="48" y="9"/>
                  </a:cxn>
                  <a:cxn ang="0">
                    <a:pos x="48" y="23"/>
                  </a:cxn>
                  <a:cxn ang="0">
                    <a:pos x="35" y="24"/>
                  </a:cxn>
                  <a:cxn ang="0">
                    <a:pos x="30" y="22"/>
                  </a:cxn>
                  <a:cxn ang="0">
                    <a:pos x="22" y="28"/>
                  </a:cxn>
                  <a:cxn ang="0">
                    <a:pos x="22" y="48"/>
                  </a:cxn>
                  <a:cxn ang="0">
                    <a:pos x="10" y="59"/>
                  </a:cxn>
                  <a:cxn ang="0">
                    <a:pos x="0" y="76"/>
                  </a:cxn>
                  <a:cxn ang="0">
                    <a:pos x="7" y="88"/>
                  </a:cxn>
                  <a:cxn ang="0">
                    <a:pos x="18" y="93"/>
                  </a:cxn>
                  <a:cxn ang="0">
                    <a:pos x="37" y="93"/>
                  </a:cxn>
                  <a:cxn ang="0">
                    <a:pos x="50" y="105"/>
                  </a:cxn>
                  <a:cxn ang="0">
                    <a:pos x="69" y="113"/>
                  </a:cxn>
                  <a:cxn ang="0">
                    <a:pos x="72" y="124"/>
                  </a:cxn>
                  <a:cxn ang="0">
                    <a:pos x="83" y="134"/>
                  </a:cxn>
                  <a:cxn ang="0">
                    <a:pos x="85" y="149"/>
                  </a:cxn>
                  <a:cxn ang="0">
                    <a:pos x="87" y="163"/>
                  </a:cxn>
                  <a:cxn ang="0">
                    <a:pos x="101" y="175"/>
                  </a:cxn>
                  <a:cxn ang="0">
                    <a:pos x="105" y="184"/>
                  </a:cxn>
                  <a:cxn ang="0">
                    <a:pos x="97" y="211"/>
                  </a:cxn>
                  <a:cxn ang="0">
                    <a:pos x="113" y="221"/>
                  </a:cxn>
                  <a:cxn ang="0">
                    <a:pos x="120" y="230"/>
                  </a:cxn>
                  <a:cxn ang="0">
                    <a:pos x="126" y="215"/>
                  </a:cxn>
                  <a:cxn ang="0">
                    <a:pos x="127" y="217"/>
                  </a:cxn>
                  <a:cxn ang="0">
                    <a:pos x="130" y="214"/>
                  </a:cxn>
                  <a:cxn ang="0">
                    <a:pos x="137" y="201"/>
                  </a:cxn>
                  <a:cxn ang="0">
                    <a:pos x="138" y="183"/>
                  </a:cxn>
                  <a:cxn ang="0">
                    <a:pos x="154" y="170"/>
                  </a:cxn>
                  <a:cxn ang="0">
                    <a:pos x="161" y="168"/>
                  </a:cxn>
                  <a:cxn ang="0">
                    <a:pos x="172" y="156"/>
                  </a:cxn>
                  <a:cxn ang="0">
                    <a:pos x="180" y="136"/>
                  </a:cxn>
                  <a:cxn ang="0">
                    <a:pos x="181" y="107"/>
                  </a:cxn>
                  <a:cxn ang="0">
                    <a:pos x="188" y="98"/>
                  </a:cxn>
                  <a:cxn ang="0">
                    <a:pos x="199" y="74"/>
                  </a:cxn>
                  <a:cxn ang="0">
                    <a:pos x="187" y="60"/>
                  </a:cxn>
                  <a:cxn ang="0">
                    <a:pos x="164" y="48"/>
                  </a:cxn>
                  <a:cxn ang="0">
                    <a:pos x="152" y="46"/>
                  </a:cxn>
                </a:cxnLst>
                <a:rect l="0" t="0" r="r" b="b"/>
                <a:pathLst>
                  <a:path w="199" h="233">
                    <a:moveTo>
                      <a:pt x="152" y="46"/>
                    </a:moveTo>
                    <a:cubicBezTo>
                      <a:pt x="151" y="47"/>
                      <a:pt x="151" y="47"/>
                      <a:pt x="151" y="47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3"/>
                      <a:pt x="148" y="43"/>
                      <a:pt x="148" y="43"/>
                    </a:cubicBezTo>
                    <a:cubicBezTo>
                      <a:pt x="148" y="40"/>
                      <a:pt x="148" y="40"/>
                      <a:pt x="148" y="40"/>
                    </a:cubicBezTo>
                    <a:cubicBezTo>
                      <a:pt x="144" y="40"/>
                      <a:pt x="144" y="40"/>
                      <a:pt x="144" y="40"/>
                    </a:cubicBezTo>
                    <a:cubicBezTo>
                      <a:pt x="143" y="39"/>
                      <a:pt x="143" y="39"/>
                      <a:pt x="143" y="39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6"/>
                      <a:pt x="134" y="36"/>
                      <a:pt x="134" y="36"/>
                    </a:cubicBezTo>
                    <a:cubicBezTo>
                      <a:pt x="131" y="37"/>
                      <a:pt x="131" y="37"/>
                      <a:pt x="131" y="37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7" y="41"/>
                      <a:pt x="127" y="41"/>
                      <a:pt x="127" y="41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3" y="43"/>
                      <a:pt x="123" y="43"/>
                      <a:pt x="123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8" y="43"/>
                      <a:pt x="118" y="43"/>
                      <a:pt x="118" y="43"/>
                    </a:cubicBezTo>
                    <a:cubicBezTo>
                      <a:pt x="117" y="37"/>
                      <a:pt x="117" y="37"/>
                      <a:pt x="117" y="37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2" y="38"/>
                      <a:pt x="112" y="38"/>
                      <a:pt x="112" y="38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3" y="7"/>
                      <a:pt x="113" y="7"/>
                      <a:pt x="113" y="7"/>
                    </a:cubicBezTo>
                    <a:cubicBezTo>
                      <a:pt x="109" y="13"/>
                      <a:pt x="109" y="13"/>
                      <a:pt x="109" y="13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5" y="16"/>
                      <a:pt x="95" y="16"/>
                      <a:pt x="95" y="16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8" y="56"/>
                      <a:pt x="18" y="56"/>
                      <a:pt x="18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6" y="85"/>
                      <a:pt x="6" y="85"/>
                      <a:pt x="6" y="85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4" y="91"/>
                      <a:pt x="14" y="91"/>
                      <a:pt x="14" y="91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101"/>
                      <a:pt x="45" y="101"/>
                      <a:pt x="45" y="101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64" y="113"/>
                      <a:pt x="64" y="113"/>
                      <a:pt x="64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0" y="121"/>
                      <a:pt x="70" y="121"/>
                      <a:pt x="70" y="121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5"/>
                      <a:pt x="86" y="155"/>
                      <a:pt x="86" y="155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3" y="174"/>
                      <a:pt x="103" y="174"/>
                      <a:pt x="103" y="174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11" y="192"/>
                      <a:pt x="111" y="192"/>
                      <a:pt x="111" y="192"/>
                    </a:cubicBezTo>
                    <a:cubicBezTo>
                      <a:pt x="105" y="197"/>
                      <a:pt x="100" y="206"/>
                      <a:pt x="95" y="211"/>
                    </a:cubicBezTo>
                    <a:cubicBezTo>
                      <a:pt x="97" y="211"/>
                      <a:pt x="97" y="211"/>
                      <a:pt x="97" y="211"/>
                    </a:cubicBezTo>
                    <a:cubicBezTo>
                      <a:pt x="103" y="216"/>
                      <a:pt x="103" y="216"/>
                      <a:pt x="103" y="216"/>
                    </a:cubicBezTo>
                    <a:cubicBezTo>
                      <a:pt x="104" y="216"/>
                      <a:pt x="104" y="216"/>
                      <a:pt x="104" y="216"/>
                    </a:cubicBezTo>
                    <a:cubicBezTo>
                      <a:pt x="108" y="218"/>
                      <a:pt x="108" y="218"/>
                      <a:pt x="108" y="218"/>
                    </a:cubicBezTo>
                    <a:cubicBezTo>
                      <a:pt x="113" y="221"/>
                      <a:pt x="113" y="221"/>
                      <a:pt x="113" y="221"/>
                    </a:cubicBezTo>
                    <a:cubicBezTo>
                      <a:pt x="118" y="226"/>
                      <a:pt x="118" y="226"/>
                      <a:pt x="118" y="226"/>
                    </a:cubicBezTo>
                    <a:cubicBezTo>
                      <a:pt x="117" y="230"/>
                      <a:pt x="117" y="230"/>
                      <a:pt x="117" y="230"/>
                    </a:cubicBez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20" y="230"/>
                      <a:pt x="120" y="230"/>
                      <a:pt x="120" y="230"/>
                    </a:cubicBezTo>
                    <a:cubicBezTo>
                      <a:pt x="123" y="225"/>
                      <a:pt x="123" y="225"/>
                      <a:pt x="123" y="22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6" y="215"/>
                      <a:pt x="126" y="215"/>
                      <a:pt x="126" y="215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9" y="213"/>
                      <a:pt x="129" y="213"/>
                      <a:pt x="129" y="213"/>
                    </a:cubicBezTo>
                    <a:cubicBezTo>
                      <a:pt x="127" y="217"/>
                      <a:pt x="127" y="217"/>
                      <a:pt x="127" y="217"/>
                    </a:cubicBezTo>
                    <a:cubicBezTo>
                      <a:pt x="125" y="221"/>
                      <a:pt x="125" y="221"/>
                      <a:pt x="125" y="221"/>
                    </a:cubicBezTo>
                    <a:cubicBezTo>
                      <a:pt x="124" y="223"/>
                      <a:pt x="124" y="223"/>
                      <a:pt x="124" y="223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30" y="214"/>
                      <a:pt x="130" y="214"/>
                      <a:pt x="130" y="214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34" y="204"/>
                      <a:pt x="134" y="204"/>
                      <a:pt x="134" y="204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7" y="201"/>
                      <a:pt x="137" y="201"/>
                      <a:pt x="137" y="201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5" y="184"/>
                      <a:pt x="135" y="184"/>
                      <a:pt x="135" y="184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4" y="170"/>
                      <a:pt x="154" y="170"/>
                      <a:pt x="154" y="170"/>
                    </a:cubicBezTo>
                    <a:cubicBezTo>
                      <a:pt x="156" y="168"/>
                      <a:pt x="156" y="168"/>
                      <a:pt x="156" y="168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61" y="168"/>
                      <a:pt x="161" y="168"/>
                      <a:pt x="161" y="168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56"/>
                      <a:pt x="172" y="156"/>
                      <a:pt x="172" y="156"/>
                    </a:cubicBezTo>
                    <a:cubicBezTo>
                      <a:pt x="174" y="152"/>
                      <a:pt x="174" y="152"/>
                      <a:pt x="174" y="152"/>
                    </a:cubicBezTo>
                    <a:cubicBezTo>
                      <a:pt x="178" y="147"/>
                      <a:pt x="178" y="147"/>
                      <a:pt x="178" y="147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80" y="115"/>
                      <a:pt x="180" y="115"/>
                      <a:pt x="180" y="115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1" y="107"/>
                      <a:pt x="181" y="107"/>
                      <a:pt x="181" y="107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2" y="94"/>
                      <a:pt x="192" y="94"/>
                      <a:pt x="192" y="94"/>
                    </a:cubicBezTo>
                    <a:cubicBezTo>
                      <a:pt x="194" y="89"/>
                      <a:pt x="194" y="89"/>
                      <a:pt x="194" y="89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5" y="62"/>
                      <a:pt x="195" y="62"/>
                      <a:pt x="195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55" y="46"/>
                      <a:pt x="155" y="46"/>
                      <a:pt x="155" y="46"/>
                    </a:cubicBezTo>
                    <a:cubicBezTo>
                      <a:pt x="151" y="48"/>
                      <a:pt x="151" y="48"/>
                      <a:pt x="151" y="48"/>
                    </a:cubicBezTo>
                    <a:cubicBezTo>
                      <a:pt x="152" y="46"/>
                      <a:pt x="152" y="46"/>
                      <a:pt x="152" y="46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3" name="Freeform 385"/>
              <p:cNvSpPr>
                <a:spLocks/>
              </p:cNvSpPr>
              <p:nvPr/>
            </p:nvSpPr>
            <p:spPr bwMode="auto">
              <a:xfrm>
                <a:off x="2395566" y="4180652"/>
                <a:ext cx="1039826" cy="1220806"/>
              </a:xfrm>
              <a:custGeom>
                <a:avLst/>
                <a:gdLst/>
                <a:ahLst/>
                <a:cxnLst>
                  <a:cxn ang="0">
                    <a:pos x="149" y="46"/>
                  </a:cxn>
                  <a:cxn ang="0">
                    <a:pos x="148" y="40"/>
                  </a:cxn>
                  <a:cxn ang="0">
                    <a:pos x="139" y="37"/>
                  </a:cxn>
                  <a:cxn ang="0">
                    <a:pos x="131" y="37"/>
                  </a:cxn>
                  <a:cxn ang="0">
                    <a:pos x="124" y="47"/>
                  </a:cxn>
                  <a:cxn ang="0">
                    <a:pos x="118" y="43"/>
                  </a:cxn>
                  <a:cxn ang="0">
                    <a:pos x="108" y="40"/>
                  </a:cxn>
                  <a:cxn ang="0">
                    <a:pos x="122" y="24"/>
                  </a:cxn>
                  <a:cxn ang="0">
                    <a:pos x="116" y="8"/>
                  </a:cxn>
                  <a:cxn ang="0">
                    <a:pos x="113" y="7"/>
                  </a:cxn>
                  <a:cxn ang="0">
                    <a:pos x="98" y="17"/>
                  </a:cxn>
                  <a:cxn ang="0">
                    <a:pos x="83" y="20"/>
                  </a:cxn>
                  <a:cxn ang="0">
                    <a:pos x="71" y="13"/>
                  </a:cxn>
                  <a:cxn ang="0">
                    <a:pos x="66" y="0"/>
                  </a:cxn>
                  <a:cxn ang="0">
                    <a:pos x="57" y="7"/>
                  </a:cxn>
                  <a:cxn ang="0">
                    <a:pos x="48" y="9"/>
                  </a:cxn>
                  <a:cxn ang="0">
                    <a:pos x="48" y="23"/>
                  </a:cxn>
                  <a:cxn ang="0">
                    <a:pos x="35" y="24"/>
                  </a:cxn>
                  <a:cxn ang="0">
                    <a:pos x="30" y="22"/>
                  </a:cxn>
                  <a:cxn ang="0">
                    <a:pos x="22" y="28"/>
                  </a:cxn>
                  <a:cxn ang="0">
                    <a:pos x="22" y="48"/>
                  </a:cxn>
                  <a:cxn ang="0">
                    <a:pos x="10" y="59"/>
                  </a:cxn>
                  <a:cxn ang="0">
                    <a:pos x="0" y="76"/>
                  </a:cxn>
                  <a:cxn ang="0">
                    <a:pos x="7" y="88"/>
                  </a:cxn>
                  <a:cxn ang="0">
                    <a:pos x="18" y="93"/>
                  </a:cxn>
                  <a:cxn ang="0">
                    <a:pos x="37" y="93"/>
                  </a:cxn>
                  <a:cxn ang="0">
                    <a:pos x="50" y="105"/>
                  </a:cxn>
                  <a:cxn ang="0">
                    <a:pos x="69" y="113"/>
                  </a:cxn>
                  <a:cxn ang="0">
                    <a:pos x="72" y="124"/>
                  </a:cxn>
                  <a:cxn ang="0">
                    <a:pos x="83" y="134"/>
                  </a:cxn>
                  <a:cxn ang="0">
                    <a:pos x="85" y="149"/>
                  </a:cxn>
                  <a:cxn ang="0">
                    <a:pos x="87" y="163"/>
                  </a:cxn>
                  <a:cxn ang="0">
                    <a:pos x="101" y="175"/>
                  </a:cxn>
                  <a:cxn ang="0">
                    <a:pos x="105" y="184"/>
                  </a:cxn>
                  <a:cxn ang="0">
                    <a:pos x="97" y="211"/>
                  </a:cxn>
                  <a:cxn ang="0">
                    <a:pos x="113" y="221"/>
                  </a:cxn>
                  <a:cxn ang="0">
                    <a:pos x="120" y="230"/>
                  </a:cxn>
                  <a:cxn ang="0">
                    <a:pos x="126" y="215"/>
                  </a:cxn>
                  <a:cxn ang="0">
                    <a:pos x="127" y="217"/>
                  </a:cxn>
                  <a:cxn ang="0">
                    <a:pos x="130" y="214"/>
                  </a:cxn>
                  <a:cxn ang="0">
                    <a:pos x="137" y="201"/>
                  </a:cxn>
                  <a:cxn ang="0">
                    <a:pos x="138" y="183"/>
                  </a:cxn>
                  <a:cxn ang="0">
                    <a:pos x="154" y="170"/>
                  </a:cxn>
                  <a:cxn ang="0">
                    <a:pos x="161" y="168"/>
                  </a:cxn>
                  <a:cxn ang="0">
                    <a:pos x="172" y="156"/>
                  </a:cxn>
                  <a:cxn ang="0">
                    <a:pos x="180" y="136"/>
                  </a:cxn>
                  <a:cxn ang="0">
                    <a:pos x="181" y="107"/>
                  </a:cxn>
                  <a:cxn ang="0">
                    <a:pos x="188" y="98"/>
                  </a:cxn>
                  <a:cxn ang="0">
                    <a:pos x="199" y="74"/>
                  </a:cxn>
                  <a:cxn ang="0">
                    <a:pos x="187" y="60"/>
                  </a:cxn>
                  <a:cxn ang="0">
                    <a:pos x="164" y="48"/>
                  </a:cxn>
                  <a:cxn ang="0">
                    <a:pos x="152" y="46"/>
                  </a:cxn>
                </a:cxnLst>
                <a:rect l="0" t="0" r="r" b="b"/>
                <a:pathLst>
                  <a:path w="199" h="233">
                    <a:moveTo>
                      <a:pt x="152" y="46"/>
                    </a:moveTo>
                    <a:cubicBezTo>
                      <a:pt x="151" y="47"/>
                      <a:pt x="151" y="47"/>
                      <a:pt x="151" y="47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3"/>
                      <a:pt x="148" y="43"/>
                      <a:pt x="148" y="43"/>
                    </a:cubicBezTo>
                    <a:cubicBezTo>
                      <a:pt x="148" y="40"/>
                      <a:pt x="148" y="40"/>
                      <a:pt x="148" y="40"/>
                    </a:cubicBezTo>
                    <a:cubicBezTo>
                      <a:pt x="144" y="40"/>
                      <a:pt x="144" y="40"/>
                      <a:pt x="144" y="40"/>
                    </a:cubicBezTo>
                    <a:cubicBezTo>
                      <a:pt x="143" y="39"/>
                      <a:pt x="143" y="39"/>
                      <a:pt x="143" y="39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6"/>
                      <a:pt x="134" y="36"/>
                      <a:pt x="134" y="36"/>
                    </a:cubicBezTo>
                    <a:cubicBezTo>
                      <a:pt x="131" y="37"/>
                      <a:pt x="131" y="37"/>
                      <a:pt x="131" y="37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7" y="41"/>
                      <a:pt x="127" y="41"/>
                      <a:pt x="127" y="41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3" y="43"/>
                      <a:pt x="123" y="43"/>
                      <a:pt x="123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8" y="43"/>
                      <a:pt x="118" y="43"/>
                      <a:pt x="118" y="43"/>
                    </a:cubicBezTo>
                    <a:cubicBezTo>
                      <a:pt x="117" y="37"/>
                      <a:pt x="117" y="37"/>
                      <a:pt x="117" y="37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2" y="38"/>
                      <a:pt x="112" y="38"/>
                      <a:pt x="112" y="38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3" y="7"/>
                      <a:pt x="113" y="7"/>
                      <a:pt x="113" y="7"/>
                    </a:cubicBezTo>
                    <a:cubicBezTo>
                      <a:pt x="109" y="13"/>
                      <a:pt x="109" y="13"/>
                      <a:pt x="109" y="13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5" y="16"/>
                      <a:pt x="95" y="16"/>
                      <a:pt x="95" y="16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8" y="56"/>
                      <a:pt x="18" y="56"/>
                      <a:pt x="18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6" y="85"/>
                      <a:pt x="6" y="85"/>
                      <a:pt x="6" y="85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4" y="91"/>
                      <a:pt x="14" y="91"/>
                      <a:pt x="14" y="91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101"/>
                      <a:pt x="45" y="101"/>
                      <a:pt x="45" y="101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64" y="113"/>
                      <a:pt x="64" y="113"/>
                      <a:pt x="64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0" y="121"/>
                      <a:pt x="70" y="121"/>
                      <a:pt x="70" y="121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5"/>
                      <a:pt x="86" y="155"/>
                      <a:pt x="86" y="155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3" y="174"/>
                      <a:pt x="103" y="174"/>
                      <a:pt x="103" y="174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11" y="192"/>
                      <a:pt x="111" y="192"/>
                      <a:pt x="111" y="192"/>
                    </a:cubicBezTo>
                    <a:cubicBezTo>
                      <a:pt x="105" y="197"/>
                      <a:pt x="100" y="206"/>
                      <a:pt x="95" y="211"/>
                    </a:cubicBezTo>
                    <a:cubicBezTo>
                      <a:pt x="97" y="211"/>
                      <a:pt x="97" y="211"/>
                      <a:pt x="97" y="211"/>
                    </a:cubicBezTo>
                    <a:cubicBezTo>
                      <a:pt x="103" y="216"/>
                      <a:pt x="103" y="216"/>
                      <a:pt x="103" y="216"/>
                    </a:cubicBezTo>
                    <a:cubicBezTo>
                      <a:pt x="104" y="216"/>
                      <a:pt x="104" y="216"/>
                      <a:pt x="104" y="216"/>
                    </a:cubicBezTo>
                    <a:cubicBezTo>
                      <a:pt x="108" y="218"/>
                      <a:pt x="108" y="218"/>
                      <a:pt x="108" y="218"/>
                    </a:cubicBezTo>
                    <a:cubicBezTo>
                      <a:pt x="113" y="221"/>
                      <a:pt x="113" y="221"/>
                      <a:pt x="113" y="221"/>
                    </a:cubicBezTo>
                    <a:cubicBezTo>
                      <a:pt x="118" y="226"/>
                      <a:pt x="118" y="226"/>
                      <a:pt x="118" y="226"/>
                    </a:cubicBezTo>
                    <a:cubicBezTo>
                      <a:pt x="117" y="230"/>
                      <a:pt x="117" y="230"/>
                      <a:pt x="117" y="230"/>
                    </a:cubicBez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20" y="230"/>
                      <a:pt x="120" y="230"/>
                      <a:pt x="120" y="230"/>
                    </a:cubicBezTo>
                    <a:cubicBezTo>
                      <a:pt x="123" y="225"/>
                      <a:pt x="123" y="225"/>
                      <a:pt x="123" y="22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6" y="215"/>
                      <a:pt x="126" y="215"/>
                      <a:pt x="126" y="215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9" y="213"/>
                      <a:pt x="129" y="213"/>
                      <a:pt x="129" y="213"/>
                    </a:cubicBezTo>
                    <a:cubicBezTo>
                      <a:pt x="127" y="217"/>
                      <a:pt x="127" y="217"/>
                      <a:pt x="127" y="217"/>
                    </a:cubicBezTo>
                    <a:cubicBezTo>
                      <a:pt x="125" y="221"/>
                      <a:pt x="125" y="221"/>
                      <a:pt x="125" y="221"/>
                    </a:cubicBezTo>
                    <a:cubicBezTo>
                      <a:pt x="124" y="223"/>
                      <a:pt x="124" y="223"/>
                      <a:pt x="124" y="223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30" y="214"/>
                      <a:pt x="130" y="214"/>
                      <a:pt x="130" y="214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34" y="204"/>
                      <a:pt x="134" y="204"/>
                      <a:pt x="134" y="204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7" y="201"/>
                      <a:pt x="137" y="201"/>
                      <a:pt x="137" y="201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5" y="184"/>
                      <a:pt x="135" y="184"/>
                      <a:pt x="135" y="184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4" y="170"/>
                      <a:pt x="154" y="170"/>
                      <a:pt x="154" y="170"/>
                    </a:cubicBezTo>
                    <a:cubicBezTo>
                      <a:pt x="156" y="168"/>
                      <a:pt x="156" y="168"/>
                      <a:pt x="156" y="168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61" y="168"/>
                      <a:pt x="161" y="168"/>
                      <a:pt x="161" y="168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56"/>
                      <a:pt x="172" y="156"/>
                      <a:pt x="172" y="156"/>
                    </a:cubicBezTo>
                    <a:cubicBezTo>
                      <a:pt x="174" y="152"/>
                      <a:pt x="174" y="152"/>
                      <a:pt x="174" y="152"/>
                    </a:cubicBezTo>
                    <a:cubicBezTo>
                      <a:pt x="178" y="147"/>
                      <a:pt x="178" y="147"/>
                      <a:pt x="178" y="147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80" y="115"/>
                      <a:pt x="180" y="115"/>
                      <a:pt x="180" y="115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1" y="107"/>
                      <a:pt x="181" y="107"/>
                      <a:pt x="181" y="107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2" y="94"/>
                      <a:pt x="192" y="94"/>
                      <a:pt x="192" y="94"/>
                    </a:cubicBezTo>
                    <a:cubicBezTo>
                      <a:pt x="194" y="89"/>
                      <a:pt x="194" y="89"/>
                      <a:pt x="194" y="89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5" y="62"/>
                      <a:pt x="195" y="62"/>
                      <a:pt x="195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55" y="46"/>
                      <a:pt x="155" y="46"/>
                      <a:pt x="155" y="46"/>
                    </a:cubicBezTo>
                    <a:cubicBezTo>
                      <a:pt x="151" y="48"/>
                      <a:pt x="151" y="48"/>
                      <a:pt x="151" y="48"/>
                    </a:cubicBezTo>
                    <a:cubicBezTo>
                      <a:pt x="152" y="46"/>
                      <a:pt x="152" y="46"/>
                      <a:pt x="152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4" name="Freeform 386"/>
              <p:cNvSpPr>
                <a:spLocks/>
              </p:cNvSpPr>
              <p:nvPr/>
            </p:nvSpPr>
            <p:spPr bwMode="auto">
              <a:xfrm>
                <a:off x="2395566" y="4180652"/>
                <a:ext cx="1039826" cy="1220806"/>
              </a:xfrm>
              <a:custGeom>
                <a:avLst/>
                <a:gdLst/>
                <a:ahLst/>
                <a:cxnLst>
                  <a:cxn ang="0">
                    <a:pos x="149" y="46"/>
                  </a:cxn>
                  <a:cxn ang="0">
                    <a:pos x="148" y="40"/>
                  </a:cxn>
                  <a:cxn ang="0">
                    <a:pos x="139" y="37"/>
                  </a:cxn>
                  <a:cxn ang="0">
                    <a:pos x="131" y="37"/>
                  </a:cxn>
                  <a:cxn ang="0">
                    <a:pos x="124" y="47"/>
                  </a:cxn>
                  <a:cxn ang="0">
                    <a:pos x="118" y="43"/>
                  </a:cxn>
                  <a:cxn ang="0">
                    <a:pos x="108" y="40"/>
                  </a:cxn>
                  <a:cxn ang="0">
                    <a:pos x="122" y="24"/>
                  </a:cxn>
                  <a:cxn ang="0">
                    <a:pos x="116" y="8"/>
                  </a:cxn>
                  <a:cxn ang="0">
                    <a:pos x="113" y="7"/>
                  </a:cxn>
                  <a:cxn ang="0">
                    <a:pos x="98" y="17"/>
                  </a:cxn>
                  <a:cxn ang="0">
                    <a:pos x="83" y="20"/>
                  </a:cxn>
                  <a:cxn ang="0">
                    <a:pos x="71" y="13"/>
                  </a:cxn>
                  <a:cxn ang="0">
                    <a:pos x="66" y="0"/>
                  </a:cxn>
                  <a:cxn ang="0">
                    <a:pos x="57" y="7"/>
                  </a:cxn>
                  <a:cxn ang="0">
                    <a:pos x="48" y="9"/>
                  </a:cxn>
                  <a:cxn ang="0">
                    <a:pos x="48" y="23"/>
                  </a:cxn>
                  <a:cxn ang="0">
                    <a:pos x="35" y="24"/>
                  </a:cxn>
                  <a:cxn ang="0">
                    <a:pos x="30" y="22"/>
                  </a:cxn>
                  <a:cxn ang="0">
                    <a:pos x="22" y="28"/>
                  </a:cxn>
                  <a:cxn ang="0">
                    <a:pos x="22" y="48"/>
                  </a:cxn>
                  <a:cxn ang="0">
                    <a:pos x="10" y="59"/>
                  </a:cxn>
                  <a:cxn ang="0">
                    <a:pos x="0" y="76"/>
                  </a:cxn>
                  <a:cxn ang="0">
                    <a:pos x="7" y="88"/>
                  </a:cxn>
                  <a:cxn ang="0">
                    <a:pos x="18" y="93"/>
                  </a:cxn>
                  <a:cxn ang="0">
                    <a:pos x="37" y="93"/>
                  </a:cxn>
                  <a:cxn ang="0">
                    <a:pos x="50" y="105"/>
                  </a:cxn>
                  <a:cxn ang="0">
                    <a:pos x="69" y="113"/>
                  </a:cxn>
                  <a:cxn ang="0">
                    <a:pos x="72" y="124"/>
                  </a:cxn>
                  <a:cxn ang="0">
                    <a:pos x="83" y="134"/>
                  </a:cxn>
                  <a:cxn ang="0">
                    <a:pos x="85" y="149"/>
                  </a:cxn>
                  <a:cxn ang="0">
                    <a:pos x="87" y="163"/>
                  </a:cxn>
                  <a:cxn ang="0">
                    <a:pos x="101" y="175"/>
                  </a:cxn>
                  <a:cxn ang="0">
                    <a:pos x="105" y="184"/>
                  </a:cxn>
                  <a:cxn ang="0">
                    <a:pos x="97" y="211"/>
                  </a:cxn>
                  <a:cxn ang="0">
                    <a:pos x="113" y="221"/>
                  </a:cxn>
                  <a:cxn ang="0">
                    <a:pos x="120" y="230"/>
                  </a:cxn>
                  <a:cxn ang="0">
                    <a:pos x="126" y="215"/>
                  </a:cxn>
                  <a:cxn ang="0">
                    <a:pos x="127" y="217"/>
                  </a:cxn>
                  <a:cxn ang="0">
                    <a:pos x="130" y="214"/>
                  </a:cxn>
                  <a:cxn ang="0">
                    <a:pos x="137" y="201"/>
                  </a:cxn>
                  <a:cxn ang="0">
                    <a:pos x="138" y="183"/>
                  </a:cxn>
                  <a:cxn ang="0">
                    <a:pos x="154" y="170"/>
                  </a:cxn>
                  <a:cxn ang="0">
                    <a:pos x="161" y="168"/>
                  </a:cxn>
                  <a:cxn ang="0">
                    <a:pos x="172" y="156"/>
                  </a:cxn>
                  <a:cxn ang="0">
                    <a:pos x="180" y="136"/>
                  </a:cxn>
                  <a:cxn ang="0">
                    <a:pos x="181" y="107"/>
                  </a:cxn>
                  <a:cxn ang="0">
                    <a:pos x="188" y="98"/>
                  </a:cxn>
                  <a:cxn ang="0">
                    <a:pos x="199" y="74"/>
                  </a:cxn>
                  <a:cxn ang="0">
                    <a:pos x="187" y="60"/>
                  </a:cxn>
                  <a:cxn ang="0">
                    <a:pos x="164" y="48"/>
                  </a:cxn>
                  <a:cxn ang="0">
                    <a:pos x="152" y="46"/>
                  </a:cxn>
                </a:cxnLst>
                <a:rect l="0" t="0" r="r" b="b"/>
                <a:pathLst>
                  <a:path w="199" h="233">
                    <a:moveTo>
                      <a:pt x="152" y="46"/>
                    </a:moveTo>
                    <a:cubicBezTo>
                      <a:pt x="151" y="47"/>
                      <a:pt x="151" y="47"/>
                      <a:pt x="151" y="47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3"/>
                      <a:pt x="148" y="43"/>
                      <a:pt x="148" y="43"/>
                    </a:cubicBezTo>
                    <a:cubicBezTo>
                      <a:pt x="148" y="40"/>
                      <a:pt x="148" y="40"/>
                      <a:pt x="148" y="40"/>
                    </a:cubicBezTo>
                    <a:cubicBezTo>
                      <a:pt x="144" y="40"/>
                      <a:pt x="144" y="40"/>
                      <a:pt x="144" y="40"/>
                    </a:cubicBezTo>
                    <a:cubicBezTo>
                      <a:pt x="143" y="39"/>
                      <a:pt x="143" y="39"/>
                      <a:pt x="143" y="39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6"/>
                      <a:pt x="134" y="36"/>
                      <a:pt x="134" y="36"/>
                    </a:cubicBezTo>
                    <a:cubicBezTo>
                      <a:pt x="131" y="37"/>
                      <a:pt x="131" y="37"/>
                      <a:pt x="131" y="37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7" y="41"/>
                      <a:pt x="127" y="41"/>
                      <a:pt x="127" y="41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3" y="43"/>
                      <a:pt x="123" y="43"/>
                      <a:pt x="123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8" y="43"/>
                      <a:pt x="118" y="43"/>
                      <a:pt x="118" y="43"/>
                    </a:cubicBezTo>
                    <a:cubicBezTo>
                      <a:pt x="117" y="37"/>
                      <a:pt x="117" y="37"/>
                      <a:pt x="117" y="37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2" y="38"/>
                      <a:pt x="112" y="38"/>
                      <a:pt x="112" y="38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3" y="7"/>
                      <a:pt x="113" y="7"/>
                      <a:pt x="113" y="7"/>
                    </a:cubicBezTo>
                    <a:cubicBezTo>
                      <a:pt x="109" y="13"/>
                      <a:pt x="109" y="13"/>
                      <a:pt x="109" y="13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5" y="16"/>
                      <a:pt x="95" y="16"/>
                      <a:pt x="95" y="16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8" y="56"/>
                      <a:pt x="18" y="56"/>
                      <a:pt x="18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6" y="85"/>
                      <a:pt x="6" y="85"/>
                      <a:pt x="6" y="85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4" y="91"/>
                      <a:pt x="14" y="91"/>
                      <a:pt x="14" y="91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101"/>
                      <a:pt x="45" y="101"/>
                      <a:pt x="45" y="101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64" y="113"/>
                      <a:pt x="64" y="113"/>
                      <a:pt x="64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0" y="121"/>
                      <a:pt x="70" y="121"/>
                      <a:pt x="70" y="121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5"/>
                      <a:pt x="86" y="155"/>
                      <a:pt x="86" y="155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3" y="174"/>
                      <a:pt x="103" y="174"/>
                      <a:pt x="103" y="174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11" y="192"/>
                      <a:pt x="111" y="192"/>
                      <a:pt x="111" y="192"/>
                    </a:cubicBezTo>
                    <a:cubicBezTo>
                      <a:pt x="105" y="197"/>
                      <a:pt x="100" y="206"/>
                      <a:pt x="95" y="211"/>
                    </a:cubicBezTo>
                    <a:cubicBezTo>
                      <a:pt x="97" y="211"/>
                      <a:pt x="97" y="211"/>
                      <a:pt x="97" y="211"/>
                    </a:cubicBezTo>
                    <a:cubicBezTo>
                      <a:pt x="103" y="216"/>
                      <a:pt x="103" y="216"/>
                      <a:pt x="103" y="216"/>
                    </a:cubicBezTo>
                    <a:cubicBezTo>
                      <a:pt x="104" y="216"/>
                      <a:pt x="104" y="216"/>
                      <a:pt x="104" y="216"/>
                    </a:cubicBezTo>
                    <a:cubicBezTo>
                      <a:pt x="108" y="218"/>
                      <a:pt x="108" y="218"/>
                      <a:pt x="108" y="218"/>
                    </a:cubicBezTo>
                    <a:cubicBezTo>
                      <a:pt x="113" y="221"/>
                      <a:pt x="113" y="221"/>
                      <a:pt x="113" y="221"/>
                    </a:cubicBezTo>
                    <a:cubicBezTo>
                      <a:pt x="118" y="226"/>
                      <a:pt x="118" y="226"/>
                      <a:pt x="118" y="226"/>
                    </a:cubicBezTo>
                    <a:cubicBezTo>
                      <a:pt x="117" y="230"/>
                      <a:pt x="117" y="230"/>
                      <a:pt x="117" y="230"/>
                    </a:cubicBez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20" y="230"/>
                      <a:pt x="120" y="230"/>
                      <a:pt x="120" y="230"/>
                    </a:cubicBezTo>
                    <a:cubicBezTo>
                      <a:pt x="123" y="225"/>
                      <a:pt x="123" y="225"/>
                      <a:pt x="123" y="22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6" y="215"/>
                      <a:pt x="126" y="215"/>
                      <a:pt x="126" y="215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9" y="213"/>
                      <a:pt x="129" y="213"/>
                      <a:pt x="129" y="213"/>
                    </a:cubicBezTo>
                    <a:cubicBezTo>
                      <a:pt x="127" y="217"/>
                      <a:pt x="127" y="217"/>
                      <a:pt x="127" y="217"/>
                    </a:cubicBezTo>
                    <a:cubicBezTo>
                      <a:pt x="125" y="221"/>
                      <a:pt x="125" y="221"/>
                      <a:pt x="125" y="221"/>
                    </a:cubicBezTo>
                    <a:cubicBezTo>
                      <a:pt x="124" y="223"/>
                      <a:pt x="124" y="223"/>
                      <a:pt x="124" y="223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30" y="214"/>
                      <a:pt x="130" y="214"/>
                      <a:pt x="130" y="214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34" y="204"/>
                      <a:pt x="134" y="204"/>
                      <a:pt x="134" y="204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7" y="201"/>
                      <a:pt x="137" y="201"/>
                      <a:pt x="137" y="201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5" y="184"/>
                      <a:pt x="135" y="184"/>
                      <a:pt x="135" y="184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4" y="170"/>
                      <a:pt x="154" y="170"/>
                      <a:pt x="154" y="170"/>
                    </a:cubicBezTo>
                    <a:cubicBezTo>
                      <a:pt x="156" y="168"/>
                      <a:pt x="156" y="168"/>
                      <a:pt x="156" y="168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61" y="168"/>
                      <a:pt x="161" y="168"/>
                      <a:pt x="161" y="168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56"/>
                      <a:pt x="172" y="156"/>
                      <a:pt x="172" y="156"/>
                    </a:cubicBezTo>
                    <a:cubicBezTo>
                      <a:pt x="174" y="152"/>
                      <a:pt x="174" y="152"/>
                      <a:pt x="174" y="152"/>
                    </a:cubicBezTo>
                    <a:cubicBezTo>
                      <a:pt x="178" y="147"/>
                      <a:pt x="178" y="147"/>
                      <a:pt x="178" y="147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80" y="115"/>
                      <a:pt x="180" y="115"/>
                      <a:pt x="180" y="115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1" y="107"/>
                      <a:pt x="181" y="107"/>
                      <a:pt x="181" y="107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2" y="94"/>
                      <a:pt x="192" y="94"/>
                      <a:pt x="192" y="94"/>
                    </a:cubicBezTo>
                    <a:cubicBezTo>
                      <a:pt x="194" y="89"/>
                      <a:pt x="194" y="89"/>
                      <a:pt x="194" y="89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5" y="62"/>
                      <a:pt x="195" y="62"/>
                      <a:pt x="195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55" y="46"/>
                      <a:pt x="155" y="46"/>
                      <a:pt x="155" y="46"/>
                    </a:cubicBezTo>
                    <a:cubicBezTo>
                      <a:pt x="151" y="48"/>
                      <a:pt x="151" y="48"/>
                      <a:pt x="151" y="48"/>
                    </a:cubicBezTo>
                    <a:cubicBezTo>
                      <a:pt x="152" y="46"/>
                      <a:pt x="152" y="46"/>
                      <a:pt x="152" y="46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5" name="Freeform 387"/>
              <p:cNvSpPr>
                <a:spLocks/>
              </p:cNvSpPr>
              <p:nvPr/>
            </p:nvSpPr>
            <p:spPr bwMode="auto">
              <a:xfrm>
                <a:off x="2395566" y="4180652"/>
                <a:ext cx="1039826" cy="1220806"/>
              </a:xfrm>
              <a:custGeom>
                <a:avLst/>
                <a:gdLst/>
                <a:ahLst/>
                <a:cxnLst>
                  <a:cxn ang="0">
                    <a:pos x="149" y="46"/>
                  </a:cxn>
                  <a:cxn ang="0">
                    <a:pos x="148" y="40"/>
                  </a:cxn>
                  <a:cxn ang="0">
                    <a:pos x="139" y="37"/>
                  </a:cxn>
                  <a:cxn ang="0">
                    <a:pos x="131" y="37"/>
                  </a:cxn>
                  <a:cxn ang="0">
                    <a:pos x="124" y="47"/>
                  </a:cxn>
                  <a:cxn ang="0">
                    <a:pos x="118" y="43"/>
                  </a:cxn>
                  <a:cxn ang="0">
                    <a:pos x="108" y="40"/>
                  </a:cxn>
                  <a:cxn ang="0">
                    <a:pos x="122" y="24"/>
                  </a:cxn>
                  <a:cxn ang="0">
                    <a:pos x="116" y="8"/>
                  </a:cxn>
                  <a:cxn ang="0">
                    <a:pos x="113" y="7"/>
                  </a:cxn>
                  <a:cxn ang="0">
                    <a:pos x="98" y="17"/>
                  </a:cxn>
                  <a:cxn ang="0">
                    <a:pos x="83" y="20"/>
                  </a:cxn>
                  <a:cxn ang="0">
                    <a:pos x="71" y="13"/>
                  </a:cxn>
                  <a:cxn ang="0">
                    <a:pos x="66" y="0"/>
                  </a:cxn>
                  <a:cxn ang="0">
                    <a:pos x="57" y="7"/>
                  </a:cxn>
                  <a:cxn ang="0">
                    <a:pos x="48" y="9"/>
                  </a:cxn>
                  <a:cxn ang="0">
                    <a:pos x="48" y="23"/>
                  </a:cxn>
                  <a:cxn ang="0">
                    <a:pos x="35" y="24"/>
                  </a:cxn>
                  <a:cxn ang="0">
                    <a:pos x="30" y="22"/>
                  </a:cxn>
                  <a:cxn ang="0">
                    <a:pos x="22" y="28"/>
                  </a:cxn>
                  <a:cxn ang="0">
                    <a:pos x="22" y="48"/>
                  </a:cxn>
                  <a:cxn ang="0">
                    <a:pos x="10" y="59"/>
                  </a:cxn>
                  <a:cxn ang="0">
                    <a:pos x="0" y="76"/>
                  </a:cxn>
                  <a:cxn ang="0">
                    <a:pos x="7" y="88"/>
                  </a:cxn>
                  <a:cxn ang="0">
                    <a:pos x="18" y="93"/>
                  </a:cxn>
                  <a:cxn ang="0">
                    <a:pos x="37" y="93"/>
                  </a:cxn>
                  <a:cxn ang="0">
                    <a:pos x="50" y="105"/>
                  </a:cxn>
                  <a:cxn ang="0">
                    <a:pos x="69" y="113"/>
                  </a:cxn>
                  <a:cxn ang="0">
                    <a:pos x="72" y="124"/>
                  </a:cxn>
                  <a:cxn ang="0">
                    <a:pos x="83" y="134"/>
                  </a:cxn>
                  <a:cxn ang="0">
                    <a:pos x="85" y="149"/>
                  </a:cxn>
                  <a:cxn ang="0">
                    <a:pos x="87" y="163"/>
                  </a:cxn>
                  <a:cxn ang="0">
                    <a:pos x="101" y="175"/>
                  </a:cxn>
                  <a:cxn ang="0">
                    <a:pos x="105" y="184"/>
                  </a:cxn>
                  <a:cxn ang="0">
                    <a:pos x="97" y="211"/>
                  </a:cxn>
                  <a:cxn ang="0">
                    <a:pos x="113" y="221"/>
                  </a:cxn>
                  <a:cxn ang="0">
                    <a:pos x="120" y="230"/>
                  </a:cxn>
                  <a:cxn ang="0">
                    <a:pos x="126" y="215"/>
                  </a:cxn>
                  <a:cxn ang="0">
                    <a:pos x="127" y="217"/>
                  </a:cxn>
                  <a:cxn ang="0">
                    <a:pos x="130" y="214"/>
                  </a:cxn>
                  <a:cxn ang="0">
                    <a:pos x="137" y="201"/>
                  </a:cxn>
                  <a:cxn ang="0">
                    <a:pos x="138" y="183"/>
                  </a:cxn>
                  <a:cxn ang="0">
                    <a:pos x="154" y="170"/>
                  </a:cxn>
                  <a:cxn ang="0">
                    <a:pos x="161" y="168"/>
                  </a:cxn>
                  <a:cxn ang="0">
                    <a:pos x="172" y="156"/>
                  </a:cxn>
                  <a:cxn ang="0">
                    <a:pos x="180" y="136"/>
                  </a:cxn>
                  <a:cxn ang="0">
                    <a:pos x="181" y="107"/>
                  </a:cxn>
                  <a:cxn ang="0">
                    <a:pos x="188" y="98"/>
                  </a:cxn>
                  <a:cxn ang="0">
                    <a:pos x="199" y="74"/>
                  </a:cxn>
                  <a:cxn ang="0">
                    <a:pos x="187" y="60"/>
                  </a:cxn>
                  <a:cxn ang="0">
                    <a:pos x="164" y="48"/>
                  </a:cxn>
                  <a:cxn ang="0">
                    <a:pos x="152" y="46"/>
                  </a:cxn>
                </a:cxnLst>
                <a:rect l="0" t="0" r="r" b="b"/>
                <a:pathLst>
                  <a:path w="199" h="233">
                    <a:moveTo>
                      <a:pt x="152" y="46"/>
                    </a:moveTo>
                    <a:cubicBezTo>
                      <a:pt x="151" y="47"/>
                      <a:pt x="151" y="47"/>
                      <a:pt x="151" y="47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3"/>
                      <a:pt x="148" y="43"/>
                      <a:pt x="148" y="43"/>
                    </a:cubicBezTo>
                    <a:cubicBezTo>
                      <a:pt x="148" y="40"/>
                      <a:pt x="148" y="40"/>
                      <a:pt x="148" y="40"/>
                    </a:cubicBezTo>
                    <a:cubicBezTo>
                      <a:pt x="144" y="40"/>
                      <a:pt x="144" y="40"/>
                      <a:pt x="144" y="40"/>
                    </a:cubicBezTo>
                    <a:cubicBezTo>
                      <a:pt x="143" y="39"/>
                      <a:pt x="143" y="39"/>
                      <a:pt x="143" y="39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6"/>
                      <a:pt x="134" y="36"/>
                      <a:pt x="134" y="36"/>
                    </a:cubicBezTo>
                    <a:cubicBezTo>
                      <a:pt x="131" y="37"/>
                      <a:pt x="131" y="37"/>
                      <a:pt x="131" y="37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7" y="41"/>
                      <a:pt x="127" y="41"/>
                      <a:pt x="127" y="41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3" y="43"/>
                      <a:pt x="123" y="43"/>
                      <a:pt x="123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8" y="43"/>
                      <a:pt x="118" y="43"/>
                      <a:pt x="118" y="43"/>
                    </a:cubicBezTo>
                    <a:cubicBezTo>
                      <a:pt x="117" y="37"/>
                      <a:pt x="117" y="37"/>
                      <a:pt x="117" y="37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2" y="38"/>
                      <a:pt x="112" y="38"/>
                      <a:pt x="112" y="38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3" y="7"/>
                      <a:pt x="113" y="7"/>
                      <a:pt x="113" y="7"/>
                    </a:cubicBezTo>
                    <a:cubicBezTo>
                      <a:pt x="109" y="13"/>
                      <a:pt x="109" y="13"/>
                      <a:pt x="109" y="13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5" y="16"/>
                      <a:pt x="95" y="16"/>
                      <a:pt x="95" y="16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8" y="56"/>
                      <a:pt x="18" y="56"/>
                      <a:pt x="18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6" y="85"/>
                      <a:pt x="6" y="85"/>
                      <a:pt x="6" y="85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4" y="91"/>
                      <a:pt x="14" y="91"/>
                      <a:pt x="14" y="91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101"/>
                      <a:pt x="45" y="101"/>
                      <a:pt x="45" y="101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64" y="113"/>
                      <a:pt x="64" y="113"/>
                      <a:pt x="64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0" y="121"/>
                      <a:pt x="70" y="121"/>
                      <a:pt x="70" y="121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5"/>
                      <a:pt x="86" y="155"/>
                      <a:pt x="86" y="155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3" y="174"/>
                      <a:pt x="103" y="174"/>
                      <a:pt x="103" y="174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11" y="192"/>
                      <a:pt x="111" y="192"/>
                      <a:pt x="111" y="192"/>
                    </a:cubicBezTo>
                    <a:cubicBezTo>
                      <a:pt x="105" y="197"/>
                      <a:pt x="100" y="206"/>
                      <a:pt x="95" y="211"/>
                    </a:cubicBezTo>
                    <a:cubicBezTo>
                      <a:pt x="97" y="211"/>
                      <a:pt x="97" y="211"/>
                      <a:pt x="97" y="211"/>
                    </a:cubicBezTo>
                    <a:cubicBezTo>
                      <a:pt x="103" y="216"/>
                      <a:pt x="103" y="216"/>
                      <a:pt x="103" y="216"/>
                    </a:cubicBezTo>
                    <a:cubicBezTo>
                      <a:pt x="104" y="216"/>
                      <a:pt x="104" y="216"/>
                      <a:pt x="104" y="216"/>
                    </a:cubicBezTo>
                    <a:cubicBezTo>
                      <a:pt x="108" y="218"/>
                      <a:pt x="108" y="218"/>
                      <a:pt x="108" y="218"/>
                    </a:cubicBezTo>
                    <a:cubicBezTo>
                      <a:pt x="113" y="221"/>
                      <a:pt x="113" y="221"/>
                      <a:pt x="113" y="221"/>
                    </a:cubicBezTo>
                    <a:cubicBezTo>
                      <a:pt x="118" y="226"/>
                      <a:pt x="118" y="226"/>
                      <a:pt x="118" y="226"/>
                    </a:cubicBezTo>
                    <a:cubicBezTo>
                      <a:pt x="117" y="230"/>
                      <a:pt x="117" y="230"/>
                      <a:pt x="117" y="230"/>
                    </a:cubicBez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20" y="230"/>
                      <a:pt x="120" y="230"/>
                      <a:pt x="120" y="230"/>
                    </a:cubicBezTo>
                    <a:cubicBezTo>
                      <a:pt x="123" y="225"/>
                      <a:pt x="123" y="225"/>
                      <a:pt x="123" y="22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6" y="215"/>
                      <a:pt x="126" y="215"/>
                      <a:pt x="126" y="215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9" y="213"/>
                      <a:pt x="129" y="213"/>
                      <a:pt x="129" y="213"/>
                    </a:cubicBezTo>
                    <a:cubicBezTo>
                      <a:pt x="127" y="217"/>
                      <a:pt x="127" y="217"/>
                      <a:pt x="127" y="217"/>
                    </a:cubicBezTo>
                    <a:cubicBezTo>
                      <a:pt x="125" y="221"/>
                      <a:pt x="125" y="221"/>
                      <a:pt x="125" y="221"/>
                    </a:cubicBezTo>
                    <a:cubicBezTo>
                      <a:pt x="124" y="223"/>
                      <a:pt x="124" y="223"/>
                      <a:pt x="124" y="223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30" y="214"/>
                      <a:pt x="130" y="214"/>
                      <a:pt x="130" y="214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34" y="204"/>
                      <a:pt x="134" y="204"/>
                      <a:pt x="134" y="204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7" y="201"/>
                      <a:pt x="137" y="201"/>
                      <a:pt x="137" y="201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5" y="184"/>
                      <a:pt x="135" y="184"/>
                      <a:pt x="135" y="184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4" y="170"/>
                      <a:pt x="154" y="170"/>
                      <a:pt x="154" y="170"/>
                    </a:cubicBezTo>
                    <a:cubicBezTo>
                      <a:pt x="156" y="168"/>
                      <a:pt x="156" y="168"/>
                      <a:pt x="156" y="168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61" y="168"/>
                      <a:pt x="161" y="168"/>
                      <a:pt x="161" y="168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56"/>
                      <a:pt x="172" y="156"/>
                      <a:pt x="172" y="156"/>
                    </a:cubicBezTo>
                    <a:cubicBezTo>
                      <a:pt x="174" y="152"/>
                      <a:pt x="174" y="152"/>
                      <a:pt x="174" y="152"/>
                    </a:cubicBezTo>
                    <a:cubicBezTo>
                      <a:pt x="178" y="147"/>
                      <a:pt x="178" y="147"/>
                      <a:pt x="178" y="147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80" y="115"/>
                      <a:pt x="180" y="115"/>
                      <a:pt x="180" y="115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1" y="107"/>
                      <a:pt x="181" y="107"/>
                      <a:pt x="181" y="107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2" y="94"/>
                      <a:pt x="192" y="94"/>
                      <a:pt x="192" y="94"/>
                    </a:cubicBezTo>
                    <a:cubicBezTo>
                      <a:pt x="194" y="89"/>
                      <a:pt x="194" y="89"/>
                      <a:pt x="194" y="89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5" y="62"/>
                      <a:pt x="195" y="62"/>
                      <a:pt x="195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55" y="46"/>
                      <a:pt x="155" y="46"/>
                      <a:pt x="155" y="46"/>
                    </a:cubicBezTo>
                    <a:cubicBezTo>
                      <a:pt x="151" y="48"/>
                      <a:pt x="151" y="48"/>
                      <a:pt x="151" y="48"/>
                    </a:cubicBezTo>
                    <a:cubicBezTo>
                      <a:pt x="152" y="46"/>
                      <a:pt x="152" y="46"/>
                      <a:pt x="152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6" name="Freeform 388"/>
              <p:cNvSpPr>
                <a:spLocks/>
              </p:cNvSpPr>
              <p:nvPr/>
            </p:nvSpPr>
            <p:spPr bwMode="auto">
              <a:xfrm>
                <a:off x="4618092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7" name="Freeform 389"/>
              <p:cNvSpPr>
                <a:spLocks/>
              </p:cNvSpPr>
              <p:nvPr/>
            </p:nvSpPr>
            <p:spPr bwMode="auto">
              <a:xfrm>
                <a:off x="4618092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8" name="Freeform 390"/>
              <p:cNvSpPr>
                <a:spLocks/>
              </p:cNvSpPr>
              <p:nvPr/>
            </p:nvSpPr>
            <p:spPr bwMode="auto">
              <a:xfrm>
                <a:off x="4618092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69" name="Freeform 391"/>
              <p:cNvSpPr>
                <a:spLocks/>
              </p:cNvSpPr>
              <p:nvPr/>
            </p:nvSpPr>
            <p:spPr bwMode="auto">
              <a:xfrm>
                <a:off x="4618092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0" name="Freeform 392"/>
              <p:cNvSpPr>
                <a:spLocks/>
              </p:cNvSpPr>
              <p:nvPr/>
            </p:nvSpPr>
            <p:spPr bwMode="auto">
              <a:xfrm>
                <a:off x="4602217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1" name="Freeform 393"/>
              <p:cNvSpPr>
                <a:spLocks/>
              </p:cNvSpPr>
              <p:nvPr/>
            </p:nvSpPr>
            <p:spPr bwMode="auto">
              <a:xfrm>
                <a:off x="4602217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2" name="Freeform 394"/>
              <p:cNvSpPr>
                <a:spLocks/>
              </p:cNvSpPr>
              <p:nvPr/>
            </p:nvSpPr>
            <p:spPr bwMode="auto">
              <a:xfrm>
                <a:off x="4602217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3" name="Freeform 395"/>
              <p:cNvSpPr>
                <a:spLocks/>
              </p:cNvSpPr>
              <p:nvPr/>
            </p:nvSpPr>
            <p:spPr bwMode="auto">
              <a:xfrm>
                <a:off x="4602217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4" name="Freeform 396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5" name="Freeform 397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6" name="Freeform 398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7" name="Freeform 399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8" name="Freeform 400"/>
              <p:cNvSpPr>
                <a:spLocks/>
              </p:cNvSpPr>
              <p:nvPr/>
            </p:nvSpPr>
            <p:spPr bwMode="auto">
              <a:xfrm>
                <a:off x="2886109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79" name="Freeform 401"/>
              <p:cNvSpPr>
                <a:spLocks/>
              </p:cNvSpPr>
              <p:nvPr/>
            </p:nvSpPr>
            <p:spPr bwMode="auto">
              <a:xfrm>
                <a:off x="2886109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0" name="Freeform 402"/>
              <p:cNvSpPr>
                <a:spLocks/>
              </p:cNvSpPr>
              <p:nvPr/>
            </p:nvSpPr>
            <p:spPr bwMode="auto">
              <a:xfrm>
                <a:off x="2886109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1" name="Freeform 403"/>
              <p:cNvSpPr>
                <a:spLocks/>
              </p:cNvSpPr>
              <p:nvPr/>
            </p:nvSpPr>
            <p:spPr bwMode="auto">
              <a:xfrm>
                <a:off x="2886109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2" name="Freeform 404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3" name="Freeform 405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4" name="Freeform 407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5" name="Freeform 408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6" name="Freeform 409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7" name="Freeform 410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8" name="Freeform 411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89" name="Freeform 412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0" name="Freeform 413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1" name="Freeform 414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2" name="Freeform 415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3" name="Freeform 416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4" name="Freeform 417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5" name="Freeform 418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6" name="Freeform 419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7" name="Freeform 420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8" name="Freeform 421"/>
              <p:cNvSpPr>
                <a:spLocks/>
              </p:cNvSpPr>
              <p:nvPr/>
            </p:nvSpPr>
            <p:spPr bwMode="auto">
              <a:xfrm>
                <a:off x="2567018" y="5653874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499" name="Freeform 422"/>
              <p:cNvSpPr>
                <a:spLocks/>
              </p:cNvSpPr>
              <p:nvPr/>
            </p:nvSpPr>
            <p:spPr bwMode="auto">
              <a:xfrm>
                <a:off x="2567018" y="5653874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0" name="Freeform 423"/>
              <p:cNvSpPr>
                <a:spLocks/>
              </p:cNvSpPr>
              <p:nvPr/>
            </p:nvSpPr>
            <p:spPr bwMode="auto">
              <a:xfrm>
                <a:off x="2567018" y="5653874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1" name="Freeform 424"/>
              <p:cNvSpPr>
                <a:spLocks/>
              </p:cNvSpPr>
              <p:nvPr/>
            </p:nvSpPr>
            <p:spPr bwMode="auto">
              <a:xfrm>
                <a:off x="2567018" y="5653874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2" name="Freeform 425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3" name="Freeform 426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4" name="Freeform 427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5" name="Freeform 428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6" name="Freeform 429"/>
              <p:cNvSpPr>
                <a:spLocks/>
              </p:cNvSpPr>
              <p:nvPr/>
            </p:nvSpPr>
            <p:spPr bwMode="auto">
              <a:xfrm>
                <a:off x="2259040" y="446323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7" name="Freeform 430"/>
              <p:cNvSpPr>
                <a:spLocks/>
              </p:cNvSpPr>
              <p:nvPr/>
            </p:nvSpPr>
            <p:spPr bwMode="auto">
              <a:xfrm>
                <a:off x="2259040" y="446323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8" name="Freeform 431"/>
              <p:cNvSpPr>
                <a:spLocks/>
              </p:cNvSpPr>
              <p:nvPr/>
            </p:nvSpPr>
            <p:spPr bwMode="auto">
              <a:xfrm>
                <a:off x="2259040" y="446323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09" name="Freeform 432"/>
              <p:cNvSpPr>
                <a:spLocks/>
              </p:cNvSpPr>
              <p:nvPr/>
            </p:nvSpPr>
            <p:spPr bwMode="auto">
              <a:xfrm>
                <a:off x="2259040" y="446323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0" name="Freeform 433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1" name="Freeform 434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2" name="Freeform 435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3" name="Freeform 436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4" name="Freeform 437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5" name="Freeform 438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6" name="Freeform 439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7" name="Freeform 440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8" name="Freeform 441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6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19" name="Freeform 442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6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0" name="Freeform 443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6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1" name="Freeform 444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6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2" name="Freeform 445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3" name="Freeform 446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4" name="Freeform 447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5" name="Freeform 448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6" name="Freeform 449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7" name="Freeform 450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8" name="Freeform 451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29" name="Freeform 452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0" name="Freeform 453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1" name="Freeform 454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2" name="Freeform 455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3" name="Freeform 456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4" name="Freeform 457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5" name="Freeform 458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6" name="Freeform 459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7" name="Freeform 460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8" name="Freeform 461"/>
              <p:cNvSpPr>
                <a:spLocks/>
              </p:cNvSpPr>
              <p:nvPr/>
            </p:nvSpPr>
            <p:spPr bwMode="auto">
              <a:xfrm>
                <a:off x="7667717" y="3331326"/>
                <a:ext cx="6350" cy="158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39" name="Line 462"/>
              <p:cNvSpPr>
                <a:spLocks noChangeShapeType="1"/>
              </p:cNvSpPr>
              <p:nvPr/>
            </p:nvSpPr>
            <p:spPr bwMode="auto">
              <a:xfrm flipH="1">
                <a:off x="7667717" y="3331326"/>
                <a:ext cx="6350" cy="1588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0" name="Freeform 463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1" name="Freeform 464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2" name="Freeform 465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3" name="Freeform 466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4" name="Freeform 467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5" name="Freeform 468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6" name="Freeform 469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7" name="Freeform 470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8" name="Freeform 471"/>
              <p:cNvSpPr>
                <a:spLocks/>
              </p:cNvSpPr>
              <p:nvPr/>
            </p:nvSpPr>
            <p:spPr bwMode="auto">
              <a:xfrm>
                <a:off x="6423101" y="3399591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49" name="Freeform 472"/>
              <p:cNvSpPr>
                <a:spLocks/>
              </p:cNvSpPr>
              <p:nvPr/>
            </p:nvSpPr>
            <p:spPr bwMode="auto">
              <a:xfrm>
                <a:off x="6423101" y="3399591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0" name="Freeform 473"/>
              <p:cNvSpPr>
                <a:spLocks/>
              </p:cNvSpPr>
              <p:nvPr/>
            </p:nvSpPr>
            <p:spPr bwMode="auto">
              <a:xfrm>
                <a:off x="6423101" y="3399591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1" name="Freeform 474"/>
              <p:cNvSpPr>
                <a:spLocks/>
              </p:cNvSpPr>
              <p:nvPr/>
            </p:nvSpPr>
            <p:spPr bwMode="auto">
              <a:xfrm>
                <a:off x="6423101" y="3399591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2" name="Freeform 475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3" name="Freeform 476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4" name="Freeform 477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5" name="Freeform 478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6" name="Freeform 479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5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7" name="Freeform 480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5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8" name="Freeform 481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5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59" name="Freeform 482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5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0" name="Freeform 483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1" name="Freeform 484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2" name="Freeform 485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3" name="Freeform 486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4" name="Freeform 487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5" name="Freeform 488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6" name="Freeform 489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7" name="Freeform 490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8" name="Freeform 491"/>
              <p:cNvSpPr>
                <a:spLocks/>
              </p:cNvSpPr>
              <p:nvPr/>
            </p:nvSpPr>
            <p:spPr bwMode="auto">
              <a:xfrm>
                <a:off x="5559491" y="3410702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69" name="Freeform 492"/>
              <p:cNvSpPr>
                <a:spLocks/>
              </p:cNvSpPr>
              <p:nvPr/>
            </p:nvSpPr>
            <p:spPr bwMode="auto">
              <a:xfrm>
                <a:off x="5559491" y="3410702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0" name="Freeform 493"/>
              <p:cNvSpPr>
                <a:spLocks/>
              </p:cNvSpPr>
              <p:nvPr/>
            </p:nvSpPr>
            <p:spPr bwMode="auto">
              <a:xfrm>
                <a:off x="5559491" y="3410702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1" name="Freeform 494"/>
              <p:cNvSpPr>
                <a:spLocks/>
              </p:cNvSpPr>
              <p:nvPr/>
            </p:nvSpPr>
            <p:spPr bwMode="auto">
              <a:xfrm>
                <a:off x="5559491" y="3410702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2" name="Freeform 495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3" name="Freeform 496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4" name="Freeform 497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5" name="Freeform 498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6" name="Freeform 499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7" name="Freeform 500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8" name="Freeform 501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79" name="Freeform 502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0" name="Freeform 503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1" name="Freeform 504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2" name="Freeform 505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3" name="Freeform 506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4" name="Freeform 507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5" name="Freeform 508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6" name="Freeform 509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7" name="Freeform 510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8" name="Freeform 511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89" name="Freeform 512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0" name="Freeform 513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1" name="Freeform 514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2" name="Freeform 515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3" name="Freeform 516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4" name="Freeform 517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5" name="Freeform 518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6" name="Freeform 519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7" name="Freeform 520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8" name="Freeform 521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599" name="Freeform 522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0" name="Freeform 523"/>
              <p:cNvSpPr>
                <a:spLocks/>
              </p:cNvSpPr>
              <p:nvPr/>
            </p:nvSpPr>
            <p:spPr bwMode="auto">
              <a:xfrm>
                <a:off x="5707130" y="2916984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1" name="Freeform 524"/>
              <p:cNvSpPr>
                <a:spLocks/>
              </p:cNvSpPr>
              <p:nvPr/>
            </p:nvSpPr>
            <p:spPr bwMode="auto">
              <a:xfrm>
                <a:off x="5707130" y="2916984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2" name="Freeform 525"/>
              <p:cNvSpPr>
                <a:spLocks/>
              </p:cNvSpPr>
              <p:nvPr/>
            </p:nvSpPr>
            <p:spPr bwMode="auto">
              <a:xfrm>
                <a:off x="5707130" y="2916984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3" name="Freeform 526"/>
              <p:cNvSpPr>
                <a:spLocks/>
              </p:cNvSpPr>
              <p:nvPr/>
            </p:nvSpPr>
            <p:spPr bwMode="auto">
              <a:xfrm>
                <a:off x="5707130" y="2916984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4" name="Freeform 527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6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5" name="Freeform 528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6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6" name="Freeform 529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6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7" name="Freeform 530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6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8" name="Freeform 531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09" name="Freeform 532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0" name="Freeform 533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1" name="Freeform 534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2" name="Freeform 535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3" name="Freeform 536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4" name="Freeform 537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5" name="Freeform 538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6" name="Freeform 539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7" name="Freeform 540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8" name="Freeform 541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19" name="Freeform 542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0" name="Freeform 543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1" name="Freeform 544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2" name="Freeform 545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3" name="Freeform 546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4" name="Freeform 547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5" name="Freeform 548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6" name="Freeform 549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7" name="Freeform 550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8" name="Freeform 551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29" name="Freeform 552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0" name="Freeform 553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1" name="Freeform 554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2" name="Freeform 555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3" name="Freeform 556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4" name="Freeform 557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5" name="Freeform 558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6" name="Freeform 559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  <a:cxn ang="0">
                    <a:pos x="86" y="56"/>
                  </a:cxn>
                  <a:cxn ang="0">
                    <a:pos x="86" y="56"/>
                  </a:cxn>
                  <a:cxn ang="0">
                    <a:pos x="86" y="59"/>
                  </a:cxn>
                  <a:cxn ang="0">
                    <a:pos x="86" y="56"/>
                  </a:cxn>
                  <a:cxn ang="0">
                    <a:pos x="99" y="6"/>
                  </a:cxn>
                  <a:cxn ang="0">
                    <a:pos x="89" y="102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lnTo>
                      <a:pt x="86" y="56"/>
                    </a:lnTo>
                    <a:lnTo>
                      <a:pt x="86" y="56"/>
                    </a:lnTo>
                    <a:lnTo>
                      <a:pt x="86" y="59"/>
                    </a:lnTo>
                    <a:lnTo>
                      <a:pt x="86" y="56"/>
                    </a:lnTo>
                    <a:lnTo>
                      <a:pt x="99" y="6"/>
                    </a:lnTo>
                    <a:lnTo>
                      <a:pt x="89" y="102"/>
                    </a:lnTo>
                    <a:lnTo>
                      <a:pt x="99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7" name="Freeform 560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  <a:cxn ang="0">
                    <a:pos x="86" y="56"/>
                  </a:cxn>
                  <a:cxn ang="0">
                    <a:pos x="86" y="56"/>
                  </a:cxn>
                  <a:cxn ang="0">
                    <a:pos x="86" y="59"/>
                  </a:cxn>
                  <a:cxn ang="0">
                    <a:pos x="86" y="56"/>
                  </a:cxn>
                  <a:cxn ang="0">
                    <a:pos x="99" y="6"/>
                  </a:cxn>
                  <a:cxn ang="0">
                    <a:pos x="89" y="102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lnTo>
                      <a:pt x="86" y="56"/>
                    </a:lnTo>
                    <a:lnTo>
                      <a:pt x="86" y="56"/>
                    </a:lnTo>
                    <a:lnTo>
                      <a:pt x="86" y="59"/>
                    </a:lnTo>
                    <a:lnTo>
                      <a:pt x="86" y="56"/>
                    </a:lnTo>
                    <a:lnTo>
                      <a:pt x="99" y="6"/>
                    </a:lnTo>
                    <a:lnTo>
                      <a:pt x="89" y="102"/>
                    </a:lnTo>
                    <a:lnTo>
                      <a:pt x="99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8" name="Freeform 561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39" name="Freeform 562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0" name="Freeform 563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1" name="Freeform 564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2" name="Freeform 565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3" name="Freeform 566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4" name="Freeform 567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5" name="Freeform 568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6" name="Freeform 569"/>
              <p:cNvSpPr>
                <a:spLocks/>
              </p:cNvSpPr>
              <p:nvPr/>
            </p:nvSpPr>
            <p:spPr bwMode="auto">
              <a:xfrm>
                <a:off x="5000684" y="3037635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7" name="Freeform 570"/>
              <p:cNvSpPr>
                <a:spLocks/>
              </p:cNvSpPr>
              <p:nvPr/>
            </p:nvSpPr>
            <p:spPr bwMode="auto">
              <a:xfrm>
                <a:off x="5000684" y="3037635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8" name="Freeform 571"/>
              <p:cNvSpPr>
                <a:spLocks/>
              </p:cNvSpPr>
              <p:nvPr/>
            </p:nvSpPr>
            <p:spPr bwMode="auto">
              <a:xfrm>
                <a:off x="5000684" y="3037635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49" name="Freeform 572"/>
              <p:cNvSpPr>
                <a:spLocks/>
              </p:cNvSpPr>
              <p:nvPr/>
            </p:nvSpPr>
            <p:spPr bwMode="auto">
              <a:xfrm>
                <a:off x="5000684" y="3037635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0" name="Freeform 573"/>
              <p:cNvSpPr>
                <a:spLocks/>
              </p:cNvSpPr>
              <p:nvPr/>
            </p:nvSpPr>
            <p:spPr bwMode="auto">
              <a:xfrm>
                <a:off x="4891146" y="2613766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1" name="Freeform 574"/>
              <p:cNvSpPr>
                <a:spLocks/>
              </p:cNvSpPr>
              <p:nvPr/>
            </p:nvSpPr>
            <p:spPr bwMode="auto">
              <a:xfrm>
                <a:off x="4891146" y="2613766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2" name="Freeform 575"/>
              <p:cNvSpPr>
                <a:spLocks/>
              </p:cNvSpPr>
              <p:nvPr/>
            </p:nvSpPr>
            <p:spPr bwMode="auto">
              <a:xfrm>
                <a:off x="4891146" y="2613766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3" name="Freeform 576"/>
              <p:cNvSpPr>
                <a:spLocks/>
              </p:cNvSpPr>
              <p:nvPr/>
            </p:nvSpPr>
            <p:spPr bwMode="auto">
              <a:xfrm>
                <a:off x="4891146" y="2613766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4" name="Freeform 577"/>
              <p:cNvSpPr>
                <a:spLocks/>
              </p:cNvSpPr>
              <p:nvPr/>
            </p:nvSpPr>
            <p:spPr bwMode="auto">
              <a:xfrm>
                <a:off x="4540304" y="2582016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5" name="Freeform 578"/>
              <p:cNvSpPr>
                <a:spLocks/>
              </p:cNvSpPr>
              <p:nvPr/>
            </p:nvSpPr>
            <p:spPr bwMode="auto">
              <a:xfrm>
                <a:off x="4540304" y="2582016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6" name="Freeform 579"/>
              <p:cNvSpPr>
                <a:spLocks/>
              </p:cNvSpPr>
              <p:nvPr/>
            </p:nvSpPr>
            <p:spPr bwMode="auto">
              <a:xfrm>
                <a:off x="4540304" y="2582016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7" name="Freeform 580"/>
              <p:cNvSpPr>
                <a:spLocks/>
              </p:cNvSpPr>
              <p:nvPr/>
            </p:nvSpPr>
            <p:spPr bwMode="auto">
              <a:xfrm>
                <a:off x="4540304" y="2582016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8" name="Freeform 581"/>
              <p:cNvSpPr>
                <a:spLocks/>
              </p:cNvSpPr>
              <p:nvPr/>
            </p:nvSpPr>
            <p:spPr bwMode="auto">
              <a:xfrm>
                <a:off x="4618093" y="2609004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59" name="Freeform 582"/>
              <p:cNvSpPr>
                <a:spLocks/>
              </p:cNvSpPr>
              <p:nvPr/>
            </p:nvSpPr>
            <p:spPr bwMode="auto">
              <a:xfrm>
                <a:off x="4618093" y="2609004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0" name="Freeform 583"/>
              <p:cNvSpPr>
                <a:spLocks/>
              </p:cNvSpPr>
              <p:nvPr/>
            </p:nvSpPr>
            <p:spPr bwMode="auto">
              <a:xfrm>
                <a:off x="4618093" y="2609004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1" name="Freeform 584"/>
              <p:cNvSpPr>
                <a:spLocks/>
              </p:cNvSpPr>
              <p:nvPr/>
            </p:nvSpPr>
            <p:spPr bwMode="auto">
              <a:xfrm>
                <a:off x="4618093" y="2609004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2" name="Freeform 585"/>
              <p:cNvSpPr>
                <a:spLocks/>
              </p:cNvSpPr>
              <p:nvPr/>
            </p:nvSpPr>
            <p:spPr bwMode="auto">
              <a:xfrm>
                <a:off x="4549829" y="2561378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3" name="Freeform 586"/>
              <p:cNvSpPr>
                <a:spLocks/>
              </p:cNvSpPr>
              <p:nvPr/>
            </p:nvSpPr>
            <p:spPr bwMode="auto">
              <a:xfrm>
                <a:off x="4549829" y="2561378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4" name="Freeform 587"/>
              <p:cNvSpPr>
                <a:spLocks/>
              </p:cNvSpPr>
              <p:nvPr/>
            </p:nvSpPr>
            <p:spPr bwMode="auto">
              <a:xfrm>
                <a:off x="4549829" y="2561378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5" name="Freeform 588"/>
              <p:cNvSpPr>
                <a:spLocks/>
              </p:cNvSpPr>
              <p:nvPr/>
            </p:nvSpPr>
            <p:spPr bwMode="auto">
              <a:xfrm>
                <a:off x="4549829" y="2561378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6" name="Freeform 589"/>
              <p:cNvSpPr>
                <a:spLocks/>
              </p:cNvSpPr>
              <p:nvPr/>
            </p:nvSpPr>
            <p:spPr bwMode="auto">
              <a:xfrm>
                <a:off x="4586343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7" name="Freeform 590"/>
              <p:cNvSpPr>
                <a:spLocks/>
              </p:cNvSpPr>
              <p:nvPr/>
            </p:nvSpPr>
            <p:spPr bwMode="auto">
              <a:xfrm>
                <a:off x="4586343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8" name="Freeform 591"/>
              <p:cNvSpPr>
                <a:spLocks/>
              </p:cNvSpPr>
              <p:nvPr/>
            </p:nvSpPr>
            <p:spPr bwMode="auto">
              <a:xfrm>
                <a:off x="4586343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69" name="Freeform 592"/>
              <p:cNvSpPr>
                <a:spLocks/>
              </p:cNvSpPr>
              <p:nvPr/>
            </p:nvSpPr>
            <p:spPr bwMode="auto">
              <a:xfrm>
                <a:off x="4586343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0" name="Freeform 593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1" name="Freeform 594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2" name="Freeform 595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3" name="Freeform 596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4" name="Freeform 597"/>
              <p:cNvSpPr>
                <a:spLocks/>
              </p:cNvSpPr>
              <p:nvPr/>
            </p:nvSpPr>
            <p:spPr bwMode="auto">
              <a:xfrm>
                <a:off x="4868920" y="2508990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5" name="Freeform 598"/>
              <p:cNvSpPr>
                <a:spLocks/>
              </p:cNvSpPr>
              <p:nvPr/>
            </p:nvSpPr>
            <p:spPr bwMode="auto">
              <a:xfrm>
                <a:off x="4868920" y="2508990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6" name="Freeform 599"/>
              <p:cNvSpPr>
                <a:spLocks/>
              </p:cNvSpPr>
              <p:nvPr/>
            </p:nvSpPr>
            <p:spPr bwMode="auto">
              <a:xfrm>
                <a:off x="4868920" y="2508990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7" name="Freeform 600"/>
              <p:cNvSpPr>
                <a:spLocks/>
              </p:cNvSpPr>
              <p:nvPr/>
            </p:nvSpPr>
            <p:spPr bwMode="auto">
              <a:xfrm>
                <a:off x="4868920" y="2508990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8" name="Freeform 601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79" name="Freeform 602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0" name="Freeform 603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1" name="Freeform 604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2" name="Freeform 605"/>
              <p:cNvSpPr>
                <a:spLocks/>
              </p:cNvSpPr>
              <p:nvPr/>
            </p:nvSpPr>
            <p:spPr bwMode="auto">
              <a:xfrm>
                <a:off x="4827645" y="2597891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3" name="Freeform 606"/>
              <p:cNvSpPr>
                <a:spLocks/>
              </p:cNvSpPr>
              <p:nvPr/>
            </p:nvSpPr>
            <p:spPr bwMode="auto">
              <a:xfrm>
                <a:off x="4827645" y="2597891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4" name="Freeform 608"/>
              <p:cNvSpPr>
                <a:spLocks/>
              </p:cNvSpPr>
              <p:nvPr/>
            </p:nvSpPr>
            <p:spPr bwMode="auto">
              <a:xfrm>
                <a:off x="4827646" y="2597890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5" name="Freeform 609"/>
              <p:cNvSpPr>
                <a:spLocks/>
              </p:cNvSpPr>
              <p:nvPr/>
            </p:nvSpPr>
            <p:spPr bwMode="auto">
              <a:xfrm>
                <a:off x="4827646" y="2597890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6" name="Freeform 610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7" name="Freeform 611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8" name="Freeform 612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89" name="Freeform 613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0" name="Freeform 614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1" name="Freeform 615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2" name="Freeform 616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3" name="Freeform 617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4" name="Freeform 618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5" name="Freeform 619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6" name="Freeform 620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7" name="Freeform 621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8" name="Freeform 622"/>
              <p:cNvSpPr>
                <a:spLocks/>
              </p:cNvSpPr>
              <p:nvPr/>
            </p:nvSpPr>
            <p:spPr bwMode="auto">
              <a:xfrm>
                <a:off x="4645081" y="2766168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699" name="Freeform 623"/>
              <p:cNvSpPr>
                <a:spLocks/>
              </p:cNvSpPr>
              <p:nvPr/>
            </p:nvSpPr>
            <p:spPr bwMode="auto">
              <a:xfrm>
                <a:off x="4645081" y="2766168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0" name="Freeform 624"/>
              <p:cNvSpPr>
                <a:spLocks/>
              </p:cNvSpPr>
              <p:nvPr/>
            </p:nvSpPr>
            <p:spPr bwMode="auto">
              <a:xfrm>
                <a:off x="4645081" y="2766168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1" name="Freeform 625"/>
              <p:cNvSpPr>
                <a:spLocks/>
              </p:cNvSpPr>
              <p:nvPr/>
            </p:nvSpPr>
            <p:spPr bwMode="auto">
              <a:xfrm>
                <a:off x="4645081" y="2766168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2" name="Freeform 626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3" name="Freeform 627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4" name="Freeform 628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5" name="Freeform 629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6" name="Freeform 630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7" name="Freeform 631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8" name="Freeform 632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09" name="Freeform 633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0" name="Freeform 634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1" name="Freeform 635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2" name="Freeform 636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3" name="Freeform 637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4" name="Freeform 638"/>
              <p:cNvSpPr>
                <a:spLocks/>
              </p:cNvSpPr>
              <p:nvPr/>
            </p:nvSpPr>
            <p:spPr bwMode="auto">
              <a:xfrm>
                <a:off x="4989572" y="2823320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5" name="Freeform 639"/>
              <p:cNvSpPr>
                <a:spLocks/>
              </p:cNvSpPr>
              <p:nvPr/>
            </p:nvSpPr>
            <p:spPr bwMode="auto">
              <a:xfrm>
                <a:off x="4989572" y="2823320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6" name="Freeform 640"/>
              <p:cNvSpPr>
                <a:spLocks/>
              </p:cNvSpPr>
              <p:nvPr/>
            </p:nvSpPr>
            <p:spPr bwMode="auto">
              <a:xfrm>
                <a:off x="4989572" y="2823320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7" name="Freeform 641"/>
              <p:cNvSpPr>
                <a:spLocks/>
              </p:cNvSpPr>
              <p:nvPr/>
            </p:nvSpPr>
            <p:spPr bwMode="auto">
              <a:xfrm>
                <a:off x="4989572" y="2823320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8" name="Freeform 642"/>
              <p:cNvSpPr>
                <a:spLocks/>
              </p:cNvSpPr>
              <p:nvPr/>
            </p:nvSpPr>
            <p:spPr bwMode="auto">
              <a:xfrm>
                <a:off x="4472042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19" name="Freeform 643"/>
              <p:cNvSpPr>
                <a:spLocks/>
              </p:cNvSpPr>
              <p:nvPr/>
            </p:nvSpPr>
            <p:spPr bwMode="auto">
              <a:xfrm>
                <a:off x="4472042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0" name="Freeform 644"/>
              <p:cNvSpPr>
                <a:spLocks/>
              </p:cNvSpPr>
              <p:nvPr/>
            </p:nvSpPr>
            <p:spPr bwMode="auto">
              <a:xfrm>
                <a:off x="4472042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1" name="Freeform 645"/>
              <p:cNvSpPr>
                <a:spLocks/>
              </p:cNvSpPr>
              <p:nvPr/>
            </p:nvSpPr>
            <p:spPr bwMode="auto">
              <a:xfrm>
                <a:off x="4472042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2" name="Freeform 646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3" name="Freeform 647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4" name="Freeform 648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5" name="Freeform 649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6" name="Freeform 650"/>
              <p:cNvSpPr>
                <a:spLocks/>
              </p:cNvSpPr>
              <p:nvPr/>
            </p:nvSpPr>
            <p:spPr bwMode="auto">
              <a:xfrm>
                <a:off x="4764146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7" name="Freeform 651"/>
              <p:cNvSpPr>
                <a:spLocks/>
              </p:cNvSpPr>
              <p:nvPr/>
            </p:nvSpPr>
            <p:spPr bwMode="auto">
              <a:xfrm>
                <a:off x="4764146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8" name="Freeform 652"/>
              <p:cNvSpPr>
                <a:spLocks/>
              </p:cNvSpPr>
              <p:nvPr/>
            </p:nvSpPr>
            <p:spPr bwMode="auto">
              <a:xfrm>
                <a:off x="4764146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29" name="Freeform 653"/>
              <p:cNvSpPr>
                <a:spLocks/>
              </p:cNvSpPr>
              <p:nvPr/>
            </p:nvSpPr>
            <p:spPr bwMode="auto">
              <a:xfrm>
                <a:off x="4764146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0" name="Freeform 654"/>
              <p:cNvSpPr>
                <a:spLocks/>
              </p:cNvSpPr>
              <p:nvPr/>
            </p:nvSpPr>
            <p:spPr bwMode="auto">
              <a:xfrm>
                <a:off x="4592693" y="2875708"/>
                <a:ext cx="1588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1" name="Line 655"/>
              <p:cNvSpPr>
                <a:spLocks noChangeShapeType="1"/>
              </p:cNvSpPr>
              <p:nvPr/>
            </p:nvSpPr>
            <p:spPr bwMode="auto">
              <a:xfrm>
                <a:off x="4592693" y="2875708"/>
                <a:ext cx="1588" cy="4763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2" name="Freeform 656"/>
              <p:cNvSpPr>
                <a:spLocks/>
              </p:cNvSpPr>
              <p:nvPr/>
            </p:nvSpPr>
            <p:spPr bwMode="auto">
              <a:xfrm>
                <a:off x="4597456" y="2823320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3" name="Freeform 657"/>
              <p:cNvSpPr>
                <a:spLocks/>
              </p:cNvSpPr>
              <p:nvPr/>
            </p:nvSpPr>
            <p:spPr bwMode="auto">
              <a:xfrm>
                <a:off x="4597456" y="2823320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4" name="Freeform 658"/>
              <p:cNvSpPr>
                <a:spLocks/>
              </p:cNvSpPr>
              <p:nvPr/>
            </p:nvSpPr>
            <p:spPr bwMode="auto">
              <a:xfrm>
                <a:off x="4597456" y="2823320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5" name="Freeform 659"/>
              <p:cNvSpPr>
                <a:spLocks/>
              </p:cNvSpPr>
              <p:nvPr/>
            </p:nvSpPr>
            <p:spPr bwMode="auto">
              <a:xfrm>
                <a:off x="4597456" y="2823320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6" name="Freeform 660"/>
              <p:cNvSpPr>
                <a:spLocks/>
              </p:cNvSpPr>
              <p:nvPr/>
            </p:nvSpPr>
            <p:spPr bwMode="auto">
              <a:xfrm>
                <a:off x="4738746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7" name="Freeform 661"/>
              <p:cNvSpPr>
                <a:spLocks/>
              </p:cNvSpPr>
              <p:nvPr/>
            </p:nvSpPr>
            <p:spPr bwMode="auto">
              <a:xfrm>
                <a:off x="4738746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8" name="Freeform 662"/>
              <p:cNvSpPr>
                <a:spLocks/>
              </p:cNvSpPr>
              <p:nvPr/>
            </p:nvSpPr>
            <p:spPr bwMode="auto">
              <a:xfrm>
                <a:off x="4738746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39" name="Freeform 663"/>
              <p:cNvSpPr>
                <a:spLocks/>
              </p:cNvSpPr>
              <p:nvPr/>
            </p:nvSpPr>
            <p:spPr bwMode="auto">
              <a:xfrm>
                <a:off x="4738746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0" name="Freeform 664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1" name="Freeform 665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2" name="Freeform 666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3" name="Freeform 667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4" name="Freeform 668"/>
              <p:cNvSpPr>
                <a:spLocks/>
              </p:cNvSpPr>
              <p:nvPr/>
            </p:nvSpPr>
            <p:spPr bwMode="auto">
              <a:xfrm>
                <a:off x="4770496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5" name="Freeform 669"/>
              <p:cNvSpPr>
                <a:spLocks/>
              </p:cNvSpPr>
              <p:nvPr/>
            </p:nvSpPr>
            <p:spPr bwMode="auto">
              <a:xfrm>
                <a:off x="4770496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6" name="Freeform 670"/>
              <p:cNvSpPr>
                <a:spLocks/>
              </p:cNvSpPr>
              <p:nvPr/>
            </p:nvSpPr>
            <p:spPr bwMode="auto">
              <a:xfrm>
                <a:off x="4770496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7" name="Freeform 671"/>
              <p:cNvSpPr>
                <a:spLocks/>
              </p:cNvSpPr>
              <p:nvPr/>
            </p:nvSpPr>
            <p:spPr bwMode="auto">
              <a:xfrm>
                <a:off x="4770496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8" name="Freeform 672"/>
              <p:cNvSpPr>
                <a:spLocks/>
              </p:cNvSpPr>
              <p:nvPr/>
            </p:nvSpPr>
            <p:spPr bwMode="auto">
              <a:xfrm>
                <a:off x="4252964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49" name="Freeform 673"/>
              <p:cNvSpPr>
                <a:spLocks/>
              </p:cNvSpPr>
              <p:nvPr/>
            </p:nvSpPr>
            <p:spPr bwMode="auto">
              <a:xfrm>
                <a:off x="4252964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0" name="Freeform 674"/>
              <p:cNvSpPr>
                <a:spLocks/>
              </p:cNvSpPr>
              <p:nvPr/>
            </p:nvSpPr>
            <p:spPr bwMode="auto">
              <a:xfrm>
                <a:off x="4252964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1" name="Freeform 675"/>
              <p:cNvSpPr>
                <a:spLocks/>
              </p:cNvSpPr>
              <p:nvPr/>
            </p:nvSpPr>
            <p:spPr bwMode="auto">
              <a:xfrm>
                <a:off x="4252964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2" name="Freeform 676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3" name="Freeform 677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4" name="Freeform 678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5" name="Freeform 679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6" name="Freeform 680"/>
              <p:cNvSpPr>
                <a:spLocks/>
              </p:cNvSpPr>
              <p:nvPr/>
            </p:nvSpPr>
            <p:spPr bwMode="auto">
              <a:xfrm>
                <a:off x="4927660" y="2037494"/>
                <a:ext cx="3163924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7" name="Freeform 681"/>
              <p:cNvSpPr>
                <a:spLocks/>
              </p:cNvSpPr>
              <p:nvPr/>
            </p:nvSpPr>
            <p:spPr bwMode="auto">
              <a:xfrm>
                <a:off x="4927660" y="2037494"/>
                <a:ext cx="3163924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8" name="Freeform 682"/>
              <p:cNvSpPr>
                <a:spLocks/>
              </p:cNvSpPr>
              <p:nvPr/>
            </p:nvSpPr>
            <p:spPr bwMode="auto">
              <a:xfrm>
                <a:off x="4927660" y="2037494"/>
                <a:ext cx="3163924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59" name="Freeform 683"/>
              <p:cNvSpPr>
                <a:spLocks/>
              </p:cNvSpPr>
              <p:nvPr/>
            </p:nvSpPr>
            <p:spPr bwMode="auto">
              <a:xfrm>
                <a:off x="4927660" y="2037494"/>
                <a:ext cx="3163924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0" name="Freeform 684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6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1" name="Freeform 685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6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2" name="Freeform 686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6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3" name="Freeform 687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6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4" name="Freeform 688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5" name="Freeform 689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6" name="Freeform 690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7" name="Freeform 691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8" name="Freeform 692"/>
              <p:cNvSpPr>
                <a:spLocks/>
              </p:cNvSpPr>
              <p:nvPr/>
            </p:nvSpPr>
            <p:spPr bwMode="auto">
              <a:xfrm>
                <a:off x="5324539" y="2137510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69" name="Freeform 693"/>
              <p:cNvSpPr>
                <a:spLocks/>
              </p:cNvSpPr>
              <p:nvPr/>
            </p:nvSpPr>
            <p:spPr bwMode="auto">
              <a:xfrm>
                <a:off x="5324539" y="2137510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0" name="Freeform 694"/>
              <p:cNvSpPr>
                <a:spLocks/>
              </p:cNvSpPr>
              <p:nvPr/>
            </p:nvSpPr>
            <p:spPr bwMode="auto">
              <a:xfrm>
                <a:off x="5324539" y="2137510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1" name="Freeform 695"/>
              <p:cNvSpPr>
                <a:spLocks/>
              </p:cNvSpPr>
              <p:nvPr/>
            </p:nvSpPr>
            <p:spPr bwMode="auto">
              <a:xfrm>
                <a:off x="5324539" y="2137510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2" name="Freeform 696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3" name="Freeform 697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4" name="Freeform 698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5" name="Freeform 699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6" name="Freeform 700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7" name="Freeform 701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8" name="Freeform 702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79" name="Freeform 703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0" name="Freeform 704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1" name="Freeform 705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2" name="Freeform 706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3" name="Freeform 707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4" name="Freeform 708"/>
              <p:cNvSpPr>
                <a:spLocks/>
              </p:cNvSpPr>
              <p:nvPr/>
            </p:nvSpPr>
            <p:spPr bwMode="auto">
              <a:xfrm>
                <a:off x="5299139" y="2242286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5" name="Freeform 709"/>
              <p:cNvSpPr>
                <a:spLocks/>
              </p:cNvSpPr>
              <p:nvPr/>
            </p:nvSpPr>
            <p:spPr bwMode="auto">
              <a:xfrm>
                <a:off x="5299139" y="2242286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6" name="Freeform 710"/>
              <p:cNvSpPr>
                <a:spLocks/>
              </p:cNvSpPr>
              <p:nvPr/>
            </p:nvSpPr>
            <p:spPr bwMode="auto">
              <a:xfrm>
                <a:off x="5299139" y="2242286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7" name="Freeform 711"/>
              <p:cNvSpPr>
                <a:spLocks/>
              </p:cNvSpPr>
              <p:nvPr/>
            </p:nvSpPr>
            <p:spPr bwMode="auto">
              <a:xfrm>
                <a:off x="5299139" y="2242286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8" name="Freeform 712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89" name="Freeform 713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0" name="Freeform 714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1" name="Freeform 715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2" name="Freeform 716"/>
              <p:cNvSpPr>
                <a:spLocks/>
              </p:cNvSpPr>
              <p:nvPr/>
            </p:nvSpPr>
            <p:spPr bwMode="auto">
              <a:xfrm>
                <a:off x="4843521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3" name="Freeform 717"/>
              <p:cNvSpPr>
                <a:spLocks/>
              </p:cNvSpPr>
              <p:nvPr/>
            </p:nvSpPr>
            <p:spPr bwMode="auto">
              <a:xfrm>
                <a:off x="4843521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4" name="Freeform 718"/>
              <p:cNvSpPr>
                <a:spLocks/>
              </p:cNvSpPr>
              <p:nvPr/>
            </p:nvSpPr>
            <p:spPr bwMode="auto">
              <a:xfrm>
                <a:off x="4843521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5" name="Freeform 719"/>
              <p:cNvSpPr>
                <a:spLocks/>
              </p:cNvSpPr>
              <p:nvPr/>
            </p:nvSpPr>
            <p:spPr bwMode="auto">
              <a:xfrm>
                <a:off x="4843521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6" name="Freeform 720"/>
              <p:cNvSpPr>
                <a:spLocks/>
              </p:cNvSpPr>
              <p:nvPr/>
            </p:nvSpPr>
            <p:spPr bwMode="auto">
              <a:xfrm>
                <a:off x="5654743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7" name="Freeform 721"/>
              <p:cNvSpPr>
                <a:spLocks/>
              </p:cNvSpPr>
              <p:nvPr/>
            </p:nvSpPr>
            <p:spPr bwMode="auto">
              <a:xfrm>
                <a:off x="5654743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8" name="Freeform 722"/>
              <p:cNvSpPr>
                <a:spLocks/>
              </p:cNvSpPr>
              <p:nvPr/>
            </p:nvSpPr>
            <p:spPr bwMode="auto">
              <a:xfrm>
                <a:off x="5654743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799" name="Freeform 723"/>
              <p:cNvSpPr>
                <a:spLocks/>
              </p:cNvSpPr>
              <p:nvPr/>
            </p:nvSpPr>
            <p:spPr bwMode="auto">
              <a:xfrm>
                <a:off x="5654743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0" name="Freeform 724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1" name="Freeform 725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2" name="Freeform 726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3" name="Freeform 727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4" name="Freeform 728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5" name="Freeform 729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6" name="Freeform 730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7" name="Freeform 731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8" name="Freeform 732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09" name="Freeform 733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0" name="Freeform 734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1" name="Freeform 735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2" name="Freeform 736"/>
              <p:cNvSpPr>
                <a:spLocks/>
              </p:cNvSpPr>
              <p:nvPr/>
            </p:nvSpPr>
            <p:spPr bwMode="auto">
              <a:xfrm>
                <a:off x="4848283" y="252486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3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40" y="33"/>
                  </a:cxn>
                </a:cxnLst>
                <a:rect l="0" t="0" r="r" b="b"/>
                <a:pathLst>
                  <a:path w="40" h="33">
                    <a:moveTo>
                      <a:pt x="40" y="33"/>
                    </a:moveTo>
                    <a:lnTo>
                      <a:pt x="0" y="0"/>
                    </a:lnTo>
                    <a:lnTo>
                      <a:pt x="7" y="0"/>
                    </a:lnTo>
                    <a:lnTo>
                      <a:pt x="4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3" name="Freeform 737"/>
              <p:cNvSpPr>
                <a:spLocks/>
              </p:cNvSpPr>
              <p:nvPr/>
            </p:nvSpPr>
            <p:spPr bwMode="auto">
              <a:xfrm>
                <a:off x="4848283" y="252486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3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40" y="33"/>
                  </a:cxn>
                </a:cxnLst>
                <a:rect l="0" t="0" r="r" b="b"/>
                <a:pathLst>
                  <a:path w="40" h="33">
                    <a:moveTo>
                      <a:pt x="40" y="33"/>
                    </a:moveTo>
                    <a:lnTo>
                      <a:pt x="0" y="0"/>
                    </a:lnTo>
                    <a:lnTo>
                      <a:pt x="7" y="0"/>
                    </a:lnTo>
                    <a:lnTo>
                      <a:pt x="4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4" name="Freeform 738"/>
              <p:cNvSpPr>
                <a:spLocks/>
              </p:cNvSpPr>
              <p:nvPr/>
            </p:nvSpPr>
            <p:spPr bwMode="auto">
              <a:xfrm>
                <a:off x="4848283" y="252486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3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40" y="33"/>
                  </a:cxn>
                </a:cxnLst>
                <a:rect l="0" t="0" r="r" b="b"/>
                <a:pathLst>
                  <a:path w="40" h="33">
                    <a:moveTo>
                      <a:pt x="40" y="33"/>
                    </a:moveTo>
                    <a:lnTo>
                      <a:pt x="0" y="0"/>
                    </a:lnTo>
                    <a:lnTo>
                      <a:pt x="7" y="0"/>
                    </a:lnTo>
                    <a:lnTo>
                      <a:pt x="4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5" name="Freeform 739"/>
              <p:cNvSpPr>
                <a:spLocks/>
              </p:cNvSpPr>
              <p:nvPr/>
            </p:nvSpPr>
            <p:spPr bwMode="auto">
              <a:xfrm>
                <a:off x="4848283" y="252486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3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40" y="33"/>
                  </a:cxn>
                </a:cxnLst>
                <a:rect l="0" t="0" r="r" b="b"/>
                <a:pathLst>
                  <a:path w="40" h="33">
                    <a:moveTo>
                      <a:pt x="40" y="33"/>
                    </a:moveTo>
                    <a:lnTo>
                      <a:pt x="0" y="0"/>
                    </a:lnTo>
                    <a:lnTo>
                      <a:pt x="7" y="0"/>
                    </a:lnTo>
                    <a:lnTo>
                      <a:pt x="4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6" name="Freeform 740"/>
              <p:cNvSpPr>
                <a:spLocks/>
              </p:cNvSpPr>
              <p:nvPr/>
            </p:nvSpPr>
            <p:spPr bwMode="auto">
              <a:xfrm>
                <a:off x="4749857" y="2802682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7" name="Freeform 741"/>
              <p:cNvSpPr>
                <a:spLocks/>
              </p:cNvSpPr>
              <p:nvPr/>
            </p:nvSpPr>
            <p:spPr bwMode="auto">
              <a:xfrm>
                <a:off x="4749857" y="2802682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8" name="Freeform 742"/>
              <p:cNvSpPr>
                <a:spLocks/>
              </p:cNvSpPr>
              <p:nvPr/>
            </p:nvSpPr>
            <p:spPr bwMode="auto">
              <a:xfrm>
                <a:off x="4749857" y="2802682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19" name="Freeform 743"/>
              <p:cNvSpPr>
                <a:spLocks/>
              </p:cNvSpPr>
              <p:nvPr/>
            </p:nvSpPr>
            <p:spPr bwMode="auto">
              <a:xfrm>
                <a:off x="4749857" y="2802682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0" name="Freeform 744"/>
              <p:cNvSpPr>
                <a:spLocks/>
              </p:cNvSpPr>
              <p:nvPr/>
            </p:nvSpPr>
            <p:spPr bwMode="auto">
              <a:xfrm>
                <a:off x="4686356" y="2891583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1" name="Freeform 745"/>
              <p:cNvSpPr>
                <a:spLocks/>
              </p:cNvSpPr>
              <p:nvPr/>
            </p:nvSpPr>
            <p:spPr bwMode="auto">
              <a:xfrm>
                <a:off x="4686356" y="2891583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2" name="Freeform 746"/>
              <p:cNvSpPr>
                <a:spLocks/>
              </p:cNvSpPr>
              <p:nvPr/>
            </p:nvSpPr>
            <p:spPr bwMode="auto">
              <a:xfrm>
                <a:off x="4686356" y="2891583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3" name="Freeform 747"/>
              <p:cNvSpPr>
                <a:spLocks/>
              </p:cNvSpPr>
              <p:nvPr/>
            </p:nvSpPr>
            <p:spPr bwMode="auto">
              <a:xfrm>
                <a:off x="4686356" y="2891583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4" name="Freeform 748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5" name="Freeform 749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6" name="Freeform 750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7" name="Freeform 751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8" name="Freeform 752"/>
              <p:cNvSpPr>
                <a:spLocks/>
              </p:cNvSpPr>
              <p:nvPr/>
            </p:nvSpPr>
            <p:spPr bwMode="auto">
              <a:xfrm>
                <a:off x="4770496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29" name="Freeform 753"/>
              <p:cNvSpPr>
                <a:spLocks/>
              </p:cNvSpPr>
              <p:nvPr/>
            </p:nvSpPr>
            <p:spPr bwMode="auto">
              <a:xfrm>
                <a:off x="4770496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0" name="Freeform 754"/>
              <p:cNvSpPr>
                <a:spLocks/>
              </p:cNvSpPr>
              <p:nvPr/>
            </p:nvSpPr>
            <p:spPr bwMode="auto">
              <a:xfrm>
                <a:off x="4770496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1" name="Freeform 755"/>
              <p:cNvSpPr>
                <a:spLocks/>
              </p:cNvSpPr>
              <p:nvPr/>
            </p:nvSpPr>
            <p:spPr bwMode="auto">
              <a:xfrm>
                <a:off x="4770496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2" name="Freeform 756"/>
              <p:cNvSpPr>
                <a:spLocks/>
              </p:cNvSpPr>
              <p:nvPr/>
            </p:nvSpPr>
            <p:spPr bwMode="auto">
              <a:xfrm>
                <a:off x="4508554" y="2855070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3" name="Freeform 757"/>
              <p:cNvSpPr>
                <a:spLocks/>
              </p:cNvSpPr>
              <p:nvPr/>
            </p:nvSpPr>
            <p:spPr bwMode="auto">
              <a:xfrm>
                <a:off x="4508554" y="2855070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4" name="Freeform 758"/>
              <p:cNvSpPr>
                <a:spLocks/>
              </p:cNvSpPr>
              <p:nvPr/>
            </p:nvSpPr>
            <p:spPr bwMode="auto">
              <a:xfrm>
                <a:off x="4508554" y="2855070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5" name="Freeform 759"/>
              <p:cNvSpPr>
                <a:spLocks/>
              </p:cNvSpPr>
              <p:nvPr/>
            </p:nvSpPr>
            <p:spPr bwMode="auto">
              <a:xfrm>
                <a:off x="4508554" y="2855070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6" name="Freeform 760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7" name="Freeform 761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8" name="Freeform 762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39" name="Freeform 763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0" name="Freeform 764"/>
              <p:cNvSpPr>
                <a:spLocks/>
              </p:cNvSpPr>
              <p:nvPr/>
            </p:nvSpPr>
            <p:spPr bwMode="auto">
              <a:xfrm>
                <a:off x="4807008" y="2912220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1" name="Freeform 765"/>
              <p:cNvSpPr>
                <a:spLocks/>
              </p:cNvSpPr>
              <p:nvPr/>
            </p:nvSpPr>
            <p:spPr bwMode="auto">
              <a:xfrm>
                <a:off x="4807008" y="2912220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2" name="Freeform 766"/>
              <p:cNvSpPr>
                <a:spLocks/>
              </p:cNvSpPr>
              <p:nvPr/>
            </p:nvSpPr>
            <p:spPr bwMode="auto">
              <a:xfrm>
                <a:off x="4807008" y="2912220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3" name="Freeform 767"/>
              <p:cNvSpPr>
                <a:spLocks/>
              </p:cNvSpPr>
              <p:nvPr/>
            </p:nvSpPr>
            <p:spPr bwMode="auto">
              <a:xfrm>
                <a:off x="4807008" y="2912220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4" name="Freeform 768"/>
              <p:cNvSpPr>
                <a:spLocks/>
              </p:cNvSpPr>
              <p:nvPr/>
            </p:nvSpPr>
            <p:spPr bwMode="auto">
              <a:xfrm>
                <a:off x="4132313" y="3037634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5" name="Freeform 769"/>
              <p:cNvSpPr>
                <a:spLocks/>
              </p:cNvSpPr>
              <p:nvPr/>
            </p:nvSpPr>
            <p:spPr bwMode="auto">
              <a:xfrm>
                <a:off x="4132313" y="3037634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6" name="Freeform 770"/>
              <p:cNvSpPr>
                <a:spLocks/>
              </p:cNvSpPr>
              <p:nvPr/>
            </p:nvSpPr>
            <p:spPr bwMode="auto">
              <a:xfrm>
                <a:off x="4132313" y="3037634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7" name="Freeform 771"/>
              <p:cNvSpPr>
                <a:spLocks/>
              </p:cNvSpPr>
              <p:nvPr/>
            </p:nvSpPr>
            <p:spPr bwMode="auto">
              <a:xfrm>
                <a:off x="4132313" y="3037634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8" name="Freeform 772"/>
              <p:cNvSpPr>
                <a:spLocks/>
              </p:cNvSpPr>
              <p:nvPr/>
            </p:nvSpPr>
            <p:spPr bwMode="auto">
              <a:xfrm>
                <a:off x="4141838" y="2980484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49" name="Freeform 773"/>
              <p:cNvSpPr>
                <a:spLocks/>
              </p:cNvSpPr>
              <p:nvPr/>
            </p:nvSpPr>
            <p:spPr bwMode="auto">
              <a:xfrm>
                <a:off x="4141838" y="2980484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0" name="Freeform 774"/>
              <p:cNvSpPr>
                <a:spLocks/>
              </p:cNvSpPr>
              <p:nvPr/>
            </p:nvSpPr>
            <p:spPr bwMode="auto">
              <a:xfrm>
                <a:off x="4141838" y="2980484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1" name="Freeform 775"/>
              <p:cNvSpPr>
                <a:spLocks/>
              </p:cNvSpPr>
              <p:nvPr/>
            </p:nvSpPr>
            <p:spPr bwMode="auto">
              <a:xfrm>
                <a:off x="4141838" y="2980484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2" name="Freeform 776"/>
              <p:cNvSpPr>
                <a:spLocks/>
              </p:cNvSpPr>
              <p:nvPr/>
            </p:nvSpPr>
            <p:spPr bwMode="auto">
              <a:xfrm>
                <a:off x="3917997" y="3483729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3" name="Freeform 777"/>
              <p:cNvSpPr>
                <a:spLocks/>
              </p:cNvSpPr>
              <p:nvPr/>
            </p:nvSpPr>
            <p:spPr bwMode="auto">
              <a:xfrm>
                <a:off x="3917997" y="3483729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4" name="Freeform 778"/>
              <p:cNvSpPr>
                <a:spLocks/>
              </p:cNvSpPr>
              <p:nvPr/>
            </p:nvSpPr>
            <p:spPr bwMode="auto">
              <a:xfrm>
                <a:off x="3917997" y="3483729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5" name="Freeform 779"/>
              <p:cNvSpPr>
                <a:spLocks/>
              </p:cNvSpPr>
              <p:nvPr/>
            </p:nvSpPr>
            <p:spPr bwMode="auto">
              <a:xfrm>
                <a:off x="3917997" y="3483729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6" name="Freeform 780"/>
              <p:cNvSpPr>
                <a:spLocks/>
              </p:cNvSpPr>
              <p:nvPr/>
            </p:nvSpPr>
            <p:spPr bwMode="auto">
              <a:xfrm>
                <a:off x="1363680" y="2174021"/>
                <a:ext cx="1731984" cy="874725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7" name="Freeform 781"/>
              <p:cNvSpPr>
                <a:spLocks/>
              </p:cNvSpPr>
              <p:nvPr/>
            </p:nvSpPr>
            <p:spPr bwMode="auto">
              <a:xfrm>
                <a:off x="1363680" y="2174021"/>
                <a:ext cx="1731984" cy="874725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8" name="Freeform 782"/>
              <p:cNvSpPr>
                <a:spLocks/>
              </p:cNvSpPr>
              <p:nvPr/>
            </p:nvSpPr>
            <p:spPr bwMode="auto">
              <a:xfrm>
                <a:off x="1363680" y="2174021"/>
                <a:ext cx="1731984" cy="874725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59" name="Freeform 783"/>
              <p:cNvSpPr>
                <a:spLocks/>
              </p:cNvSpPr>
              <p:nvPr/>
            </p:nvSpPr>
            <p:spPr bwMode="auto">
              <a:xfrm>
                <a:off x="1363680" y="2174021"/>
                <a:ext cx="1731984" cy="874725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0" name="Freeform 784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1" name="Freeform 785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2" name="Freeform 786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3" name="Freeform 787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4" name="Freeform 788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5" name="Freeform 789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6" name="Freeform 790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7" name="Freeform 791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8" name="Freeform 792"/>
              <p:cNvSpPr>
                <a:spLocks/>
              </p:cNvSpPr>
              <p:nvPr/>
            </p:nvSpPr>
            <p:spPr bwMode="auto">
              <a:xfrm>
                <a:off x="3316328" y="2215298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69" name="Freeform 793"/>
              <p:cNvSpPr>
                <a:spLocks/>
              </p:cNvSpPr>
              <p:nvPr/>
            </p:nvSpPr>
            <p:spPr bwMode="auto">
              <a:xfrm>
                <a:off x="3316328" y="2215298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0" name="Freeform 794"/>
              <p:cNvSpPr>
                <a:spLocks/>
              </p:cNvSpPr>
              <p:nvPr/>
            </p:nvSpPr>
            <p:spPr bwMode="auto">
              <a:xfrm>
                <a:off x="3316328" y="2215298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1" name="Freeform 795"/>
              <p:cNvSpPr>
                <a:spLocks/>
              </p:cNvSpPr>
              <p:nvPr/>
            </p:nvSpPr>
            <p:spPr bwMode="auto">
              <a:xfrm>
                <a:off x="3316328" y="2215298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2" name="Freeform 796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3" name="Freeform 797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4" name="Freeform 798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5" name="Freeform 799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6" name="Freeform 800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7" name="Freeform 801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8" name="Freeform 802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79" name="Freeform 803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0" name="Freeform 804"/>
              <p:cNvSpPr>
                <a:spLocks/>
              </p:cNvSpPr>
              <p:nvPr/>
            </p:nvSpPr>
            <p:spPr bwMode="auto">
              <a:xfrm>
                <a:off x="4214863" y="2572490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1" name="Freeform 805"/>
              <p:cNvSpPr>
                <a:spLocks/>
              </p:cNvSpPr>
              <p:nvPr/>
            </p:nvSpPr>
            <p:spPr bwMode="auto">
              <a:xfrm>
                <a:off x="4214863" y="2572490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2" name="Freeform 806"/>
              <p:cNvSpPr>
                <a:spLocks/>
              </p:cNvSpPr>
              <p:nvPr/>
            </p:nvSpPr>
            <p:spPr bwMode="auto">
              <a:xfrm>
                <a:off x="4214863" y="2572490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3" name="Freeform 807"/>
              <p:cNvSpPr>
                <a:spLocks/>
              </p:cNvSpPr>
              <p:nvPr/>
            </p:nvSpPr>
            <p:spPr bwMode="auto">
              <a:xfrm>
                <a:off x="4214863" y="2572490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4" name="Freeform 809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5" name="Freeform 810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6" name="Freeform 811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7" name="Freeform 812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8" name="Freeform 813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89" name="Freeform 814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0" name="Freeform 815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1" name="Freeform 816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2" name="Freeform 817"/>
              <p:cNvSpPr>
                <a:spLocks/>
              </p:cNvSpPr>
              <p:nvPr/>
            </p:nvSpPr>
            <p:spPr bwMode="auto">
              <a:xfrm>
                <a:off x="4273601" y="268679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0"/>
                  </a:cxn>
                  <a:cxn ang="0">
                    <a:pos x="0" y="33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0"/>
                    </a:lnTo>
                    <a:lnTo>
                      <a:pt x="0" y="33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3" name="Freeform 818"/>
              <p:cNvSpPr>
                <a:spLocks/>
              </p:cNvSpPr>
              <p:nvPr/>
            </p:nvSpPr>
            <p:spPr bwMode="auto">
              <a:xfrm>
                <a:off x="4273601" y="268679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0"/>
                  </a:cxn>
                  <a:cxn ang="0">
                    <a:pos x="0" y="33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0"/>
                    </a:lnTo>
                    <a:lnTo>
                      <a:pt x="0" y="33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4" name="Freeform 819"/>
              <p:cNvSpPr>
                <a:spLocks/>
              </p:cNvSpPr>
              <p:nvPr/>
            </p:nvSpPr>
            <p:spPr bwMode="auto">
              <a:xfrm>
                <a:off x="4273601" y="268679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0"/>
                  </a:cxn>
                  <a:cxn ang="0">
                    <a:pos x="0" y="33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0"/>
                    </a:lnTo>
                    <a:lnTo>
                      <a:pt x="0" y="33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5" name="Freeform 820"/>
              <p:cNvSpPr>
                <a:spLocks/>
              </p:cNvSpPr>
              <p:nvPr/>
            </p:nvSpPr>
            <p:spPr bwMode="auto">
              <a:xfrm>
                <a:off x="4273601" y="268679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0"/>
                  </a:cxn>
                  <a:cxn ang="0">
                    <a:pos x="0" y="33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0"/>
                    </a:lnTo>
                    <a:lnTo>
                      <a:pt x="0" y="33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6" name="Freeform 821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7" name="Freeform 822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8" name="Freeform 823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899" name="Freeform 824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0" name="Freeform 825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1" name="Freeform 826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2" name="Freeform 827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3" name="Freeform 828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4" name="Freeform 829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5" name="Freeform 830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6" name="Freeform 831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7" name="Freeform 832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8" name="Freeform 833"/>
              <p:cNvSpPr>
                <a:spLocks/>
              </p:cNvSpPr>
              <p:nvPr/>
            </p:nvSpPr>
            <p:spPr bwMode="auto">
              <a:xfrm>
                <a:off x="1317642" y="2807445"/>
                <a:ext cx="1443054" cy="754073"/>
              </a:xfrm>
              <a:custGeom>
                <a:avLst/>
                <a:gdLst/>
                <a:ahLst/>
                <a:cxnLst>
                  <a:cxn ang="0">
                    <a:pos x="276" y="14"/>
                  </a:cxn>
                  <a:cxn ang="0">
                    <a:pos x="266" y="16"/>
                  </a:cxn>
                  <a:cxn ang="0">
                    <a:pos x="247" y="26"/>
                  </a:cxn>
                  <a:cxn ang="0">
                    <a:pos x="224" y="34"/>
                  </a:cxn>
                  <a:cxn ang="0">
                    <a:pos x="207" y="42"/>
                  </a:cxn>
                  <a:cxn ang="0">
                    <a:pos x="202" y="37"/>
                  </a:cxn>
                  <a:cxn ang="0">
                    <a:pos x="202" y="20"/>
                  </a:cxn>
                  <a:cxn ang="0">
                    <a:pos x="197" y="15"/>
                  </a:cxn>
                  <a:cxn ang="0">
                    <a:pos x="179" y="9"/>
                  </a:cxn>
                  <a:cxn ang="0">
                    <a:pos x="161" y="3"/>
                  </a:cxn>
                  <a:cxn ang="0">
                    <a:pos x="35" y="7"/>
                  </a:cxn>
                  <a:cxn ang="0">
                    <a:pos x="34" y="9"/>
                  </a:cxn>
                  <a:cxn ang="0">
                    <a:pos x="32" y="7"/>
                  </a:cxn>
                  <a:cxn ang="0">
                    <a:pos x="22" y="17"/>
                  </a:cxn>
                  <a:cxn ang="0">
                    <a:pos x="21" y="19"/>
                  </a:cxn>
                  <a:cxn ang="0">
                    <a:pos x="6" y="43"/>
                  </a:cxn>
                  <a:cxn ang="0">
                    <a:pos x="0" y="60"/>
                  </a:cxn>
                  <a:cxn ang="0">
                    <a:pos x="0" y="67"/>
                  </a:cxn>
                  <a:cxn ang="0">
                    <a:pos x="1" y="71"/>
                  </a:cxn>
                  <a:cxn ang="0">
                    <a:pos x="3" y="83"/>
                  </a:cxn>
                  <a:cxn ang="0">
                    <a:pos x="14" y="95"/>
                  </a:cxn>
                  <a:cxn ang="0">
                    <a:pos x="34" y="103"/>
                  </a:cxn>
                  <a:cxn ang="0">
                    <a:pos x="56" y="104"/>
                  </a:cxn>
                  <a:cxn ang="0">
                    <a:pos x="74" y="119"/>
                  </a:cxn>
                  <a:cxn ang="0">
                    <a:pos x="103" y="140"/>
                  </a:cxn>
                  <a:cxn ang="0">
                    <a:pos x="104" y="129"/>
                  </a:cxn>
                  <a:cxn ang="0">
                    <a:pos x="109" y="123"/>
                  </a:cxn>
                  <a:cxn ang="0">
                    <a:pos x="111" y="123"/>
                  </a:cxn>
                  <a:cxn ang="0">
                    <a:pos x="119" y="119"/>
                  </a:cxn>
                  <a:cxn ang="0">
                    <a:pos x="134" y="116"/>
                  </a:cxn>
                  <a:cxn ang="0">
                    <a:pos x="141" y="117"/>
                  </a:cxn>
                  <a:cxn ang="0">
                    <a:pos x="143" y="117"/>
                  </a:cxn>
                  <a:cxn ang="0">
                    <a:pos x="143" y="114"/>
                  </a:cxn>
                  <a:cxn ang="0">
                    <a:pos x="155" y="113"/>
                  </a:cxn>
                  <a:cxn ang="0">
                    <a:pos x="159" y="113"/>
                  </a:cxn>
                  <a:cxn ang="0">
                    <a:pos x="164" y="114"/>
                  </a:cxn>
                  <a:cxn ang="0">
                    <a:pos x="177" y="122"/>
                  </a:cxn>
                  <a:cxn ang="0">
                    <a:pos x="177" y="128"/>
                  </a:cxn>
                  <a:cxn ang="0">
                    <a:pos x="178" y="135"/>
                  </a:cxn>
                  <a:cxn ang="0">
                    <a:pos x="181" y="144"/>
                  </a:cxn>
                  <a:cxn ang="0">
                    <a:pos x="185" y="113"/>
                  </a:cxn>
                  <a:cxn ang="0">
                    <a:pos x="189" y="104"/>
                  </a:cxn>
                  <a:cxn ang="0">
                    <a:pos x="204" y="91"/>
                  </a:cxn>
                  <a:cxn ang="0">
                    <a:pos x="212" y="84"/>
                  </a:cxn>
                  <a:cxn ang="0">
                    <a:pos x="219" y="81"/>
                  </a:cxn>
                  <a:cxn ang="0">
                    <a:pos x="215" y="79"/>
                  </a:cxn>
                  <a:cxn ang="0">
                    <a:pos x="219" y="74"/>
                  </a:cxn>
                  <a:cxn ang="0">
                    <a:pos x="217" y="71"/>
                  </a:cxn>
                  <a:cxn ang="0">
                    <a:pos x="219" y="65"/>
                  </a:cxn>
                  <a:cxn ang="0">
                    <a:pos x="221" y="66"/>
                  </a:cxn>
                  <a:cxn ang="0">
                    <a:pos x="225" y="58"/>
                  </a:cxn>
                  <a:cxn ang="0">
                    <a:pos x="224" y="66"/>
                  </a:cxn>
                  <a:cxn ang="0">
                    <a:pos x="221" y="71"/>
                  </a:cxn>
                  <a:cxn ang="0">
                    <a:pos x="227" y="57"/>
                  </a:cxn>
                  <a:cxn ang="0">
                    <a:pos x="236" y="53"/>
                  </a:cxn>
                  <a:cxn ang="0">
                    <a:pos x="244" y="48"/>
                  </a:cxn>
                  <a:cxn ang="0">
                    <a:pos x="251" y="46"/>
                  </a:cxn>
                  <a:cxn ang="0">
                    <a:pos x="257" y="43"/>
                  </a:cxn>
                  <a:cxn ang="0">
                    <a:pos x="255" y="39"/>
                  </a:cxn>
                  <a:cxn ang="0">
                    <a:pos x="266" y="29"/>
                  </a:cxn>
                </a:cxnLst>
                <a:rect l="0" t="0" r="r" b="b"/>
                <a:pathLst>
                  <a:path w="276" h="144">
                    <a:moveTo>
                      <a:pt x="276" y="27"/>
                    </a:moveTo>
                    <a:cubicBezTo>
                      <a:pt x="276" y="25"/>
                      <a:pt x="276" y="25"/>
                      <a:pt x="276" y="25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4" y="13"/>
                      <a:pt x="274" y="13"/>
                      <a:pt x="274" y="13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4" y="20"/>
                      <a:pt x="264" y="20"/>
                      <a:pt x="264" y="20"/>
                    </a:cubicBezTo>
                    <a:cubicBezTo>
                      <a:pt x="259" y="24"/>
                      <a:pt x="259" y="24"/>
                      <a:pt x="259" y="24"/>
                    </a:cubicBezTo>
                    <a:cubicBezTo>
                      <a:pt x="256" y="26"/>
                      <a:pt x="256" y="26"/>
                      <a:pt x="256" y="26"/>
                    </a:cubicBezTo>
                    <a:cubicBezTo>
                      <a:pt x="247" y="26"/>
                      <a:pt x="247" y="26"/>
                      <a:pt x="247" y="26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3" y="30"/>
                      <a:pt x="233" y="30"/>
                      <a:pt x="233" y="30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24" y="34"/>
                      <a:pt x="224" y="34"/>
                      <a:pt x="224" y="34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7" y="42"/>
                      <a:pt x="207" y="42"/>
                      <a:pt x="207" y="42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205" y="29"/>
                      <a:pt x="205" y="29"/>
                      <a:pt x="205" y="29"/>
                    </a:cubicBezTo>
                    <a:cubicBezTo>
                      <a:pt x="207" y="24"/>
                      <a:pt x="207" y="24"/>
                      <a:pt x="207" y="24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3" y="19"/>
                      <a:pt x="203" y="19"/>
                      <a:pt x="203" y="19"/>
                    </a:cubicBezTo>
                    <a:cubicBezTo>
                      <a:pt x="201" y="19"/>
                      <a:pt x="201" y="19"/>
                      <a:pt x="201" y="19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5" y="7"/>
                      <a:pt x="175" y="7"/>
                      <a:pt x="175" y="7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66" y="5"/>
                      <a:pt x="166" y="5"/>
                      <a:pt x="166" y="5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18" y="3"/>
                      <a:pt x="77" y="3"/>
                      <a:pt x="36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5" y="88"/>
                      <a:pt x="5" y="88"/>
                      <a:pt x="5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4" y="119"/>
                      <a:pt x="74" y="119"/>
                      <a:pt x="74" y="119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80" y="116"/>
                      <a:pt x="80" y="116"/>
                      <a:pt x="80" y="116"/>
                    </a:cubicBezTo>
                    <a:cubicBezTo>
                      <a:pt x="86" y="117"/>
                      <a:pt x="86" y="117"/>
                      <a:pt x="86" y="117"/>
                    </a:cubicBezTo>
                    <a:cubicBezTo>
                      <a:pt x="95" y="130"/>
                      <a:pt x="88" y="139"/>
                      <a:pt x="103" y="140"/>
                    </a:cubicBezTo>
                    <a:cubicBezTo>
                      <a:pt x="101" y="132"/>
                      <a:pt x="101" y="132"/>
                      <a:pt x="101" y="132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09" y="124"/>
                      <a:pt x="109" y="124"/>
                      <a:pt x="109" y="124"/>
                    </a:cubicBezTo>
                    <a:cubicBezTo>
                      <a:pt x="109" y="123"/>
                      <a:pt x="109" y="123"/>
                      <a:pt x="109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7" y="119"/>
                      <a:pt x="117" y="119"/>
                      <a:pt x="117" y="119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19" y="119"/>
                      <a:pt x="119" y="119"/>
                      <a:pt x="119" y="119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4" y="116"/>
                      <a:pt x="134" y="116"/>
                      <a:pt x="134" y="116"/>
                    </a:cubicBezTo>
                    <a:cubicBezTo>
                      <a:pt x="136" y="119"/>
                      <a:pt x="136" y="119"/>
                      <a:pt x="136" y="119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41" y="120"/>
                      <a:pt x="141" y="120"/>
                      <a:pt x="141" y="120"/>
                    </a:cubicBezTo>
                    <a:cubicBezTo>
                      <a:pt x="141" y="117"/>
                      <a:pt x="141" y="117"/>
                      <a:pt x="141" y="117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22"/>
                      <a:pt x="143" y="122"/>
                      <a:pt x="143" y="122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3" y="114"/>
                      <a:pt x="143" y="114"/>
                      <a:pt x="143" y="114"/>
                    </a:cubicBez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7" y="112"/>
                      <a:pt x="157" y="112"/>
                      <a:pt x="157" y="112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5"/>
                      <a:pt x="165" y="115"/>
                      <a:pt x="165" y="115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7"/>
                      <a:pt x="165" y="117"/>
                      <a:pt x="165" y="117"/>
                    </a:cubicBezTo>
                    <a:cubicBezTo>
                      <a:pt x="171" y="114"/>
                      <a:pt x="171" y="114"/>
                      <a:pt x="171" y="114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75" y="130"/>
                      <a:pt x="175" y="130"/>
                      <a:pt x="175" y="130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75" y="131"/>
                      <a:pt x="175" y="131"/>
                      <a:pt x="175" y="131"/>
                    </a:cubicBezTo>
                    <a:cubicBezTo>
                      <a:pt x="177" y="133"/>
                      <a:pt x="177" y="133"/>
                      <a:pt x="177" y="133"/>
                    </a:cubicBezTo>
                    <a:cubicBezTo>
                      <a:pt x="178" y="134"/>
                      <a:pt x="178" y="134"/>
                      <a:pt x="178" y="134"/>
                    </a:cubicBezTo>
                    <a:cubicBezTo>
                      <a:pt x="178" y="135"/>
                      <a:pt x="178" y="135"/>
                      <a:pt x="178" y="135"/>
                    </a:cubicBezTo>
                    <a:cubicBezTo>
                      <a:pt x="179" y="135"/>
                      <a:pt x="179" y="135"/>
                      <a:pt x="179" y="135"/>
                    </a:cubicBezTo>
                    <a:cubicBezTo>
                      <a:pt x="178" y="136"/>
                      <a:pt x="178" y="136"/>
                      <a:pt x="178" y="136"/>
                    </a:cubicBezTo>
                    <a:cubicBezTo>
                      <a:pt x="179" y="140"/>
                      <a:pt x="179" y="140"/>
                      <a:pt x="179" y="140"/>
                    </a:cubicBezTo>
                    <a:cubicBezTo>
                      <a:pt x="181" y="144"/>
                      <a:pt x="181" y="144"/>
                      <a:pt x="181" y="144"/>
                    </a:cubicBezTo>
                    <a:cubicBezTo>
                      <a:pt x="190" y="142"/>
                      <a:pt x="185" y="129"/>
                      <a:pt x="186" y="123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5" y="113"/>
                      <a:pt x="185" y="113"/>
                      <a:pt x="185" y="113"/>
                    </a:cubicBezTo>
                    <a:cubicBezTo>
                      <a:pt x="185" y="109"/>
                      <a:pt x="185" y="109"/>
                      <a:pt x="185" y="109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91" y="100"/>
                      <a:pt x="191" y="100"/>
                      <a:pt x="191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9" y="95"/>
                      <a:pt x="199" y="95"/>
                      <a:pt x="199" y="95"/>
                    </a:cubicBezTo>
                    <a:cubicBezTo>
                      <a:pt x="204" y="91"/>
                      <a:pt x="204" y="91"/>
                      <a:pt x="204" y="91"/>
                    </a:cubicBezTo>
                    <a:cubicBezTo>
                      <a:pt x="207" y="90"/>
                      <a:pt x="207" y="90"/>
                      <a:pt x="207" y="90"/>
                    </a:cubicBezTo>
                    <a:cubicBezTo>
                      <a:pt x="210" y="87"/>
                      <a:pt x="210" y="87"/>
                      <a:pt x="210" y="87"/>
                    </a:cubicBezTo>
                    <a:cubicBezTo>
                      <a:pt x="216" y="85"/>
                      <a:pt x="216" y="85"/>
                      <a:pt x="216" y="85"/>
                    </a:cubicBezTo>
                    <a:cubicBezTo>
                      <a:pt x="212" y="84"/>
                      <a:pt x="212" y="84"/>
                      <a:pt x="212" y="84"/>
                    </a:cubicBezTo>
                    <a:cubicBezTo>
                      <a:pt x="215" y="85"/>
                      <a:pt x="215" y="85"/>
                      <a:pt x="215" y="85"/>
                    </a:cubicBezTo>
                    <a:cubicBezTo>
                      <a:pt x="215" y="83"/>
                      <a:pt x="215" y="83"/>
                      <a:pt x="215" y="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15" y="79"/>
                      <a:pt x="215" y="79"/>
                      <a:pt x="215" y="79"/>
                    </a:cubicBezTo>
                    <a:cubicBezTo>
                      <a:pt x="221" y="79"/>
                      <a:pt x="221" y="79"/>
                      <a:pt x="221" y="79"/>
                    </a:cubicBezTo>
                    <a:cubicBezTo>
                      <a:pt x="221" y="75"/>
                      <a:pt x="221" y="75"/>
                      <a:pt x="221" y="75"/>
                    </a:cubicBezTo>
                    <a:cubicBezTo>
                      <a:pt x="221" y="80"/>
                      <a:pt x="221" y="80"/>
                      <a:pt x="221" y="80"/>
                    </a:cubicBezTo>
                    <a:cubicBezTo>
                      <a:pt x="219" y="74"/>
                      <a:pt x="219" y="74"/>
                      <a:pt x="219" y="74"/>
                    </a:cubicBezTo>
                    <a:cubicBezTo>
                      <a:pt x="217" y="73"/>
                      <a:pt x="217" y="73"/>
                      <a:pt x="217" y="73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9" y="73"/>
                      <a:pt x="219" y="73"/>
                      <a:pt x="219" y="73"/>
                    </a:cubicBezTo>
                    <a:cubicBezTo>
                      <a:pt x="217" y="71"/>
                      <a:pt x="217" y="71"/>
                      <a:pt x="217" y="71"/>
                    </a:cubicBezTo>
                    <a:cubicBezTo>
                      <a:pt x="219" y="71"/>
                      <a:pt x="219" y="71"/>
                      <a:pt x="219" y="71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5"/>
                      <a:pt x="216" y="65"/>
                      <a:pt x="216" y="65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21" y="66"/>
                      <a:pt x="221" y="66"/>
                      <a:pt x="221" y="66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58"/>
                      <a:pt x="225" y="58"/>
                      <a:pt x="225" y="58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3" y="64"/>
                      <a:pt x="223" y="64"/>
                      <a:pt x="223" y="64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23" y="67"/>
                      <a:pt x="223" y="67"/>
                      <a:pt x="223" y="67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71"/>
                      <a:pt x="221" y="71"/>
                      <a:pt x="221" y="71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58"/>
                      <a:pt x="227" y="58"/>
                      <a:pt x="227" y="58"/>
                    </a:cubicBezTo>
                    <a:cubicBezTo>
                      <a:pt x="229" y="56"/>
                      <a:pt x="229" y="56"/>
                      <a:pt x="229" y="56"/>
                    </a:cubicBezTo>
                    <a:cubicBezTo>
                      <a:pt x="227" y="57"/>
                      <a:pt x="227" y="57"/>
                      <a:pt x="227" y="57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6" y="53"/>
                      <a:pt x="236" y="53"/>
                      <a:pt x="236" y="53"/>
                    </a:cubicBezTo>
                    <a:cubicBezTo>
                      <a:pt x="238" y="48"/>
                      <a:pt x="238" y="48"/>
                      <a:pt x="238" y="48"/>
                    </a:cubicBezTo>
                    <a:cubicBezTo>
                      <a:pt x="237" y="51"/>
                      <a:pt x="237" y="51"/>
                      <a:pt x="237" y="5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9" y="47"/>
                      <a:pt x="249" y="47"/>
                      <a:pt x="249" y="47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1" y="46"/>
                      <a:pt x="251" y="46"/>
                      <a:pt x="251" y="46"/>
                    </a:cubicBezTo>
                    <a:cubicBezTo>
                      <a:pt x="253" y="47"/>
                      <a:pt x="253" y="47"/>
                      <a:pt x="253" y="47"/>
                    </a:cubicBezTo>
                    <a:cubicBezTo>
                      <a:pt x="254" y="47"/>
                      <a:pt x="254" y="47"/>
                      <a:pt x="254" y="47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7" y="43"/>
                      <a:pt x="257" y="43"/>
                      <a:pt x="257" y="43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4" y="44"/>
                      <a:pt x="254" y="44"/>
                      <a:pt x="254" y="44"/>
                    </a:cubicBezTo>
                    <a:cubicBezTo>
                      <a:pt x="255" y="40"/>
                      <a:pt x="255" y="40"/>
                      <a:pt x="255" y="40"/>
                    </a:cubicBezTo>
                    <a:cubicBezTo>
                      <a:pt x="255" y="39"/>
                      <a:pt x="255" y="39"/>
                      <a:pt x="255" y="39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70" y="29"/>
                      <a:pt x="270" y="29"/>
                      <a:pt x="270" y="29"/>
                    </a:cubicBezTo>
                    <a:cubicBezTo>
                      <a:pt x="276" y="27"/>
                      <a:pt x="276" y="27"/>
                      <a:pt x="276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09" name="Freeform 834"/>
              <p:cNvSpPr>
                <a:spLocks/>
              </p:cNvSpPr>
              <p:nvPr/>
            </p:nvSpPr>
            <p:spPr bwMode="auto">
              <a:xfrm>
                <a:off x="1317642" y="2807445"/>
                <a:ext cx="1443054" cy="754073"/>
              </a:xfrm>
              <a:custGeom>
                <a:avLst/>
                <a:gdLst/>
                <a:ahLst/>
                <a:cxnLst>
                  <a:cxn ang="0">
                    <a:pos x="276" y="14"/>
                  </a:cxn>
                  <a:cxn ang="0">
                    <a:pos x="266" y="16"/>
                  </a:cxn>
                  <a:cxn ang="0">
                    <a:pos x="247" y="26"/>
                  </a:cxn>
                  <a:cxn ang="0">
                    <a:pos x="224" y="34"/>
                  </a:cxn>
                  <a:cxn ang="0">
                    <a:pos x="207" y="42"/>
                  </a:cxn>
                  <a:cxn ang="0">
                    <a:pos x="202" y="37"/>
                  </a:cxn>
                  <a:cxn ang="0">
                    <a:pos x="202" y="20"/>
                  </a:cxn>
                  <a:cxn ang="0">
                    <a:pos x="197" y="15"/>
                  </a:cxn>
                  <a:cxn ang="0">
                    <a:pos x="179" y="9"/>
                  </a:cxn>
                  <a:cxn ang="0">
                    <a:pos x="161" y="3"/>
                  </a:cxn>
                  <a:cxn ang="0">
                    <a:pos x="35" y="7"/>
                  </a:cxn>
                  <a:cxn ang="0">
                    <a:pos x="34" y="9"/>
                  </a:cxn>
                  <a:cxn ang="0">
                    <a:pos x="32" y="7"/>
                  </a:cxn>
                  <a:cxn ang="0">
                    <a:pos x="22" y="17"/>
                  </a:cxn>
                  <a:cxn ang="0">
                    <a:pos x="21" y="19"/>
                  </a:cxn>
                  <a:cxn ang="0">
                    <a:pos x="6" y="43"/>
                  </a:cxn>
                  <a:cxn ang="0">
                    <a:pos x="0" y="60"/>
                  </a:cxn>
                  <a:cxn ang="0">
                    <a:pos x="0" y="67"/>
                  </a:cxn>
                  <a:cxn ang="0">
                    <a:pos x="1" y="71"/>
                  </a:cxn>
                  <a:cxn ang="0">
                    <a:pos x="3" y="83"/>
                  </a:cxn>
                  <a:cxn ang="0">
                    <a:pos x="14" y="95"/>
                  </a:cxn>
                  <a:cxn ang="0">
                    <a:pos x="34" y="103"/>
                  </a:cxn>
                  <a:cxn ang="0">
                    <a:pos x="56" y="104"/>
                  </a:cxn>
                  <a:cxn ang="0">
                    <a:pos x="74" y="119"/>
                  </a:cxn>
                  <a:cxn ang="0">
                    <a:pos x="103" y="140"/>
                  </a:cxn>
                  <a:cxn ang="0">
                    <a:pos x="104" y="129"/>
                  </a:cxn>
                  <a:cxn ang="0">
                    <a:pos x="109" y="123"/>
                  </a:cxn>
                  <a:cxn ang="0">
                    <a:pos x="111" y="123"/>
                  </a:cxn>
                  <a:cxn ang="0">
                    <a:pos x="119" y="119"/>
                  </a:cxn>
                  <a:cxn ang="0">
                    <a:pos x="134" y="116"/>
                  </a:cxn>
                  <a:cxn ang="0">
                    <a:pos x="141" y="117"/>
                  </a:cxn>
                  <a:cxn ang="0">
                    <a:pos x="143" y="117"/>
                  </a:cxn>
                  <a:cxn ang="0">
                    <a:pos x="143" y="114"/>
                  </a:cxn>
                  <a:cxn ang="0">
                    <a:pos x="155" y="113"/>
                  </a:cxn>
                  <a:cxn ang="0">
                    <a:pos x="159" y="113"/>
                  </a:cxn>
                  <a:cxn ang="0">
                    <a:pos x="164" y="114"/>
                  </a:cxn>
                  <a:cxn ang="0">
                    <a:pos x="177" y="122"/>
                  </a:cxn>
                  <a:cxn ang="0">
                    <a:pos x="177" y="128"/>
                  </a:cxn>
                  <a:cxn ang="0">
                    <a:pos x="178" y="135"/>
                  </a:cxn>
                  <a:cxn ang="0">
                    <a:pos x="181" y="144"/>
                  </a:cxn>
                  <a:cxn ang="0">
                    <a:pos x="185" y="113"/>
                  </a:cxn>
                  <a:cxn ang="0">
                    <a:pos x="189" y="104"/>
                  </a:cxn>
                  <a:cxn ang="0">
                    <a:pos x="204" y="91"/>
                  </a:cxn>
                  <a:cxn ang="0">
                    <a:pos x="212" y="84"/>
                  </a:cxn>
                  <a:cxn ang="0">
                    <a:pos x="219" y="81"/>
                  </a:cxn>
                  <a:cxn ang="0">
                    <a:pos x="215" y="79"/>
                  </a:cxn>
                  <a:cxn ang="0">
                    <a:pos x="219" y="74"/>
                  </a:cxn>
                  <a:cxn ang="0">
                    <a:pos x="217" y="71"/>
                  </a:cxn>
                  <a:cxn ang="0">
                    <a:pos x="219" y="65"/>
                  </a:cxn>
                  <a:cxn ang="0">
                    <a:pos x="221" y="66"/>
                  </a:cxn>
                  <a:cxn ang="0">
                    <a:pos x="225" y="58"/>
                  </a:cxn>
                  <a:cxn ang="0">
                    <a:pos x="224" y="66"/>
                  </a:cxn>
                  <a:cxn ang="0">
                    <a:pos x="221" y="71"/>
                  </a:cxn>
                  <a:cxn ang="0">
                    <a:pos x="227" y="57"/>
                  </a:cxn>
                  <a:cxn ang="0">
                    <a:pos x="236" y="53"/>
                  </a:cxn>
                  <a:cxn ang="0">
                    <a:pos x="244" y="48"/>
                  </a:cxn>
                  <a:cxn ang="0">
                    <a:pos x="251" y="46"/>
                  </a:cxn>
                  <a:cxn ang="0">
                    <a:pos x="257" y="43"/>
                  </a:cxn>
                  <a:cxn ang="0">
                    <a:pos x="255" y="39"/>
                  </a:cxn>
                  <a:cxn ang="0">
                    <a:pos x="266" y="29"/>
                  </a:cxn>
                </a:cxnLst>
                <a:rect l="0" t="0" r="r" b="b"/>
                <a:pathLst>
                  <a:path w="276" h="144">
                    <a:moveTo>
                      <a:pt x="276" y="27"/>
                    </a:moveTo>
                    <a:cubicBezTo>
                      <a:pt x="276" y="25"/>
                      <a:pt x="276" y="25"/>
                      <a:pt x="276" y="25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4" y="13"/>
                      <a:pt x="274" y="13"/>
                      <a:pt x="274" y="13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4" y="20"/>
                      <a:pt x="264" y="20"/>
                      <a:pt x="264" y="20"/>
                    </a:cubicBezTo>
                    <a:cubicBezTo>
                      <a:pt x="259" y="24"/>
                      <a:pt x="259" y="24"/>
                      <a:pt x="259" y="24"/>
                    </a:cubicBezTo>
                    <a:cubicBezTo>
                      <a:pt x="256" y="26"/>
                      <a:pt x="256" y="26"/>
                      <a:pt x="256" y="26"/>
                    </a:cubicBezTo>
                    <a:cubicBezTo>
                      <a:pt x="247" y="26"/>
                      <a:pt x="247" y="26"/>
                      <a:pt x="247" y="26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3" y="30"/>
                      <a:pt x="233" y="30"/>
                      <a:pt x="233" y="30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24" y="34"/>
                      <a:pt x="224" y="34"/>
                      <a:pt x="224" y="34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7" y="42"/>
                      <a:pt x="207" y="42"/>
                      <a:pt x="207" y="42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205" y="29"/>
                      <a:pt x="205" y="29"/>
                      <a:pt x="205" y="29"/>
                    </a:cubicBezTo>
                    <a:cubicBezTo>
                      <a:pt x="207" y="24"/>
                      <a:pt x="207" y="24"/>
                      <a:pt x="207" y="24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3" y="19"/>
                      <a:pt x="203" y="19"/>
                      <a:pt x="203" y="19"/>
                    </a:cubicBezTo>
                    <a:cubicBezTo>
                      <a:pt x="201" y="19"/>
                      <a:pt x="201" y="19"/>
                      <a:pt x="201" y="19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5" y="7"/>
                      <a:pt x="175" y="7"/>
                      <a:pt x="175" y="7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66" y="5"/>
                      <a:pt x="166" y="5"/>
                      <a:pt x="166" y="5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18" y="3"/>
                      <a:pt x="77" y="3"/>
                      <a:pt x="36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5" y="88"/>
                      <a:pt x="5" y="88"/>
                      <a:pt x="5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4" y="119"/>
                      <a:pt x="74" y="119"/>
                      <a:pt x="74" y="119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80" y="116"/>
                      <a:pt x="80" y="116"/>
                      <a:pt x="80" y="116"/>
                    </a:cubicBezTo>
                    <a:cubicBezTo>
                      <a:pt x="86" y="117"/>
                      <a:pt x="86" y="117"/>
                      <a:pt x="86" y="117"/>
                    </a:cubicBezTo>
                    <a:cubicBezTo>
                      <a:pt x="95" y="130"/>
                      <a:pt x="88" y="139"/>
                      <a:pt x="103" y="140"/>
                    </a:cubicBezTo>
                    <a:cubicBezTo>
                      <a:pt x="101" y="132"/>
                      <a:pt x="101" y="132"/>
                      <a:pt x="101" y="132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09" y="124"/>
                      <a:pt x="109" y="124"/>
                      <a:pt x="109" y="124"/>
                    </a:cubicBezTo>
                    <a:cubicBezTo>
                      <a:pt x="109" y="123"/>
                      <a:pt x="109" y="123"/>
                      <a:pt x="109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7" y="119"/>
                      <a:pt x="117" y="119"/>
                      <a:pt x="117" y="119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19" y="119"/>
                      <a:pt x="119" y="119"/>
                      <a:pt x="119" y="119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4" y="116"/>
                      <a:pt x="134" y="116"/>
                      <a:pt x="134" y="116"/>
                    </a:cubicBezTo>
                    <a:cubicBezTo>
                      <a:pt x="136" y="119"/>
                      <a:pt x="136" y="119"/>
                      <a:pt x="136" y="119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41" y="120"/>
                      <a:pt x="141" y="120"/>
                      <a:pt x="141" y="120"/>
                    </a:cubicBezTo>
                    <a:cubicBezTo>
                      <a:pt x="141" y="117"/>
                      <a:pt x="141" y="117"/>
                      <a:pt x="141" y="117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22"/>
                      <a:pt x="143" y="122"/>
                      <a:pt x="143" y="122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3" y="114"/>
                      <a:pt x="143" y="114"/>
                      <a:pt x="143" y="114"/>
                    </a:cubicBez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7" y="112"/>
                      <a:pt x="157" y="112"/>
                      <a:pt x="157" y="112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5"/>
                      <a:pt x="165" y="115"/>
                      <a:pt x="165" y="115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7"/>
                      <a:pt x="165" y="117"/>
                      <a:pt x="165" y="117"/>
                    </a:cubicBezTo>
                    <a:cubicBezTo>
                      <a:pt x="171" y="114"/>
                      <a:pt x="171" y="114"/>
                      <a:pt x="171" y="114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75" y="130"/>
                      <a:pt x="175" y="130"/>
                      <a:pt x="175" y="130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75" y="131"/>
                      <a:pt x="175" y="131"/>
                      <a:pt x="175" y="131"/>
                    </a:cubicBezTo>
                    <a:cubicBezTo>
                      <a:pt x="177" y="133"/>
                      <a:pt x="177" y="133"/>
                      <a:pt x="177" y="133"/>
                    </a:cubicBezTo>
                    <a:cubicBezTo>
                      <a:pt x="178" y="134"/>
                      <a:pt x="178" y="134"/>
                      <a:pt x="178" y="134"/>
                    </a:cubicBezTo>
                    <a:cubicBezTo>
                      <a:pt x="178" y="135"/>
                      <a:pt x="178" y="135"/>
                      <a:pt x="178" y="135"/>
                    </a:cubicBezTo>
                    <a:cubicBezTo>
                      <a:pt x="179" y="135"/>
                      <a:pt x="179" y="135"/>
                      <a:pt x="179" y="135"/>
                    </a:cubicBezTo>
                    <a:cubicBezTo>
                      <a:pt x="178" y="136"/>
                      <a:pt x="178" y="136"/>
                      <a:pt x="178" y="136"/>
                    </a:cubicBezTo>
                    <a:cubicBezTo>
                      <a:pt x="179" y="140"/>
                      <a:pt x="179" y="140"/>
                      <a:pt x="179" y="140"/>
                    </a:cubicBezTo>
                    <a:cubicBezTo>
                      <a:pt x="181" y="144"/>
                      <a:pt x="181" y="144"/>
                      <a:pt x="181" y="144"/>
                    </a:cubicBezTo>
                    <a:cubicBezTo>
                      <a:pt x="190" y="142"/>
                      <a:pt x="185" y="129"/>
                      <a:pt x="186" y="123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5" y="113"/>
                      <a:pt x="185" y="113"/>
                      <a:pt x="185" y="113"/>
                    </a:cubicBezTo>
                    <a:cubicBezTo>
                      <a:pt x="185" y="109"/>
                      <a:pt x="185" y="109"/>
                      <a:pt x="185" y="109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91" y="100"/>
                      <a:pt x="191" y="100"/>
                      <a:pt x="191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9" y="95"/>
                      <a:pt x="199" y="95"/>
                      <a:pt x="199" y="95"/>
                    </a:cubicBezTo>
                    <a:cubicBezTo>
                      <a:pt x="204" y="91"/>
                      <a:pt x="204" y="91"/>
                      <a:pt x="204" y="91"/>
                    </a:cubicBezTo>
                    <a:cubicBezTo>
                      <a:pt x="207" y="90"/>
                      <a:pt x="207" y="90"/>
                      <a:pt x="207" y="90"/>
                    </a:cubicBezTo>
                    <a:cubicBezTo>
                      <a:pt x="210" y="87"/>
                      <a:pt x="210" y="87"/>
                      <a:pt x="210" y="87"/>
                    </a:cubicBezTo>
                    <a:cubicBezTo>
                      <a:pt x="216" y="85"/>
                      <a:pt x="216" y="85"/>
                      <a:pt x="216" y="85"/>
                    </a:cubicBezTo>
                    <a:cubicBezTo>
                      <a:pt x="212" y="84"/>
                      <a:pt x="212" y="84"/>
                      <a:pt x="212" y="84"/>
                    </a:cubicBezTo>
                    <a:cubicBezTo>
                      <a:pt x="215" y="85"/>
                      <a:pt x="215" y="85"/>
                      <a:pt x="215" y="85"/>
                    </a:cubicBezTo>
                    <a:cubicBezTo>
                      <a:pt x="215" y="83"/>
                      <a:pt x="215" y="83"/>
                      <a:pt x="215" y="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15" y="79"/>
                      <a:pt x="215" y="79"/>
                      <a:pt x="215" y="79"/>
                    </a:cubicBezTo>
                    <a:cubicBezTo>
                      <a:pt x="221" y="79"/>
                      <a:pt x="221" y="79"/>
                      <a:pt x="221" y="79"/>
                    </a:cubicBezTo>
                    <a:cubicBezTo>
                      <a:pt x="221" y="75"/>
                      <a:pt x="221" y="75"/>
                      <a:pt x="221" y="75"/>
                    </a:cubicBezTo>
                    <a:cubicBezTo>
                      <a:pt x="221" y="80"/>
                      <a:pt x="221" y="80"/>
                      <a:pt x="221" y="80"/>
                    </a:cubicBezTo>
                    <a:cubicBezTo>
                      <a:pt x="219" y="74"/>
                      <a:pt x="219" y="74"/>
                      <a:pt x="219" y="74"/>
                    </a:cubicBezTo>
                    <a:cubicBezTo>
                      <a:pt x="217" y="73"/>
                      <a:pt x="217" y="73"/>
                      <a:pt x="217" y="73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9" y="73"/>
                      <a:pt x="219" y="73"/>
                      <a:pt x="219" y="73"/>
                    </a:cubicBezTo>
                    <a:cubicBezTo>
                      <a:pt x="217" y="71"/>
                      <a:pt x="217" y="71"/>
                      <a:pt x="217" y="71"/>
                    </a:cubicBezTo>
                    <a:cubicBezTo>
                      <a:pt x="219" y="71"/>
                      <a:pt x="219" y="71"/>
                      <a:pt x="219" y="71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5"/>
                      <a:pt x="216" y="65"/>
                      <a:pt x="216" y="65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21" y="66"/>
                      <a:pt x="221" y="66"/>
                      <a:pt x="221" y="66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58"/>
                      <a:pt x="225" y="58"/>
                      <a:pt x="225" y="58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3" y="64"/>
                      <a:pt x="223" y="64"/>
                      <a:pt x="223" y="64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23" y="67"/>
                      <a:pt x="223" y="67"/>
                      <a:pt x="223" y="67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71"/>
                      <a:pt x="221" y="71"/>
                      <a:pt x="221" y="71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58"/>
                      <a:pt x="227" y="58"/>
                      <a:pt x="227" y="58"/>
                    </a:cubicBezTo>
                    <a:cubicBezTo>
                      <a:pt x="229" y="56"/>
                      <a:pt x="229" y="56"/>
                      <a:pt x="229" y="56"/>
                    </a:cubicBezTo>
                    <a:cubicBezTo>
                      <a:pt x="227" y="57"/>
                      <a:pt x="227" y="57"/>
                      <a:pt x="227" y="57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6" y="53"/>
                      <a:pt x="236" y="53"/>
                      <a:pt x="236" y="53"/>
                    </a:cubicBezTo>
                    <a:cubicBezTo>
                      <a:pt x="238" y="48"/>
                      <a:pt x="238" y="48"/>
                      <a:pt x="238" y="48"/>
                    </a:cubicBezTo>
                    <a:cubicBezTo>
                      <a:pt x="237" y="51"/>
                      <a:pt x="237" y="51"/>
                      <a:pt x="237" y="5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9" y="47"/>
                      <a:pt x="249" y="47"/>
                      <a:pt x="249" y="47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1" y="46"/>
                      <a:pt x="251" y="46"/>
                      <a:pt x="251" y="46"/>
                    </a:cubicBezTo>
                    <a:cubicBezTo>
                      <a:pt x="253" y="47"/>
                      <a:pt x="253" y="47"/>
                      <a:pt x="253" y="47"/>
                    </a:cubicBezTo>
                    <a:cubicBezTo>
                      <a:pt x="254" y="47"/>
                      <a:pt x="254" y="47"/>
                      <a:pt x="254" y="47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7" y="43"/>
                      <a:pt x="257" y="43"/>
                      <a:pt x="257" y="43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4" y="44"/>
                      <a:pt x="254" y="44"/>
                      <a:pt x="254" y="44"/>
                    </a:cubicBezTo>
                    <a:cubicBezTo>
                      <a:pt x="255" y="40"/>
                      <a:pt x="255" y="40"/>
                      <a:pt x="255" y="40"/>
                    </a:cubicBezTo>
                    <a:cubicBezTo>
                      <a:pt x="255" y="39"/>
                      <a:pt x="255" y="39"/>
                      <a:pt x="255" y="39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70" y="29"/>
                      <a:pt x="270" y="29"/>
                      <a:pt x="270" y="29"/>
                    </a:cubicBezTo>
                    <a:cubicBezTo>
                      <a:pt x="276" y="27"/>
                      <a:pt x="276" y="27"/>
                      <a:pt x="276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0" name="Freeform 835"/>
              <p:cNvSpPr>
                <a:spLocks/>
              </p:cNvSpPr>
              <p:nvPr/>
            </p:nvSpPr>
            <p:spPr bwMode="auto">
              <a:xfrm>
                <a:off x="1317642" y="2807445"/>
                <a:ext cx="1443054" cy="754073"/>
              </a:xfrm>
              <a:custGeom>
                <a:avLst/>
                <a:gdLst/>
                <a:ahLst/>
                <a:cxnLst>
                  <a:cxn ang="0">
                    <a:pos x="276" y="14"/>
                  </a:cxn>
                  <a:cxn ang="0">
                    <a:pos x="266" y="16"/>
                  </a:cxn>
                  <a:cxn ang="0">
                    <a:pos x="247" y="26"/>
                  </a:cxn>
                  <a:cxn ang="0">
                    <a:pos x="224" y="34"/>
                  </a:cxn>
                  <a:cxn ang="0">
                    <a:pos x="207" y="42"/>
                  </a:cxn>
                  <a:cxn ang="0">
                    <a:pos x="202" y="37"/>
                  </a:cxn>
                  <a:cxn ang="0">
                    <a:pos x="202" y="20"/>
                  </a:cxn>
                  <a:cxn ang="0">
                    <a:pos x="197" y="15"/>
                  </a:cxn>
                  <a:cxn ang="0">
                    <a:pos x="179" y="9"/>
                  </a:cxn>
                  <a:cxn ang="0">
                    <a:pos x="161" y="3"/>
                  </a:cxn>
                  <a:cxn ang="0">
                    <a:pos x="35" y="7"/>
                  </a:cxn>
                  <a:cxn ang="0">
                    <a:pos x="34" y="9"/>
                  </a:cxn>
                  <a:cxn ang="0">
                    <a:pos x="32" y="7"/>
                  </a:cxn>
                  <a:cxn ang="0">
                    <a:pos x="22" y="17"/>
                  </a:cxn>
                  <a:cxn ang="0">
                    <a:pos x="21" y="19"/>
                  </a:cxn>
                  <a:cxn ang="0">
                    <a:pos x="6" y="43"/>
                  </a:cxn>
                  <a:cxn ang="0">
                    <a:pos x="0" y="60"/>
                  </a:cxn>
                  <a:cxn ang="0">
                    <a:pos x="0" y="67"/>
                  </a:cxn>
                  <a:cxn ang="0">
                    <a:pos x="1" y="71"/>
                  </a:cxn>
                  <a:cxn ang="0">
                    <a:pos x="3" y="83"/>
                  </a:cxn>
                  <a:cxn ang="0">
                    <a:pos x="14" y="95"/>
                  </a:cxn>
                  <a:cxn ang="0">
                    <a:pos x="34" y="103"/>
                  </a:cxn>
                  <a:cxn ang="0">
                    <a:pos x="56" y="104"/>
                  </a:cxn>
                  <a:cxn ang="0">
                    <a:pos x="74" y="119"/>
                  </a:cxn>
                  <a:cxn ang="0">
                    <a:pos x="103" y="140"/>
                  </a:cxn>
                  <a:cxn ang="0">
                    <a:pos x="104" y="129"/>
                  </a:cxn>
                  <a:cxn ang="0">
                    <a:pos x="109" y="123"/>
                  </a:cxn>
                  <a:cxn ang="0">
                    <a:pos x="111" y="123"/>
                  </a:cxn>
                  <a:cxn ang="0">
                    <a:pos x="119" y="119"/>
                  </a:cxn>
                  <a:cxn ang="0">
                    <a:pos x="134" y="116"/>
                  </a:cxn>
                  <a:cxn ang="0">
                    <a:pos x="141" y="117"/>
                  </a:cxn>
                  <a:cxn ang="0">
                    <a:pos x="143" y="117"/>
                  </a:cxn>
                  <a:cxn ang="0">
                    <a:pos x="143" y="114"/>
                  </a:cxn>
                  <a:cxn ang="0">
                    <a:pos x="155" y="113"/>
                  </a:cxn>
                  <a:cxn ang="0">
                    <a:pos x="159" y="113"/>
                  </a:cxn>
                  <a:cxn ang="0">
                    <a:pos x="164" y="114"/>
                  </a:cxn>
                  <a:cxn ang="0">
                    <a:pos x="177" y="122"/>
                  </a:cxn>
                  <a:cxn ang="0">
                    <a:pos x="177" y="128"/>
                  </a:cxn>
                  <a:cxn ang="0">
                    <a:pos x="178" y="135"/>
                  </a:cxn>
                  <a:cxn ang="0">
                    <a:pos x="181" y="144"/>
                  </a:cxn>
                  <a:cxn ang="0">
                    <a:pos x="185" y="113"/>
                  </a:cxn>
                  <a:cxn ang="0">
                    <a:pos x="189" y="104"/>
                  </a:cxn>
                  <a:cxn ang="0">
                    <a:pos x="204" y="91"/>
                  </a:cxn>
                  <a:cxn ang="0">
                    <a:pos x="212" y="84"/>
                  </a:cxn>
                  <a:cxn ang="0">
                    <a:pos x="219" y="81"/>
                  </a:cxn>
                  <a:cxn ang="0">
                    <a:pos x="215" y="79"/>
                  </a:cxn>
                  <a:cxn ang="0">
                    <a:pos x="219" y="74"/>
                  </a:cxn>
                  <a:cxn ang="0">
                    <a:pos x="217" y="71"/>
                  </a:cxn>
                  <a:cxn ang="0">
                    <a:pos x="219" y="65"/>
                  </a:cxn>
                  <a:cxn ang="0">
                    <a:pos x="221" y="66"/>
                  </a:cxn>
                  <a:cxn ang="0">
                    <a:pos x="225" y="58"/>
                  </a:cxn>
                  <a:cxn ang="0">
                    <a:pos x="224" y="66"/>
                  </a:cxn>
                  <a:cxn ang="0">
                    <a:pos x="221" y="71"/>
                  </a:cxn>
                  <a:cxn ang="0">
                    <a:pos x="227" y="57"/>
                  </a:cxn>
                  <a:cxn ang="0">
                    <a:pos x="236" y="53"/>
                  </a:cxn>
                  <a:cxn ang="0">
                    <a:pos x="244" y="48"/>
                  </a:cxn>
                  <a:cxn ang="0">
                    <a:pos x="251" y="46"/>
                  </a:cxn>
                  <a:cxn ang="0">
                    <a:pos x="257" y="43"/>
                  </a:cxn>
                  <a:cxn ang="0">
                    <a:pos x="255" y="39"/>
                  </a:cxn>
                  <a:cxn ang="0">
                    <a:pos x="266" y="29"/>
                  </a:cxn>
                </a:cxnLst>
                <a:rect l="0" t="0" r="r" b="b"/>
                <a:pathLst>
                  <a:path w="276" h="144">
                    <a:moveTo>
                      <a:pt x="276" y="27"/>
                    </a:moveTo>
                    <a:cubicBezTo>
                      <a:pt x="276" y="25"/>
                      <a:pt x="276" y="25"/>
                      <a:pt x="276" y="25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4" y="13"/>
                      <a:pt x="274" y="13"/>
                      <a:pt x="274" y="13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4" y="20"/>
                      <a:pt x="264" y="20"/>
                      <a:pt x="264" y="20"/>
                    </a:cubicBezTo>
                    <a:cubicBezTo>
                      <a:pt x="259" y="24"/>
                      <a:pt x="259" y="24"/>
                      <a:pt x="259" y="24"/>
                    </a:cubicBezTo>
                    <a:cubicBezTo>
                      <a:pt x="256" y="26"/>
                      <a:pt x="256" y="26"/>
                      <a:pt x="256" y="26"/>
                    </a:cubicBezTo>
                    <a:cubicBezTo>
                      <a:pt x="247" y="26"/>
                      <a:pt x="247" y="26"/>
                      <a:pt x="247" y="26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3" y="30"/>
                      <a:pt x="233" y="30"/>
                      <a:pt x="233" y="30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24" y="34"/>
                      <a:pt x="224" y="34"/>
                      <a:pt x="224" y="34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7" y="42"/>
                      <a:pt x="207" y="42"/>
                      <a:pt x="207" y="42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205" y="29"/>
                      <a:pt x="205" y="29"/>
                      <a:pt x="205" y="29"/>
                    </a:cubicBezTo>
                    <a:cubicBezTo>
                      <a:pt x="207" y="24"/>
                      <a:pt x="207" y="24"/>
                      <a:pt x="207" y="24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3" y="19"/>
                      <a:pt x="203" y="19"/>
                      <a:pt x="203" y="19"/>
                    </a:cubicBezTo>
                    <a:cubicBezTo>
                      <a:pt x="201" y="19"/>
                      <a:pt x="201" y="19"/>
                      <a:pt x="201" y="19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5" y="7"/>
                      <a:pt x="175" y="7"/>
                      <a:pt x="175" y="7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66" y="5"/>
                      <a:pt x="166" y="5"/>
                      <a:pt x="166" y="5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18" y="3"/>
                      <a:pt x="77" y="3"/>
                      <a:pt x="36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5" y="88"/>
                      <a:pt x="5" y="88"/>
                      <a:pt x="5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4" y="119"/>
                      <a:pt x="74" y="119"/>
                      <a:pt x="74" y="119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80" y="116"/>
                      <a:pt x="80" y="116"/>
                      <a:pt x="80" y="116"/>
                    </a:cubicBezTo>
                    <a:cubicBezTo>
                      <a:pt x="86" y="117"/>
                      <a:pt x="86" y="117"/>
                      <a:pt x="86" y="117"/>
                    </a:cubicBezTo>
                    <a:cubicBezTo>
                      <a:pt x="95" y="130"/>
                      <a:pt x="88" y="139"/>
                      <a:pt x="103" y="140"/>
                    </a:cubicBezTo>
                    <a:cubicBezTo>
                      <a:pt x="101" y="132"/>
                      <a:pt x="101" y="132"/>
                      <a:pt x="101" y="132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09" y="124"/>
                      <a:pt x="109" y="124"/>
                      <a:pt x="109" y="124"/>
                    </a:cubicBezTo>
                    <a:cubicBezTo>
                      <a:pt x="109" y="123"/>
                      <a:pt x="109" y="123"/>
                      <a:pt x="109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7" y="119"/>
                      <a:pt x="117" y="119"/>
                      <a:pt x="117" y="119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19" y="119"/>
                      <a:pt x="119" y="119"/>
                      <a:pt x="119" y="119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4" y="116"/>
                      <a:pt x="134" y="116"/>
                      <a:pt x="134" y="116"/>
                    </a:cubicBezTo>
                    <a:cubicBezTo>
                      <a:pt x="136" y="119"/>
                      <a:pt x="136" y="119"/>
                      <a:pt x="136" y="119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41" y="120"/>
                      <a:pt x="141" y="120"/>
                      <a:pt x="141" y="120"/>
                    </a:cubicBezTo>
                    <a:cubicBezTo>
                      <a:pt x="141" y="117"/>
                      <a:pt x="141" y="117"/>
                      <a:pt x="141" y="117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22"/>
                      <a:pt x="143" y="122"/>
                      <a:pt x="143" y="122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3" y="114"/>
                      <a:pt x="143" y="114"/>
                      <a:pt x="143" y="114"/>
                    </a:cubicBez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7" y="112"/>
                      <a:pt x="157" y="112"/>
                      <a:pt x="157" y="112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5"/>
                      <a:pt x="165" y="115"/>
                      <a:pt x="165" y="115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7"/>
                      <a:pt x="165" y="117"/>
                      <a:pt x="165" y="117"/>
                    </a:cubicBezTo>
                    <a:cubicBezTo>
                      <a:pt x="171" y="114"/>
                      <a:pt x="171" y="114"/>
                      <a:pt x="171" y="114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75" y="130"/>
                      <a:pt x="175" y="130"/>
                      <a:pt x="175" y="130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75" y="131"/>
                      <a:pt x="175" y="131"/>
                      <a:pt x="175" y="131"/>
                    </a:cubicBezTo>
                    <a:cubicBezTo>
                      <a:pt x="177" y="133"/>
                      <a:pt x="177" y="133"/>
                      <a:pt x="177" y="133"/>
                    </a:cubicBezTo>
                    <a:cubicBezTo>
                      <a:pt x="178" y="134"/>
                      <a:pt x="178" y="134"/>
                      <a:pt x="178" y="134"/>
                    </a:cubicBezTo>
                    <a:cubicBezTo>
                      <a:pt x="178" y="135"/>
                      <a:pt x="178" y="135"/>
                      <a:pt x="178" y="135"/>
                    </a:cubicBezTo>
                    <a:cubicBezTo>
                      <a:pt x="179" y="135"/>
                      <a:pt x="179" y="135"/>
                      <a:pt x="179" y="135"/>
                    </a:cubicBezTo>
                    <a:cubicBezTo>
                      <a:pt x="178" y="136"/>
                      <a:pt x="178" y="136"/>
                      <a:pt x="178" y="136"/>
                    </a:cubicBezTo>
                    <a:cubicBezTo>
                      <a:pt x="179" y="140"/>
                      <a:pt x="179" y="140"/>
                      <a:pt x="179" y="140"/>
                    </a:cubicBezTo>
                    <a:cubicBezTo>
                      <a:pt x="181" y="144"/>
                      <a:pt x="181" y="144"/>
                      <a:pt x="181" y="144"/>
                    </a:cubicBezTo>
                    <a:cubicBezTo>
                      <a:pt x="190" y="142"/>
                      <a:pt x="185" y="129"/>
                      <a:pt x="186" y="123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5" y="113"/>
                      <a:pt x="185" y="113"/>
                      <a:pt x="185" y="113"/>
                    </a:cubicBezTo>
                    <a:cubicBezTo>
                      <a:pt x="185" y="109"/>
                      <a:pt x="185" y="109"/>
                      <a:pt x="185" y="109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91" y="100"/>
                      <a:pt x="191" y="100"/>
                      <a:pt x="191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9" y="95"/>
                      <a:pt x="199" y="95"/>
                      <a:pt x="199" y="95"/>
                    </a:cubicBezTo>
                    <a:cubicBezTo>
                      <a:pt x="204" y="91"/>
                      <a:pt x="204" y="91"/>
                      <a:pt x="204" y="91"/>
                    </a:cubicBezTo>
                    <a:cubicBezTo>
                      <a:pt x="207" y="90"/>
                      <a:pt x="207" y="90"/>
                      <a:pt x="207" y="90"/>
                    </a:cubicBezTo>
                    <a:cubicBezTo>
                      <a:pt x="210" y="87"/>
                      <a:pt x="210" y="87"/>
                      <a:pt x="210" y="87"/>
                    </a:cubicBezTo>
                    <a:cubicBezTo>
                      <a:pt x="216" y="85"/>
                      <a:pt x="216" y="85"/>
                      <a:pt x="216" y="85"/>
                    </a:cubicBezTo>
                    <a:cubicBezTo>
                      <a:pt x="212" y="84"/>
                      <a:pt x="212" y="84"/>
                      <a:pt x="212" y="84"/>
                    </a:cubicBezTo>
                    <a:cubicBezTo>
                      <a:pt x="215" y="85"/>
                      <a:pt x="215" y="85"/>
                      <a:pt x="215" y="85"/>
                    </a:cubicBezTo>
                    <a:cubicBezTo>
                      <a:pt x="215" y="83"/>
                      <a:pt x="215" y="83"/>
                      <a:pt x="215" y="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15" y="79"/>
                      <a:pt x="215" y="79"/>
                      <a:pt x="215" y="79"/>
                    </a:cubicBezTo>
                    <a:cubicBezTo>
                      <a:pt x="221" y="79"/>
                      <a:pt x="221" y="79"/>
                      <a:pt x="221" y="79"/>
                    </a:cubicBezTo>
                    <a:cubicBezTo>
                      <a:pt x="221" y="75"/>
                      <a:pt x="221" y="75"/>
                      <a:pt x="221" y="75"/>
                    </a:cubicBezTo>
                    <a:cubicBezTo>
                      <a:pt x="221" y="80"/>
                      <a:pt x="221" y="80"/>
                      <a:pt x="221" y="80"/>
                    </a:cubicBezTo>
                    <a:cubicBezTo>
                      <a:pt x="219" y="74"/>
                      <a:pt x="219" y="74"/>
                      <a:pt x="219" y="74"/>
                    </a:cubicBezTo>
                    <a:cubicBezTo>
                      <a:pt x="217" y="73"/>
                      <a:pt x="217" y="73"/>
                      <a:pt x="217" y="73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9" y="73"/>
                      <a:pt x="219" y="73"/>
                      <a:pt x="219" y="73"/>
                    </a:cubicBezTo>
                    <a:cubicBezTo>
                      <a:pt x="217" y="71"/>
                      <a:pt x="217" y="71"/>
                      <a:pt x="217" y="71"/>
                    </a:cubicBezTo>
                    <a:cubicBezTo>
                      <a:pt x="219" y="71"/>
                      <a:pt x="219" y="71"/>
                      <a:pt x="219" y="71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5"/>
                      <a:pt x="216" y="65"/>
                      <a:pt x="216" y="65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21" y="66"/>
                      <a:pt x="221" y="66"/>
                      <a:pt x="221" y="66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58"/>
                      <a:pt x="225" y="58"/>
                      <a:pt x="225" y="58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3" y="64"/>
                      <a:pt x="223" y="64"/>
                      <a:pt x="223" y="64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23" y="67"/>
                      <a:pt x="223" y="67"/>
                      <a:pt x="223" y="67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71"/>
                      <a:pt x="221" y="71"/>
                      <a:pt x="221" y="71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58"/>
                      <a:pt x="227" y="58"/>
                      <a:pt x="227" y="58"/>
                    </a:cubicBezTo>
                    <a:cubicBezTo>
                      <a:pt x="229" y="56"/>
                      <a:pt x="229" y="56"/>
                      <a:pt x="229" y="56"/>
                    </a:cubicBezTo>
                    <a:cubicBezTo>
                      <a:pt x="227" y="57"/>
                      <a:pt x="227" y="57"/>
                      <a:pt x="227" y="57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6" y="53"/>
                      <a:pt x="236" y="53"/>
                      <a:pt x="236" y="53"/>
                    </a:cubicBezTo>
                    <a:cubicBezTo>
                      <a:pt x="238" y="48"/>
                      <a:pt x="238" y="48"/>
                      <a:pt x="238" y="48"/>
                    </a:cubicBezTo>
                    <a:cubicBezTo>
                      <a:pt x="237" y="51"/>
                      <a:pt x="237" y="51"/>
                      <a:pt x="237" y="5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9" y="47"/>
                      <a:pt x="249" y="47"/>
                      <a:pt x="249" y="47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1" y="46"/>
                      <a:pt x="251" y="46"/>
                      <a:pt x="251" y="46"/>
                    </a:cubicBezTo>
                    <a:cubicBezTo>
                      <a:pt x="253" y="47"/>
                      <a:pt x="253" y="47"/>
                      <a:pt x="253" y="47"/>
                    </a:cubicBezTo>
                    <a:cubicBezTo>
                      <a:pt x="254" y="47"/>
                      <a:pt x="254" y="47"/>
                      <a:pt x="254" y="47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7" y="43"/>
                      <a:pt x="257" y="43"/>
                      <a:pt x="257" y="43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4" y="44"/>
                      <a:pt x="254" y="44"/>
                      <a:pt x="254" y="44"/>
                    </a:cubicBezTo>
                    <a:cubicBezTo>
                      <a:pt x="255" y="40"/>
                      <a:pt x="255" y="40"/>
                      <a:pt x="255" y="40"/>
                    </a:cubicBezTo>
                    <a:cubicBezTo>
                      <a:pt x="255" y="39"/>
                      <a:pt x="255" y="39"/>
                      <a:pt x="255" y="39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70" y="29"/>
                      <a:pt x="270" y="29"/>
                      <a:pt x="270" y="29"/>
                    </a:cubicBezTo>
                    <a:cubicBezTo>
                      <a:pt x="276" y="27"/>
                      <a:pt x="276" y="27"/>
                      <a:pt x="276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1" name="Freeform 836"/>
              <p:cNvSpPr>
                <a:spLocks/>
              </p:cNvSpPr>
              <p:nvPr/>
            </p:nvSpPr>
            <p:spPr bwMode="auto">
              <a:xfrm>
                <a:off x="1317642" y="2807445"/>
                <a:ext cx="1443054" cy="754073"/>
              </a:xfrm>
              <a:custGeom>
                <a:avLst/>
                <a:gdLst/>
                <a:ahLst/>
                <a:cxnLst>
                  <a:cxn ang="0">
                    <a:pos x="276" y="14"/>
                  </a:cxn>
                  <a:cxn ang="0">
                    <a:pos x="266" y="16"/>
                  </a:cxn>
                  <a:cxn ang="0">
                    <a:pos x="247" y="26"/>
                  </a:cxn>
                  <a:cxn ang="0">
                    <a:pos x="224" y="34"/>
                  </a:cxn>
                  <a:cxn ang="0">
                    <a:pos x="207" y="42"/>
                  </a:cxn>
                  <a:cxn ang="0">
                    <a:pos x="202" y="37"/>
                  </a:cxn>
                  <a:cxn ang="0">
                    <a:pos x="202" y="20"/>
                  </a:cxn>
                  <a:cxn ang="0">
                    <a:pos x="197" y="15"/>
                  </a:cxn>
                  <a:cxn ang="0">
                    <a:pos x="179" y="9"/>
                  </a:cxn>
                  <a:cxn ang="0">
                    <a:pos x="161" y="3"/>
                  </a:cxn>
                  <a:cxn ang="0">
                    <a:pos x="35" y="7"/>
                  </a:cxn>
                  <a:cxn ang="0">
                    <a:pos x="34" y="9"/>
                  </a:cxn>
                  <a:cxn ang="0">
                    <a:pos x="32" y="7"/>
                  </a:cxn>
                  <a:cxn ang="0">
                    <a:pos x="22" y="17"/>
                  </a:cxn>
                  <a:cxn ang="0">
                    <a:pos x="21" y="19"/>
                  </a:cxn>
                  <a:cxn ang="0">
                    <a:pos x="6" y="43"/>
                  </a:cxn>
                  <a:cxn ang="0">
                    <a:pos x="0" y="60"/>
                  </a:cxn>
                  <a:cxn ang="0">
                    <a:pos x="0" y="67"/>
                  </a:cxn>
                  <a:cxn ang="0">
                    <a:pos x="1" y="71"/>
                  </a:cxn>
                  <a:cxn ang="0">
                    <a:pos x="3" y="83"/>
                  </a:cxn>
                  <a:cxn ang="0">
                    <a:pos x="14" y="95"/>
                  </a:cxn>
                  <a:cxn ang="0">
                    <a:pos x="34" y="103"/>
                  </a:cxn>
                  <a:cxn ang="0">
                    <a:pos x="56" y="104"/>
                  </a:cxn>
                  <a:cxn ang="0">
                    <a:pos x="74" y="119"/>
                  </a:cxn>
                  <a:cxn ang="0">
                    <a:pos x="103" y="140"/>
                  </a:cxn>
                  <a:cxn ang="0">
                    <a:pos x="104" y="129"/>
                  </a:cxn>
                  <a:cxn ang="0">
                    <a:pos x="109" y="123"/>
                  </a:cxn>
                  <a:cxn ang="0">
                    <a:pos x="111" y="123"/>
                  </a:cxn>
                  <a:cxn ang="0">
                    <a:pos x="119" y="119"/>
                  </a:cxn>
                  <a:cxn ang="0">
                    <a:pos x="134" y="116"/>
                  </a:cxn>
                  <a:cxn ang="0">
                    <a:pos x="141" y="117"/>
                  </a:cxn>
                  <a:cxn ang="0">
                    <a:pos x="143" y="117"/>
                  </a:cxn>
                  <a:cxn ang="0">
                    <a:pos x="143" y="114"/>
                  </a:cxn>
                  <a:cxn ang="0">
                    <a:pos x="155" y="113"/>
                  </a:cxn>
                  <a:cxn ang="0">
                    <a:pos x="159" y="113"/>
                  </a:cxn>
                  <a:cxn ang="0">
                    <a:pos x="164" y="114"/>
                  </a:cxn>
                  <a:cxn ang="0">
                    <a:pos x="177" y="122"/>
                  </a:cxn>
                  <a:cxn ang="0">
                    <a:pos x="177" y="128"/>
                  </a:cxn>
                  <a:cxn ang="0">
                    <a:pos x="178" y="135"/>
                  </a:cxn>
                  <a:cxn ang="0">
                    <a:pos x="181" y="144"/>
                  </a:cxn>
                  <a:cxn ang="0">
                    <a:pos x="185" y="113"/>
                  </a:cxn>
                  <a:cxn ang="0">
                    <a:pos x="189" y="104"/>
                  </a:cxn>
                  <a:cxn ang="0">
                    <a:pos x="204" y="91"/>
                  </a:cxn>
                  <a:cxn ang="0">
                    <a:pos x="212" y="84"/>
                  </a:cxn>
                  <a:cxn ang="0">
                    <a:pos x="219" y="81"/>
                  </a:cxn>
                  <a:cxn ang="0">
                    <a:pos x="215" y="79"/>
                  </a:cxn>
                  <a:cxn ang="0">
                    <a:pos x="219" y="74"/>
                  </a:cxn>
                  <a:cxn ang="0">
                    <a:pos x="217" y="71"/>
                  </a:cxn>
                  <a:cxn ang="0">
                    <a:pos x="219" y="65"/>
                  </a:cxn>
                  <a:cxn ang="0">
                    <a:pos x="221" y="66"/>
                  </a:cxn>
                  <a:cxn ang="0">
                    <a:pos x="225" y="58"/>
                  </a:cxn>
                  <a:cxn ang="0">
                    <a:pos x="224" y="66"/>
                  </a:cxn>
                  <a:cxn ang="0">
                    <a:pos x="221" y="71"/>
                  </a:cxn>
                  <a:cxn ang="0">
                    <a:pos x="227" y="57"/>
                  </a:cxn>
                  <a:cxn ang="0">
                    <a:pos x="236" y="53"/>
                  </a:cxn>
                  <a:cxn ang="0">
                    <a:pos x="244" y="48"/>
                  </a:cxn>
                  <a:cxn ang="0">
                    <a:pos x="251" y="46"/>
                  </a:cxn>
                  <a:cxn ang="0">
                    <a:pos x="257" y="43"/>
                  </a:cxn>
                  <a:cxn ang="0">
                    <a:pos x="255" y="39"/>
                  </a:cxn>
                  <a:cxn ang="0">
                    <a:pos x="266" y="29"/>
                  </a:cxn>
                </a:cxnLst>
                <a:rect l="0" t="0" r="r" b="b"/>
                <a:pathLst>
                  <a:path w="276" h="144">
                    <a:moveTo>
                      <a:pt x="276" y="27"/>
                    </a:moveTo>
                    <a:cubicBezTo>
                      <a:pt x="276" y="25"/>
                      <a:pt x="276" y="25"/>
                      <a:pt x="276" y="25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4" y="13"/>
                      <a:pt x="274" y="13"/>
                      <a:pt x="274" y="13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4" y="20"/>
                      <a:pt x="264" y="20"/>
                      <a:pt x="264" y="20"/>
                    </a:cubicBezTo>
                    <a:cubicBezTo>
                      <a:pt x="259" y="24"/>
                      <a:pt x="259" y="24"/>
                      <a:pt x="259" y="24"/>
                    </a:cubicBezTo>
                    <a:cubicBezTo>
                      <a:pt x="256" y="26"/>
                      <a:pt x="256" y="26"/>
                      <a:pt x="256" y="26"/>
                    </a:cubicBezTo>
                    <a:cubicBezTo>
                      <a:pt x="247" y="26"/>
                      <a:pt x="247" y="26"/>
                      <a:pt x="247" y="26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3" y="30"/>
                      <a:pt x="233" y="30"/>
                      <a:pt x="233" y="30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24" y="34"/>
                      <a:pt x="224" y="34"/>
                      <a:pt x="224" y="34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7" y="42"/>
                      <a:pt x="207" y="42"/>
                      <a:pt x="207" y="42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205" y="29"/>
                      <a:pt x="205" y="29"/>
                      <a:pt x="205" y="29"/>
                    </a:cubicBezTo>
                    <a:cubicBezTo>
                      <a:pt x="207" y="24"/>
                      <a:pt x="207" y="24"/>
                      <a:pt x="207" y="24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3" y="19"/>
                      <a:pt x="203" y="19"/>
                      <a:pt x="203" y="19"/>
                    </a:cubicBezTo>
                    <a:cubicBezTo>
                      <a:pt x="201" y="19"/>
                      <a:pt x="201" y="19"/>
                      <a:pt x="201" y="19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5" y="7"/>
                      <a:pt x="175" y="7"/>
                      <a:pt x="175" y="7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66" y="5"/>
                      <a:pt x="166" y="5"/>
                      <a:pt x="166" y="5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18" y="3"/>
                      <a:pt x="77" y="3"/>
                      <a:pt x="36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5" y="88"/>
                      <a:pt x="5" y="88"/>
                      <a:pt x="5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4" y="119"/>
                      <a:pt x="74" y="119"/>
                      <a:pt x="74" y="119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80" y="116"/>
                      <a:pt x="80" y="116"/>
                      <a:pt x="80" y="116"/>
                    </a:cubicBezTo>
                    <a:cubicBezTo>
                      <a:pt x="86" y="117"/>
                      <a:pt x="86" y="117"/>
                      <a:pt x="86" y="117"/>
                    </a:cubicBezTo>
                    <a:cubicBezTo>
                      <a:pt x="95" y="130"/>
                      <a:pt x="88" y="139"/>
                      <a:pt x="103" y="140"/>
                    </a:cubicBezTo>
                    <a:cubicBezTo>
                      <a:pt x="101" y="132"/>
                      <a:pt x="101" y="132"/>
                      <a:pt x="101" y="132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09" y="124"/>
                      <a:pt x="109" y="124"/>
                      <a:pt x="109" y="124"/>
                    </a:cubicBezTo>
                    <a:cubicBezTo>
                      <a:pt x="109" y="123"/>
                      <a:pt x="109" y="123"/>
                      <a:pt x="109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7" y="119"/>
                      <a:pt x="117" y="119"/>
                      <a:pt x="117" y="119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19" y="119"/>
                      <a:pt x="119" y="119"/>
                      <a:pt x="119" y="119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4" y="116"/>
                      <a:pt x="134" y="116"/>
                      <a:pt x="134" y="116"/>
                    </a:cubicBezTo>
                    <a:cubicBezTo>
                      <a:pt x="136" y="119"/>
                      <a:pt x="136" y="119"/>
                      <a:pt x="136" y="119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41" y="120"/>
                      <a:pt x="141" y="120"/>
                      <a:pt x="141" y="120"/>
                    </a:cubicBezTo>
                    <a:cubicBezTo>
                      <a:pt x="141" y="117"/>
                      <a:pt x="141" y="117"/>
                      <a:pt x="141" y="117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22"/>
                      <a:pt x="143" y="122"/>
                      <a:pt x="143" y="122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3" y="114"/>
                      <a:pt x="143" y="114"/>
                      <a:pt x="143" y="114"/>
                    </a:cubicBez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7" y="112"/>
                      <a:pt x="157" y="112"/>
                      <a:pt x="157" y="112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5"/>
                      <a:pt x="165" y="115"/>
                      <a:pt x="165" y="115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7"/>
                      <a:pt x="165" y="117"/>
                      <a:pt x="165" y="117"/>
                    </a:cubicBezTo>
                    <a:cubicBezTo>
                      <a:pt x="171" y="114"/>
                      <a:pt x="171" y="114"/>
                      <a:pt x="171" y="114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75" y="130"/>
                      <a:pt x="175" y="130"/>
                      <a:pt x="175" y="130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75" y="131"/>
                      <a:pt x="175" y="131"/>
                      <a:pt x="175" y="131"/>
                    </a:cubicBezTo>
                    <a:cubicBezTo>
                      <a:pt x="177" y="133"/>
                      <a:pt x="177" y="133"/>
                      <a:pt x="177" y="133"/>
                    </a:cubicBezTo>
                    <a:cubicBezTo>
                      <a:pt x="178" y="134"/>
                      <a:pt x="178" y="134"/>
                      <a:pt x="178" y="134"/>
                    </a:cubicBezTo>
                    <a:cubicBezTo>
                      <a:pt x="178" y="135"/>
                      <a:pt x="178" y="135"/>
                      <a:pt x="178" y="135"/>
                    </a:cubicBezTo>
                    <a:cubicBezTo>
                      <a:pt x="179" y="135"/>
                      <a:pt x="179" y="135"/>
                      <a:pt x="179" y="135"/>
                    </a:cubicBezTo>
                    <a:cubicBezTo>
                      <a:pt x="178" y="136"/>
                      <a:pt x="178" y="136"/>
                      <a:pt x="178" y="136"/>
                    </a:cubicBezTo>
                    <a:cubicBezTo>
                      <a:pt x="179" y="140"/>
                      <a:pt x="179" y="140"/>
                      <a:pt x="179" y="140"/>
                    </a:cubicBezTo>
                    <a:cubicBezTo>
                      <a:pt x="181" y="144"/>
                      <a:pt x="181" y="144"/>
                      <a:pt x="181" y="144"/>
                    </a:cubicBezTo>
                    <a:cubicBezTo>
                      <a:pt x="190" y="142"/>
                      <a:pt x="185" y="129"/>
                      <a:pt x="186" y="123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5" y="113"/>
                      <a:pt x="185" y="113"/>
                      <a:pt x="185" y="113"/>
                    </a:cubicBezTo>
                    <a:cubicBezTo>
                      <a:pt x="185" y="109"/>
                      <a:pt x="185" y="109"/>
                      <a:pt x="185" y="109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91" y="100"/>
                      <a:pt x="191" y="100"/>
                      <a:pt x="191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9" y="95"/>
                      <a:pt x="199" y="95"/>
                      <a:pt x="199" y="95"/>
                    </a:cubicBezTo>
                    <a:cubicBezTo>
                      <a:pt x="204" y="91"/>
                      <a:pt x="204" y="91"/>
                      <a:pt x="204" y="91"/>
                    </a:cubicBezTo>
                    <a:cubicBezTo>
                      <a:pt x="207" y="90"/>
                      <a:pt x="207" y="90"/>
                      <a:pt x="207" y="90"/>
                    </a:cubicBezTo>
                    <a:cubicBezTo>
                      <a:pt x="210" y="87"/>
                      <a:pt x="210" y="87"/>
                      <a:pt x="210" y="87"/>
                    </a:cubicBezTo>
                    <a:cubicBezTo>
                      <a:pt x="216" y="85"/>
                      <a:pt x="216" y="85"/>
                      <a:pt x="216" y="85"/>
                    </a:cubicBezTo>
                    <a:cubicBezTo>
                      <a:pt x="212" y="84"/>
                      <a:pt x="212" y="84"/>
                      <a:pt x="212" y="84"/>
                    </a:cubicBezTo>
                    <a:cubicBezTo>
                      <a:pt x="215" y="85"/>
                      <a:pt x="215" y="85"/>
                      <a:pt x="215" y="85"/>
                    </a:cubicBezTo>
                    <a:cubicBezTo>
                      <a:pt x="215" y="83"/>
                      <a:pt x="215" y="83"/>
                      <a:pt x="215" y="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15" y="79"/>
                      <a:pt x="215" y="79"/>
                      <a:pt x="215" y="79"/>
                    </a:cubicBezTo>
                    <a:cubicBezTo>
                      <a:pt x="221" y="79"/>
                      <a:pt x="221" y="79"/>
                      <a:pt x="221" y="79"/>
                    </a:cubicBezTo>
                    <a:cubicBezTo>
                      <a:pt x="221" y="75"/>
                      <a:pt x="221" y="75"/>
                      <a:pt x="221" y="75"/>
                    </a:cubicBezTo>
                    <a:cubicBezTo>
                      <a:pt x="221" y="80"/>
                      <a:pt x="221" y="80"/>
                      <a:pt x="221" y="80"/>
                    </a:cubicBezTo>
                    <a:cubicBezTo>
                      <a:pt x="219" y="74"/>
                      <a:pt x="219" y="74"/>
                      <a:pt x="219" y="74"/>
                    </a:cubicBezTo>
                    <a:cubicBezTo>
                      <a:pt x="217" y="73"/>
                      <a:pt x="217" y="73"/>
                      <a:pt x="217" y="73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9" y="73"/>
                      <a:pt x="219" y="73"/>
                      <a:pt x="219" y="73"/>
                    </a:cubicBezTo>
                    <a:cubicBezTo>
                      <a:pt x="217" y="71"/>
                      <a:pt x="217" y="71"/>
                      <a:pt x="217" y="71"/>
                    </a:cubicBezTo>
                    <a:cubicBezTo>
                      <a:pt x="219" y="71"/>
                      <a:pt x="219" y="71"/>
                      <a:pt x="219" y="71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5"/>
                      <a:pt x="216" y="65"/>
                      <a:pt x="216" y="65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21" y="66"/>
                      <a:pt x="221" y="66"/>
                      <a:pt x="221" y="66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58"/>
                      <a:pt x="225" y="58"/>
                      <a:pt x="225" y="58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3" y="64"/>
                      <a:pt x="223" y="64"/>
                      <a:pt x="223" y="64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23" y="67"/>
                      <a:pt x="223" y="67"/>
                      <a:pt x="223" y="67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71"/>
                      <a:pt x="221" y="71"/>
                      <a:pt x="221" y="71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58"/>
                      <a:pt x="227" y="58"/>
                      <a:pt x="227" y="58"/>
                    </a:cubicBezTo>
                    <a:cubicBezTo>
                      <a:pt x="229" y="56"/>
                      <a:pt x="229" y="56"/>
                      <a:pt x="229" y="56"/>
                    </a:cubicBezTo>
                    <a:cubicBezTo>
                      <a:pt x="227" y="57"/>
                      <a:pt x="227" y="57"/>
                      <a:pt x="227" y="57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6" y="53"/>
                      <a:pt x="236" y="53"/>
                      <a:pt x="236" y="53"/>
                    </a:cubicBezTo>
                    <a:cubicBezTo>
                      <a:pt x="238" y="48"/>
                      <a:pt x="238" y="48"/>
                      <a:pt x="238" y="48"/>
                    </a:cubicBezTo>
                    <a:cubicBezTo>
                      <a:pt x="237" y="51"/>
                      <a:pt x="237" y="51"/>
                      <a:pt x="237" y="5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9" y="47"/>
                      <a:pt x="249" y="47"/>
                      <a:pt x="249" y="47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1" y="46"/>
                      <a:pt x="251" y="46"/>
                      <a:pt x="251" y="46"/>
                    </a:cubicBezTo>
                    <a:cubicBezTo>
                      <a:pt x="253" y="47"/>
                      <a:pt x="253" y="47"/>
                      <a:pt x="253" y="47"/>
                    </a:cubicBezTo>
                    <a:cubicBezTo>
                      <a:pt x="254" y="47"/>
                      <a:pt x="254" y="47"/>
                      <a:pt x="254" y="47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7" y="43"/>
                      <a:pt x="257" y="43"/>
                      <a:pt x="257" y="43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4" y="44"/>
                      <a:pt x="254" y="44"/>
                      <a:pt x="254" y="44"/>
                    </a:cubicBezTo>
                    <a:cubicBezTo>
                      <a:pt x="255" y="40"/>
                      <a:pt x="255" y="40"/>
                      <a:pt x="255" y="40"/>
                    </a:cubicBezTo>
                    <a:cubicBezTo>
                      <a:pt x="255" y="39"/>
                      <a:pt x="255" y="39"/>
                      <a:pt x="255" y="39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70" y="29"/>
                      <a:pt x="270" y="29"/>
                      <a:pt x="270" y="29"/>
                    </a:cubicBezTo>
                    <a:cubicBezTo>
                      <a:pt x="276" y="27"/>
                      <a:pt x="276" y="27"/>
                      <a:pt x="276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2" name="Freeform 837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3" name="Freeform 838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4" name="Freeform 839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5" name="Freeform 840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6" name="Freeform 841"/>
              <p:cNvSpPr>
                <a:spLocks/>
              </p:cNvSpPr>
              <p:nvPr/>
            </p:nvSpPr>
            <p:spPr bwMode="auto">
              <a:xfrm>
                <a:off x="820749" y="2399450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7" name="Freeform 842"/>
              <p:cNvSpPr>
                <a:spLocks/>
              </p:cNvSpPr>
              <p:nvPr/>
            </p:nvSpPr>
            <p:spPr bwMode="auto">
              <a:xfrm>
                <a:off x="820749" y="2399450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8" name="Freeform 843"/>
              <p:cNvSpPr>
                <a:spLocks/>
              </p:cNvSpPr>
              <p:nvPr/>
            </p:nvSpPr>
            <p:spPr bwMode="auto">
              <a:xfrm>
                <a:off x="820749" y="2399450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19" name="Freeform 844"/>
              <p:cNvSpPr>
                <a:spLocks/>
              </p:cNvSpPr>
              <p:nvPr/>
            </p:nvSpPr>
            <p:spPr bwMode="auto">
              <a:xfrm>
                <a:off x="820749" y="2399450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0" name="Freeform 845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1" name="Freeform 846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2" name="Freeform 847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3" name="Freeform 848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4" name="Freeform 849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5" name="Freeform 850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6" name="Freeform 851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7" name="Freeform 852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8" name="Freeform 853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29" name="Freeform 854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0" name="Freeform 855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1" name="Freeform 856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2" name="Freeform 857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3" name="Freeform 858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4" name="Freeform 859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5" name="Freeform 860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6" name="Freeform 861"/>
              <p:cNvSpPr>
                <a:spLocks/>
              </p:cNvSpPr>
              <p:nvPr/>
            </p:nvSpPr>
            <p:spPr bwMode="auto">
              <a:xfrm>
                <a:off x="1395430" y="2566140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7" name="Freeform 862"/>
              <p:cNvSpPr>
                <a:spLocks/>
              </p:cNvSpPr>
              <p:nvPr/>
            </p:nvSpPr>
            <p:spPr bwMode="auto">
              <a:xfrm>
                <a:off x="1395430" y="2566140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8" name="Freeform 863"/>
              <p:cNvSpPr>
                <a:spLocks/>
              </p:cNvSpPr>
              <p:nvPr/>
            </p:nvSpPr>
            <p:spPr bwMode="auto">
              <a:xfrm>
                <a:off x="1395430" y="2566140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39" name="Freeform 864"/>
              <p:cNvSpPr>
                <a:spLocks/>
              </p:cNvSpPr>
              <p:nvPr/>
            </p:nvSpPr>
            <p:spPr bwMode="auto">
              <a:xfrm>
                <a:off x="1395430" y="2566140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0" name="Freeform 865"/>
              <p:cNvSpPr>
                <a:spLocks/>
              </p:cNvSpPr>
              <p:nvPr/>
            </p:nvSpPr>
            <p:spPr bwMode="auto">
              <a:xfrm>
                <a:off x="1431942" y="2582015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1" name="Freeform 866"/>
              <p:cNvSpPr>
                <a:spLocks/>
              </p:cNvSpPr>
              <p:nvPr/>
            </p:nvSpPr>
            <p:spPr bwMode="auto">
              <a:xfrm>
                <a:off x="1431942" y="2582015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2" name="Freeform 867"/>
              <p:cNvSpPr>
                <a:spLocks/>
              </p:cNvSpPr>
              <p:nvPr/>
            </p:nvSpPr>
            <p:spPr bwMode="auto">
              <a:xfrm>
                <a:off x="1431942" y="2582015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3" name="Freeform 868"/>
              <p:cNvSpPr>
                <a:spLocks/>
              </p:cNvSpPr>
              <p:nvPr/>
            </p:nvSpPr>
            <p:spPr bwMode="auto">
              <a:xfrm>
                <a:off x="1431942" y="2582015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4" name="Freeform 869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5" name="Freeform 870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6" name="Freeform 871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7" name="Freeform 872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8" name="Freeform 873"/>
              <p:cNvSpPr>
                <a:spLocks/>
              </p:cNvSpPr>
              <p:nvPr/>
            </p:nvSpPr>
            <p:spPr bwMode="auto">
              <a:xfrm>
                <a:off x="688984" y="2267686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49" name="Freeform 874"/>
              <p:cNvSpPr>
                <a:spLocks/>
              </p:cNvSpPr>
              <p:nvPr/>
            </p:nvSpPr>
            <p:spPr bwMode="auto">
              <a:xfrm>
                <a:off x="688984" y="2267686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0" name="Freeform 875"/>
              <p:cNvSpPr>
                <a:spLocks/>
              </p:cNvSpPr>
              <p:nvPr/>
            </p:nvSpPr>
            <p:spPr bwMode="auto">
              <a:xfrm>
                <a:off x="688984" y="2267686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1" name="Freeform 876"/>
              <p:cNvSpPr>
                <a:spLocks/>
              </p:cNvSpPr>
              <p:nvPr/>
            </p:nvSpPr>
            <p:spPr bwMode="auto">
              <a:xfrm>
                <a:off x="688984" y="2267686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2" name="Freeform 877"/>
              <p:cNvSpPr>
                <a:spLocks/>
              </p:cNvSpPr>
              <p:nvPr/>
            </p:nvSpPr>
            <p:spPr bwMode="auto">
              <a:xfrm>
                <a:off x="679459" y="2199423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3" name="Freeform 878"/>
              <p:cNvSpPr>
                <a:spLocks/>
              </p:cNvSpPr>
              <p:nvPr/>
            </p:nvSpPr>
            <p:spPr bwMode="auto">
              <a:xfrm>
                <a:off x="679459" y="2199423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4" name="Freeform 879"/>
              <p:cNvSpPr>
                <a:spLocks/>
              </p:cNvSpPr>
              <p:nvPr/>
            </p:nvSpPr>
            <p:spPr bwMode="auto">
              <a:xfrm>
                <a:off x="679459" y="2199423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5" name="Freeform 880"/>
              <p:cNvSpPr>
                <a:spLocks/>
              </p:cNvSpPr>
              <p:nvPr/>
            </p:nvSpPr>
            <p:spPr bwMode="auto">
              <a:xfrm>
                <a:off x="679459" y="2199423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6" name="Oval 881"/>
              <p:cNvSpPr>
                <a:spLocks noChangeArrowheads="1"/>
              </p:cNvSpPr>
              <p:nvPr/>
            </p:nvSpPr>
            <p:spPr bwMode="auto">
              <a:xfrm>
                <a:off x="4529191" y="4002848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7" name="Oval 882"/>
              <p:cNvSpPr>
                <a:spLocks noChangeArrowheads="1"/>
              </p:cNvSpPr>
              <p:nvPr/>
            </p:nvSpPr>
            <p:spPr bwMode="auto">
              <a:xfrm>
                <a:off x="4529191" y="4002848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8" name="Oval 883"/>
              <p:cNvSpPr>
                <a:spLocks noChangeArrowheads="1"/>
              </p:cNvSpPr>
              <p:nvPr/>
            </p:nvSpPr>
            <p:spPr bwMode="auto">
              <a:xfrm>
                <a:off x="4964172" y="5234768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59" name="Oval 884"/>
              <p:cNvSpPr>
                <a:spLocks noChangeArrowheads="1"/>
              </p:cNvSpPr>
              <p:nvPr/>
            </p:nvSpPr>
            <p:spPr bwMode="auto">
              <a:xfrm>
                <a:off x="4964172" y="5234768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0" name="Oval 885"/>
              <p:cNvSpPr>
                <a:spLocks noChangeArrowheads="1"/>
              </p:cNvSpPr>
              <p:nvPr/>
            </p:nvSpPr>
            <p:spPr bwMode="auto">
              <a:xfrm>
                <a:off x="5053073" y="5128402"/>
                <a:ext cx="82550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1" name="Oval 886"/>
              <p:cNvSpPr>
                <a:spLocks noChangeArrowheads="1"/>
              </p:cNvSpPr>
              <p:nvPr/>
            </p:nvSpPr>
            <p:spPr bwMode="auto">
              <a:xfrm>
                <a:off x="5053073" y="5128402"/>
                <a:ext cx="82550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2" name="Oval 887"/>
              <p:cNvSpPr>
                <a:spLocks noChangeArrowheads="1"/>
              </p:cNvSpPr>
              <p:nvPr/>
            </p:nvSpPr>
            <p:spPr bwMode="auto">
              <a:xfrm>
                <a:off x="4895909" y="5171267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3" name="Oval 888"/>
              <p:cNvSpPr>
                <a:spLocks noChangeArrowheads="1"/>
              </p:cNvSpPr>
              <p:nvPr/>
            </p:nvSpPr>
            <p:spPr bwMode="auto">
              <a:xfrm>
                <a:off x="4895909" y="5171267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4" name="Oval 889"/>
              <p:cNvSpPr>
                <a:spLocks noChangeArrowheads="1"/>
              </p:cNvSpPr>
              <p:nvPr/>
            </p:nvSpPr>
            <p:spPr bwMode="auto">
              <a:xfrm>
                <a:off x="4832408" y="3839334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5" name="Oval 890"/>
              <p:cNvSpPr>
                <a:spLocks noChangeArrowheads="1"/>
              </p:cNvSpPr>
              <p:nvPr/>
            </p:nvSpPr>
            <p:spPr bwMode="auto">
              <a:xfrm>
                <a:off x="4832408" y="3839334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6" name="Oval 891"/>
              <p:cNvSpPr>
                <a:spLocks noChangeArrowheads="1"/>
              </p:cNvSpPr>
              <p:nvPr/>
            </p:nvSpPr>
            <p:spPr bwMode="auto">
              <a:xfrm>
                <a:off x="6370713" y="3891722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7" name="Oval 892"/>
              <p:cNvSpPr>
                <a:spLocks noChangeArrowheads="1"/>
              </p:cNvSpPr>
              <p:nvPr/>
            </p:nvSpPr>
            <p:spPr bwMode="auto">
              <a:xfrm>
                <a:off x="6370713" y="3891722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8" name="Oval 893"/>
              <p:cNvSpPr>
                <a:spLocks noChangeArrowheads="1"/>
              </p:cNvSpPr>
              <p:nvPr/>
            </p:nvSpPr>
            <p:spPr bwMode="auto">
              <a:xfrm>
                <a:off x="6370713" y="3756782"/>
                <a:ext cx="8413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69" name="Oval 894"/>
              <p:cNvSpPr>
                <a:spLocks noChangeArrowheads="1"/>
              </p:cNvSpPr>
              <p:nvPr/>
            </p:nvSpPr>
            <p:spPr bwMode="auto">
              <a:xfrm>
                <a:off x="6370713" y="3756782"/>
                <a:ext cx="8413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0" name="Oval 895"/>
              <p:cNvSpPr>
                <a:spLocks noChangeArrowheads="1"/>
              </p:cNvSpPr>
              <p:nvPr/>
            </p:nvSpPr>
            <p:spPr bwMode="auto">
              <a:xfrm>
                <a:off x="6281813" y="3447216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1" name="Oval 896"/>
              <p:cNvSpPr>
                <a:spLocks noChangeArrowheads="1"/>
              </p:cNvSpPr>
              <p:nvPr/>
            </p:nvSpPr>
            <p:spPr bwMode="auto">
              <a:xfrm>
                <a:off x="6281813" y="3447216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2" name="Oval 897"/>
              <p:cNvSpPr>
                <a:spLocks noChangeArrowheads="1"/>
              </p:cNvSpPr>
              <p:nvPr/>
            </p:nvSpPr>
            <p:spPr bwMode="auto">
              <a:xfrm>
                <a:off x="6219898" y="3305926"/>
                <a:ext cx="82550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3" name="Oval 898"/>
              <p:cNvSpPr>
                <a:spLocks noChangeArrowheads="1"/>
              </p:cNvSpPr>
              <p:nvPr/>
            </p:nvSpPr>
            <p:spPr bwMode="auto">
              <a:xfrm>
                <a:off x="6219898" y="3305926"/>
                <a:ext cx="82550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4" name="Oval 899"/>
              <p:cNvSpPr>
                <a:spLocks noChangeArrowheads="1"/>
              </p:cNvSpPr>
              <p:nvPr/>
            </p:nvSpPr>
            <p:spPr bwMode="auto">
              <a:xfrm>
                <a:off x="5465827" y="3577393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5" name="Oval 900"/>
              <p:cNvSpPr>
                <a:spLocks noChangeArrowheads="1"/>
              </p:cNvSpPr>
              <p:nvPr/>
            </p:nvSpPr>
            <p:spPr bwMode="auto">
              <a:xfrm>
                <a:off x="5465827" y="3577393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6" name="Oval 901"/>
              <p:cNvSpPr>
                <a:spLocks noChangeArrowheads="1"/>
              </p:cNvSpPr>
              <p:nvPr/>
            </p:nvSpPr>
            <p:spPr bwMode="auto">
              <a:xfrm>
                <a:off x="4362502" y="2932858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7" name="Oval 902"/>
              <p:cNvSpPr>
                <a:spLocks noChangeArrowheads="1"/>
              </p:cNvSpPr>
              <p:nvPr/>
            </p:nvSpPr>
            <p:spPr bwMode="auto">
              <a:xfrm>
                <a:off x="4362502" y="2932858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8" name="Oval 903"/>
              <p:cNvSpPr>
                <a:spLocks noChangeArrowheads="1"/>
              </p:cNvSpPr>
              <p:nvPr/>
            </p:nvSpPr>
            <p:spPr bwMode="auto">
              <a:xfrm>
                <a:off x="4372028" y="2870945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79" name="Oval 904"/>
              <p:cNvSpPr>
                <a:spLocks noChangeArrowheads="1"/>
              </p:cNvSpPr>
              <p:nvPr/>
            </p:nvSpPr>
            <p:spPr bwMode="auto">
              <a:xfrm>
                <a:off x="4372028" y="2870945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0" name="Oval 905"/>
              <p:cNvSpPr>
                <a:spLocks noChangeArrowheads="1"/>
              </p:cNvSpPr>
              <p:nvPr/>
            </p:nvSpPr>
            <p:spPr bwMode="auto">
              <a:xfrm>
                <a:off x="5224525" y="2529627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1" name="Oval 906"/>
              <p:cNvSpPr>
                <a:spLocks noChangeArrowheads="1"/>
              </p:cNvSpPr>
              <p:nvPr/>
            </p:nvSpPr>
            <p:spPr bwMode="auto">
              <a:xfrm>
                <a:off x="5224525" y="2529627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2" name="Oval 907"/>
              <p:cNvSpPr>
                <a:spLocks noChangeArrowheads="1"/>
              </p:cNvSpPr>
              <p:nvPr/>
            </p:nvSpPr>
            <p:spPr bwMode="auto">
              <a:xfrm>
                <a:off x="5224525" y="2529627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3" name="Oval 908"/>
              <p:cNvSpPr>
                <a:spLocks noChangeArrowheads="1"/>
              </p:cNvSpPr>
              <p:nvPr/>
            </p:nvSpPr>
            <p:spPr bwMode="auto">
              <a:xfrm>
                <a:off x="5224525" y="2529627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4" name="Oval 909"/>
              <p:cNvSpPr>
                <a:spLocks noChangeArrowheads="1"/>
              </p:cNvSpPr>
              <p:nvPr/>
            </p:nvSpPr>
            <p:spPr bwMode="auto">
              <a:xfrm>
                <a:off x="5183250" y="2367700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5" name="Oval 910"/>
              <p:cNvSpPr>
                <a:spLocks noChangeArrowheads="1"/>
              </p:cNvSpPr>
              <p:nvPr/>
            </p:nvSpPr>
            <p:spPr bwMode="auto">
              <a:xfrm>
                <a:off x="5183250" y="2367700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6" name="Oval 911"/>
              <p:cNvSpPr>
                <a:spLocks noChangeArrowheads="1"/>
              </p:cNvSpPr>
              <p:nvPr/>
            </p:nvSpPr>
            <p:spPr bwMode="auto">
              <a:xfrm>
                <a:off x="5183250" y="2367700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7" name="Oval 912"/>
              <p:cNvSpPr>
                <a:spLocks noChangeArrowheads="1"/>
              </p:cNvSpPr>
              <p:nvPr/>
            </p:nvSpPr>
            <p:spPr bwMode="auto">
              <a:xfrm>
                <a:off x="5183250" y="2367700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8" name="Oval 913"/>
              <p:cNvSpPr>
                <a:spLocks noChangeArrowheads="1"/>
              </p:cNvSpPr>
              <p:nvPr/>
            </p:nvSpPr>
            <p:spPr bwMode="auto">
              <a:xfrm>
                <a:off x="5224525" y="2529627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89" name="Oval 914"/>
              <p:cNvSpPr>
                <a:spLocks noChangeArrowheads="1"/>
              </p:cNvSpPr>
              <p:nvPr/>
            </p:nvSpPr>
            <p:spPr bwMode="auto">
              <a:xfrm>
                <a:off x="5224525" y="2529627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0" name="Oval 915"/>
              <p:cNvSpPr>
                <a:spLocks noChangeArrowheads="1"/>
              </p:cNvSpPr>
              <p:nvPr/>
            </p:nvSpPr>
            <p:spPr bwMode="auto">
              <a:xfrm>
                <a:off x="5183250" y="2367700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1" name="Oval 916"/>
              <p:cNvSpPr>
                <a:spLocks noChangeArrowheads="1"/>
              </p:cNvSpPr>
              <p:nvPr/>
            </p:nvSpPr>
            <p:spPr bwMode="auto">
              <a:xfrm>
                <a:off x="5183250" y="2367700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2" name="Oval 917"/>
              <p:cNvSpPr>
                <a:spLocks noChangeArrowheads="1"/>
              </p:cNvSpPr>
              <p:nvPr/>
            </p:nvSpPr>
            <p:spPr bwMode="auto">
              <a:xfrm>
                <a:off x="5780156" y="2424851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3" name="Oval 918"/>
              <p:cNvSpPr>
                <a:spLocks noChangeArrowheads="1"/>
              </p:cNvSpPr>
              <p:nvPr/>
            </p:nvSpPr>
            <p:spPr bwMode="auto">
              <a:xfrm>
                <a:off x="5780156" y="2424851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4" name="Oval 919"/>
              <p:cNvSpPr>
                <a:spLocks noChangeArrowheads="1"/>
              </p:cNvSpPr>
              <p:nvPr/>
            </p:nvSpPr>
            <p:spPr bwMode="auto">
              <a:xfrm>
                <a:off x="1452580" y="2828082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5" name="Oval 920"/>
              <p:cNvSpPr>
                <a:spLocks noChangeArrowheads="1"/>
              </p:cNvSpPr>
              <p:nvPr/>
            </p:nvSpPr>
            <p:spPr bwMode="auto">
              <a:xfrm>
                <a:off x="1452580" y="2828082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6" name="Oval 921"/>
              <p:cNvSpPr>
                <a:spLocks noChangeArrowheads="1"/>
              </p:cNvSpPr>
              <p:nvPr/>
            </p:nvSpPr>
            <p:spPr bwMode="auto">
              <a:xfrm>
                <a:off x="1322405" y="3043985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7" name="Oval 922"/>
              <p:cNvSpPr>
                <a:spLocks noChangeArrowheads="1"/>
              </p:cNvSpPr>
              <p:nvPr/>
            </p:nvSpPr>
            <p:spPr bwMode="auto">
              <a:xfrm>
                <a:off x="1322405" y="3043985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8" name="Oval 923"/>
              <p:cNvSpPr>
                <a:spLocks noChangeArrowheads="1"/>
              </p:cNvSpPr>
              <p:nvPr/>
            </p:nvSpPr>
            <p:spPr bwMode="auto">
              <a:xfrm>
                <a:off x="2520981" y="2948734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999" name="Oval 924"/>
              <p:cNvSpPr>
                <a:spLocks noChangeArrowheads="1"/>
              </p:cNvSpPr>
              <p:nvPr/>
            </p:nvSpPr>
            <p:spPr bwMode="auto">
              <a:xfrm>
                <a:off x="2520981" y="2948734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0" name="Oval 925"/>
              <p:cNvSpPr>
                <a:spLocks noChangeArrowheads="1"/>
              </p:cNvSpPr>
              <p:nvPr/>
            </p:nvSpPr>
            <p:spPr bwMode="auto">
              <a:xfrm>
                <a:off x="1746272" y="3337676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1" name="Oval 926"/>
              <p:cNvSpPr>
                <a:spLocks noChangeArrowheads="1"/>
              </p:cNvSpPr>
              <p:nvPr/>
            </p:nvSpPr>
            <p:spPr bwMode="auto">
              <a:xfrm>
                <a:off x="1746272" y="3337676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2" name="Oval 927"/>
              <p:cNvSpPr>
                <a:spLocks noChangeArrowheads="1"/>
              </p:cNvSpPr>
              <p:nvPr/>
            </p:nvSpPr>
            <p:spPr bwMode="auto">
              <a:xfrm>
                <a:off x="2290791" y="2902696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3" name="Oval 928"/>
              <p:cNvSpPr>
                <a:spLocks noChangeArrowheads="1"/>
              </p:cNvSpPr>
              <p:nvPr/>
            </p:nvSpPr>
            <p:spPr bwMode="auto">
              <a:xfrm>
                <a:off x="2290791" y="2902696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4" name="Oval 929"/>
              <p:cNvSpPr>
                <a:spLocks noChangeArrowheads="1"/>
              </p:cNvSpPr>
              <p:nvPr/>
            </p:nvSpPr>
            <p:spPr bwMode="auto">
              <a:xfrm>
                <a:off x="2227290" y="3012234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5" name="Oval 930"/>
              <p:cNvSpPr>
                <a:spLocks noChangeArrowheads="1"/>
              </p:cNvSpPr>
              <p:nvPr/>
            </p:nvSpPr>
            <p:spPr bwMode="auto">
              <a:xfrm>
                <a:off x="2227290" y="3012234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6" name="Oval 931"/>
              <p:cNvSpPr>
                <a:spLocks noChangeArrowheads="1"/>
              </p:cNvSpPr>
              <p:nvPr/>
            </p:nvSpPr>
            <p:spPr bwMode="auto">
              <a:xfrm>
                <a:off x="2159026" y="3101135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7" name="Oval 932"/>
              <p:cNvSpPr>
                <a:spLocks noChangeArrowheads="1"/>
              </p:cNvSpPr>
              <p:nvPr/>
            </p:nvSpPr>
            <p:spPr bwMode="auto">
              <a:xfrm>
                <a:off x="2159026" y="3101135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8" name="Oval 933"/>
              <p:cNvSpPr>
                <a:spLocks noChangeArrowheads="1"/>
              </p:cNvSpPr>
              <p:nvPr/>
            </p:nvSpPr>
            <p:spPr bwMode="auto">
              <a:xfrm>
                <a:off x="1965350" y="3153524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09" name="Oval 934"/>
              <p:cNvSpPr>
                <a:spLocks noChangeArrowheads="1"/>
              </p:cNvSpPr>
              <p:nvPr/>
            </p:nvSpPr>
            <p:spPr bwMode="auto">
              <a:xfrm>
                <a:off x="1965350" y="3153524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0" name="Oval 935"/>
              <p:cNvSpPr>
                <a:spLocks noChangeArrowheads="1"/>
              </p:cNvSpPr>
              <p:nvPr/>
            </p:nvSpPr>
            <p:spPr bwMode="auto">
              <a:xfrm>
                <a:off x="2044725" y="2859833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1" name="Oval 936"/>
              <p:cNvSpPr>
                <a:spLocks noChangeArrowheads="1"/>
              </p:cNvSpPr>
              <p:nvPr/>
            </p:nvSpPr>
            <p:spPr bwMode="auto">
              <a:xfrm>
                <a:off x="2044725" y="2859833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2" name="Oval 937"/>
              <p:cNvSpPr>
                <a:spLocks noChangeArrowheads="1"/>
              </p:cNvSpPr>
              <p:nvPr/>
            </p:nvSpPr>
            <p:spPr bwMode="auto">
              <a:xfrm>
                <a:off x="2033613" y="3231312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3" name="Oval 938"/>
              <p:cNvSpPr>
                <a:spLocks noChangeArrowheads="1"/>
              </p:cNvSpPr>
              <p:nvPr/>
            </p:nvSpPr>
            <p:spPr bwMode="auto">
              <a:xfrm>
                <a:off x="2033613" y="3231312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4" name="Oval 939"/>
              <p:cNvSpPr>
                <a:spLocks noChangeArrowheads="1"/>
              </p:cNvSpPr>
              <p:nvPr/>
            </p:nvSpPr>
            <p:spPr bwMode="auto">
              <a:xfrm>
                <a:off x="2840072" y="5353832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5" name="Oval 940"/>
              <p:cNvSpPr>
                <a:spLocks noChangeArrowheads="1"/>
              </p:cNvSpPr>
              <p:nvPr/>
            </p:nvSpPr>
            <p:spPr bwMode="auto">
              <a:xfrm>
                <a:off x="2840072" y="5353832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6" name="Oval 941"/>
              <p:cNvSpPr>
                <a:spLocks noChangeArrowheads="1"/>
              </p:cNvSpPr>
              <p:nvPr/>
            </p:nvSpPr>
            <p:spPr bwMode="auto">
              <a:xfrm>
                <a:off x="2671796" y="5171267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7" name="Oval 942"/>
              <p:cNvSpPr>
                <a:spLocks noChangeArrowheads="1"/>
              </p:cNvSpPr>
              <p:nvPr/>
            </p:nvSpPr>
            <p:spPr bwMode="auto">
              <a:xfrm>
                <a:off x="2671796" y="5171267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8" name="Oval 943"/>
              <p:cNvSpPr>
                <a:spLocks noChangeArrowheads="1"/>
              </p:cNvSpPr>
              <p:nvPr/>
            </p:nvSpPr>
            <p:spPr bwMode="auto">
              <a:xfrm>
                <a:off x="2598769" y="5312556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19" name="Oval 944"/>
              <p:cNvSpPr>
                <a:spLocks noChangeArrowheads="1"/>
              </p:cNvSpPr>
              <p:nvPr/>
            </p:nvSpPr>
            <p:spPr bwMode="auto">
              <a:xfrm>
                <a:off x="2598769" y="5312556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0" name="Oval 945"/>
              <p:cNvSpPr>
                <a:spLocks noChangeArrowheads="1"/>
              </p:cNvSpPr>
              <p:nvPr/>
            </p:nvSpPr>
            <p:spPr bwMode="auto">
              <a:xfrm>
                <a:off x="2782921" y="5234768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1" name="Oval 946"/>
              <p:cNvSpPr>
                <a:spLocks noChangeArrowheads="1"/>
              </p:cNvSpPr>
              <p:nvPr/>
            </p:nvSpPr>
            <p:spPr bwMode="auto">
              <a:xfrm>
                <a:off x="2782921" y="5234768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2" name="Oval 947"/>
              <p:cNvSpPr>
                <a:spLocks noChangeArrowheads="1"/>
              </p:cNvSpPr>
              <p:nvPr/>
            </p:nvSpPr>
            <p:spPr bwMode="auto">
              <a:xfrm>
                <a:off x="2379691" y="4191765"/>
                <a:ext cx="7778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3" name="Oval 948"/>
              <p:cNvSpPr>
                <a:spLocks noChangeArrowheads="1"/>
              </p:cNvSpPr>
              <p:nvPr/>
            </p:nvSpPr>
            <p:spPr bwMode="auto">
              <a:xfrm>
                <a:off x="2379691" y="4191765"/>
                <a:ext cx="7778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4" name="Oval 949"/>
              <p:cNvSpPr>
                <a:spLocks noChangeArrowheads="1"/>
              </p:cNvSpPr>
              <p:nvPr/>
            </p:nvSpPr>
            <p:spPr bwMode="auto">
              <a:xfrm>
                <a:off x="2316191" y="4060000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5" name="Oval 950"/>
              <p:cNvSpPr>
                <a:spLocks noChangeArrowheads="1"/>
              </p:cNvSpPr>
              <p:nvPr/>
            </p:nvSpPr>
            <p:spPr bwMode="auto">
              <a:xfrm>
                <a:off x="2316191" y="4060000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6" name="Oval 951"/>
              <p:cNvSpPr>
                <a:spLocks noChangeArrowheads="1"/>
              </p:cNvSpPr>
              <p:nvPr/>
            </p:nvSpPr>
            <p:spPr bwMode="auto">
              <a:xfrm>
                <a:off x="2316191" y="4253678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7" name="Oval 952"/>
              <p:cNvSpPr>
                <a:spLocks noChangeArrowheads="1"/>
              </p:cNvSpPr>
              <p:nvPr/>
            </p:nvSpPr>
            <p:spPr bwMode="auto">
              <a:xfrm>
                <a:off x="2316191" y="4253678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8" name="Oval 953"/>
              <p:cNvSpPr>
                <a:spLocks noChangeArrowheads="1"/>
              </p:cNvSpPr>
              <p:nvPr/>
            </p:nvSpPr>
            <p:spPr bwMode="auto">
              <a:xfrm>
                <a:off x="2316191" y="4160014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29" name="Oval 954"/>
              <p:cNvSpPr>
                <a:spLocks noChangeArrowheads="1"/>
              </p:cNvSpPr>
              <p:nvPr/>
            </p:nvSpPr>
            <p:spPr bwMode="auto">
              <a:xfrm>
                <a:off x="2316191" y="4160014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0" name="Oval 955"/>
              <p:cNvSpPr>
                <a:spLocks noChangeArrowheads="1"/>
              </p:cNvSpPr>
              <p:nvPr/>
            </p:nvSpPr>
            <p:spPr bwMode="auto">
              <a:xfrm>
                <a:off x="2552731" y="4768035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1" name="Oval 956"/>
              <p:cNvSpPr>
                <a:spLocks noChangeArrowheads="1"/>
              </p:cNvSpPr>
              <p:nvPr/>
            </p:nvSpPr>
            <p:spPr bwMode="auto">
              <a:xfrm>
                <a:off x="2552731" y="4768035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2" name="Oval 957"/>
              <p:cNvSpPr>
                <a:spLocks noChangeArrowheads="1"/>
              </p:cNvSpPr>
              <p:nvPr/>
            </p:nvSpPr>
            <p:spPr bwMode="auto">
              <a:xfrm>
                <a:off x="2630519" y="4898212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3" name="Oval 958"/>
              <p:cNvSpPr>
                <a:spLocks noChangeArrowheads="1"/>
              </p:cNvSpPr>
              <p:nvPr/>
            </p:nvSpPr>
            <p:spPr bwMode="auto">
              <a:xfrm>
                <a:off x="2630519" y="4898212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4" name="Oval 959"/>
              <p:cNvSpPr>
                <a:spLocks noChangeArrowheads="1"/>
              </p:cNvSpPr>
              <p:nvPr/>
            </p:nvSpPr>
            <p:spPr bwMode="auto">
              <a:xfrm>
                <a:off x="3075025" y="4856937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5" name="Oval 960"/>
              <p:cNvSpPr>
                <a:spLocks noChangeArrowheads="1"/>
              </p:cNvSpPr>
              <p:nvPr/>
            </p:nvSpPr>
            <p:spPr bwMode="auto">
              <a:xfrm>
                <a:off x="3075025" y="4856937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6" name="Oval 961"/>
              <p:cNvSpPr>
                <a:spLocks noChangeArrowheads="1"/>
              </p:cNvSpPr>
              <p:nvPr/>
            </p:nvSpPr>
            <p:spPr bwMode="auto">
              <a:xfrm>
                <a:off x="3013111" y="4679134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7" name="Oval 962"/>
              <p:cNvSpPr>
                <a:spLocks noChangeArrowheads="1"/>
              </p:cNvSpPr>
              <p:nvPr/>
            </p:nvSpPr>
            <p:spPr bwMode="auto">
              <a:xfrm>
                <a:off x="3013111" y="4679134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8" name="Oval 963"/>
              <p:cNvSpPr>
                <a:spLocks noChangeArrowheads="1"/>
              </p:cNvSpPr>
              <p:nvPr/>
            </p:nvSpPr>
            <p:spPr bwMode="auto">
              <a:xfrm>
                <a:off x="3022636" y="5191905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39" name="Oval 964"/>
              <p:cNvSpPr>
                <a:spLocks noChangeArrowheads="1"/>
              </p:cNvSpPr>
              <p:nvPr/>
            </p:nvSpPr>
            <p:spPr bwMode="auto">
              <a:xfrm>
                <a:off x="3022636" y="5191905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0" name="Oval 965"/>
              <p:cNvSpPr>
                <a:spLocks noChangeArrowheads="1"/>
              </p:cNvSpPr>
              <p:nvPr/>
            </p:nvSpPr>
            <p:spPr bwMode="auto">
              <a:xfrm>
                <a:off x="3325853" y="4536258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1" name="Oval 966"/>
              <p:cNvSpPr>
                <a:spLocks noChangeArrowheads="1"/>
              </p:cNvSpPr>
              <p:nvPr/>
            </p:nvSpPr>
            <p:spPr bwMode="auto">
              <a:xfrm>
                <a:off x="3325853" y="4536258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2" name="Oval 967"/>
              <p:cNvSpPr>
                <a:spLocks noChangeArrowheads="1"/>
              </p:cNvSpPr>
              <p:nvPr/>
            </p:nvSpPr>
            <p:spPr bwMode="auto">
              <a:xfrm>
                <a:off x="3033749" y="5128402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3" name="Oval 968"/>
              <p:cNvSpPr>
                <a:spLocks noChangeArrowheads="1"/>
              </p:cNvSpPr>
              <p:nvPr/>
            </p:nvSpPr>
            <p:spPr bwMode="auto">
              <a:xfrm>
                <a:off x="3033749" y="5128402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4" name="Oval 969"/>
              <p:cNvSpPr>
                <a:spLocks noChangeArrowheads="1"/>
              </p:cNvSpPr>
              <p:nvPr/>
            </p:nvSpPr>
            <p:spPr bwMode="auto">
              <a:xfrm>
                <a:off x="3263939" y="4715647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5" name="Oval 970"/>
              <p:cNvSpPr>
                <a:spLocks noChangeArrowheads="1"/>
              </p:cNvSpPr>
              <p:nvPr/>
            </p:nvSpPr>
            <p:spPr bwMode="auto">
              <a:xfrm>
                <a:off x="3263939" y="4715647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6" name="Oval 971"/>
              <p:cNvSpPr>
                <a:spLocks noChangeArrowheads="1"/>
              </p:cNvSpPr>
              <p:nvPr/>
            </p:nvSpPr>
            <p:spPr bwMode="auto">
              <a:xfrm>
                <a:off x="3232189" y="4918850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7" name="Oval 972"/>
              <p:cNvSpPr>
                <a:spLocks noChangeArrowheads="1"/>
              </p:cNvSpPr>
              <p:nvPr/>
            </p:nvSpPr>
            <p:spPr bwMode="auto">
              <a:xfrm>
                <a:off x="3232189" y="4918850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8" name="Oval 973"/>
              <p:cNvSpPr>
                <a:spLocks noChangeArrowheads="1"/>
              </p:cNvSpPr>
              <p:nvPr/>
            </p:nvSpPr>
            <p:spPr bwMode="auto">
              <a:xfrm>
                <a:off x="2949611" y="4898212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49" name="Oval 974"/>
              <p:cNvSpPr>
                <a:spLocks noChangeArrowheads="1"/>
              </p:cNvSpPr>
              <p:nvPr/>
            </p:nvSpPr>
            <p:spPr bwMode="auto">
              <a:xfrm>
                <a:off x="2949611" y="4898212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0" name="Oval 975"/>
              <p:cNvSpPr>
                <a:spLocks noChangeArrowheads="1"/>
              </p:cNvSpPr>
              <p:nvPr/>
            </p:nvSpPr>
            <p:spPr bwMode="auto">
              <a:xfrm>
                <a:off x="3022636" y="5018864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1" name="Oval 976"/>
              <p:cNvSpPr>
                <a:spLocks noChangeArrowheads="1"/>
              </p:cNvSpPr>
              <p:nvPr/>
            </p:nvSpPr>
            <p:spPr bwMode="auto">
              <a:xfrm>
                <a:off x="3022636" y="5018864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2" name="Oval 977"/>
              <p:cNvSpPr>
                <a:spLocks noChangeArrowheads="1"/>
              </p:cNvSpPr>
              <p:nvPr/>
            </p:nvSpPr>
            <p:spPr bwMode="auto">
              <a:xfrm>
                <a:off x="3090900" y="4918850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3" name="Oval 978"/>
              <p:cNvSpPr>
                <a:spLocks noChangeArrowheads="1"/>
              </p:cNvSpPr>
              <p:nvPr/>
            </p:nvSpPr>
            <p:spPr bwMode="auto">
              <a:xfrm>
                <a:off x="3090900" y="4918850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4" name="Oval 979"/>
              <p:cNvSpPr>
                <a:spLocks noChangeArrowheads="1"/>
              </p:cNvSpPr>
              <p:nvPr/>
            </p:nvSpPr>
            <p:spPr bwMode="auto">
              <a:xfrm>
                <a:off x="3175039" y="4431480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5" name="Oval 980"/>
              <p:cNvSpPr>
                <a:spLocks noChangeArrowheads="1"/>
              </p:cNvSpPr>
              <p:nvPr/>
            </p:nvSpPr>
            <p:spPr bwMode="auto">
              <a:xfrm>
                <a:off x="3175039" y="4431480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6" name="Oval 981"/>
              <p:cNvSpPr>
                <a:spLocks noChangeArrowheads="1"/>
              </p:cNvSpPr>
              <p:nvPr/>
            </p:nvSpPr>
            <p:spPr bwMode="auto">
              <a:xfrm>
                <a:off x="2436843" y="3991737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7" name="Oval 982"/>
              <p:cNvSpPr>
                <a:spLocks noChangeArrowheads="1"/>
              </p:cNvSpPr>
              <p:nvPr/>
            </p:nvSpPr>
            <p:spPr bwMode="auto">
              <a:xfrm>
                <a:off x="2436843" y="3991737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8" name="Oval 983"/>
              <p:cNvSpPr>
                <a:spLocks noChangeArrowheads="1"/>
              </p:cNvSpPr>
              <p:nvPr/>
            </p:nvSpPr>
            <p:spPr bwMode="auto">
              <a:xfrm>
                <a:off x="2552731" y="4060000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59" name="Oval 984"/>
              <p:cNvSpPr>
                <a:spLocks noChangeArrowheads="1"/>
              </p:cNvSpPr>
              <p:nvPr/>
            </p:nvSpPr>
            <p:spPr bwMode="auto">
              <a:xfrm>
                <a:off x="2552731" y="4060000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0" name="Oval 985"/>
              <p:cNvSpPr>
                <a:spLocks noChangeArrowheads="1"/>
              </p:cNvSpPr>
              <p:nvPr/>
            </p:nvSpPr>
            <p:spPr bwMode="auto">
              <a:xfrm>
                <a:off x="2630519" y="4080638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1" name="Oval 986"/>
              <p:cNvSpPr>
                <a:spLocks noChangeArrowheads="1"/>
              </p:cNvSpPr>
              <p:nvPr/>
            </p:nvSpPr>
            <p:spPr bwMode="auto">
              <a:xfrm>
                <a:off x="2630519" y="4080638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2" name="Oval 987"/>
              <p:cNvSpPr>
                <a:spLocks noChangeArrowheads="1"/>
              </p:cNvSpPr>
              <p:nvPr/>
            </p:nvSpPr>
            <p:spPr bwMode="auto">
              <a:xfrm>
                <a:off x="2819434" y="5091889"/>
                <a:ext cx="82550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3" name="Oval 988"/>
              <p:cNvSpPr>
                <a:spLocks noChangeArrowheads="1"/>
              </p:cNvSpPr>
              <p:nvPr/>
            </p:nvSpPr>
            <p:spPr bwMode="auto">
              <a:xfrm>
                <a:off x="2819434" y="5091889"/>
                <a:ext cx="82550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4" name="Oval 989"/>
              <p:cNvSpPr>
                <a:spLocks noChangeArrowheads="1"/>
              </p:cNvSpPr>
              <p:nvPr/>
            </p:nvSpPr>
            <p:spPr bwMode="auto">
              <a:xfrm>
                <a:off x="2924211" y="5364944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5" name="Oval 990"/>
              <p:cNvSpPr>
                <a:spLocks noChangeArrowheads="1"/>
              </p:cNvSpPr>
              <p:nvPr/>
            </p:nvSpPr>
            <p:spPr bwMode="auto">
              <a:xfrm>
                <a:off x="2924211" y="5364944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6" name="Oval 991"/>
              <p:cNvSpPr>
                <a:spLocks noChangeArrowheads="1"/>
              </p:cNvSpPr>
              <p:nvPr/>
            </p:nvSpPr>
            <p:spPr bwMode="auto">
              <a:xfrm>
                <a:off x="2924211" y="5323669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7" name="Oval 992"/>
              <p:cNvSpPr>
                <a:spLocks noChangeArrowheads="1"/>
              </p:cNvSpPr>
              <p:nvPr/>
            </p:nvSpPr>
            <p:spPr bwMode="auto">
              <a:xfrm>
                <a:off x="2924211" y="5323669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8" name="Oval 993"/>
              <p:cNvSpPr>
                <a:spLocks noChangeArrowheads="1"/>
              </p:cNvSpPr>
              <p:nvPr/>
            </p:nvSpPr>
            <p:spPr bwMode="auto">
              <a:xfrm>
                <a:off x="4984809" y="5029976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69" name="Oval 994"/>
              <p:cNvSpPr>
                <a:spLocks noChangeArrowheads="1"/>
              </p:cNvSpPr>
              <p:nvPr/>
            </p:nvSpPr>
            <p:spPr bwMode="auto">
              <a:xfrm>
                <a:off x="4984809" y="5029976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0" name="Oval 995"/>
              <p:cNvSpPr>
                <a:spLocks noChangeArrowheads="1"/>
              </p:cNvSpPr>
              <p:nvPr/>
            </p:nvSpPr>
            <p:spPr bwMode="auto">
              <a:xfrm>
                <a:off x="4645080" y="4164777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1" name="Oval 996"/>
              <p:cNvSpPr>
                <a:spLocks noChangeArrowheads="1"/>
              </p:cNvSpPr>
              <p:nvPr/>
            </p:nvSpPr>
            <p:spPr bwMode="auto">
              <a:xfrm>
                <a:off x="4645080" y="4164777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2" name="Oval 997"/>
              <p:cNvSpPr>
                <a:spLocks noChangeArrowheads="1"/>
              </p:cNvSpPr>
              <p:nvPr/>
            </p:nvSpPr>
            <p:spPr bwMode="auto">
              <a:xfrm>
                <a:off x="4764144" y="4406079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3" name="Oval 998"/>
              <p:cNvSpPr>
                <a:spLocks noChangeArrowheads="1"/>
              </p:cNvSpPr>
              <p:nvPr/>
            </p:nvSpPr>
            <p:spPr bwMode="auto">
              <a:xfrm>
                <a:off x="4764144" y="4406079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4" name="Oval 999"/>
              <p:cNvSpPr>
                <a:spLocks noChangeArrowheads="1"/>
              </p:cNvSpPr>
              <p:nvPr/>
            </p:nvSpPr>
            <p:spPr bwMode="auto">
              <a:xfrm>
                <a:off x="4733982" y="4353691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5" name="Oval 1000"/>
              <p:cNvSpPr>
                <a:spLocks noChangeArrowheads="1"/>
              </p:cNvSpPr>
              <p:nvPr/>
            </p:nvSpPr>
            <p:spPr bwMode="auto">
              <a:xfrm>
                <a:off x="4733982" y="4353691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6" name="Oval 1001"/>
              <p:cNvSpPr>
                <a:spLocks noChangeArrowheads="1"/>
              </p:cNvSpPr>
              <p:nvPr/>
            </p:nvSpPr>
            <p:spPr bwMode="auto">
              <a:xfrm>
                <a:off x="5084823" y="3374189"/>
                <a:ext cx="82550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7" name="Oval 1002"/>
              <p:cNvSpPr>
                <a:spLocks noChangeArrowheads="1"/>
              </p:cNvSpPr>
              <p:nvPr/>
            </p:nvSpPr>
            <p:spPr bwMode="auto">
              <a:xfrm>
                <a:off x="5084823" y="3374189"/>
                <a:ext cx="82550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8" name="Oval 1003"/>
              <p:cNvSpPr>
                <a:spLocks noChangeArrowheads="1"/>
              </p:cNvSpPr>
              <p:nvPr/>
            </p:nvSpPr>
            <p:spPr bwMode="auto">
              <a:xfrm>
                <a:off x="5324538" y="4301303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79" name="Oval 1004"/>
              <p:cNvSpPr>
                <a:spLocks noChangeArrowheads="1"/>
              </p:cNvSpPr>
              <p:nvPr/>
            </p:nvSpPr>
            <p:spPr bwMode="auto">
              <a:xfrm>
                <a:off x="5324538" y="4301303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0" name="Oval 1005"/>
              <p:cNvSpPr>
                <a:spLocks noChangeArrowheads="1"/>
              </p:cNvSpPr>
              <p:nvPr/>
            </p:nvSpPr>
            <p:spPr bwMode="auto">
              <a:xfrm>
                <a:off x="5538854" y="4918850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1" name="Oval 1006"/>
              <p:cNvSpPr>
                <a:spLocks noChangeArrowheads="1"/>
              </p:cNvSpPr>
              <p:nvPr/>
            </p:nvSpPr>
            <p:spPr bwMode="auto">
              <a:xfrm>
                <a:off x="5538854" y="4918850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2" name="Oval 1007"/>
              <p:cNvSpPr>
                <a:spLocks noChangeArrowheads="1"/>
              </p:cNvSpPr>
              <p:nvPr/>
            </p:nvSpPr>
            <p:spPr bwMode="auto">
              <a:xfrm>
                <a:off x="5215000" y="4656909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3" name="Oval 1008"/>
              <p:cNvSpPr>
                <a:spLocks noChangeArrowheads="1"/>
              </p:cNvSpPr>
              <p:nvPr/>
            </p:nvSpPr>
            <p:spPr bwMode="auto">
              <a:xfrm>
                <a:off x="5215000" y="4656909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4" name="Oval 1010"/>
              <p:cNvSpPr>
                <a:spLocks noChangeArrowheads="1"/>
              </p:cNvSpPr>
              <p:nvPr/>
            </p:nvSpPr>
            <p:spPr bwMode="auto">
              <a:xfrm>
                <a:off x="5235637" y="4756922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5" name="Oval 1011"/>
              <p:cNvSpPr>
                <a:spLocks noChangeArrowheads="1"/>
              </p:cNvSpPr>
              <p:nvPr/>
            </p:nvSpPr>
            <p:spPr bwMode="auto">
              <a:xfrm>
                <a:off x="5235637" y="4756922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6" name="Oval 1012"/>
              <p:cNvSpPr>
                <a:spLocks noChangeArrowheads="1"/>
              </p:cNvSpPr>
              <p:nvPr/>
            </p:nvSpPr>
            <p:spPr bwMode="auto">
              <a:xfrm>
                <a:off x="4775258" y="5009338"/>
                <a:ext cx="79375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7" name="Oval 1013"/>
              <p:cNvSpPr>
                <a:spLocks noChangeArrowheads="1"/>
              </p:cNvSpPr>
              <p:nvPr/>
            </p:nvSpPr>
            <p:spPr bwMode="auto">
              <a:xfrm>
                <a:off x="4775258" y="5009338"/>
                <a:ext cx="79375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8" name="Oval 1014"/>
              <p:cNvSpPr>
                <a:spLocks noChangeArrowheads="1"/>
              </p:cNvSpPr>
              <p:nvPr/>
            </p:nvSpPr>
            <p:spPr bwMode="auto">
              <a:xfrm>
                <a:off x="4802244" y="4918850"/>
                <a:ext cx="82550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89" name="Oval 1015"/>
              <p:cNvSpPr>
                <a:spLocks noChangeArrowheads="1"/>
              </p:cNvSpPr>
              <p:nvPr/>
            </p:nvSpPr>
            <p:spPr bwMode="auto">
              <a:xfrm>
                <a:off x="4802244" y="4918850"/>
                <a:ext cx="82550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0" name="Oval 1016"/>
              <p:cNvSpPr>
                <a:spLocks noChangeArrowheads="1"/>
              </p:cNvSpPr>
              <p:nvPr/>
            </p:nvSpPr>
            <p:spPr bwMode="auto">
              <a:xfrm>
                <a:off x="5315013" y="4568007"/>
                <a:ext cx="82550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1" name="Oval 1017"/>
              <p:cNvSpPr>
                <a:spLocks noChangeArrowheads="1"/>
              </p:cNvSpPr>
              <p:nvPr/>
            </p:nvSpPr>
            <p:spPr bwMode="auto">
              <a:xfrm>
                <a:off x="5315013" y="4568007"/>
                <a:ext cx="82550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2" name="Oval 1018"/>
              <p:cNvSpPr>
                <a:spLocks noChangeArrowheads="1"/>
              </p:cNvSpPr>
              <p:nvPr/>
            </p:nvSpPr>
            <p:spPr bwMode="auto">
              <a:xfrm>
                <a:off x="5167374" y="4312416"/>
                <a:ext cx="79375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3" name="Oval 1019"/>
              <p:cNvSpPr>
                <a:spLocks noChangeArrowheads="1"/>
              </p:cNvSpPr>
              <p:nvPr/>
            </p:nvSpPr>
            <p:spPr bwMode="auto">
              <a:xfrm>
                <a:off x="5167374" y="4312416"/>
                <a:ext cx="79375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4" name="Oval 1020"/>
              <p:cNvSpPr>
                <a:spLocks noChangeArrowheads="1"/>
              </p:cNvSpPr>
              <p:nvPr/>
            </p:nvSpPr>
            <p:spPr bwMode="auto">
              <a:xfrm>
                <a:off x="5026084" y="4777560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5" name="Oval 1021"/>
              <p:cNvSpPr>
                <a:spLocks noChangeArrowheads="1"/>
              </p:cNvSpPr>
              <p:nvPr/>
            </p:nvSpPr>
            <p:spPr bwMode="auto">
              <a:xfrm>
                <a:off x="5026084" y="4777560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6" name="Oval 1022"/>
              <p:cNvSpPr>
                <a:spLocks noChangeArrowheads="1"/>
              </p:cNvSpPr>
              <p:nvPr/>
            </p:nvSpPr>
            <p:spPr bwMode="auto">
              <a:xfrm>
                <a:off x="5094348" y="4679134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7" name="Oval 1023"/>
              <p:cNvSpPr>
                <a:spLocks noChangeArrowheads="1"/>
              </p:cNvSpPr>
              <p:nvPr/>
            </p:nvSpPr>
            <p:spPr bwMode="auto">
              <a:xfrm>
                <a:off x="5094348" y="4679134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8" name="Oval 1024"/>
              <p:cNvSpPr>
                <a:spLocks noChangeArrowheads="1"/>
              </p:cNvSpPr>
              <p:nvPr/>
            </p:nvSpPr>
            <p:spPr bwMode="auto">
              <a:xfrm>
                <a:off x="5105461" y="4898212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099" name="Oval 1025"/>
              <p:cNvSpPr>
                <a:spLocks noChangeArrowheads="1"/>
              </p:cNvSpPr>
              <p:nvPr/>
            </p:nvSpPr>
            <p:spPr bwMode="auto">
              <a:xfrm>
                <a:off x="5105461" y="4898212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0" name="Oval 1026"/>
              <p:cNvSpPr>
                <a:spLocks noChangeArrowheads="1"/>
              </p:cNvSpPr>
              <p:nvPr/>
            </p:nvSpPr>
            <p:spPr bwMode="auto">
              <a:xfrm>
                <a:off x="4645080" y="2839193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1" name="Oval 1027"/>
              <p:cNvSpPr>
                <a:spLocks noChangeArrowheads="1"/>
              </p:cNvSpPr>
              <p:nvPr/>
            </p:nvSpPr>
            <p:spPr bwMode="auto">
              <a:xfrm>
                <a:off x="4645080" y="2839193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2" name="Oval 1028"/>
              <p:cNvSpPr>
                <a:spLocks noChangeArrowheads="1"/>
              </p:cNvSpPr>
              <p:nvPr/>
            </p:nvSpPr>
            <p:spPr bwMode="auto">
              <a:xfrm>
                <a:off x="4702231" y="2818557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3" name="Oval 1029"/>
              <p:cNvSpPr>
                <a:spLocks noChangeArrowheads="1"/>
              </p:cNvSpPr>
              <p:nvPr/>
            </p:nvSpPr>
            <p:spPr bwMode="auto">
              <a:xfrm>
                <a:off x="4702231" y="2818557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4" name="Oval 1030"/>
              <p:cNvSpPr>
                <a:spLocks noChangeArrowheads="1"/>
              </p:cNvSpPr>
              <p:nvPr/>
            </p:nvSpPr>
            <p:spPr bwMode="auto">
              <a:xfrm>
                <a:off x="4460929" y="2750292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5" name="Oval 1031"/>
              <p:cNvSpPr>
                <a:spLocks noChangeArrowheads="1"/>
              </p:cNvSpPr>
              <p:nvPr/>
            </p:nvSpPr>
            <p:spPr bwMode="auto">
              <a:xfrm>
                <a:off x="4460929" y="2750292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6" name="Oval 1032"/>
              <p:cNvSpPr>
                <a:spLocks noChangeArrowheads="1"/>
              </p:cNvSpPr>
              <p:nvPr/>
            </p:nvSpPr>
            <p:spPr bwMode="auto">
              <a:xfrm>
                <a:off x="4905434" y="2880470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7" name="Oval 1033"/>
              <p:cNvSpPr>
                <a:spLocks noChangeArrowheads="1"/>
              </p:cNvSpPr>
              <p:nvPr/>
            </p:nvSpPr>
            <p:spPr bwMode="auto">
              <a:xfrm>
                <a:off x="4905434" y="2880470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8" name="Oval 1034"/>
              <p:cNvSpPr>
                <a:spLocks noChangeArrowheads="1"/>
              </p:cNvSpPr>
              <p:nvPr/>
            </p:nvSpPr>
            <p:spPr bwMode="auto">
              <a:xfrm>
                <a:off x="4670481" y="2750292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09" name="Oval 1035"/>
              <p:cNvSpPr>
                <a:spLocks noChangeArrowheads="1"/>
              </p:cNvSpPr>
              <p:nvPr/>
            </p:nvSpPr>
            <p:spPr bwMode="auto">
              <a:xfrm>
                <a:off x="4670481" y="2750292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0" name="Oval 1036"/>
              <p:cNvSpPr>
                <a:spLocks noChangeArrowheads="1"/>
              </p:cNvSpPr>
              <p:nvPr/>
            </p:nvSpPr>
            <p:spPr bwMode="auto">
              <a:xfrm>
                <a:off x="4864158" y="2388337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1" name="Oval 1037"/>
              <p:cNvSpPr>
                <a:spLocks noChangeArrowheads="1"/>
              </p:cNvSpPr>
              <p:nvPr/>
            </p:nvSpPr>
            <p:spPr bwMode="auto">
              <a:xfrm>
                <a:off x="4864158" y="2388337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2" name="Oval 1038"/>
              <p:cNvSpPr>
                <a:spLocks noChangeArrowheads="1"/>
              </p:cNvSpPr>
              <p:nvPr/>
            </p:nvSpPr>
            <p:spPr bwMode="auto">
              <a:xfrm>
                <a:off x="4875271" y="2335949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3" name="Oval 1039"/>
              <p:cNvSpPr>
                <a:spLocks noChangeArrowheads="1"/>
              </p:cNvSpPr>
              <p:nvPr/>
            </p:nvSpPr>
            <p:spPr bwMode="auto">
              <a:xfrm>
                <a:off x="4875271" y="2335949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4" name="Oval 1040"/>
              <p:cNvSpPr>
                <a:spLocks noChangeArrowheads="1"/>
              </p:cNvSpPr>
              <p:nvPr/>
            </p:nvSpPr>
            <p:spPr bwMode="auto">
              <a:xfrm>
                <a:off x="4549829" y="2782043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5" name="Oval 1041"/>
              <p:cNvSpPr>
                <a:spLocks noChangeArrowheads="1"/>
              </p:cNvSpPr>
              <p:nvPr/>
            </p:nvSpPr>
            <p:spPr bwMode="auto">
              <a:xfrm>
                <a:off x="4549829" y="2782043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6" name="Oval 1042"/>
              <p:cNvSpPr>
                <a:spLocks noChangeArrowheads="1"/>
              </p:cNvSpPr>
              <p:nvPr/>
            </p:nvSpPr>
            <p:spPr bwMode="auto">
              <a:xfrm>
                <a:off x="4602218" y="2707429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7" name="Oval 1043"/>
              <p:cNvSpPr>
                <a:spLocks noChangeArrowheads="1"/>
              </p:cNvSpPr>
              <p:nvPr/>
            </p:nvSpPr>
            <p:spPr bwMode="auto">
              <a:xfrm>
                <a:off x="4602218" y="2707429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8" name="Oval 1044"/>
              <p:cNvSpPr>
                <a:spLocks noChangeArrowheads="1"/>
              </p:cNvSpPr>
              <p:nvPr/>
            </p:nvSpPr>
            <p:spPr bwMode="auto">
              <a:xfrm>
                <a:off x="4529191" y="2707429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19" name="Oval 1045"/>
              <p:cNvSpPr>
                <a:spLocks noChangeArrowheads="1"/>
              </p:cNvSpPr>
              <p:nvPr/>
            </p:nvSpPr>
            <p:spPr bwMode="auto">
              <a:xfrm>
                <a:off x="4529191" y="2707429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0" name="Oval 1046"/>
              <p:cNvSpPr>
                <a:spLocks noChangeArrowheads="1"/>
              </p:cNvSpPr>
              <p:nvPr/>
            </p:nvSpPr>
            <p:spPr bwMode="auto">
              <a:xfrm>
                <a:off x="4843520" y="2969371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1" name="Oval 1047"/>
              <p:cNvSpPr>
                <a:spLocks noChangeArrowheads="1"/>
              </p:cNvSpPr>
              <p:nvPr/>
            </p:nvSpPr>
            <p:spPr bwMode="auto">
              <a:xfrm>
                <a:off x="4843520" y="2969371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2" name="Oval 1048"/>
              <p:cNvSpPr>
                <a:spLocks noChangeArrowheads="1"/>
              </p:cNvSpPr>
              <p:nvPr/>
            </p:nvSpPr>
            <p:spPr bwMode="auto">
              <a:xfrm>
                <a:off x="4780019" y="2850307"/>
                <a:ext cx="8413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3" name="Oval 1049"/>
              <p:cNvSpPr>
                <a:spLocks noChangeArrowheads="1"/>
              </p:cNvSpPr>
              <p:nvPr/>
            </p:nvSpPr>
            <p:spPr bwMode="auto">
              <a:xfrm>
                <a:off x="4780019" y="2850307"/>
                <a:ext cx="8413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4" name="Oval 1050"/>
              <p:cNvSpPr>
                <a:spLocks noChangeArrowheads="1"/>
              </p:cNvSpPr>
              <p:nvPr/>
            </p:nvSpPr>
            <p:spPr bwMode="auto">
              <a:xfrm>
                <a:off x="4864158" y="2618528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5" name="Oval 1051"/>
              <p:cNvSpPr>
                <a:spLocks noChangeArrowheads="1"/>
              </p:cNvSpPr>
              <p:nvPr/>
            </p:nvSpPr>
            <p:spPr bwMode="auto">
              <a:xfrm>
                <a:off x="4864158" y="2618528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6" name="Oval 1052"/>
              <p:cNvSpPr>
                <a:spLocks noChangeArrowheads="1"/>
              </p:cNvSpPr>
              <p:nvPr/>
            </p:nvSpPr>
            <p:spPr bwMode="auto">
              <a:xfrm>
                <a:off x="4775258" y="2661391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7" name="Oval 1053"/>
              <p:cNvSpPr>
                <a:spLocks noChangeArrowheads="1"/>
              </p:cNvSpPr>
              <p:nvPr/>
            </p:nvSpPr>
            <p:spPr bwMode="auto">
              <a:xfrm>
                <a:off x="4775258" y="2661391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8" name="Oval 1054"/>
              <p:cNvSpPr>
                <a:spLocks noChangeArrowheads="1"/>
              </p:cNvSpPr>
              <p:nvPr/>
            </p:nvSpPr>
            <p:spPr bwMode="auto">
              <a:xfrm>
                <a:off x="4503791" y="2850307"/>
                <a:ext cx="7778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29" name="Oval 1055"/>
              <p:cNvSpPr>
                <a:spLocks noChangeArrowheads="1"/>
              </p:cNvSpPr>
              <p:nvPr/>
            </p:nvSpPr>
            <p:spPr bwMode="auto">
              <a:xfrm>
                <a:off x="4503791" y="2850307"/>
                <a:ext cx="7778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0" name="Oval 1056"/>
              <p:cNvSpPr>
                <a:spLocks noChangeArrowheads="1"/>
              </p:cNvSpPr>
              <p:nvPr/>
            </p:nvSpPr>
            <p:spPr bwMode="auto">
              <a:xfrm>
                <a:off x="5005447" y="2850307"/>
                <a:ext cx="79375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1" name="Oval 1057"/>
              <p:cNvSpPr>
                <a:spLocks noChangeArrowheads="1"/>
              </p:cNvSpPr>
              <p:nvPr/>
            </p:nvSpPr>
            <p:spPr bwMode="auto">
              <a:xfrm>
                <a:off x="5005447" y="2850307"/>
                <a:ext cx="79375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2" name="Oval 1058"/>
              <p:cNvSpPr>
                <a:spLocks noChangeArrowheads="1"/>
              </p:cNvSpPr>
              <p:nvPr/>
            </p:nvSpPr>
            <p:spPr bwMode="auto">
              <a:xfrm>
                <a:off x="4964172" y="2739179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3" name="Oval 1059"/>
              <p:cNvSpPr>
                <a:spLocks noChangeArrowheads="1"/>
              </p:cNvSpPr>
              <p:nvPr/>
            </p:nvSpPr>
            <p:spPr bwMode="auto">
              <a:xfrm>
                <a:off x="4964172" y="2739179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4" name="Oval 1060"/>
              <p:cNvSpPr>
                <a:spLocks noChangeArrowheads="1"/>
              </p:cNvSpPr>
              <p:nvPr/>
            </p:nvSpPr>
            <p:spPr bwMode="auto">
              <a:xfrm>
                <a:off x="5073711" y="2739179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5" name="Oval 1061"/>
              <p:cNvSpPr>
                <a:spLocks noChangeArrowheads="1"/>
              </p:cNvSpPr>
              <p:nvPr/>
            </p:nvSpPr>
            <p:spPr bwMode="auto">
              <a:xfrm>
                <a:off x="5073711" y="2739179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6" name="Oval 1062"/>
              <p:cNvSpPr>
                <a:spLocks noChangeArrowheads="1"/>
              </p:cNvSpPr>
              <p:nvPr/>
            </p:nvSpPr>
            <p:spPr bwMode="auto">
              <a:xfrm>
                <a:off x="5194362" y="2791568"/>
                <a:ext cx="82550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7" name="Oval 1063"/>
              <p:cNvSpPr>
                <a:spLocks noChangeArrowheads="1"/>
              </p:cNvSpPr>
              <p:nvPr/>
            </p:nvSpPr>
            <p:spPr bwMode="auto">
              <a:xfrm>
                <a:off x="5194362" y="2791568"/>
                <a:ext cx="82550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8" name="Oval 1064"/>
              <p:cNvSpPr>
                <a:spLocks noChangeArrowheads="1"/>
              </p:cNvSpPr>
              <p:nvPr/>
            </p:nvSpPr>
            <p:spPr bwMode="auto">
              <a:xfrm>
                <a:off x="5041961" y="2802682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39" name="Oval 1065"/>
              <p:cNvSpPr>
                <a:spLocks noChangeArrowheads="1"/>
              </p:cNvSpPr>
              <p:nvPr/>
            </p:nvSpPr>
            <p:spPr bwMode="auto">
              <a:xfrm>
                <a:off x="5041961" y="2802682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0" name="Oval 1066"/>
              <p:cNvSpPr>
                <a:spLocks noChangeArrowheads="1"/>
              </p:cNvSpPr>
              <p:nvPr/>
            </p:nvSpPr>
            <p:spPr bwMode="auto">
              <a:xfrm>
                <a:off x="4884796" y="2770930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1" name="Oval 1067"/>
              <p:cNvSpPr>
                <a:spLocks noChangeArrowheads="1"/>
              </p:cNvSpPr>
              <p:nvPr/>
            </p:nvSpPr>
            <p:spPr bwMode="auto">
              <a:xfrm>
                <a:off x="4884796" y="2770930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2" name="Oval 1068"/>
              <p:cNvSpPr>
                <a:spLocks noChangeArrowheads="1"/>
              </p:cNvSpPr>
              <p:nvPr/>
            </p:nvSpPr>
            <p:spPr bwMode="auto">
              <a:xfrm>
                <a:off x="4230739" y="3012234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3" name="Oval 1069"/>
              <p:cNvSpPr>
                <a:spLocks noChangeArrowheads="1"/>
              </p:cNvSpPr>
              <p:nvPr/>
            </p:nvSpPr>
            <p:spPr bwMode="auto">
              <a:xfrm>
                <a:off x="4230739" y="3012234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4" name="Oval 1070"/>
              <p:cNvSpPr>
                <a:spLocks noChangeArrowheads="1"/>
              </p:cNvSpPr>
              <p:nvPr/>
            </p:nvSpPr>
            <p:spPr bwMode="auto">
              <a:xfrm>
                <a:off x="4241851" y="3074147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5" name="Oval 1071"/>
              <p:cNvSpPr>
                <a:spLocks noChangeArrowheads="1"/>
              </p:cNvSpPr>
              <p:nvPr/>
            </p:nvSpPr>
            <p:spPr bwMode="auto">
              <a:xfrm>
                <a:off x="4241851" y="3074147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6" name="Oval 1072"/>
              <p:cNvSpPr>
                <a:spLocks noChangeArrowheads="1"/>
              </p:cNvSpPr>
              <p:nvPr/>
            </p:nvSpPr>
            <p:spPr bwMode="auto">
              <a:xfrm>
                <a:off x="4200575" y="3132886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7" name="Oval 1073"/>
              <p:cNvSpPr>
                <a:spLocks noChangeArrowheads="1"/>
              </p:cNvSpPr>
              <p:nvPr/>
            </p:nvSpPr>
            <p:spPr bwMode="auto">
              <a:xfrm>
                <a:off x="4200575" y="3132886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8" name="Oval 1074"/>
              <p:cNvSpPr>
                <a:spLocks noChangeArrowheads="1"/>
              </p:cNvSpPr>
              <p:nvPr/>
            </p:nvSpPr>
            <p:spPr bwMode="auto">
              <a:xfrm>
                <a:off x="4722869" y="2256572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49" name="Oval 1075"/>
              <p:cNvSpPr>
                <a:spLocks noChangeArrowheads="1"/>
              </p:cNvSpPr>
              <p:nvPr/>
            </p:nvSpPr>
            <p:spPr bwMode="auto">
              <a:xfrm>
                <a:off x="4722869" y="2256572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0" name="Oval 1076"/>
              <p:cNvSpPr>
                <a:spLocks noChangeArrowheads="1"/>
              </p:cNvSpPr>
              <p:nvPr/>
            </p:nvSpPr>
            <p:spPr bwMode="auto">
              <a:xfrm>
                <a:off x="4649843" y="2294672"/>
                <a:ext cx="8413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1" name="Oval 1077"/>
              <p:cNvSpPr>
                <a:spLocks noChangeArrowheads="1"/>
              </p:cNvSpPr>
              <p:nvPr/>
            </p:nvSpPr>
            <p:spPr bwMode="auto">
              <a:xfrm>
                <a:off x="4649843" y="2294672"/>
                <a:ext cx="8413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2" name="Oval 1078"/>
              <p:cNvSpPr>
                <a:spLocks noChangeArrowheads="1"/>
              </p:cNvSpPr>
              <p:nvPr/>
            </p:nvSpPr>
            <p:spPr bwMode="auto">
              <a:xfrm>
                <a:off x="4624443" y="2377224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3" name="Oval 1079"/>
              <p:cNvSpPr>
                <a:spLocks noChangeArrowheads="1"/>
              </p:cNvSpPr>
              <p:nvPr/>
            </p:nvSpPr>
            <p:spPr bwMode="auto">
              <a:xfrm>
                <a:off x="4624443" y="2377224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4" name="Oval 1080"/>
              <p:cNvSpPr>
                <a:spLocks noChangeArrowheads="1"/>
              </p:cNvSpPr>
              <p:nvPr/>
            </p:nvSpPr>
            <p:spPr bwMode="auto">
              <a:xfrm>
                <a:off x="4624443" y="2456601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5" name="Oval 1081"/>
              <p:cNvSpPr>
                <a:spLocks noChangeArrowheads="1"/>
              </p:cNvSpPr>
              <p:nvPr/>
            </p:nvSpPr>
            <p:spPr bwMode="auto">
              <a:xfrm>
                <a:off x="4624443" y="2456601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6" name="Oval 1082"/>
              <p:cNvSpPr>
                <a:spLocks noChangeArrowheads="1"/>
              </p:cNvSpPr>
              <p:nvPr/>
            </p:nvSpPr>
            <p:spPr bwMode="auto">
              <a:xfrm>
                <a:off x="5167374" y="3080497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7" name="Oval 1083"/>
              <p:cNvSpPr>
                <a:spLocks noChangeArrowheads="1"/>
              </p:cNvSpPr>
              <p:nvPr/>
            </p:nvSpPr>
            <p:spPr bwMode="auto">
              <a:xfrm>
                <a:off x="5167374" y="3080497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8" name="Oval 1084"/>
              <p:cNvSpPr>
                <a:spLocks noChangeArrowheads="1"/>
              </p:cNvSpPr>
              <p:nvPr/>
            </p:nvSpPr>
            <p:spPr bwMode="auto">
              <a:xfrm>
                <a:off x="7097796" y="3918710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59" name="Oval 1085"/>
              <p:cNvSpPr>
                <a:spLocks noChangeArrowheads="1"/>
              </p:cNvSpPr>
              <p:nvPr/>
            </p:nvSpPr>
            <p:spPr bwMode="auto">
              <a:xfrm>
                <a:off x="7097796" y="3918710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0" name="Oval 1086"/>
              <p:cNvSpPr>
                <a:spLocks noChangeArrowheads="1"/>
              </p:cNvSpPr>
              <p:nvPr/>
            </p:nvSpPr>
            <p:spPr bwMode="auto">
              <a:xfrm>
                <a:off x="7270836" y="3567867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1" name="Oval 1087"/>
              <p:cNvSpPr>
                <a:spLocks noChangeArrowheads="1"/>
              </p:cNvSpPr>
              <p:nvPr/>
            </p:nvSpPr>
            <p:spPr bwMode="auto">
              <a:xfrm>
                <a:off x="7270836" y="3567867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2" name="Oval 1088"/>
              <p:cNvSpPr>
                <a:spLocks noChangeArrowheads="1"/>
              </p:cNvSpPr>
              <p:nvPr/>
            </p:nvSpPr>
            <p:spPr bwMode="auto">
              <a:xfrm>
                <a:off x="6988259" y="3305925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3" name="Oval 1089"/>
              <p:cNvSpPr>
                <a:spLocks noChangeArrowheads="1"/>
              </p:cNvSpPr>
              <p:nvPr/>
            </p:nvSpPr>
            <p:spPr bwMode="auto">
              <a:xfrm>
                <a:off x="6988259" y="3305925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4" name="Oval 1090"/>
              <p:cNvSpPr>
                <a:spLocks noChangeArrowheads="1"/>
              </p:cNvSpPr>
              <p:nvPr/>
            </p:nvSpPr>
            <p:spPr bwMode="auto">
              <a:xfrm>
                <a:off x="7177173" y="3588505"/>
                <a:ext cx="82550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5" name="Oval 1091"/>
              <p:cNvSpPr>
                <a:spLocks noChangeArrowheads="1"/>
              </p:cNvSpPr>
              <p:nvPr/>
            </p:nvSpPr>
            <p:spPr bwMode="auto">
              <a:xfrm>
                <a:off x="7177173" y="3588505"/>
                <a:ext cx="82550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6" name="Oval 1092"/>
              <p:cNvSpPr>
                <a:spLocks noChangeArrowheads="1"/>
              </p:cNvSpPr>
              <p:nvPr/>
            </p:nvSpPr>
            <p:spPr bwMode="auto">
              <a:xfrm>
                <a:off x="7250199" y="3326563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7" name="Oval 1093"/>
              <p:cNvSpPr>
                <a:spLocks noChangeArrowheads="1"/>
              </p:cNvSpPr>
              <p:nvPr/>
            </p:nvSpPr>
            <p:spPr bwMode="auto">
              <a:xfrm>
                <a:off x="7250199" y="3326563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8" name="Oval 1094"/>
              <p:cNvSpPr>
                <a:spLocks noChangeArrowheads="1"/>
              </p:cNvSpPr>
              <p:nvPr/>
            </p:nvSpPr>
            <p:spPr bwMode="auto">
              <a:xfrm>
                <a:off x="7066046" y="3221787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69" name="Oval 1095"/>
              <p:cNvSpPr>
                <a:spLocks noChangeArrowheads="1"/>
              </p:cNvSpPr>
              <p:nvPr/>
            </p:nvSpPr>
            <p:spPr bwMode="auto">
              <a:xfrm>
                <a:off x="7066046" y="3221787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0" name="Oval 1096"/>
              <p:cNvSpPr>
                <a:spLocks noChangeArrowheads="1"/>
              </p:cNvSpPr>
              <p:nvPr/>
            </p:nvSpPr>
            <p:spPr bwMode="auto">
              <a:xfrm>
                <a:off x="5559491" y="3221787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1" name="Oval 1097"/>
              <p:cNvSpPr>
                <a:spLocks noChangeArrowheads="1"/>
              </p:cNvSpPr>
              <p:nvPr/>
            </p:nvSpPr>
            <p:spPr bwMode="auto">
              <a:xfrm>
                <a:off x="5559491" y="3221787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2" name="Oval 1098"/>
              <p:cNvSpPr>
                <a:spLocks noChangeArrowheads="1"/>
              </p:cNvSpPr>
              <p:nvPr/>
            </p:nvSpPr>
            <p:spPr bwMode="auto">
              <a:xfrm>
                <a:off x="5408677" y="3263062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3" name="Oval 1099"/>
              <p:cNvSpPr>
                <a:spLocks noChangeArrowheads="1"/>
              </p:cNvSpPr>
              <p:nvPr/>
            </p:nvSpPr>
            <p:spPr bwMode="auto">
              <a:xfrm>
                <a:off x="5408677" y="3263062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4" name="Oval 1100"/>
              <p:cNvSpPr>
                <a:spLocks noChangeArrowheads="1"/>
              </p:cNvSpPr>
              <p:nvPr/>
            </p:nvSpPr>
            <p:spPr bwMode="auto">
              <a:xfrm>
                <a:off x="5267387" y="3283700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5" name="Oval 1101"/>
              <p:cNvSpPr>
                <a:spLocks noChangeArrowheads="1"/>
              </p:cNvSpPr>
              <p:nvPr/>
            </p:nvSpPr>
            <p:spPr bwMode="auto">
              <a:xfrm>
                <a:off x="5267387" y="3283700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6" name="Oval 1102"/>
              <p:cNvSpPr>
                <a:spLocks noChangeArrowheads="1"/>
              </p:cNvSpPr>
              <p:nvPr/>
            </p:nvSpPr>
            <p:spPr bwMode="auto">
              <a:xfrm>
                <a:off x="7799480" y="3153524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7" name="Oval 1103"/>
              <p:cNvSpPr>
                <a:spLocks noChangeArrowheads="1"/>
              </p:cNvSpPr>
              <p:nvPr/>
            </p:nvSpPr>
            <p:spPr bwMode="auto">
              <a:xfrm>
                <a:off x="7799480" y="3153524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8" name="Oval 1104"/>
              <p:cNvSpPr>
                <a:spLocks noChangeArrowheads="1"/>
              </p:cNvSpPr>
              <p:nvPr/>
            </p:nvSpPr>
            <p:spPr bwMode="auto">
              <a:xfrm>
                <a:off x="6192912" y="2902695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79" name="Oval 1105"/>
              <p:cNvSpPr>
                <a:spLocks noChangeArrowheads="1"/>
              </p:cNvSpPr>
              <p:nvPr/>
            </p:nvSpPr>
            <p:spPr bwMode="auto">
              <a:xfrm>
                <a:off x="6192912" y="2902695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0" name="Oval 1106"/>
              <p:cNvSpPr>
                <a:spLocks noChangeArrowheads="1"/>
              </p:cNvSpPr>
              <p:nvPr/>
            </p:nvSpPr>
            <p:spPr bwMode="auto">
              <a:xfrm>
                <a:off x="6161160" y="3021759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1" name="Oval 1107"/>
              <p:cNvSpPr>
                <a:spLocks noChangeArrowheads="1"/>
              </p:cNvSpPr>
              <p:nvPr/>
            </p:nvSpPr>
            <p:spPr bwMode="auto">
              <a:xfrm>
                <a:off x="6161160" y="3021759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2" name="Oval 1108"/>
              <p:cNvSpPr>
                <a:spLocks noChangeArrowheads="1"/>
              </p:cNvSpPr>
              <p:nvPr/>
            </p:nvSpPr>
            <p:spPr bwMode="auto">
              <a:xfrm>
                <a:off x="6480252" y="3436102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3" name="Oval 1109"/>
              <p:cNvSpPr>
                <a:spLocks noChangeArrowheads="1"/>
              </p:cNvSpPr>
              <p:nvPr/>
            </p:nvSpPr>
            <p:spPr bwMode="auto">
              <a:xfrm>
                <a:off x="6480252" y="3436102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4" name="Oval 1110"/>
              <p:cNvSpPr>
                <a:spLocks noChangeArrowheads="1"/>
              </p:cNvSpPr>
              <p:nvPr/>
            </p:nvSpPr>
            <p:spPr bwMode="auto">
              <a:xfrm>
                <a:off x="6988259" y="3818696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5" name="Oval 1111"/>
              <p:cNvSpPr>
                <a:spLocks noChangeArrowheads="1"/>
              </p:cNvSpPr>
              <p:nvPr/>
            </p:nvSpPr>
            <p:spPr bwMode="auto">
              <a:xfrm>
                <a:off x="6988259" y="3818696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6" name="Oval 1112"/>
              <p:cNvSpPr>
                <a:spLocks noChangeArrowheads="1"/>
              </p:cNvSpPr>
              <p:nvPr/>
            </p:nvSpPr>
            <p:spPr bwMode="auto">
              <a:xfrm>
                <a:off x="5910333" y="3032871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7" name="Oval 1113"/>
              <p:cNvSpPr>
                <a:spLocks noChangeArrowheads="1"/>
              </p:cNvSpPr>
              <p:nvPr/>
            </p:nvSpPr>
            <p:spPr bwMode="auto">
              <a:xfrm>
                <a:off x="5910333" y="3032871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8" name="Oval 1114"/>
              <p:cNvSpPr>
                <a:spLocks noChangeArrowheads="1"/>
              </p:cNvSpPr>
              <p:nvPr/>
            </p:nvSpPr>
            <p:spPr bwMode="auto">
              <a:xfrm>
                <a:off x="8002682" y="5433207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89" name="Oval 1115"/>
              <p:cNvSpPr>
                <a:spLocks noChangeArrowheads="1"/>
              </p:cNvSpPr>
              <p:nvPr/>
            </p:nvSpPr>
            <p:spPr bwMode="auto">
              <a:xfrm>
                <a:off x="8002682" y="5433207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0" name="Oval 1116"/>
              <p:cNvSpPr>
                <a:spLocks noChangeArrowheads="1"/>
              </p:cNvSpPr>
              <p:nvPr/>
            </p:nvSpPr>
            <p:spPr bwMode="auto">
              <a:xfrm>
                <a:off x="7307349" y="5280806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1" name="Oval 1117"/>
              <p:cNvSpPr>
                <a:spLocks noChangeArrowheads="1"/>
              </p:cNvSpPr>
              <p:nvPr/>
            </p:nvSpPr>
            <p:spPr bwMode="auto">
              <a:xfrm>
                <a:off x="7307349" y="5280806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2" name="Oval 1118"/>
              <p:cNvSpPr>
                <a:spLocks noChangeArrowheads="1"/>
              </p:cNvSpPr>
              <p:nvPr/>
            </p:nvSpPr>
            <p:spPr bwMode="auto">
              <a:xfrm>
                <a:off x="8186835" y="5009338"/>
                <a:ext cx="7778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3" name="Oval 1119"/>
              <p:cNvSpPr>
                <a:spLocks noChangeArrowheads="1"/>
              </p:cNvSpPr>
              <p:nvPr/>
            </p:nvSpPr>
            <p:spPr bwMode="auto">
              <a:xfrm>
                <a:off x="8186835" y="5009338"/>
                <a:ext cx="7778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4" name="Freeform 1120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5" name="Freeform 1121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6" name="Freeform 1122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7" name="Freeform 1123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8" name="Freeform 1124"/>
              <p:cNvSpPr>
                <a:spLocks/>
              </p:cNvSpPr>
              <p:nvPr/>
            </p:nvSpPr>
            <p:spPr bwMode="auto">
              <a:xfrm>
                <a:off x="8344000" y="5255405"/>
                <a:ext cx="82550" cy="241303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49" y="3"/>
                  </a:cxn>
                  <a:cxn ang="0">
                    <a:pos x="33" y="3"/>
                  </a:cxn>
                  <a:cxn ang="0">
                    <a:pos x="33" y="13"/>
                  </a:cxn>
                  <a:cxn ang="0">
                    <a:pos x="33" y="29"/>
                  </a:cxn>
                  <a:cxn ang="0">
                    <a:pos x="19" y="33"/>
                  </a:cxn>
                  <a:cxn ang="0">
                    <a:pos x="13" y="53"/>
                  </a:cxn>
                  <a:cxn ang="0">
                    <a:pos x="9" y="59"/>
                  </a:cxn>
                  <a:cxn ang="0">
                    <a:pos x="13" y="66"/>
                  </a:cxn>
                  <a:cxn ang="0">
                    <a:pos x="13" y="92"/>
                  </a:cxn>
                  <a:cxn ang="0">
                    <a:pos x="9" y="99"/>
                  </a:cxn>
                  <a:cxn ang="0">
                    <a:pos x="0" y="119"/>
                  </a:cxn>
                  <a:cxn ang="0">
                    <a:pos x="0" y="138"/>
                  </a:cxn>
                  <a:cxn ang="0">
                    <a:pos x="13" y="152"/>
                  </a:cxn>
                  <a:cxn ang="0">
                    <a:pos x="13" y="152"/>
                  </a:cxn>
                  <a:cxn ang="0">
                    <a:pos x="19" y="138"/>
                  </a:cxn>
                  <a:cxn ang="0">
                    <a:pos x="23" y="138"/>
                  </a:cxn>
                  <a:cxn ang="0">
                    <a:pos x="29" y="122"/>
                  </a:cxn>
                  <a:cxn ang="0">
                    <a:pos x="33" y="105"/>
                  </a:cxn>
                  <a:cxn ang="0">
                    <a:pos x="33" y="86"/>
                  </a:cxn>
                  <a:cxn ang="0">
                    <a:pos x="39" y="72"/>
                  </a:cxn>
                  <a:cxn ang="0">
                    <a:pos x="42" y="53"/>
                  </a:cxn>
                  <a:cxn ang="0">
                    <a:pos x="46" y="29"/>
                  </a:cxn>
                  <a:cxn ang="0">
                    <a:pos x="49" y="13"/>
                  </a:cxn>
                  <a:cxn ang="0">
                    <a:pos x="52" y="0"/>
                  </a:cxn>
                </a:cxnLst>
                <a:rect l="0" t="0" r="r" b="b"/>
                <a:pathLst>
                  <a:path w="52" h="152">
                    <a:moveTo>
                      <a:pt x="52" y="0"/>
                    </a:moveTo>
                    <a:lnTo>
                      <a:pt x="49" y="3"/>
                    </a:lnTo>
                    <a:lnTo>
                      <a:pt x="33" y="3"/>
                    </a:lnTo>
                    <a:lnTo>
                      <a:pt x="33" y="13"/>
                    </a:lnTo>
                    <a:lnTo>
                      <a:pt x="33" y="29"/>
                    </a:lnTo>
                    <a:lnTo>
                      <a:pt x="19" y="33"/>
                    </a:lnTo>
                    <a:lnTo>
                      <a:pt x="13" y="53"/>
                    </a:lnTo>
                    <a:lnTo>
                      <a:pt x="9" y="59"/>
                    </a:lnTo>
                    <a:lnTo>
                      <a:pt x="13" y="66"/>
                    </a:lnTo>
                    <a:lnTo>
                      <a:pt x="13" y="92"/>
                    </a:lnTo>
                    <a:lnTo>
                      <a:pt x="9" y="99"/>
                    </a:lnTo>
                    <a:lnTo>
                      <a:pt x="0" y="119"/>
                    </a:lnTo>
                    <a:lnTo>
                      <a:pt x="0" y="138"/>
                    </a:lnTo>
                    <a:lnTo>
                      <a:pt x="13" y="152"/>
                    </a:lnTo>
                    <a:lnTo>
                      <a:pt x="13" y="152"/>
                    </a:lnTo>
                    <a:lnTo>
                      <a:pt x="19" y="138"/>
                    </a:lnTo>
                    <a:lnTo>
                      <a:pt x="23" y="138"/>
                    </a:lnTo>
                    <a:lnTo>
                      <a:pt x="29" y="122"/>
                    </a:lnTo>
                    <a:lnTo>
                      <a:pt x="33" y="105"/>
                    </a:lnTo>
                    <a:lnTo>
                      <a:pt x="33" y="86"/>
                    </a:lnTo>
                    <a:lnTo>
                      <a:pt x="39" y="72"/>
                    </a:lnTo>
                    <a:lnTo>
                      <a:pt x="42" y="53"/>
                    </a:lnTo>
                    <a:lnTo>
                      <a:pt x="46" y="29"/>
                    </a:lnTo>
                    <a:lnTo>
                      <a:pt x="49" y="13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199" name="Freeform 1125"/>
              <p:cNvSpPr>
                <a:spLocks/>
              </p:cNvSpPr>
              <p:nvPr/>
            </p:nvSpPr>
            <p:spPr bwMode="auto">
              <a:xfrm>
                <a:off x="8344000" y="5255405"/>
                <a:ext cx="82550" cy="241303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49" y="3"/>
                  </a:cxn>
                  <a:cxn ang="0">
                    <a:pos x="33" y="3"/>
                  </a:cxn>
                  <a:cxn ang="0">
                    <a:pos x="33" y="13"/>
                  </a:cxn>
                  <a:cxn ang="0">
                    <a:pos x="33" y="29"/>
                  </a:cxn>
                  <a:cxn ang="0">
                    <a:pos x="19" y="33"/>
                  </a:cxn>
                  <a:cxn ang="0">
                    <a:pos x="13" y="53"/>
                  </a:cxn>
                  <a:cxn ang="0">
                    <a:pos x="9" y="59"/>
                  </a:cxn>
                  <a:cxn ang="0">
                    <a:pos x="13" y="66"/>
                  </a:cxn>
                  <a:cxn ang="0">
                    <a:pos x="13" y="92"/>
                  </a:cxn>
                  <a:cxn ang="0">
                    <a:pos x="9" y="99"/>
                  </a:cxn>
                  <a:cxn ang="0">
                    <a:pos x="0" y="119"/>
                  </a:cxn>
                  <a:cxn ang="0">
                    <a:pos x="0" y="138"/>
                  </a:cxn>
                  <a:cxn ang="0">
                    <a:pos x="13" y="152"/>
                  </a:cxn>
                  <a:cxn ang="0">
                    <a:pos x="13" y="152"/>
                  </a:cxn>
                  <a:cxn ang="0">
                    <a:pos x="19" y="138"/>
                  </a:cxn>
                  <a:cxn ang="0">
                    <a:pos x="23" y="138"/>
                  </a:cxn>
                  <a:cxn ang="0">
                    <a:pos x="29" y="122"/>
                  </a:cxn>
                  <a:cxn ang="0">
                    <a:pos x="33" y="105"/>
                  </a:cxn>
                  <a:cxn ang="0">
                    <a:pos x="33" y="86"/>
                  </a:cxn>
                  <a:cxn ang="0">
                    <a:pos x="39" y="72"/>
                  </a:cxn>
                  <a:cxn ang="0">
                    <a:pos x="42" y="53"/>
                  </a:cxn>
                  <a:cxn ang="0">
                    <a:pos x="46" y="29"/>
                  </a:cxn>
                  <a:cxn ang="0">
                    <a:pos x="49" y="13"/>
                  </a:cxn>
                  <a:cxn ang="0">
                    <a:pos x="52" y="0"/>
                  </a:cxn>
                </a:cxnLst>
                <a:rect l="0" t="0" r="r" b="b"/>
                <a:pathLst>
                  <a:path w="52" h="152">
                    <a:moveTo>
                      <a:pt x="52" y="0"/>
                    </a:moveTo>
                    <a:lnTo>
                      <a:pt x="49" y="3"/>
                    </a:lnTo>
                    <a:lnTo>
                      <a:pt x="33" y="3"/>
                    </a:lnTo>
                    <a:lnTo>
                      <a:pt x="33" y="13"/>
                    </a:lnTo>
                    <a:lnTo>
                      <a:pt x="33" y="29"/>
                    </a:lnTo>
                    <a:lnTo>
                      <a:pt x="19" y="33"/>
                    </a:lnTo>
                    <a:lnTo>
                      <a:pt x="13" y="53"/>
                    </a:lnTo>
                    <a:lnTo>
                      <a:pt x="9" y="59"/>
                    </a:lnTo>
                    <a:lnTo>
                      <a:pt x="13" y="66"/>
                    </a:lnTo>
                    <a:lnTo>
                      <a:pt x="13" y="92"/>
                    </a:lnTo>
                    <a:lnTo>
                      <a:pt x="9" y="99"/>
                    </a:lnTo>
                    <a:lnTo>
                      <a:pt x="0" y="119"/>
                    </a:lnTo>
                    <a:lnTo>
                      <a:pt x="0" y="138"/>
                    </a:lnTo>
                    <a:lnTo>
                      <a:pt x="13" y="152"/>
                    </a:lnTo>
                    <a:lnTo>
                      <a:pt x="13" y="152"/>
                    </a:lnTo>
                    <a:lnTo>
                      <a:pt x="19" y="138"/>
                    </a:lnTo>
                    <a:lnTo>
                      <a:pt x="23" y="138"/>
                    </a:lnTo>
                    <a:lnTo>
                      <a:pt x="29" y="122"/>
                    </a:lnTo>
                    <a:lnTo>
                      <a:pt x="33" y="105"/>
                    </a:lnTo>
                    <a:lnTo>
                      <a:pt x="33" y="86"/>
                    </a:lnTo>
                    <a:lnTo>
                      <a:pt x="39" y="72"/>
                    </a:lnTo>
                    <a:lnTo>
                      <a:pt x="42" y="53"/>
                    </a:lnTo>
                    <a:lnTo>
                      <a:pt x="46" y="29"/>
                    </a:lnTo>
                    <a:lnTo>
                      <a:pt x="49" y="13"/>
                    </a:lnTo>
                    <a:lnTo>
                      <a:pt x="52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0" name="Freeform 1126"/>
              <p:cNvSpPr>
                <a:spLocks/>
              </p:cNvSpPr>
              <p:nvPr/>
            </p:nvSpPr>
            <p:spPr bwMode="auto">
              <a:xfrm>
                <a:off x="8344000" y="5255405"/>
                <a:ext cx="82550" cy="241303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49" y="3"/>
                  </a:cxn>
                  <a:cxn ang="0">
                    <a:pos x="33" y="3"/>
                  </a:cxn>
                  <a:cxn ang="0">
                    <a:pos x="33" y="13"/>
                  </a:cxn>
                  <a:cxn ang="0">
                    <a:pos x="33" y="29"/>
                  </a:cxn>
                  <a:cxn ang="0">
                    <a:pos x="19" y="33"/>
                  </a:cxn>
                  <a:cxn ang="0">
                    <a:pos x="13" y="53"/>
                  </a:cxn>
                  <a:cxn ang="0">
                    <a:pos x="9" y="59"/>
                  </a:cxn>
                  <a:cxn ang="0">
                    <a:pos x="13" y="66"/>
                  </a:cxn>
                  <a:cxn ang="0">
                    <a:pos x="13" y="92"/>
                  </a:cxn>
                  <a:cxn ang="0">
                    <a:pos x="9" y="99"/>
                  </a:cxn>
                  <a:cxn ang="0">
                    <a:pos x="0" y="119"/>
                  </a:cxn>
                  <a:cxn ang="0">
                    <a:pos x="0" y="138"/>
                  </a:cxn>
                  <a:cxn ang="0">
                    <a:pos x="13" y="152"/>
                  </a:cxn>
                  <a:cxn ang="0">
                    <a:pos x="13" y="152"/>
                  </a:cxn>
                  <a:cxn ang="0">
                    <a:pos x="19" y="138"/>
                  </a:cxn>
                  <a:cxn ang="0">
                    <a:pos x="23" y="138"/>
                  </a:cxn>
                  <a:cxn ang="0">
                    <a:pos x="29" y="122"/>
                  </a:cxn>
                  <a:cxn ang="0">
                    <a:pos x="33" y="105"/>
                  </a:cxn>
                  <a:cxn ang="0">
                    <a:pos x="33" y="86"/>
                  </a:cxn>
                  <a:cxn ang="0">
                    <a:pos x="39" y="72"/>
                  </a:cxn>
                  <a:cxn ang="0">
                    <a:pos x="42" y="53"/>
                  </a:cxn>
                  <a:cxn ang="0">
                    <a:pos x="46" y="29"/>
                  </a:cxn>
                  <a:cxn ang="0">
                    <a:pos x="49" y="13"/>
                  </a:cxn>
                  <a:cxn ang="0">
                    <a:pos x="52" y="0"/>
                  </a:cxn>
                </a:cxnLst>
                <a:rect l="0" t="0" r="r" b="b"/>
                <a:pathLst>
                  <a:path w="52" h="152">
                    <a:moveTo>
                      <a:pt x="52" y="0"/>
                    </a:moveTo>
                    <a:lnTo>
                      <a:pt x="49" y="3"/>
                    </a:lnTo>
                    <a:lnTo>
                      <a:pt x="33" y="3"/>
                    </a:lnTo>
                    <a:lnTo>
                      <a:pt x="33" y="13"/>
                    </a:lnTo>
                    <a:lnTo>
                      <a:pt x="33" y="29"/>
                    </a:lnTo>
                    <a:lnTo>
                      <a:pt x="19" y="33"/>
                    </a:lnTo>
                    <a:lnTo>
                      <a:pt x="13" y="53"/>
                    </a:lnTo>
                    <a:lnTo>
                      <a:pt x="9" y="59"/>
                    </a:lnTo>
                    <a:lnTo>
                      <a:pt x="13" y="66"/>
                    </a:lnTo>
                    <a:lnTo>
                      <a:pt x="13" y="92"/>
                    </a:lnTo>
                    <a:lnTo>
                      <a:pt x="9" y="99"/>
                    </a:lnTo>
                    <a:lnTo>
                      <a:pt x="0" y="119"/>
                    </a:lnTo>
                    <a:lnTo>
                      <a:pt x="0" y="138"/>
                    </a:lnTo>
                    <a:lnTo>
                      <a:pt x="13" y="152"/>
                    </a:lnTo>
                    <a:lnTo>
                      <a:pt x="13" y="152"/>
                    </a:lnTo>
                    <a:lnTo>
                      <a:pt x="19" y="138"/>
                    </a:lnTo>
                    <a:lnTo>
                      <a:pt x="23" y="138"/>
                    </a:lnTo>
                    <a:lnTo>
                      <a:pt x="29" y="122"/>
                    </a:lnTo>
                    <a:lnTo>
                      <a:pt x="33" y="105"/>
                    </a:lnTo>
                    <a:lnTo>
                      <a:pt x="33" y="86"/>
                    </a:lnTo>
                    <a:lnTo>
                      <a:pt x="39" y="72"/>
                    </a:lnTo>
                    <a:lnTo>
                      <a:pt x="42" y="53"/>
                    </a:lnTo>
                    <a:lnTo>
                      <a:pt x="46" y="29"/>
                    </a:lnTo>
                    <a:lnTo>
                      <a:pt x="49" y="13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1" name="Freeform 1127"/>
              <p:cNvSpPr>
                <a:spLocks/>
              </p:cNvSpPr>
              <p:nvPr/>
            </p:nvSpPr>
            <p:spPr bwMode="auto">
              <a:xfrm>
                <a:off x="8344000" y="5255405"/>
                <a:ext cx="82550" cy="241303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49" y="3"/>
                  </a:cxn>
                  <a:cxn ang="0">
                    <a:pos x="33" y="3"/>
                  </a:cxn>
                  <a:cxn ang="0">
                    <a:pos x="33" y="13"/>
                  </a:cxn>
                  <a:cxn ang="0">
                    <a:pos x="33" y="29"/>
                  </a:cxn>
                  <a:cxn ang="0">
                    <a:pos x="19" y="33"/>
                  </a:cxn>
                  <a:cxn ang="0">
                    <a:pos x="13" y="53"/>
                  </a:cxn>
                  <a:cxn ang="0">
                    <a:pos x="9" y="59"/>
                  </a:cxn>
                  <a:cxn ang="0">
                    <a:pos x="13" y="66"/>
                  </a:cxn>
                  <a:cxn ang="0">
                    <a:pos x="13" y="92"/>
                  </a:cxn>
                  <a:cxn ang="0">
                    <a:pos x="9" y="99"/>
                  </a:cxn>
                  <a:cxn ang="0">
                    <a:pos x="0" y="119"/>
                  </a:cxn>
                  <a:cxn ang="0">
                    <a:pos x="0" y="138"/>
                  </a:cxn>
                  <a:cxn ang="0">
                    <a:pos x="13" y="152"/>
                  </a:cxn>
                  <a:cxn ang="0">
                    <a:pos x="13" y="152"/>
                  </a:cxn>
                  <a:cxn ang="0">
                    <a:pos x="19" y="138"/>
                  </a:cxn>
                  <a:cxn ang="0">
                    <a:pos x="23" y="138"/>
                  </a:cxn>
                  <a:cxn ang="0">
                    <a:pos x="29" y="122"/>
                  </a:cxn>
                  <a:cxn ang="0">
                    <a:pos x="33" y="105"/>
                  </a:cxn>
                  <a:cxn ang="0">
                    <a:pos x="33" y="86"/>
                  </a:cxn>
                  <a:cxn ang="0">
                    <a:pos x="39" y="72"/>
                  </a:cxn>
                  <a:cxn ang="0">
                    <a:pos x="42" y="53"/>
                  </a:cxn>
                  <a:cxn ang="0">
                    <a:pos x="46" y="29"/>
                  </a:cxn>
                  <a:cxn ang="0">
                    <a:pos x="49" y="13"/>
                  </a:cxn>
                  <a:cxn ang="0">
                    <a:pos x="52" y="0"/>
                  </a:cxn>
                </a:cxnLst>
                <a:rect l="0" t="0" r="r" b="b"/>
                <a:pathLst>
                  <a:path w="52" h="152">
                    <a:moveTo>
                      <a:pt x="52" y="0"/>
                    </a:moveTo>
                    <a:lnTo>
                      <a:pt x="49" y="3"/>
                    </a:lnTo>
                    <a:lnTo>
                      <a:pt x="33" y="3"/>
                    </a:lnTo>
                    <a:lnTo>
                      <a:pt x="33" y="13"/>
                    </a:lnTo>
                    <a:lnTo>
                      <a:pt x="33" y="29"/>
                    </a:lnTo>
                    <a:lnTo>
                      <a:pt x="19" y="33"/>
                    </a:lnTo>
                    <a:lnTo>
                      <a:pt x="13" y="53"/>
                    </a:lnTo>
                    <a:lnTo>
                      <a:pt x="9" y="59"/>
                    </a:lnTo>
                    <a:lnTo>
                      <a:pt x="13" y="66"/>
                    </a:lnTo>
                    <a:lnTo>
                      <a:pt x="13" y="92"/>
                    </a:lnTo>
                    <a:lnTo>
                      <a:pt x="9" y="99"/>
                    </a:lnTo>
                    <a:lnTo>
                      <a:pt x="0" y="119"/>
                    </a:lnTo>
                    <a:lnTo>
                      <a:pt x="0" y="138"/>
                    </a:lnTo>
                    <a:lnTo>
                      <a:pt x="13" y="152"/>
                    </a:lnTo>
                    <a:lnTo>
                      <a:pt x="13" y="152"/>
                    </a:lnTo>
                    <a:lnTo>
                      <a:pt x="19" y="138"/>
                    </a:lnTo>
                    <a:lnTo>
                      <a:pt x="23" y="138"/>
                    </a:lnTo>
                    <a:lnTo>
                      <a:pt x="29" y="122"/>
                    </a:lnTo>
                    <a:lnTo>
                      <a:pt x="33" y="105"/>
                    </a:lnTo>
                    <a:lnTo>
                      <a:pt x="33" y="86"/>
                    </a:lnTo>
                    <a:lnTo>
                      <a:pt x="39" y="72"/>
                    </a:lnTo>
                    <a:lnTo>
                      <a:pt x="42" y="53"/>
                    </a:lnTo>
                    <a:lnTo>
                      <a:pt x="46" y="29"/>
                    </a:lnTo>
                    <a:lnTo>
                      <a:pt x="49" y="13"/>
                    </a:lnTo>
                    <a:lnTo>
                      <a:pt x="52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2" name="Oval 1128"/>
              <p:cNvSpPr>
                <a:spLocks noChangeArrowheads="1"/>
              </p:cNvSpPr>
              <p:nvPr/>
            </p:nvSpPr>
            <p:spPr bwMode="auto">
              <a:xfrm>
                <a:off x="1641495" y="3656768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3" name="Oval 1129"/>
              <p:cNvSpPr>
                <a:spLocks noChangeArrowheads="1"/>
              </p:cNvSpPr>
              <p:nvPr/>
            </p:nvSpPr>
            <p:spPr bwMode="auto">
              <a:xfrm>
                <a:off x="1641495" y="3656768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4" name="Oval 1130"/>
              <p:cNvSpPr>
                <a:spLocks noChangeArrowheads="1"/>
              </p:cNvSpPr>
              <p:nvPr/>
            </p:nvSpPr>
            <p:spPr bwMode="auto">
              <a:xfrm>
                <a:off x="1584345" y="3426577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5" name="Oval 1131"/>
              <p:cNvSpPr>
                <a:spLocks noChangeArrowheads="1"/>
              </p:cNvSpPr>
              <p:nvPr/>
            </p:nvSpPr>
            <p:spPr bwMode="auto">
              <a:xfrm>
                <a:off x="1584345" y="3426577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6" name="Oval 1132"/>
              <p:cNvSpPr>
                <a:spLocks noChangeArrowheads="1"/>
              </p:cNvSpPr>
              <p:nvPr/>
            </p:nvSpPr>
            <p:spPr bwMode="auto">
              <a:xfrm>
                <a:off x="1693883" y="3404351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7" name="Oval 1133"/>
              <p:cNvSpPr>
                <a:spLocks noChangeArrowheads="1"/>
              </p:cNvSpPr>
              <p:nvPr/>
            </p:nvSpPr>
            <p:spPr bwMode="auto">
              <a:xfrm>
                <a:off x="1693883" y="3404351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8" name="Oval 1134"/>
              <p:cNvSpPr>
                <a:spLocks noChangeArrowheads="1"/>
              </p:cNvSpPr>
              <p:nvPr/>
            </p:nvSpPr>
            <p:spPr bwMode="auto">
              <a:xfrm>
                <a:off x="1495443" y="3394826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09" name="Oval 1135"/>
              <p:cNvSpPr>
                <a:spLocks noChangeArrowheads="1"/>
              </p:cNvSpPr>
              <p:nvPr/>
            </p:nvSpPr>
            <p:spPr bwMode="auto">
              <a:xfrm>
                <a:off x="1495443" y="3394826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0" name="Oval 1136"/>
              <p:cNvSpPr>
                <a:spLocks noChangeArrowheads="1"/>
              </p:cNvSpPr>
              <p:nvPr/>
            </p:nvSpPr>
            <p:spPr bwMode="auto">
              <a:xfrm>
                <a:off x="1735160" y="3718682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1" name="Oval 1137"/>
              <p:cNvSpPr>
                <a:spLocks noChangeArrowheads="1"/>
              </p:cNvSpPr>
              <p:nvPr/>
            </p:nvSpPr>
            <p:spPr bwMode="auto">
              <a:xfrm>
                <a:off x="1735160" y="3718682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2" name="Oval 1138"/>
              <p:cNvSpPr>
                <a:spLocks noChangeArrowheads="1"/>
              </p:cNvSpPr>
              <p:nvPr/>
            </p:nvSpPr>
            <p:spPr bwMode="auto">
              <a:xfrm>
                <a:off x="1735160" y="3666293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3" name="Oval 1139"/>
              <p:cNvSpPr>
                <a:spLocks noChangeArrowheads="1"/>
              </p:cNvSpPr>
              <p:nvPr/>
            </p:nvSpPr>
            <p:spPr bwMode="auto">
              <a:xfrm>
                <a:off x="1735160" y="3666293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4" name="Oval 1140"/>
              <p:cNvSpPr>
                <a:spLocks noChangeArrowheads="1"/>
              </p:cNvSpPr>
              <p:nvPr/>
            </p:nvSpPr>
            <p:spPr bwMode="auto">
              <a:xfrm>
                <a:off x="1704996" y="3515479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5" name="Oval 1141"/>
              <p:cNvSpPr>
                <a:spLocks noChangeArrowheads="1"/>
              </p:cNvSpPr>
              <p:nvPr/>
            </p:nvSpPr>
            <p:spPr bwMode="auto">
              <a:xfrm>
                <a:off x="1704996" y="3515479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6" name="Oval 1142"/>
              <p:cNvSpPr>
                <a:spLocks noChangeArrowheads="1"/>
              </p:cNvSpPr>
              <p:nvPr/>
            </p:nvSpPr>
            <p:spPr bwMode="auto">
              <a:xfrm>
                <a:off x="1773260" y="3750432"/>
                <a:ext cx="82550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7" name="Oval 1143"/>
              <p:cNvSpPr>
                <a:spLocks noChangeArrowheads="1"/>
              </p:cNvSpPr>
              <p:nvPr/>
            </p:nvSpPr>
            <p:spPr bwMode="auto">
              <a:xfrm>
                <a:off x="1773260" y="3750432"/>
                <a:ext cx="82550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8" name="Oval 1144"/>
              <p:cNvSpPr>
                <a:spLocks noChangeArrowheads="1"/>
              </p:cNvSpPr>
              <p:nvPr/>
            </p:nvSpPr>
            <p:spPr bwMode="auto">
              <a:xfrm>
                <a:off x="1682770" y="3740907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19" name="Oval 1145"/>
              <p:cNvSpPr>
                <a:spLocks noChangeArrowheads="1"/>
              </p:cNvSpPr>
              <p:nvPr/>
            </p:nvSpPr>
            <p:spPr bwMode="auto">
              <a:xfrm>
                <a:off x="1682770" y="3740907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0" name="Oval 1146"/>
              <p:cNvSpPr>
                <a:spLocks noChangeArrowheads="1"/>
              </p:cNvSpPr>
              <p:nvPr/>
            </p:nvSpPr>
            <p:spPr bwMode="auto">
              <a:xfrm>
                <a:off x="1662133" y="3588505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1" name="Oval 1147"/>
              <p:cNvSpPr>
                <a:spLocks noChangeArrowheads="1"/>
              </p:cNvSpPr>
              <p:nvPr/>
            </p:nvSpPr>
            <p:spPr bwMode="auto">
              <a:xfrm>
                <a:off x="1662133" y="3588505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2" name="Oval 1148"/>
              <p:cNvSpPr>
                <a:spLocks noChangeArrowheads="1"/>
              </p:cNvSpPr>
              <p:nvPr/>
            </p:nvSpPr>
            <p:spPr bwMode="auto">
              <a:xfrm>
                <a:off x="1682770" y="2707429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3" name="Oval 1149"/>
              <p:cNvSpPr>
                <a:spLocks noChangeArrowheads="1"/>
              </p:cNvSpPr>
              <p:nvPr/>
            </p:nvSpPr>
            <p:spPr bwMode="auto">
              <a:xfrm>
                <a:off x="1682770" y="2707429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4" name="Oval 1150"/>
              <p:cNvSpPr>
                <a:spLocks noChangeArrowheads="1"/>
              </p:cNvSpPr>
              <p:nvPr/>
            </p:nvSpPr>
            <p:spPr bwMode="auto">
              <a:xfrm>
                <a:off x="1824060" y="2618528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5" name="Oval 1151"/>
              <p:cNvSpPr>
                <a:spLocks noChangeArrowheads="1"/>
              </p:cNvSpPr>
              <p:nvPr/>
            </p:nvSpPr>
            <p:spPr bwMode="auto">
              <a:xfrm>
                <a:off x="1824060" y="2618528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6" name="Oval 1152"/>
              <p:cNvSpPr>
                <a:spLocks noChangeArrowheads="1"/>
              </p:cNvSpPr>
              <p:nvPr/>
            </p:nvSpPr>
            <p:spPr bwMode="auto">
              <a:xfrm>
                <a:off x="2751171" y="2870945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7" name="Oval 1153"/>
              <p:cNvSpPr>
                <a:spLocks noChangeArrowheads="1"/>
              </p:cNvSpPr>
              <p:nvPr/>
            </p:nvSpPr>
            <p:spPr bwMode="auto">
              <a:xfrm>
                <a:off x="2751171" y="2870945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8" name="Oval 1154"/>
              <p:cNvSpPr>
                <a:spLocks noChangeArrowheads="1"/>
              </p:cNvSpPr>
              <p:nvPr/>
            </p:nvSpPr>
            <p:spPr bwMode="auto">
              <a:xfrm>
                <a:off x="2530506" y="2870945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29" name="Oval 1155"/>
              <p:cNvSpPr>
                <a:spLocks noChangeArrowheads="1"/>
              </p:cNvSpPr>
              <p:nvPr/>
            </p:nvSpPr>
            <p:spPr bwMode="auto">
              <a:xfrm>
                <a:off x="2530506" y="2870945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0" name="Oval 1156"/>
              <p:cNvSpPr>
                <a:spLocks noChangeArrowheads="1"/>
              </p:cNvSpPr>
              <p:nvPr/>
            </p:nvSpPr>
            <p:spPr bwMode="auto">
              <a:xfrm>
                <a:off x="2436843" y="2902695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1" name="Oval 1157"/>
              <p:cNvSpPr>
                <a:spLocks noChangeArrowheads="1"/>
              </p:cNvSpPr>
              <p:nvPr/>
            </p:nvSpPr>
            <p:spPr bwMode="auto">
              <a:xfrm>
                <a:off x="2436843" y="2902695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2" name="Oval 1158"/>
              <p:cNvSpPr>
                <a:spLocks noChangeArrowheads="1"/>
              </p:cNvSpPr>
              <p:nvPr/>
            </p:nvSpPr>
            <p:spPr bwMode="auto">
              <a:xfrm>
                <a:off x="2389216" y="2943971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3" name="Oval 1159"/>
              <p:cNvSpPr>
                <a:spLocks noChangeArrowheads="1"/>
              </p:cNvSpPr>
              <p:nvPr/>
            </p:nvSpPr>
            <p:spPr bwMode="auto">
              <a:xfrm>
                <a:off x="2389216" y="2943971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4" name="Oval 1160"/>
              <p:cNvSpPr>
                <a:spLocks noChangeArrowheads="1"/>
              </p:cNvSpPr>
              <p:nvPr/>
            </p:nvSpPr>
            <p:spPr bwMode="auto">
              <a:xfrm>
                <a:off x="2468593" y="2850307"/>
                <a:ext cx="8413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5" name="Oval 1161"/>
              <p:cNvSpPr>
                <a:spLocks noChangeArrowheads="1"/>
              </p:cNvSpPr>
              <p:nvPr/>
            </p:nvSpPr>
            <p:spPr bwMode="auto">
              <a:xfrm>
                <a:off x="2468593" y="2850307"/>
                <a:ext cx="8413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6" name="Oval 1162"/>
              <p:cNvSpPr>
                <a:spLocks noChangeArrowheads="1"/>
              </p:cNvSpPr>
              <p:nvPr/>
            </p:nvSpPr>
            <p:spPr bwMode="auto">
              <a:xfrm>
                <a:off x="2641632" y="2818557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7" name="Oval 1163"/>
              <p:cNvSpPr>
                <a:spLocks noChangeArrowheads="1"/>
              </p:cNvSpPr>
              <p:nvPr/>
            </p:nvSpPr>
            <p:spPr bwMode="auto">
              <a:xfrm>
                <a:off x="2641632" y="2818557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8" name="Oval 1164"/>
              <p:cNvSpPr>
                <a:spLocks noChangeArrowheads="1"/>
              </p:cNvSpPr>
              <p:nvPr/>
            </p:nvSpPr>
            <p:spPr bwMode="auto">
              <a:xfrm>
                <a:off x="2598769" y="2839193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39" name="Oval 1165"/>
              <p:cNvSpPr>
                <a:spLocks noChangeArrowheads="1"/>
              </p:cNvSpPr>
              <p:nvPr/>
            </p:nvSpPr>
            <p:spPr bwMode="auto">
              <a:xfrm>
                <a:off x="2598769" y="2839193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0" name="Oval 1166"/>
              <p:cNvSpPr>
                <a:spLocks noChangeArrowheads="1"/>
              </p:cNvSpPr>
              <p:nvPr/>
            </p:nvSpPr>
            <p:spPr bwMode="auto">
              <a:xfrm>
                <a:off x="2541618" y="2802682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1" name="Oval 1167"/>
              <p:cNvSpPr>
                <a:spLocks noChangeArrowheads="1"/>
              </p:cNvSpPr>
              <p:nvPr/>
            </p:nvSpPr>
            <p:spPr bwMode="auto">
              <a:xfrm>
                <a:off x="2541618" y="2802682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2" name="Oval 1168"/>
              <p:cNvSpPr>
                <a:spLocks noChangeArrowheads="1"/>
              </p:cNvSpPr>
              <p:nvPr/>
            </p:nvSpPr>
            <p:spPr bwMode="auto">
              <a:xfrm>
                <a:off x="2698783" y="2880470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3" name="Oval 1169"/>
              <p:cNvSpPr>
                <a:spLocks noChangeArrowheads="1"/>
              </p:cNvSpPr>
              <p:nvPr/>
            </p:nvSpPr>
            <p:spPr bwMode="auto">
              <a:xfrm>
                <a:off x="2698783" y="2880470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4" name="Oval 1170"/>
              <p:cNvSpPr>
                <a:spLocks noChangeArrowheads="1"/>
              </p:cNvSpPr>
              <p:nvPr/>
            </p:nvSpPr>
            <p:spPr bwMode="auto">
              <a:xfrm>
                <a:off x="2598769" y="2902695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5" name="Oval 1171"/>
              <p:cNvSpPr>
                <a:spLocks noChangeArrowheads="1"/>
              </p:cNvSpPr>
              <p:nvPr/>
            </p:nvSpPr>
            <p:spPr bwMode="auto">
              <a:xfrm>
                <a:off x="2598769" y="2902695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6" name="Oval 1172"/>
              <p:cNvSpPr>
                <a:spLocks noChangeArrowheads="1"/>
              </p:cNvSpPr>
              <p:nvPr/>
            </p:nvSpPr>
            <p:spPr bwMode="auto">
              <a:xfrm>
                <a:off x="1965350" y="2686791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7" name="Oval 1173"/>
              <p:cNvSpPr>
                <a:spLocks noChangeArrowheads="1"/>
              </p:cNvSpPr>
              <p:nvPr/>
            </p:nvSpPr>
            <p:spPr bwMode="auto">
              <a:xfrm>
                <a:off x="1965350" y="2686791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8" name="Oval 1174"/>
              <p:cNvSpPr>
                <a:spLocks noChangeArrowheads="1"/>
              </p:cNvSpPr>
              <p:nvPr/>
            </p:nvSpPr>
            <p:spPr bwMode="auto">
              <a:xfrm>
                <a:off x="1474805" y="2718541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49" name="Oval 1175"/>
              <p:cNvSpPr>
                <a:spLocks noChangeArrowheads="1"/>
              </p:cNvSpPr>
              <p:nvPr/>
            </p:nvSpPr>
            <p:spPr bwMode="auto">
              <a:xfrm>
                <a:off x="1474805" y="2718541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0" name="Oval 1176"/>
              <p:cNvSpPr>
                <a:spLocks noChangeArrowheads="1"/>
              </p:cNvSpPr>
              <p:nvPr/>
            </p:nvSpPr>
            <p:spPr bwMode="auto">
              <a:xfrm>
                <a:off x="2500343" y="2912220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1" name="Oval 1177"/>
              <p:cNvSpPr>
                <a:spLocks noChangeArrowheads="1"/>
              </p:cNvSpPr>
              <p:nvPr/>
            </p:nvSpPr>
            <p:spPr bwMode="auto">
              <a:xfrm>
                <a:off x="2500343" y="2912220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2" name="Oval 1178"/>
              <p:cNvSpPr>
                <a:spLocks noChangeArrowheads="1"/>
              </p:cNvSpPr>
              <p:nvPr/>
            </p:nvSpPr>
            <p:spPr bwMode="auto">
              <a:xfrm>
                <a:off x="2730533" y="2828082"/>
                <a:ext cx="82550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3" name="Oval 1179"/>
              <p:cNvSpPr>
                <a:spLocks noChangeArrowheads="1"/>
              </p:cNvSpPr>
              <p:nvPr/>
            </p:nvSpPr>
            <p:spPr bwMode="auto">
              <a:xfrm>
                <a:off x="2730533" y="2828082"/>
                <a:ext cx="82550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4" name="Oval 1180"/>
              <p:cNvSpPr>
                <a:spLocks noChangeArrowheads="1"/>
              </p:cNvSpPr>
              <p:nvPr/>
            </p:nvSpPr>
            <p:spPr bwMode="auto">
              <a:xfrm>
                <a:off x="1504970" y="2759817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5" name="Oval 1181"/>
              <p:cNvSpPr>
                <a:spLocks noChangeArrowheads="1"/>
              </p:cNvSpPr>
              <p:nvPr/>
            </p:nvSpPr>
            <p:spPr bwMode="auto">
              <a:xfrm>
                <a:off x="1504970" y="2759817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6" name="Oval 1182"/>
              <p:cNvSpPr>
                <a:spLocks noChangeArrowheads="1"/>
              </p:cNvSpPr>
              <p:nvPr/>
            </p:nvSpPr>
            <p:spPr bwMode="auto">
              <a:xfrm>
                <a:off x="2425729" y="2948733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7" name="Oval 1183"/>
              <p:cNvSpPr>
                <a:spLocks noChangeArrowheads="1"/>
              </p:cNvSpPr>
              <p:nvPr/>
            </p:nvSpPr>
            <p:spPr bwMode="auto">
              <a:xfrm>
                <a:off x="2425729" y="2948733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8" name="Oval 1184"/>
              <p:cNvSpPr>
                <a:spLocks noChangeArrowheads="1"/>
              </p:cNvSpPr>
              <p:nvPr/>
            </p:nvSpPr>
            <p:spPr bwMode="auto">
              <a:xfrm>
                <a:off x="2165376" y="2750292"/>
                <a:ext cx="82550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59" name="Oval 1185"/>
              <p:cNvSpPr>
                <a:spLocks noChangeArrowheads="1"/>
              </p:cNvSpPr>
              <p:nvPr/>
            </p:nvSpPr>
            <p:spPr bwMode="auto">
              <a:xfrm>
                <a:off x="2165376" y="2750292"/>
                <a:ext cx="82550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0" name="Oval 1186"/>
              <p:cNvSpPr>
                <a:spLocks noChangeArrowheads="1"/>
              </p:cNvSpPr>
              <p:nvPr/>
            </p:nvSpPr>
            <p:spPr bwMode="auto">
              <a:xfrm>
                <a:off x="3336965" y="2267686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1" name="Oval 1187"/>
              <p:cNvSpPr>
                <a:spLocks noChangeArrowheads="1"/>
              </p:cNvSpPr>
              <p:nvPr/>
            </p:nvSpPr>
            <p:spPr bwMode="auto">
              <a:xfrm>
                <a:off x="3336965" y="2267686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2" name="Oval 1188"/>
              <p:cNvSpPr>
                <a:spLocks noChangeArrowheads="1"/>
              </p:cNvSpPr>
              <p:nvPr/>
            </p:nvSpPr>
            <p:spPr bwMode="auto">
              <a:xfrm>
                <a:off x="5062598" y="5039501"/>
                <a:ext cx="8413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3" name="Oval 1189"/>
              <p:cNvSpPr>
                <a:spLocks noChangeArrowheads="1"/>
              </p:cNvSpPr>
              <p:nvPr/>
            </p:nvSpPr>
            <p:spPr bwMode="auto">
              <a:xfrm>
                <a:off x="5062598" y="5039501"/>
                <a:ext cx="8413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4" name="Oval 1190"/>
              <p:cNvSpPr>
                <a:spLocks noChangeArrowheads="1"/>
              </p:cNvSpPr>
              <p:nvPr/>
            </p:nvSpPr>
            <p:spPr bwMode="auto">
              <a:xfrm>
                <a:off x="4911784" y="4929962"/>
                <a:ext cx="82550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5" name="Oval 1191"/>
              <p:cNvSpPr>
                <a:spLocks noChangeArrowheads="1"/>
              </p:cNvSpPr>
              <p:nvPr/>
            </p:nvSpPr>
            <p:spPr bwMode="auto">
              <a:xfrm>
                <a:off x="4911784" y="4929962"/>
                <a:ext cx="82550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6" name="Oval 1192"/>
              <p:cNvSpPr>
                <a:spLocks noChangeArrowheads="1"/>
              </p:cNvSpPr>
              <p:nvPr/>
            </p:nvSpPr>
            <p:spPr bwMode="auto">
              <a:xfrm>
                <a:off x="7416889" y="2969371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7" name="Oval 1193"/>
              <p:cNvSpPr>
                <a:spLocks noChangeArrowheads="1"/>
              </p:cNvSpPr>
              <p:nvPr/>
            </p:nvSpPr>
            <p:spPr bwMode="auto">
              <a:xfrm>
                <a:off x="7416889" y="2969371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8" name="Oval 1194"/>
              <p:cNvSpPr>
                <a:spLocks noChangeArrowheads="1"/>
              </p:cNvSpPr>
              <p:nvPr/>
            </p:nvSpPr>
            <p:spPr bwMode="auto">
              <a:xfrm>
                <a:off x="7416889" y="2923333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69" name="Oval 1195"/>
              <p:cNvSpPr>
                <a:spLocks noChangeArrowheads="1"/>
              </p:cNvSpPr>
              <p:nvPr/>
            </p:nvSpPr>
            <p:spPr bwMode="auto">
              <a:xfrm>
                <a:off x="7416889" y="2923333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0" name="Oval 1196"/>
              <p:cNvSpPr>
                <a:spLocks noChangeArrowheads="1"/>
              </p:cNvSpPr>
              <p:nvPr/>
            </p:nvSpPr>
            <p:spPr bwMode="auto">
              <a:xfrm>
                <a:off x="1317642" y="3148761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1" name="Oval 1197"/>
              <p:cNvSpPr>
                <a:spLocks noChangeArrowheads="1"/>
              </p:cNvSpPr>
              <p:nvPr/>
            </p:nvSpPr>
            <p:spPr bwMode="auto">
              <a:xfrm>
                <a:off x="1317642" y="3148761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2" name="Oval 1198"/>
              <p:cNvSpPr>
                <a:spLocks noChangeArrowheads="1"/>
              </p:cNvSpPr>
              <p:nvPr/>
            </p:nvSpPr>
            <p:spPr bwMode="auto">
              <a:xfrm>
                <a:off x="1422417" y="3158286"/>
                <a:ext cx="82550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3" name="Oval 1199"/>
              <p:cNvSpPr>
                <a:spLocks noChangeArrowheads="1"/>
              </p:cNvSpPr>
              <p:nvPr/>
            </p:nvSpPr>
            <p:spPr bwMode="auto">
              <a:xfrm>
                <a:off x="1422417" y="3158286"/>
                <a:ext cx="82550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4" name="Oval 1200"/>
              <p:cNvSpPr>
                <a:spLocks noChangeArrowheads="1"/>
              </p:cNvSpPr>
              <p:nvPr/>
            </p:nvSpPr>
            <p:spPr bwMode="auto">
              <a:xfrm>
                <a:off x="1495443" y="3205912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5" name="Oval 1201"/>
              <p:cNvSpPr>
                <a:spLocks noChangeArrowheads="1"/>
              </p:cNvSpPr>
              <p:nvPr/>
            </p:nvSpPr>
            <p:spPr bwMode="auto">
              <a:xfrm>
                <a:off x="1495443" y="3205912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6" name="Oval 1202"/>
              <p:cNvSpPr>
                <a:spLocks noChangeArrowheads="1"/>
              </p:cNvSpPr>
              <p:nvPr/>
            </p:nvSpPr>
            <p:spPr bwMode="auto">
              <a:xfrm>
                <a:off x="1625620" y="3028109"/>
                <a:ext cx="79375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7" name="Oval 1203"/>
              <p:cNvSpPr>
                <a:spLocks noChangeArrowheads="1"/>
              </p:cNvSpPr>
              <p:nvPr/>
            </p:nvSpPr>
            <p:spPr bwMode="auto">
              <a:xfrm>
                <a:off x="1625620" y="3028109"/>
                <a:ext cx="79375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8" name="Oval 1204"/>
              <p:cNvSpPr>
                <a:spLocks noChangeArrowheads="1"/>
              </p:cNvSpPr>
              <p:nvPr/>
            </p:nvSpPr>
            <p:spPr bwMode="auto">
              <a:xfrm>
                <a:off x="1579582" y="2955083"/>
                <a:ext cx="77788" cy="82551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79" name="Oval 1205"/>
              <p:cNvSpPr>
                <a:spLocks noChangeArrowheads="1"/>
              </p:cNvSpPr>
              <p:nvPr/>
            </p:nvSpPr>
            <p:spPr bwMode="auto">
              <a:xfrm>
                <a:off x="1579582" y="2955083"/>
                <a:ext cx="77788" cy="82551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0" name="Oval 1206"/>
              <p:cNvSpPr>
                <a:spLocks noChangeArrowheads="1"/>
              </p:cNvSpPr>
              <p:nvPr/>
            </p:nvSpPr>
            <p:spPr bwMode="auto">
              <a:xfrm>
                <a:off x="1547832" y="3080497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1" name="Oval 1207"/>
              <p:cNvSpPr>
                <a:spLocks noChangeArrowheads="1"/>
              </p:cNvSpPr>
              <p:nvPr/>
            </p:nvSpPr>
            <p:spPr bwMode="auto">
              <a:xfrm>
                <a:off x="1547832" y="3080497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2" name="Oval 1208"/>
              <p:cNvSpPr>
                <a:spLocks noChangeArrowheads="1"/>
              </p:cNvSpPr>
              <p:nvPr/>
            </p:nvSpPr>
            <p:spPr bwMode="auto">
              <a:xfrm>
                <a:off x="1809773" y="3321800"/>
                <a:ext cx="82550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3" name="Oval 1209"/>
              <p:cNvSpPr>
                <a:spLocks noChangeArrowheads="1"/>
              </p:cNvSpPr>
              <p:nvPr/>
            </p:nvSpPr>
            <p:spPr bwMode="auto">
              <a:xfrm>
                <a:off x="1809773" y="3321800"/>
                <a:ext cx="82550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4" name="Oval 1211"/>
              <p:cNvSpPr>
                <a:spLocks noChangeArrowheads="1"/>
              </p:cNvSpPr>
              <p:nvPr/>
            </p:nvSpPr>
            <p:spPr bwMode="auto">
              <a:xfrm>
                <a:off x="1846285" y="3299576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5" name="Oval 1212"/>
              <p:cNvSpPr>
                <a:spLocks noChangeArrowheads="1"/>
              </p:cNvSpPr>
              <p:nvPr/>
            </p:nvSpPr>
            <p:spPr bwMode="auto">
              <a:xfrm>
                <a:off x="1846285" y="3299576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6" name="Oval 1213"/>
              <p:cNvSpPr>
                <a:spLocks noChangeArrowheads="1"/>
              </p:cNvSpPr>
              <p:nvPr/>
            </p:nvSpPr>
            <p:spPr bwMode="auto">
              <a:xfrm>
                <a:off x="1960586" y="3263063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7" name="Oval 1214"/>
              <p:cNvSpPr>
                <a:spLocks noChangeArrowheads="1"/>
              </p:cNvSpPr>
              <p:nvPr/>
            </p:nvSpPr>
            <p:spPr bwMode="auto">
              <a:xfrm>
                <a:off x="1960586" y="3263063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8" name="Oval 1215"/>
              <p:cNvSpPr>
                <a:spLocks noChangeArrowheads="1"/>
              </p:cNvSpPr>
              <p:nvPr/>
            </p:nvSpPr>
            <p:spPr bwMode="auto">
              <a:xfrm>
                <a:off x="2101875" y="3299576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89" name="Oval 1216"/>
              <p:cNvSpPr>
                <a:spLocks noChangeArrowheads="1"/>
              </p:cNvSpPr>
              <p:nvPr/>
            </p:nvSpPr>
            <p:spPr bwMode="auto">
              <a:xfrm>
                <a:off x="2101875" y="3299576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0" name="Oval 1217"/>
              <p:cNvSpPr>
                <a:spLocks noChangeArrowheads="1"/>
              </p:cNvSpPr>
              <p:nvPr/>
            </p:nvSpPr>
            <p:spPr bwMode="auto">
              <a:xfrm>
                <a:off x="1992337" y="3043985"/>
                <a:ext cx="7778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1" name="Oval 1218"/>
              <p:cNvSpPr>
                <a:spLocks noChangeArrowheads="1"/>
              </p:cNvSpPr>
              <p:nvPr/>
            </p:nvSpPr>
            <p:spPr bwMode="auto">
              <a:xfrm>
                <a:off x="1992337" y="3043985"/>
                <a:ext cx="7778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2" name="Oval 1219"/>
              <p:cNvSpPr>
                <a:spLocks noChangeArrowheads="1"/>
              </p:cNvSpPr>
              <p:nvPr/>
            </p:nvSpPr>
            <p:spPr bwMode="auto">
              <a:xfrm>
                <a:off x="2092350" y="3174162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3" name="Oval 1220"/>
              <p:cNvSpPr>
                <a:spLocks noChangeArrowheads="1"/>
              </p:cNvSpPr>
              <p:nvPr/>
            </p:nvSpPr>
            <p:spPr bwMode="auto">
              <a:xfrm>
                <a:off x="2092350" y="3174162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4" name="Oval 1221"/>
              <p:cNvSpPr>
                <a:spLocks noChangeArrowheads="1"/>
              </p:cNvSpPr>
              <p:nvPr/>
            </p:nvSpPr>
            <p:spPr bwMode="auto">
              <a:xfrm>
                <a:off x="2138388" y="3210675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5" name="Oval 1222"/>
              <p:cNvSpPr>
                <a:spLocks noChangeArrowheads="1"/>
              </p:cNvSpPr>
              <p:nvPr/>
            </p:nvSpPr>
            <p:spPr bwMode="auto">
              <a:xfrm>
                <a:off x="2138388" y="3210675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6" name="Oval 1223"/>
              <p:cNvSpPr>
                <a:spLocks noChangeArrowheads="1"/>
              </p:cNvSpPr>
              <p:nvPr/>
            </p:nvSpPr>
            <p:spPr bwMode="auto">
              <a:xfrm>
                <a:off x="2186014" y="3247188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7" name="Oval 1224"/>
              <p:cNvSpPr>
                <a:spLocks noChangeArrowheads="1"/>
              </p:cNvSpPr>
              <p:nvPr/>
            </p:nvSpPr>
            <p:spPr bwMode="auto">
              <a:xfrm>
                <a:off x="2186014" y="3247188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8" name="Oval 1225"/>
              <p:cNvSpPr>
                <a:spLocks noChangeArrowheads="1"/>
              </p:cNvSpPr>
              <p:nvPr/>
            </p:nvSpPr>
            <p:spPr bwMode="auto">
              <a:xfrm>
                <a:off x="2165376" y="2959846"/>
                <a:ext cx="82550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299" name="Oval 1226"/>
              <p:cNvSpPr>
                <a:spLocks noChangeArrowheads="1"/>
              </p:cNvSpPr>
              <p:nvPr/>
            </p:nvSpPr>
            <p:spPr bwMode="auto">
              <a:xfrm>
                <a:off x="2165376" y="2959846"/>
                <a:ext cx="82550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0" name="Oval 1227"/>
              <p:cNvSpPr>
                <a:spLocks noChangeArrowheads="1"/>
              </p:cNvSpPr>
              <p:nvPr/>
            </p:nvSpPr>
            <p:spPr bwMode="auto">
              <a:xfrm>
                <a:off x="2138388" y="2875708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1" name="Oval 1228"/>
              <p:cNvSpPr>
                <a:spLocks noChangeArrowheads="1"/>
              </p:cNvSpPr>
              <p:nvPr/>
            </p:nvSpPr>
            <p:spPr bwMode="auto">
              <a:xfrm>
                <a:off x="2138388" y="2875708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2" name="Oval 1229"/>
              <p:cNvSpPr>
                <a:spLocks noChangeArrowheads="1"/>
              </p:cNvSpPr>
              <p:nvPr/>
            </p:nvSpPr>
            <p:spPr bwMode="auto">
              <a:xfrm>
                <a:off x="2092350" y="2969371"/>
                <a:ext cx="7778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3" name="Oval 1230"/>
              <p:cNvSpPr>
                <a:spLocks noChangeArrowheads="1"/>
              </p:cNvSpPr>
              <p:nvPr/>
            </p:nvSpPr>
            <p:spPr bwMode="auto">
              <a:xfrm>
                <a:off x="2092350" y="2969371"/>
                <a:ext cx="7778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4" name="Oval 1231"/>
              <p:cNvSpPr>
                <a:spLocks noChangeArrowheads="1"/>
              </p:cNvSpPr>
              <p:nvPr/>
            </p:nvSpPr>
            <p:spPr bwMode="auto">
              <a:xfrm>
                <a:off x="2316191" y="2943971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5" name="Oval 1232"/>
              <p:cNvSpPr>
                <a:spLocks noChangeArrowheads="1"/>
              </p:cNvSpPr>
              <p:nvPr/>
            </p:nvSpPr>
            <p:spPr bwMode="auto">
              <a:xfrm>
                <a:off x="2316191" y="2943971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6" name="Oval 1233"/>
              <p:cNvSpPr>
                <a:spLocks noChangeArrowheads="1"/>
              </p:cNvSpPr>
              <p:nvPr/>
            </p:nvSpPr>
            <p:spPr bwMode="auto">
              <a:xfrm>
                <a:off x="2311428" y="2996359"/>
                <a:ext cx="84138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7" name="Oval 1234"/>
              <p:cNvSpPr>
                <a:spLocks noChangeArrowheads="1"/>
              </p:cNvSpPr>
              <p:nvPr/>
            </p:nvSpPr>
            <p:spPr bwMode="auto">
              <a:xfrm>
                <a:off x="2311428" y="2996359"/>
                <a:ext cx="84138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8" name="Oval 1235"/>
              <p:cNvSpPr>
                <a:spLocks noChangeArrowheads="1"/>
              </p:cNvSpPr>
              <p:nvPr/>
            </p:nvSpPr>
            <p:spPr bwMode="auto">
              <a:xfrm>
                <a:off x="2274915" y="3016997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09" name="Oval 1236"/>
              <p:cNvSpPr>
                <a:spLocks noChangeArrowheads="1"/>
              </p:cNvSpPr>
              <p:nvPr/>
            </p:nvSpPr>
            <p:spPr bwMode="auto">
              <a:xfrm>
                <a:off x="2274915" y="3016997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0" name="Oval 1237"/>
              <p:cNvSpPr>
                <a:spLocks noChangeArrowheads="1"/>
              </p:cNvSpPr>
              <p:nvPr/>
            </p:nvSpPr>
            <p:spPr bwMode="auto">
              <a:xfrm>
                <a:off x="2290790" y="3074147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1" name="Oval 1238"/>
              <p:cNvSpPr>
                <a:spLocks noChangeArrowheads="1"/>
              </p:cNvSpPr>
              <p:nvPr/>
            </p:nvSpPr>
            <p:spPr bwMode="auto">
              <a:xfrm>
                <a:off x="2290790" y="3074147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2" name="Oval 1239"/>
              <p:cNvSpPr>
                <a:spLocks noChangeArrowheads="1"/>
              </p:cNvSpPr>
              <p:nvPr/>
            </p:nvSpPr>
            <p:spPr bwMode="auto">
              <a:xfrm>
                <a:off x="2332066" y="3048747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3" name="Oval 1240"/>
              <p:cNvSpPr>
                <a:spLocks noChangeArrowheads="1"/>
              </p:cNvSpPr>
              <p:nvPr/>
            </p:nvSpPr>
            <p:spPr bwMode="auto">
              <a:xfrm>
                <a:off x="2332066" y="3048747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4" name="Oval 1241"/>
              <p:cNvSpPr>
                <a:spLocks noChangeArrowheads="1"/>
              </p:cNvSpPr>
              <p:nvPr/>
            </p:nvSpPr>
            <p:spPr bwMode="auto">
              <a:xfrm>
                <a:off x="2416204" y="3053510"/>
                <a:ext cx="77788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5" name="Oval 1242"/>
              <p:cNvSpPr>
                <a:spLocks noChangeArrowheads="1"/>
              </p:cNvSpPr>
              <p:nvPr/>
            </p:nvSpPr>
            <p:spPr bwMode="auto">
              <a:xfrm>
                <a:off x="2416204" y="3053510"/>
                <a:ext cx="77788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6" name="Oval 1243"/>
              <p:cNvSpPr>
                <a:spLocks noChangeArrowheads="1"/>
              </p:cNvSpPr>
              <p:nvPr/>
            </p:nvSpPr>
            <p:spPr bwMode="auto">
              <a:xfrm>
                <a:off x="2247928" y="3178924"/>
                <a:ext cx="79375" cy="79376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7" name="Oval 1244"/>
              <p:cNvSpPr>
                <a:spLocks noChangeArrowheads="1"/>
              </p:cNvSpPr>
              <p:nvPr/>
            </p:nvSpPr>
            <p:spPr bwMode="auto">
              <a:xfrm>
                <a:off x="2247928" y="3178924"/>
                <a:ext cx="79375" cy="79376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8" name="Oval 1245"/>
              <p:cNvSpPr>
                <a:spLocks noChangeArrowheads="1"/>
              </p:cNvSpPr>
              <p:nvPr/>
            </p:nvSpPr>
            <p:spPr bwMode="auto">
              <a:xfrm>
                <a:off x="2295553" y="3148762"/>
                <a:ext cx="84138" cy="7778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19" name="Oval 1246"/>
              <p:cNvSpPr>
                <a:spLocks noChangeArrowheads="1"/>
              </p:cNvSpPr>
              <p:nvPr/>
            </p:nvSpPr>
            <p:spPr bwMode="auto">
              <a:xfrm>
                <a:off x="2295553" y="3148762"/>
                <a:ext cx="84138" cy="7778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0" name="Oval 1247"/>
              <p:cNvSpPr>
                <a:spLocks noChangeArrowheads="1"/>
              </p:cNvSpPr>
              <p:nvPr/>
            </p:nvSpPr>
            <p:spPr bwMode="auto">
              <a:xfrm>
                <a:off x="2368578" y="3132886"/>
                <a:ext cx="79375" cy="84138"/>
              </a:xfrm>
              <a:prstGeom prst="ellipse">
                <a:avLst/>
              </a:pr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1" name="Oval 1248"/>
              <p:cNvSpPr>
                <a:spLocks noChangeArrowheads="1"/>
              </p:cNvSpPr>
              <p:nvPr/>
            </p:nvSpPr>
            <p:spPr bwMode="auto">
              <a:xfrm>
                <a:off x="2368578" y="3132886"/>
                <a:ext cx="79375" cy="84138"/>
              </a:xfrm>
              <a:prstGeom prst="ellips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2" name="Freeform 1249"/>
              <p:cNvSpPr>
                <a:spLocks/>
              </p:cNvSpPr>
              <p:nvPr/>
            </p:nvSpPr>
            <p:spPr bwMode="auto">
              <a:xfrm>
                <a:off x="3116300" y="1916843"/>
                <a:ext cx="1047763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3" name="Freeform 1250"/>
              <p:cNvSpPr>
                <a:spLocks/>
              </p:cNvSpPr>
              <p:nvPr/>
            </p:nvSpPr>
            <p:spPr bwMode="auto">
              <a:xfrm>
                <a:off x="3116300" y="1916843"/>
                <a:ext cx="1047763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4" name="Freeform 1251"/>
              <p:cNvSpPr>
                <a:spLocks/>
              </p:cNvSpPr>
              <p:nvPr/>
            </p:nvSpPr>
            <p:spPr bwMode="auto">
              <a:xfrm>
                <a:off x="3116300" y="1916843"/>
                <a:ext cx="1047763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5" name="Freeform 1252"/>
              <p:cNvSpPr>
                <a:spLocks/>
              </p:cNvSpPr>
              <p:nvPr/>
            </p:nvSpPr>
            <p:spPr bwMode="auto">
              <a:xfrm>
                <a:off x="3116300" y="1916843"/>
                <a:ext cx="1047763" cy="581034"/>
              </a:xfrm>
              <a:custGeom>
                <a:avLst/>
                <a:gdLst/>
                <a:ahLst/>
                <a:cxnLst>
                  <a:cxn ang="0">
                    <a:pos x="37" y="86"/>
                  </a:cxn>
                  <a:cxn ang="0">
                    <a:pos x="43" y="86"/>
                  </a:cxn>
                  <a:cxn ang="0">
                    <a:pos x="42" y="88"/>
                  </a:cxn>
                  <a:cxn ang="0">
                    <a:pos x="39" y="93"/>
                  </a:cxn>
                  <a:cxn ang="0">
                    <a:pos x="39" y="97"/>
                  </a:cxn>
                  <a:cxn ang="0">
                    <a:pos x="42" y="101"/>
                  </a:cxn>
                  <a:cxn ang="0">
                    <a:pos x="44" y="105"/>
                  </a:cxn>
                  <a:cxn ang="0">
                    <a:pos x="53" y="104"/>
                  </a:cxn>
                  <a:cxn ang="0">
                    <a:pos x="56" y="107"/>
                  </a:cxn>
                  <a:cxn ang="0">
                    <a:pos x="61" y="111"/>
                  </a:cxn>
                  <a:cxn ang="0">
                    <a:pos x="63" y="106"/>
                  </a:cxn>
                  <a:cxn ang="0">
                    <a:pos x="67" y="103"/>
                  </a:cxn>
                  <a:cxn ang="0">
                    <a:pos x="69" y="97"/>
                  </a:cxn>
                  <a:cxn ang="0">
                    <a:pos x="73" y="93"/>
                  </a:cxn>
                  <a:cxn ang="0">
                    <a:pos x="75" y="91"/>
                  </a:cxn>
                  <a:cxn ang="0">
                    <a:pos x="83" y="83"/>
                  </a:cxn>
                  <a:cxn ang="0">
                    <a:pos x="94" y="78"/>
                  </a:cxn>
                  <a:cxn ang="0">
                    <a:pos x="103" y="78"/>
                  </a:cxn>
                  <a:cxn ang="0">
                    <a:pos x="117" y="66"/>
                  </a:cxn>
                  <a:cxn ang="0">
                    <a:pos x="144" y="56"/>
                  </a:cxn>
                  <a:cxn ang="0">
                    <a:pos x="137" y="53"/>
                  </a:cxn>
                  <a:cxn ang="0">
                    <a:pos x="144" y="51"/>
                  </a:cxn>
                  <a:cxn ang="0">
                    <a:pos x="158" y="55"/>
                  </a:cxn>
                  <a:cxn ang="0">
                    <a:pos x="155" y="50"/>
                  </a:cxn>
                  <a:cxn ang="0">
                    <a:pos x="143" y="45"/>
                  </a:cxn>
                  <a:cxn ang="0">
                    <a:pos x="149" y="42"/>
                  </a:cxn>
                  <a:cxn ang="0">
                    <a:pos x="160" y="42"/>
                  </a:cxn>
                  <a:cxn ang="0">
                    <a:pos x="171" y="35"/>
                  </a:cxn>
                  <a:cxn ang="0">
                    <a:pos x="163" y="31"/>
                  </a:cxn>
                  <a:cxn ang="0">
                    <a:pos x="166" y="29"/>
                  </a:cxn>
                  <a:cxn ang="0">
                    <a:pos x="169" y="22"/>
                  </a:cxn>
                  <a:cxn ang="0">
                    <a:pos x="174" y="17"/>
                  </a:cxn>
                  <a:cxn ang="0">
                    <a:pos x="174" y="13"/>
                  </a:cxn>
                  <a:cxn ang="0">
                    <a:pos x="200" y="7"/>
                  </a:cxn>
                  <a:cxn ang="0">
                    <a:pos x="167" y="8"/>
                  </a:cxn>
                  <a:cxn ang="0">
                    <a:pos x="160" y="6"/>
                  </a:cxn>
                  <a:cxn ang="0">
                    <a:pos x="163" y="1"/>
                  </a:cxn>
                  <a:cxn ang="0">
                    <a:pos x="124" y="1"/>
                  </a:cxn>
                  <a:cxn ang="0">
                    <a:pos x="110" y="2"/>
                  </a:cxn>
                  <a:cxn ang="0">
                    <a:pos x="101" y="6"/>
                  </a:cxn>
                  <a:cxn ang="0">
                    <a:pos x="71" y="7"/>
                  </a:cxn>
                  <a:cxn ang="0">
                    <a:pos x="49" y="7"/>
                  </a:cxn>
                  <a:cxn ang="0">
                    <a:pos x="35" y="12"/>
                  </a:cxn>
                  <a:cxn ang="0">
                    <a:pos x="1" y="20"/>
                  </a:cxn>
                  <a:cxn ang="0">
                    <a:pos x="18" y="22"/>
                  </a:cxn>
                  <a:cxn ang="0">
                    <a:pos x="4" y="26"/>
                  </a:cxn>
                  <a:cxn ang="0">
                    <a:pos x="21" y="29"/>
                  </a:cxn>
                  <a:cxn ang="0">
                    <a:pos x="42" y="38"/>
                  </a:cxn>
                  <a:cxn ang="0">
                    <a:pos x="41" y="46"/>
                  </a:cxn>
                  <a:cxn ang="0">
                    <a:pos x="46" y="48"/>
                  </a:cxn>
                  <a:cxn ang="0">
                    <a:pos x="52" y="51"/>
                  </a:cxn>
                  <a:cxn ang="0">
                    <a:pos x="53" y="54"/>
                  </a:cxn>
                  <a:cxn ang="0">
                    <a:pos x="52" y="61"/>
                  </a:cxn>
                  <a:cxn ang="0">
                    <a:pos x="49" y="64"/>
                  </a:cxn>
                  <a:cxn ang="0">
                    <a:pos x="49" y="68"/>
                  </a:cxn>
                  <a:cxn ang="0">
                    <a:pos x="43" y="68"/>
                  </a:cxn>
                  <a:cxn ang="0">
                    <a:pos x="49" y="70"/>
                  </a:cxn>
                  <a:cxn ang="0">
                    <a:pos x="43" y="72"/>
                  </a:cxn>
                  <a:cxn ang="0">
                    <a:pos x="35" y="75"/>
                  </a:cxn>
                  <a:cxn ang="0">
                    <a:pos x="45" y="74"/>
                  </a:cxn>
                  <a:cxn ang="0">
                    <a:pos x="35" y="81"/>
                  </a:cxn>
                </a:cxnLst>
                <a:rect l="0" t="0" r="r" b="b"/>
                <a:pathLst>
                  <a:path w="200" h="111">
                    <a:moveTo>
                      <a:pt x="43" y="81"/>
                    </a:moveTo>
                    <a:cubicBezTo>
                      <a:pt x="38" y="82"/>
                      <a:pt x="38" y="82"/>
                      <a:pt x="38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8" y="87"/>
                      <a:pt x="38" y="87"/>
                      <a:pt x="38" y="87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1" y="87"/>
                      <a:pt x="41" y="87"/>
                      <a:pt x="41" y="87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9" y="93"/>
                      <a:pt x="39" y="93"/>
                      <a:pt x="39" y="93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9" y="94"/>
                      <a:pt x="39" y="94"/>
                      <a:pt x="39" y="94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2" y="100"/>
                      <a:pt x="42" y="100"/>
                      <a:pt x="42" y="100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42" y="103"/>
                      <a:pt x="42" y="103"/>
                      <a:pt x="42" y="103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4" y="106"/>
                      <a:pt x="44" y="106"/>
                      <a:pt x="44" y="106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3" y="104"/>
                      <a:pt x="53" y="104"/>
                      <a:pt x="53" y="104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4" y="106"/>
                      <a:pt x="54" y="106"/>
                      <a:pt x="54" y="106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4" y="110"/>
                      <a:pt x="54" y="110"/>
                      <a:pt x="54" y="110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1" y="111"/>
                      <a:pt x="61" y="111"/>
                      <a:pt x="61" y="111"/>
                    </a:cubicBezTo>
                    <a:cubicBezTo>
                      <a:pt x="63" y="110"/>
                      <a:pt x="63" y="110"/>
                      <a:pt x="63" y="110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1"/>
                      <a:pt x="67" y="101"/>
                      <a:pt x="67" y="101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70" y="95"/>
                      <a:pt x="70" y="95"/>
                      <a:pt x="70" y="95"/>
                    </a:cubicBezTo>
                    <a:cubicBezTo>
                      <a:pt x="73" y="95"/>
                      <a:pt x="73" y="95"/>
                      <a:pt x="73" y="95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3"/>
                      <a:pt x="72" y="93"/>
                      <a:pt x="72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8" y="88"/>
                      <a:pt x="78" y="88"/>
                      <a:pt x="7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0" y="83"/>
                      <a:pt x="80" y="83"/>
                      <a:pt x="80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3" y="82"/>
                      <a:pt x="83" y="82"/>
                      <a:pt x="83" y="82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7" y="81"/>
                      <a:pt x="87" y="81"/>
                      <a:pt x="87" y="81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5" y="78"/>
                      <a:pt x="95" y="78"/>
                      <a:pt x="95" y="78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5" y="80"/>
                      <a:pt x="95" y="80"/>
                      <a:pt x="95" y="80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103" y="78"/>
                      <a:pt x="103" y="78"/>
                      <a:pt x="103" y="78"/>
                    </a:cubicBezTo>
                    <a:cubicBezTo>
                      <a:pt x="106" y="76"/>
                      <a:pt x="106" y="76"/>
                      <a:pt x="106" y="76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22" y="68"/>
                      <a:pt x="122" y="68"/>
                      <a:pt x="122" y="68"/>
                    </a:cubicBezTo>
                    <a:cubicBezTo>
                      <a:pt x="124" y="68"/>
                      <a:pt x="124" y="68"/>
                      <a:pt x="124" y="68"/>
                    </a:cubicBezTo>
                    <a:cubicBezTo>
                      <a:pt x="127" y="68"/>
                      <a:pt x="127" y="68"/>
                      <a:pt x="127" y="68"/>
                    </a:cubicBezTo>
                    <a:cubicBezTo>
                      <a:pt x="136" y="66"/>
                      <a:pt x="136" y="66"/>
                      <a:pt x="136" y="66"/>
                    </a:cubicBezTo>
                    <a:cubicBezTo>
                      <a:pt x="143" y="64"/>
                      <a:pt x="149" y="61"/>
                      <a:pt x="155" y="58"/>
                    </a:cubicBezTo>
                    <a:cubicBezTo>
                      <a:pt x="144" y="56"/>
                      <a:pt x="144" y="56"/>
                      <a:pt x="144" y="5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5" y="58"/>
                      <a:pt x="135" y="58"/>
                      <a:pt x="135" y="58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3"/>
                      <a:pt x="137" y="53"/>
                      <a:pt x="137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38" y="51"/>
                      <a:pt x="138" y="51"/>
                      <a:pt x="138" y="51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7" y="49"/>
                      <a:pt x="137" y="49"/>
                      <a:pt x="137" y="49"/>
                    </a:cubicBezTo>
                    <a:cubicBezTo>
                      <a:pt x="144" y="51"/>
                      <a:pt x="144" y="51"/>
                      <a:pt x="144" y="51"/>
                    </a:cubicBezTo>
                    <a:cubicBezTo>
                      <a:pt x="150" y="53"/>
                      <a:pt x="150" y="53"/>
                      <a:pt x="150" y="53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7" y="56"/>
                      <a:pt x="157" y="56"/>
                      <a:pt x="157" y="56"/>
                    </a:cubicBezTo>
                    <a:cubicBezTo>
                      <a:pt x="158" y="55"/>
                      <a:pt x="158" y="55"/>
                      <a:pt x="158" y="55"/>
                    </a:cubicBezTo>
                    <a:cubicBezTo>
                      <a:pt x="158" y="54"/>
                      <a:pt x="158" y="54"/>
                      <a:pt x="158" y="54"/>
                    </a:cubicBezTo>
                    <a:cubicBezTo>
                      <a:pt x="160" y="51"/>
                      <a:pt x="160" y="51"/>
                      <a:pt x="160" y="51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6" y="51"/>
                      <a:pt x="156" y="51"/>
                      <a:pt x="156" y="51"/>
                    </a:cubicBezTo>
                    <a:cubicBezTo>
                      <a:pt x="155" y="50"/>
                      <a:pt x="155" y="50"/>
                      <a:pt x="155" y="50"/>
                    </a:cubicBezTo>
                    <a:cubicBezTo>
                      <a:pt x="156" y="49"/>
                      <a:pt x="156" y="49"/>
                      <a:pt x="156" y="49"/>
                    </a:cubicBezTo>
                    <a:cubicBezTo>
                      <a:pt x="149" y="48"/>
                      <a:pt x="149" y="48"/>
                      <a:pt x="149" y="48"/>
                    </a:cubicBezTo>
                    <a:cubicBezTo>
                      <a:pt x="148" y="48"/>
                      <a:pt x="148" y="48"/>
                      <a:pt x="148" y="48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43" y="45"/>
                      <a:pt x="143" y="45"/>
                      <a:pt x="143" y="45"/>
                    </a:cubicBezTo>
                    <a:cubicBezTo>
                      <a:pt x="150" y="43"/>
                      <a:pt x="150" y="43"/>
                      <a:pt x="150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3" y="42"/>
                      <a:pt x="143" y="42"/>
                      <a:pt x="143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50" y="39"/>
                      <a:pt x="150" y="39"/>
                      <a:pt x="150" y="39"/>
                    </a:cubicBezTo>
                    <a:cubicBezTo>
                      <a:pt x="152" y="41"/>
                      <a:pt x="152" y="41"/>
                      <a:pt x="152" y="41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67" y="39"/>
                      <a:pt x="167" y="39"/>
                      <a:pt x="167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2" y="37"/>
                      <a:pt x="162" y="37"/>
                      <a:pt x="162" y="37"/>
                    </a:cubicBezTo>
                    <a:cubicBezTo>
                      <a:pt x="171" y="38"/>
                      <a:pt x="171" y="38"/>
                      <a:pt x="171" y="38"/>
                    </a:cubicBezTo>
                    <a:cubicBezTo>
                      <a:pt x="171" y="35"/>
                      <a:pt x="171" y="35"/>
                      <a:pt x="171" y="35"/>
                    </a:cubicBezTo>
                    <a:cubicBezTo>
                      <a:pt x="167" y="35"/>
                      <a:pt x="167" y="35"/>
                      <a:pt x="167" y="35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63" y="32"/>
                      <a:pt x="163" y="32"/>
                      <a:pt x="163" y="32"/>
                    </a:cubicBezTo>
                    <a:cubicBezTo>
                      <a:pt x="163" y="31"/>
                      <a:pt x="163" y="31"/>
                      <a:pt x="163" y="31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4" y="30"/>
                      <a:pt x="164" y="30"/>
                      <a:pt x="164" y="30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64" y="28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78" y="26"/>
                      <a:pt x="178" y="26"/>
                      <a:pt x="178" y="26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69" y="22"/>
                      <a:pt x="169" y="22"/>
                      <a:pt x="169" y="22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7" y="23"/>
                      <a:pt x="167" y="23"/>
                      <a:pt x="167" y="23"/>
                    </a:cubicBezTo>
                    <a:cubicBezTo>
                      <a:pt x="166" y="22"/>
                      <a:pt x="166" y="22"/>
                      <a:pt x="166" y="22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4" y="17"/>
                      <a:pt x="174" y="17"/>
                      <a:pt x="174" y="17"/>
                    </a:cubicBezTo>
                    <a:cubicBezTo>
                      <a:pt x="176" y="16"/>
                      <a:pt x="176" y="16"/>
                      <a:pt x="176" y="16"/>
                    </a:cubicBezTo>
                    <a:cubicBezTo>
                      <a:pt x="174" y="16"/>
                      <a:pt x="174" y="16"/>
                      <a:pt x="174" y="16"/>
                    </a:cubicBezTo>
                    <a:cubicBezTo>
                      <a:pt x="176" y="13"/>
                      <a:pt x="176" y="13"/>
                      <a:pt x="176" y="13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81" y="12"/>
                      <a:pt x="181" y="12"/>
                      <a:pt x="181" y="12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8" y="11"/>
                      <a:pt x="188" y="11"/>
                      <a:pt x="188" y="1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92" y="9"/>
                      <a:pt x="192" y="9"/>
                      <a:pt x="192" y="9"/>
                    </a:cubicBezTo>
                    <a:cubicBezTo>
                      <a:pt x="200" y="7"/>
                      <a:pt x="200" y="7"/>
                      <a:pt x="200" y="7"/>
                    </a:cubicBezTo>
                    <a:cubicBezTo>
                      <a:pt x="188" y="6"/>
                      <a:pt x="188" y="6"/>
                      <a:pt x="188" y="6"/>
                    </a:cubicBezTo>
                    <a:cubicBezTo>
                      <a:pt x="183" y="7"/>
                      <a:pt x="183" y="7"/>
                      <a:pt x="183" y="7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66" y="6"/>
                      <a:pt x="166" y="6"/>
                      <a:pt x="166" y="6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0" y="6"/>
                      <a:pt x="160" y="6"/>
                      <a:pt x="160" y="6"/>
                    </a:cubicBezTo>
                    <a:cubicBezTo>
                      <a:pt x="138" y="7"/>
                      <a:pt x="138" y="7"/>
                      <a:pt x="138" y="7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57" y="5"/>
                      <a:pt x="157" y="5"/>
                      <a:pt x="157" y="5"/>
                    </a:cubicBezTo>
                    <a:cubicBezTo>
                      <a:pt x="172" y="3"/>
                      <a:pt x="172" y="3"/>
                      <a:pt x="172" y="3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60" y="1"/>
                      <a:pt x="160" y="1"/>
                      <a:pt x="160" y="1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1"/>
                      <a:pt x="124" y="1"/>
                      <a:pt x="124" y="1"/>
                    </a:cubicBezTo>
                    <a:cubicBezTo>
                      <a:pt x="121" y="2"/>
                      <a:pt x="121" y="2"/>
                      <a:pt x="121" y="2"/>
                    </a:cubicBezTo>
                    <a:cubicBezTo>
                      <a:pt x="113" y="1"/>
                      <a:pt x="113" y="1"/>
                      <a:pt x="113" y="1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110" y="2"/>
                      <a:pt x="110" y="2"/>
                      <a:pt x="110" y="2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2" y="5"/>
                      <a:pt x="102" y="5"/>
                      <a:pt x="102" y="5"/>
                    </a:cubicBezTo>
                    <a:cubicBezTo>
                      <a:pt x="101" y="6"/>
                      <a:pt x="101" y="6"/>
                      <a:pt x="101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0" y="39"/>
                      <a:pt x="40" y="39"/>
                      <a:pt x="40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1" y="60"/>
                      <a:pt x="51" y="60"/>
                      <a:pt x="51" y="60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1" y="68"/>
                      <a:pt x="41" y="68"/>
                      <a:pt x="41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47" y="70"/>
                      <a:pt x="47" y="70"/>
                      <a:pt x="47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5"/>
                      <a:pt x="37" y="75"/>
                      <a:pt x="37" y="75"/>
                    </a:cubicBezTo>
                    <a:cubicBezTo>
                      <a:pt x="35" y="75"/>
                      <a:pt x="35" y="75"/>
                      <a:pt x="35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4"/>
                      <a:pt x="47" y="74"/>
                      <a:pt x="47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9" y="78"/>
                      <a:pt x="39" y="78"/>
                      <a:pt x="39" y="7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43" y="81"/>
                      <a:pt x="43" y="81"/>
                      <a:pt x="43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6" name="Freeform 1253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7" name="Freeform 1254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8" name="Freeform 1255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29" name="Freeform 1256"/>
              <p:cNvSpPr>
                <a:spLocks/>
              </p:cNvSpPr>
              <p:nvPr/>
            </p:nvSpPr>
            <p:spPr bwMode="auto">
              <a:xfrm>
                <a:off x="7275599" y="4212403"/>
                <a:ext cx="266703" cy="266705"/>
              </a:xfrm>
              <a:custGeom>
                <a:avLst/>
                <a:gdLst/>
                <a:ahLst/>
                <a:cxnLst>
                  <a:cxn ang="0">
                    <a:pos x="168" y="66"/>
                  </a:cxn>
                  <a:cxn ang="0">
                    <a:pos x="155" y="66"/>
                  </a:cxn>
                  <a:cxn ang="0">
                    <a:pos x="142" y="92"/>
                  </a:cxn>
                  <a:cxn ang="0">
                    <a:pos x="145" y="92"/>
                  </a:cxn>
                  <a:cxn ang="0">
                    <a:pos x="142" y="105"/>
                  </a:cxn>
                  <a:cxn ang="0">
                    <a:pos x="132" y="109"/>
                  </a:cxn>
                  <a:cxn ang="0">
                    <a:pos x="126" y="122"/>
                  </a:cxn>
                  <a:cxn ang="0">
                    <a:pos x="126" y="129"/>
                  </a:cxn>
                  <a:cxn ang="0">
                    <a:pos x="129" y="129"/>
                  </a:cxn>
                  <a:cxn ang="0">
                    <a:pos x="126" y="138"/>
                  </a:cxn>
                  <a:cxn ang="0">
                    <a:pos x="122" y="145"/>
                  </a:cxn>
                  <a:cxn ang="0">
                    <a:pos x="119" y="158"/>
                  </a:cxn>
                  <a:cxn ang="0">
                    <a:pos x="93" y="168"/>
                  </a:cxn>
                  <a:cxn ang="0">
                    <a:pos x="93" y="158"/>
                  </a:cxn>
                  <a:cxn ang="0">
                    <a:pos x="89" y="152"/>
                  </a:cxn>
                  <a:cxn ang="0">
                    <a:pos x="76" y="152"/>
                  </a:cxn>
                  <a:cxn ang="0">
                    <a:pos x="70" y="145"/>
                  </a:cxn>
                  <a:cxn ang="0">
                    <a:pos x="56" y="152"/>
                  </a:cxn>
                  <a:cxn ang="0">
                    <a:pos x="46" y="152"/>
                  </a:cxn>
                  <a:cxn ang="0">
                    <a:pos x="43" y="145"/>
                  </a:cxn>
                  <a:cxn ang="0">
                    <a:pos x="30" y="145"/>
                  </a:cxn>
                  <a:cxn ang="0">
                    <a:pos x="30" y="145"/>
                  </a:cxn>
                  <a:cxn ang="0">
                    <a:pos x="23" y="145"/>
                  </a:cxn>
                  <a:cxn ang="0">
                    <a:pos x="13" y="122"/>
                  </a:cxn>
                  <a:cxn ang="0">
                    <a:pos x="17" y="109"/>
                  </a:cxn>
                  <a:cxn ang="0">
                    <a:pos x="7" y="99"/>
                  </a:cxn>
                  <a:cxn ang="0">
                    <a:pos x="4" y="89"/>
                  </a:cxn>
                  <a:cxn ang="0">
                    <a:pos x="4" y="79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0" y="59"/>
                  </a:cxn>
                  <a:cxn ang="0">
                    <a:pos x="10" y="46"/>
                  </a:cxn>
                  <a:cxn ang="0">
                    <a:pos x="13" y="56"/>
                  </a:cxn>
                  <a:cxn ang="0">
                    <a:pos x="30" y="66"/>
                  </a:cxn>
                  <a:cxn ang="0">
                    <a:pos x="53" y="63"/>
                  </a:cxn>
                  <a:cxn ang="0">
                    <a:pos x="60" y="56"/>
                  </a:cxn>
                  <a:cxn ang="0">
                    <a:pos x="83" y="59"/>
                  </a:cxn>
                  <a:cxn ang="0">
                    <a:pos x="96" y="53"/>
                  </a:cxn>
                  <a:cxn ang="0">
                    <a:pos x="102" y="36"/>
                  </a:cxn>
                  <a:cxn ang="0">
                    <a:pos x="106" y="26"/>
                  </a:cxn>
                  <a:cxn ang="0">
                    <a:pos x="109" y="10"/>
                  </a:cxn>
                  <a:cxn ang="0">
                    <a:pos x="116" y="0"/>
                  </a:cxn>
                  <a:cxn ang="0">
                    <a:pos x="129" y="0"/>
                  </a:cxn>
                  <a:cxn ang="0">
                    <a:pos x="142" y="3"/>
                  </a:cxn>
                  <a:cxn ang="0">
                    <a:pos x="142" y="6"/>
                  </a:cxn>
                  <a:cxn ang="0">
                    <a:pos x="145" y="10"/>
                  </a:cxn>
                  <a:cxn ang="0">
                    <a:pos x="142" y="10"/>
                  </a:cxn>
                  <a:cxn ang="0">
                    <a:pos x="139" y="13"/>
                  </a:cxn>
                  <a:cxn ang="0">
                    <a:pos x="139" y="23"/>
                  </a:cxn>
                  <a:cxn ang="0">
                    <a:pos x="155" y="43"/>
                  </a:cxn>
                  <a:cxn ang="0">
                    <a:pos x="149" y="46"/>
                  </a:cxn>
                  <a:cxn ang="0">
                    <a:pos x="162" y="56"/>
                  </a:cxn>
                  <a:cxn ang="0">
                    <a:pos x="168" y="66"/>
                  </a:cxn>
                </a:cxnLst>
                <a:rect l="0" t="0" r="r" b="b"/>
                <a:pathLst>
                  <a:path w="168" h="168">
                    <a:moveTo>
                      <a:pt x="168" y="66"/>
                    </a:moveTo>
                    <a:lnTo>
                      <a:pt x="155" y="66"/>
                    </a:lnTo>
                    <a:lnTo>
                      <a:pt x="142" y="92"/>
                    </a:lnTo>
                    <a:lnTo>
                      <a:pt x="145" y="92"/>
                    </a:lnTo>
                    <a:lnTo>
                      <a:pt x="142" y="105"/>
                    </a:lnTo>
                    <a:lnTo>
                      <a:pt x="132" y="109"/>
                    </a:lnTo>
                    <a:lnTo>
                      <a:pt x="126" y="122"/>
                    </a:lnTo>
                    <a:lnTo>
                      <a:pt x="126" y="129"/>
                    </a:lnTo>
                    <a:lnTo>
                      <a:pt x="129" y="129"/>
                    </a:lnTo>
                    <a:lnTo>
                      <a:pt x="126" y="138"/>
                    </a:lnTo>
                    <a:lnTo>
                      <a:pt x="122" y="145"/>
                    </a:lnTo>
                    <a:lnTo>
                      <a:pt x="119" y="158"/>
                    </a:lnTo>
                    <a:lnTo>
                      <a:pt x="93" y="168"/>
                    </a:lnTo>
                    <a:lnTo>
                      <a:pt x="93" y="158"/>
                    </a:lnTo>
                    <a:lnTo>
                      <a:pt x="89" y="152"/>
                    </a:lnTo>
                    <a:lnTo>
                      <a:pt x="76" y="152"/>
                    </a:lnTo>
                    <a:lnTo>
                      <a:pt x="70" y="145"/>
                    </a:lnTo>
                    <a:lnTo>
                      <a:pt x="56" y="152"/>
                    </a:lnTo>
                    <a:lnTo>
                      <a:pt x="46" y="152"/>
                    </a:lnTo>
                    <a:lnTo>
                      <a:pt x="43" y="145"/>
                    </a:lnTo>
                    <a:lnTo>
                      <a:pt x="30" y="145"/>
                    </a:lnTo>
                    <a:lnTo>
                      <a:pt x="30" y="145"/>
                    </a:lnTo>
                    <a:lnTo>
                      <a:pt x="23" y="145"/>
                    </a:lnTo>
                    <a:lnTo>
                      <a:pt x="13" y="122"/>
                    </a:lnTo>
                    <a:lnTo>
                      <a:pt x="17" y="109"/>
                    </a:lnTo>
                    <a:lnTo>
                      <a:pt x="7" y="99"/>
                    </a:lnTo>
                    <a:lnTo>
                      <a:pt x="4" y="89"/>
                    </a:lnTo>
                    <a:lnTo>
                      <a:pt x="4" y="79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0" y="59"/>
                    </a:lnTo>
                    <a:lnTo>
                      <a:pt x="10" y="46"/>
                    </a:lnTo>
                    <a:lnTo>
                      <a:pt x="13" y="56"/>
                    </a:lnTo>
                    <a:lnTo>
                      <a:pt x="30" y="66"/>
                    </a:lnTo>
                    <a:lnTo>
                      <a:pt x="53" y="63"/>
                    </a:lnTo>
                    <a:lnTo>
                      <a:pt x="60" y="56"/>
                    </a:lnTo>
                    <a:lnTo>
                      <a:pt x="83" y="59"/>
                    </a:lnTo>
                    <a:lnTo>
                      <a:pt x="96" y="53"/>
                    </a:lnTo>
                    <a:lnTo>
                      <a:pt x="102" y="36"/>
                    </a:lnTo>
                    <a:lnTo>
                      <a:pt x="106" y="26"/>
                    </a:lnTo>
                    <a:lnTo>
                      <a:pt x="109" y="10"/>
                    </a:lnTo>
                    <a:lnTo>
                      <a:pt x="116" y="0"/>
                    </a:lnTo>
                    <a:lnTo>
                      <a:pt x="129" y="0"/>
                    </a:lnTo>
                    <a:lnTo>
                      <a:pt x="142" y="3"/>
                    </a:lnTo>
                    <a:lnTo>
                      <a:pt x="142" y="6"/>
                    </a:lnTo>
                    <a:lnTo>
                      <a:pt x="145" y="10"/>
                    </a:lnTo>
                    <a:lnTo>
                      <a:pt x="142" y="10"/>
                    </a:lnTo>
                    <a:lnTo>
                      <a:pt x="139" y="13"/>
                    </a:lnTo>
                    <a:lnTo>
                      <a:pt x="139" y="23"/>
                    </a:lnTo>
                    <a:lnTo>
                      <a:pt x="155" y="43"/>
                    </a:lnTo>
                    <a:lnTo>
                      <a:pt x="149" y="46"/>
                    </a:lnTo>
                    <a:lnTo>
                      <a:pt x="162" y="56"/>
                    </a:lnTo>
                    <a:lnTo>
                      <a:pt x="168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0" name="Freeform 1257"/>
              <p:cNvSpPr>
                <a:spLocks/>
              </p:cNvSpPr>
              <p:nvPr/>
            </p:nvSpPr>
            <p:spPr bwMode="auto">
              <a:xfrm>
                <a:off x="6904120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1" name="Freeform 1258"/>
              <p:cNvSpPr>
                <a:spLocks/>
              </p:cNvSpPr>
              <p:nvPr/>
            </p:nvSpPr>
            <p:spPr bwMode="auto">
              <a:xfrm>
                <a:off x="6904120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2" name="Freeform 1259"/>
              <p:cNvSpPr>
                <a:spLocks/>
              </p:cNvSpPr>
              <p:nvPr/>
            </p:nvSpPr>
            <p:spPr bwMode="auto">
              <a:xfrm>
                <a:off x="6904120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3" name="Freeform 1260"/>
              <p:cNvSpPr>
                <a:spLocks/>
              </p:cNvSpPr>
              <p:nvPr/>
            </p:nvSpPr>
            <p:spPr bwMode="auto">
              <a:xfrm>
                <a:off x="6904120" y="4169539"/>
                <a:ext cx="293690" cy="357193"/>
              </a:xfrm>
              <a:custGeom>
                <a:avLst/>
                <a:gdLst/>
                <a:ahLst/>
                <a:cxnLst>
                  <a:cxn ang="0">
                    <a:pos x="185" y="172"/>
                  </a:cxn>
                  <a:cxn ang="0">
                    <a:pos x="178" y="179"/>
                  </a:cxn>
                  <a:cxn ang="0">
                    <a:pos x="178" y="202"/>
                  </a:cxn>
                  <a:cxn ang="0">
                    <a:pos x="178" y="225"/>
                  </a:cxn>
                  <a:cxn ang="0">
                    <a:pos x="168" y="215"/>
                  </a:cxn>
                  <a:cxn ang="0">
                    <a:pos x="165" y="225"/>
                  </a:cxn>
                  <a:cxn ang="0">
                    <a:pos x="159" y="222"/>
                  </a:cxn>
                  <a:cxn ang="0">
                    <a:pos x="159" y="225"/>
                  </a:cxn>
                  <a:cxn ang="0">
                    <a:pos x="139" y="212"/>
                  </a:cxn>
                  <a:cxn ang="0">
                    <a:pos x="132" y="198"/>
                  </a:cxn>
                  <a:cxn ang="0">
                    <a:pos x="122" y="189"/>
                  </a:cxn>
                  <a:cxn ang="0">
                    <a:pos x="112" y="182"/>
                  </a:cxn>
                  <a:cxn ang="0">
                    <a:pos x="106" y="169"/>
                  </a:cxn>
                  <a:cxn ang="0">
                    <a:pos x="99" y="156"/>
                  </a:cxn>
                  <a:cxn ang="0">
                    <a:pos x="89" y="136"/>
                  </a:cxn>
                  <a:cxn ang="0">
                    <a:pos x="86" y="136"/>
                  </a:cxn>
                  <a:cxn ang="0">
                    <a:pos x="79" y="123"/>
                  </a:cxn>
                  <a:cxn ang="0">
                    <a:pos x="66" y="106"/>
                  </a:cxn>
                  <a:cxn ang="0">
                    <a:pos x="63" y="93"/>
                  </a:cxn>
                  <a:cxn ang="0">
                    <a:pos x="60" y="83"/>
                  </a:cxn>
                  <a:cxn ang="0">
                    <a:pos x="46" y="66"/>
                  </a:cxn>
                  <a:cxn ang="0">
                    <a:pos x="33" y="53"/>
                  </a:cxn>
                  <a:cxn ang="0">
                    <a:pos x="20" y="37"/>
                  </a:cxn>
                  <a:cxn ang="0">
                    <a:pos x="7" y="23"/>
                  </a:cxn>
                  <a:cxn ang="0">
                    <a:pos x="0" y="0"/>
                  </a:cxn>
                  <a:cxn ang="0">
                    <a:pos x="7" y="7"/>
                  </a:cxn>
                  <a:cxn ang="0">
                    <a:pos x="20" y="7"/>
                  </a:cxn>
                  <a:cxn ang="0">
                    <a:pos x="33" y="7"/>
                  </a:cxn>
                  <a:cxn ang="0">
                    <a:pos x="50" y="27"/>
                  </a:cxn>
                  <a:cxn ang="0">
                    <a:pos x="50" y="30"/>
                  </a:cxn>
                  <a:cxn ang="0">
                    <a:pos x="66" y="47"/>
                  </a:cxn>
                  <a:cxn ang="0">
                    <a:pos x="83" y="60"/>
                  </a:cxn>
                  <a:cxn ang="0">
                    <a:pos x="93" y="73"/>
                  </a:cxn>
                  <a:cxn ang="0">
                    <a:pos x="93" y="66"/>
                  </a:cxn>
                  <a:cxn ang="0">
                    <a:pos x="106" y="80"/>
                  </a:cxn>
                  <a:cxn ang="0">
                    <a:pos x="119" y="90"/>
                  </a:cxn>
                  <a:cxn ang="0">
                    <a:pos x="132" y="99"/>
                  </a:cxn>
                  <a:cxn ang="0">
                    <a:pos x="139" y="99"/>
                  </a:cxn>
                  <a:cxn ang="0">
                    <a:pos x="145" y="109"/>
                  </a:cxn>
                  <a:cxn ang="0">
                    <a:pos x="139" y="116"/>
                  </a:cxn>
                  <a:cxn ang="0">
                    <a:pos x="139" y="129"/>
                  </a:cxn>
                  <a:cxn ang="0">
                    <a:pos x="155" y="132"/>
                  </a:cxn>
                  <a:cxn ang="0">
                    <a:pos x="159" y="146"/>
                  </a:cxn>
                  <a:cxn ang="0">
                    <a:pos x="162" y="149"/>
                  </a:cxn>
                  <a:cxn ang="0">
                    <a:pos x="162" y="159"/>
                  </a:cxn>
                  <a:cxn ang="0">
                    <a:pos x="178" y="159"/>
                  </a:cxn>
                  <a:cxn ang="0">
                    <a:pos x="185" y="172"/>
                  </a:cxn>
                </a:cxnLst>
                <a:rect l="0" t="0" r="r" b="b"/>
                <a:pathLst>
                  <a:path w="185" h="225">
                    <a:moveTo>
                      <a:pt x="185" y="172"/>
                    </a:moveTo>
                    <a:lnTo>
                      <a:pt x="178" y="179"/>
                    </a:lnTo>
                    <a:lnTo>
                      <a:pt x="178" y="202"/>
                    </a:lnTo>
                    <a:lnTo>
                      <a:pt x="178" y="225"/>
                    </a:lnTo>
                    <a:lnTo>
                      <a:pt x="168" y="215"/>
                    </a:lnTo>
                    <a:lnTo>
                      <a:pt x="165" y="225"/>
                    </a:lnTo>
                    <a:lnTo>
                      <a:pt x="159" y="222"/>
                    </a:lnTo>
                    <a:lnTo>
                      <a:pt x="159" y="225"/>
                    </a:lnTo>
                    <a:lnTo>
                      <a:pt x="139" y="212"/>
                    </a:lnTo>
                    <a:lnTo>
                      <a:pt x="132" y="198"/>
                    </a:lnTo>
                    <a:lnTo>
                      <a:pt x="122" y="189"/>
                    </a:lnTo>
                    <a:lnTo>
                      <a:pt x="112" y="182"/>
                    </a:lnTo>
                    <a:lnTo>
                      <a:pt x="106" y="169"/>
                    </a:lnTo>
                    <a:lnTo>
                      <a:pt x="99" y="156"/>
                    </a:lnTo>
                    <a:lnTo>
                      <a:pt x="89" y="136"/>
                    </a:lnTo>
                    <a:lnTo>
                      <a:pt x="86" y="136"/>
                    </a:lnTo>
                    <a:lnTo>
                      <a:pt x="79" y="123"/>
                    </a:lnTo>
                    <a:lnTo>
                      <a:pt x="66" y="106"/>
                    </a:lnTo>
                    <a:lnTo>
                      <a:pt x="63" y="93"/>
                    </a:lnTo>
                    <a:lnTo>
                      <a:pt x="60" y="83"/>
                    </a:lnTo>
                    <a:lnTo>
                      <a:pt x="46" y="66"/>
                    </a:lnTo>
                    <a:lnTo>
                      <a:pt x="33" y="53"/>
                    </a:lnTo>
                    <a:lnTo>
                      <a:pt x="20" y="37"/>
                    </a:lnTo>
                    <a:lnTo>
                      <a:pt x="7" y="23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20" y="7"/>
                    </a:lnTo>
                    <a:lnTo>
                      <a:pt x="33" y="7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66" y="47"/>
                    </a:lnTo>
                    <a:lnTo>
                      <a:pt x="83" y="60"/>
                    </a:lnTo>
                    <a:lnTo>
                      <a:pt x="93" y="73"/>
                    </a:lnTo>
                    <a:lnTo>
                      <a:pt x="93" y="66"/>
                    </a:lnTo>
                    <a:lnTo>
                      <a:pt x="106" y="80"/>
                    </a:lnTo>
                    <a:lnTo>
                      <a:pt x="119" y="90"/>
                    </a:lnTo>
                    <a:lnTo>
                      <a:pt x="132" y="99"/>
                    </a:lnTo>
                    <a:lnTo>
                      <a:pt x="139" y="99"/>
                    </a:lnTo>
                    <a:lnTo>
                      <a:pt x="145" y="109"/>
                    </a:lnTo>
                    <a:lnTo>
                      <a:pt x="139" y="116"/>
                    </a:lnTo>
                    <a:lnTo>
                      <a:pt x="139" y="129"/>
                    </a:lnTo>
                    <a:lnTo>
                      <a:pt x="155" y="132"/>
                    </a:lnTo>
                    <a:lnTo>
                      <a:pt x="159" y="146"/>
                    </a:lnTo>
                    <a:lnTo>
                      <a:pt x="162" y="149"/>
                    </a:lnTo>
                    <a:lnTo>
                      <a:pt x="162" y="159"/>
                    </a:lnTo>
                    <a:lnTo>
                      <a:pt x="178" y="159"/>
                    </a:lnTo>
                    <a:lnTo>
                      <a:pt x="185" y="1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4" name="Freeform 1261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5" name="Freeform 1262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6" name="Freeform 1263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7" name="Freeform 1264"/>
              <p:cNvSpPr>
                <a:spLocks/>
              </p:cNvSpPr>
              <p:nvPr/>
            </p:nvSpPr>
            <p:spPr bwMode="auto">
              <a:xfrm>
                <a:off x="7861394" y="4358454"/>
                <a:ext cx="261940" cy="277816"/>
              </a:xfrm>
              <a:custGeom>
                <a:avLst/>
                <a:gdLst/>
                <a:ahLst/>
                <a:cxnLst>
                  <a:cxn ang="0">
                    <a:pos x="122" y="145"/>
                  </a:cxn>
                  <a:cxn ang="0">
                    <a:pos x="126" y="145"/>
                  </a:cxn>
                  <a:cxn ang="0">
                    <a:pos x="122" y="155"/>
                  </a:cxn>
                  <a:cxn ang="0">
                    <a:pos x="126" y="155"/>
                  </a:cxn>
                  <a:cxn ang="0">
                    <a:pos x="142" y="152"/>
                  </a:cxn>
                  <a:cxn ang="0">
                    <a:pos x="149" y="162"/>
                  </a:cxn>
                  <a:cxn ang="0">
                    <a:pos x="155" y="175"/>
                  </a:cxn>
                  <a:cxn ang="0">
                    <a:pos x="159" y="159"/>
                  </a:cxn>
                  <a:cxn ang="0">
                    <a:pos x="159" y="126"/>
                  </a:cxn>
                  <a:cxn ang="0">
                    <a:pos x="162" y="109"/>
                  </a:cxn>
                  <a:cxn ang="0">
                    <a:pos x="162" y="60"/>
                  </a:cxn>
                  <a:cxn ang="0">
                    <a:pos x="165" y="46"/>
                  </a:cxn>
                  <a:cxn ang="0">
                    <a:pos x="152" y="43"/>
                  </a:cxn>
                  <a:cxn ang="0">
                    <a:pos x="136" y="33"/>
                  </a:cxn>
                  <a:cxn ang="0">
                    <a:pos x="112" y="20"/>
                  </a:cxn>
                  <a:cxn ang="0">
                    <a:pos x="103" y="30"/>
                  </a:cxn>
                  <a:cxn ang="0">
                    <a:pos x="83" y="43"/>
                  </a:cxn>
                  <a:cxn ang="0">
                    <a:pos x="66" y="60"/>
                  </a:cxn>
                  <a:cxn ang="0">
                    <a:pos x="60" y="50"/>
                  </a:cxn>
                  <a:cxn ang="0">
                    <a:pos x="56" y="46"/>
                  </a:cxn>
                  <a:cxn ang="0">
                    <a:pos x="53" y="50"/>
                  </a:cxn>
                  <a:cxn ang="0">
                    <a:pos x="50" y="27"/>
                  </a:cxn>
                  <a:cxn ang="0">
                    <a:pos x="50" y="7"/>
                  </a:cxn>
                  <a:cxn ang="0">
                    <a:pos x="30" y="4"/>
                  </a:cxn>
                  <a:cxn ang="0">
                    <a:pos x="17" y="0"/>
                  </a:cxn>
                  <a:cxn ang="0">
                    <a:pos x="4" y="13"/>
                  </a:cxn>
                  <a:cxn ang="0">
                    <a:pos x="0" y="20"/>
                  </a:cxn>
                  <a:cxn ang="0">
                    <a:pos x="14" y="27"/>
                  </a:cxn>
                  <a:cxn ang="0">
                    <a:pos x="20" y="37"/>
                  </a:cxn>
                  <a:cxn ang="0">
                    <a:pos x="43" y="37"/>
                  </a:cxn>
                  <a:cxn ang="0">
                    <a:pos x="43" y="43"/>
                  </a:cxn>
                  <a:cxn ang="0">
                    <a:pos x="40" y="46"/>
                  </a:cxn>
                  <a:cxn ang="0">
                    <a:pos x="33" y="46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27" y="63"/>
                  </a:cxn>
                  <a:cxn ang="0">
                    <a:pos x="27" y="70"/>
                  </a:cxn>
                  <a:cxn ang="0">
                    <a:pos x="33" y="73"/>
                  </a:cxn>
                  <a:cxn ang="0">
                    <a:pos x="43" y="56"/>
                  </a:cxn>
                  <a:cxn ang="0">
                    <a:pos x="40" y="66"/>
                  </a:cxn>
                  <a:cxn ang="0">
                    <a:pos x="56" y="70"/>
                  </a:cxn>
                  <a:cxn ang="0">
                    <a:pos x="60" y="70"/>
                  </a:cxn>
                  <a:cxn ang="0">
                    <a:pos x="60" y="76"/>
                  </a:cxn>
                  <a:cxn ang="0">
                    <a:pos x="70" y="79"/>
                  </a:cxn>
                  <a:cxn ang="0">
                    <a:pos x="83" y="89"/>
                  </a:cxn>
                  <a:cxn ang="0">
                    <a:pos x="96" y="93"/>
                  </a:cxn>
                  <a:cxn ang="0">
                    <a:pos x="109" y="96"/>
                  </a:cxn>
                  <a:cxn ang="0">
                    <a:pos x="116" y="109"/>
                  </a:cxn>
                  <a:cxn ang="0">
                    <a:pos x="122" y="129"/>
                  </a:cxn>
                  <a:cxn ang="0">
                    <a:pos x="126" y="129"/>
                  </a:cxn>
                  <a:cxn ang="0">
                    <a:pos x="119" y="132"/>
                  </a:cxn>
                  <a:cxn ang="0">
                    <a:pos x="129" y="139"/>
                  </a:cxn>
                  <a:cxn ang="0">
                    <a:pos x="119" y="139"/>
                  </a:cxn>
                  <a:cxn ang="0">
                    <a:pos x="122" y="145"/>
                  </a:cxn>
                  <a:cxn ang="0">
                    <a:pos x="112" y="142"/>
                  </a:cxn>
                  <a:cxn ang="0">
                    <a:pos x="103" y="159"/>
                  </a:cxn>
                  <a:cxn ang="0">
                    <a:pos x="116" y="155"/>
                  </a:cxn>
                  <a:cxn ang="0">
                    <a:pos x="122" y="145"/>
                  </a:cxn>
                </a:cxnLst>
                <a:rect l="0" t="0" r="r" b="b"/>
                <a:pathLst>
                  <a:path w="165" h="175">
                    <a:moveTo>
                      <a:pt x="122" y="145"/>
                    </a:moveTo>
                    <a:lnTo>
                      <a:pt x="126" y="145"/>
                    </a:lnTo>
                    <a:lnTo>
                      <a:pt x="122" y="155"/>
                    </a:lnTo>
                    <a:lnTo>
                      <a:pt x="126" y="155"/>
                    </a:lnTo>
                    <a:lnTo>
                      <a:pt x="142" y="152"/>
                    </a:lnTo>
                    <a:lnTo>
                      <a:pt x="149" y="162"/>
                    </a:lnTo>
                    <a:lnTo>
                      <a:pt x="155" y="175"/>
                    </a:lnTo>
                    <a:lnTo>
                      <a:pt x="159" y="159"/>
                    </a:lnTo>
                    <a:lnTo>
                      <a:pt x="159" y="126"/>
                    </a:lnTo>
                    <a:lnTo>
                      <a:pt x="162" y="109"/>
                    </a:lnTo>
                    <a:lnTo>
                      <a:pt x="162" y="60"/>
                    </a:lnTo>
                    <a:lnTo>
                      <a:pt x="165" y="46"/>
                    </a:lnTo>
                    <a:lnTo>
                      <a:pt x="152" y="43"/>
                    </a:lnTo>
                    <a:lnTo>
                      <a:pt x="136" y="33"/>
                    </a:lnTo>
                    <a:lnTo>
                      <a:pt x="112" y="20"/>
                    </a:lnTo>
                    <a:lnTo>
                      <a:pt x="103" y="30"/>
                    </a:lnTo>
                    <a:lnTo>
                      <a:pt x="83" y="43"/>
                    </a:lnTo>
                    <a:lnTo>
                      <a:pt x="66" y="60"/>
                    </a:lnTo>
                    <a:lnTo>
                      <a:pt x="60" y="50"/>
                    </a:lnTo>
                    <a:lnTo>
                      <a:pt x="56" y="46"/>
                    </a:lnTo>
                    <a:lnTo>
                      <a:pt x="53" y="50"/>
                    </a:lnTo>
                    <a:lnTo>
                      <a:pt x="50" y="27"/>
                    </a:lnTo>
                    <a:lnTo>
                      <a:pt x="50" y="7"/>
                    </a:lnTo>
                    <a:lnTo>
                      <a:pt x="30" y="4"/>
                    </a:lnTo>
                    <a:lnTo>
                      <a:pt x="17" y="0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14" y="27"/>
                    </a:lnTo>
                    <a:lnTo>
                      <a:pt x="20" y="37"/>
                    </a:lnTo>
                    <a:lnTo>
                      <a:pt x="43" y="37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33" y="46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27" y="63"/>
                    </a:lnTo>
                    <a:lnTo>
                      <a:pt x="27" y="70"/>
                    </a:lnTo>
                    <a:lnTo>
                      <a:pt x="33" y="73"/>
                    </a:lnTo>
                    <a:lnTo>
                      <a:pt x="43" y="56"/>
                    </a:lnTo>
                    <a:lnTo>
                      <a:pt x="40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6"/>
                    </a:lnTo>
                    <a:lnTo>
                      <a:pt x="70" y="79"/>
                    </a:lnTo>
                    <a:lnTo>
                      <a:pt x="83" y="89"/>
                    </a:lnTo>
                    <a:lnTo>
                      <a:pt x="96" y="93"/>
                    </a:lnTo>
                    <a:lnTo>
                      <a:pt x="109" y="96"/>
                    </a:lnTo>
                    <a:lnTo>
                      <a:pt x="116" y="10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19" y="132"/>
                    </a:lnTo>
                    <a:lnTo>
                      <a:pt x="129" y="139"/>
                    </a:lnTo>
                    <a:lnTo>
                      <a:pt x="119" y="139"/>
                    </a:lnTo>
                    <a:lnTo>
                      <a:pt x="122" y="145"/>
                    </a:lnTo>
                    <a:lnTo>
                      <a:pt x="112" y="142"/>
                    </a:lnTo>
                    <a:lnTo>
                      <a:pt x="103" y="159"/>
                    </a:lnTo>
                    <a:lnTo>
                      <a:pt x="116" y="155"/>
                    </a:lnTo>
                    <a:lnTo>
                      <a:pt x="122" y="14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8" name="Freeform 1265"/>
              <p:cNvSpPr>
                <a:spLocks/>
              </p:cNvSpPr>
              <p:nvPr/>
            </p:nvSpPr>
            <p:spPr bwMode="auto">
              <a:xfrm>
                <a:off x="7170823" y="4536257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39" name="Freeform 1266"/>
              <p:cNvSpPr>
                <a:spLocks/>
              </p:cNvSpPr>
              <p:nvPr/>
            </p:nvSpPr>
            <p:spPr bwMode="auto">
              <a:xfrm>
                <a:off x="7170823" y="4536257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0" name="Freeform 1267"/>
              <p:cNvSpPr>
                <a:spLocks/>
              </p:cNvSpPr>
              <p:nvPr/>
            </p:nvSpPr>
            <p:spPr bwMode="auto">
              <a:xfrm>
                <a:off x="7170823" y="4536257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1" name="Freeform 1268"/>
              <p:cNvSpPr>
                <a:spLocks/>
              </p:cNvSpPr>
              <p:nvPr/>
            </p:nvSpPr>
            <p:spPr bwMode="auto">
              <a:xfrm>
                <a:off x="7170823" y="4536257"/>
                <a:ext cx="241303" cy="84138"/>
              </a:xfrm>
              <a:custGeom>
                <a:avLst/>
                <a:gdLst/>
                <a:ahLst/>
                <a:cxnLst>
                  <a:cxn ang="0">
                    <a:pos x="152" y="53"/>
                  </a:cxn>
                  <a:cxn ang="0">
                    <a:pos x="149" y="50"/>
                  </a:cxn>
                  <a:cxn ang="0">
                    <a:pos x="149" y="33"/>
                  </a:cxn>
                  <a:cxn ang="0">
                    <a:pos x="139" y="33"/>
                  </a:cxn>
                  <a:cxn ang="0">
                    <a:pos x="122" y="33"/>
                  </a:cxn>
                  <a:cxn ang="0">
                    <a:pos x="119" y="20"/>
                  </a:cxn>
                  <a:cxn ang="0">
                    <a:pos x="99" y="14"/>
                  </a:cxn>
                  <a:cxn ang="0">
                    <a:pos x="93" y="10"/>
                  </a:cxn>
                  <a:cxn ang="0">
                    <a:pos x="86" y="17"/>
                  </a:cxn>
                  <a:cxn ang="0">
                    <a:pos x="63" y="17"/>
                  </a:cxn>
                  <a:cxn ang="0">
                    <a:pos x="53" y="10"/>
                  </a:cxn>
                  <a:cxn ang="0">
                    <a:pos x="37" y="0"/>
                  </a:cxn>
                  <a:cxn ang="0">
                    <a:pos x="14" y="0"/>
                  </a:cxn>
                  <a:cxn ang="0">
                    <a:pos x="4" y="14"/>
                  </a:cxn>
                  <a:cxn ang="0">
                    <a:pos x="0" y="14"/>
                  </a:cxn>
                  <a:cxn ang="0">
                    <a:pos x="14" y="20"/>
                  </a:cxn>
                  <a:cxn ang="0">
                    <a:pos x="14" y="24"/>
                  </a:cxn>
                  <a:cxn ang="0">
                    <a:pos x="30" y="30"/>
                  </a:cxn>
                  <a:cxn ang="0">
                    <a:pos x="50" y="33"/>
                  </a:cxn>
                  <a:cxn ang="0">
                    <a:pos x="66" y="33"/>
                  </a:cxn>
                  <a:cxn ang="0">
                    <a:pos x="83" y="40"/>
                  </a:cxn>
                  <a:cxn ang="0">
                    <a:pos x="103" y="43"/>
                  </a:cxn>
                  <a:cxn ang="0">
                    <a:pos x="122" y="47"/>
                  </a:cxn>
                  <a:cxn ang="0">
                    <a:pos x="139" y="50"/>
                  </a:cxn>
                  <a:cxn ang="0">
                    <a:pos x="152" y="53"/>
                  </a:cxn>
                </a:cxnLst>
                <a:rect l="0" t="0" r="r" b="b"/>
                <a:pathLst>
                  <a:path w="152" h="53">
                    <a:moveTo>
                      <a:pt x="152" y="53"/>
                    </a:moveTo>
                    <a:lnTo>
                      <a:pt x="149" y="50"/>
                    </a:lnTo>
                    <a:lnTo>
                      <a:pt x="149" y="33"/>
                    </a:lnTo>
                    <a:lnTo>
                      <a:pt x="139" y="33"/>
                    </a:lnTo>
                    <a:lnTo>
                      <a:pt x="122" y="33"/>
                    </a:lnTo>
                    <a:lnTo>
                      <a:pt x="119" y="20"/>
                    </a:lnTo>
                    <a:lnTo>
                      <a:pt x="99" y="14"/>
                    </a:lnTo>
                    <a:lnTo>
                      <a:pt x="93" y="10"/>
                    </a:lnTo>
                    <a:lnTo>
                      <a:pt x="86" y="17"/>
                    </a:lnTo>
                    <a:lnTo>
                      <a:pt x="63" y="17"/>
                    </a:lnTo>
                    <a:lnTo>
                      <a:pt x="53" y="10"/>
                    </a:lnTo>
                    <a:lnTo>
                      <a:pt x="37" y="0"/>
                    </a:lnTo>
                    <a:lnTo>
                      <a:pt x="14" y="0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30" y="30"/>
                    </a:lnTo>
                    <a:lnTo>
                      <a:pt x="50" y="33"/>
                    </a:lnTo>
                    <a:lnTo>
                      <a:pt x="66" y="33"/>
                    </a:lnTo>
                    <a:lnTo>
                      <a:pt x="83" y="40"/>
                    </a:lnTo>
                    <a:lnTo>
                      <a:pt x="103" y="43"/>
                    </a:lnTo>
                    <a:lnTo>
                      <a:pt x="122" y="47"/>
                    </a:lnTo>
                    <a:lnTo>
                      <a:pt x="139" y="50"/>
                    </a:lnTo>
                    <a:lnTo>
                      <a:pt x="152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2" name="Freeform 1269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3" name="Freeform 1270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4" name="Freeform 1271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5" name="Freeform 1272"/>
              <p:cNvSpPr>
                <a:spLocks/>
              </p:cNvSpPr>
              <p:nvPr/>
            </p:nvSpPr>
            <p:spPr bwMode="auto">
              <a:xfrm>
                <a:off x="7548652" y="4610871"/>
                <a:ext cx="88900" cy="46038"/>
              </a:xfrm>
              <a:custGeom>
                <a:avLst/>
                <a:gdLst/>
                <a:ahLst/>
                <a:cxnLst>
                  <a:cxn ang="0">
                    <a:pos x="56" y="13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6" y="19"/>
                  </a:cxn>
                  <a:cxn ang="0">
                    <a:pos x="39" y="19"/>
                  </a:cxn>
                  <a:cxn ang="0">
                    <a:pos x="26" y="13"/>
                  </a:cxn>
                  <a:cxn ang="0">
                    <a:pos x="10" y="0"/>
                  </a:cxn>
                  <a:cxn ang="0">
                    <a:pos x="0" y="29"/>
                  </a:cxn>
                  <a:cxn ang="0">
                    <a:pos x="43" y="29"/>
                  </a:cxn>
                  <a:cxn ang="0">
                    <a:pos x="56" y="13"/>
                  </a:cxn>
                </a:cxnLst>
                <a:rect l="0" t="0" r="r" b="b"/>
                <a:pathLst>
                  <a:path w="56" h="29">
                    <a:moveTo>
                      <a:pt x="56" y="13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6" y="19"/>
                    </a:lnTo>
                    <a:lnTo>
                      <a:pt x="39" y="19"/>
                    </a:lnTo>
                    <a:lnTo>
                      <a:pt x="26" y="13"/>
                    </a:lnTo>
                    <a:lnTo>
                      <a:pt x="10" y="0"/>
                    </a:lnTo>
                    <a:lnTo>
                      <a:pt x="0" y="29"/>
                    </a:lnTo>
                    <a:lnTo>
                      <a:pt x="43" y="29"/>
                    </a:lnTo>
                    <a:lnTo>
                      <a:pt x="5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6" name="Freeform 1273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7" name="Freeform 1274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8" name="Freeform 1275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49" name="Freeform 1276"/>
              <p:cNvSpPr>
                <a:spLocks/>
              </p:cNvSpPr>
              <p:nvPr/>
            </p:nvSpPr>
            <p:spPr bwMode="auto">
              <a:xfrm>
                <a:off x="7464515" y="4610871"/>
                <a:ext cx="77788" cy="46038"/>
              </a:xfrm>
              <a:custGeom>
                <a:avLst/>
                <a:gdLst/>
                <a:ahLst/>
                <a:cxnLst>
                  <a:cxn ang="0">
                    <a:pos x="49" y="13"/>
                  </a:cxn>
                  <a:cxn ang="0">
                    <a:pos x="43" y="6"/>
                  </a:cxn>
                  <a:cxn ang="0">
                    <a:pos x="36" y="6"/>
                  </a:cxn>
                  <a:cxn ang="0">
                    <a:pos x="20" y="0"/>
                  </a:cxn>
                  <a:cxn ang="0">
                    <a:pos x="30" y="13"/>
                  </a:cxn>
                  <a:cxn ang="0">
                    <a:pos x="7" y="13"/>
                  </a:cxn>
                  <a:cxn ang="0">
                    <a:pos x="0" y="29"/>
                  </a:cxn>
                  <a:cxn ang="0">
                    <a:pos x="16" y="29"/>
                  </a:cxn>
                  <a:cxn ang="0">
                    <a:pos x="33" y="19"/>
                  </a:cxn>
                  <a:cxn ang="0">
                    <a:pos x="43" y="19"/>
                  </a:cxn>
                  <a:cxn ang="0">
                    <a:pos x="36" y="19"/>
                  </a:cxn>
                  <a:cxn ang="0">
                    <a:pos x="49" y="13"/>
                  </a:cxn>
                </a:cxnLst>
                <a:rect l="0" t="0" r="r" b="b"/>
                <a:pathLst>
                  <a:path w="49" h="29">
                    <a:moveTo>
                      <a:pt x="49" y="13"/>
                    </a:moveTo>
                    <a:lnTo>
                      <a:pt x="43" y="6"/>
                    </a:lnTo>
                    <a:lnTo>
                      <a:pt x="36" y="6"/>
                    </a:lnTo>
                    <a:lnTo>
                      <a:pt x="20" y="0"/>
                    </a:lnTo>
                    <a:lnTo>
                      <a:pt x="30" y="13"/>
                    </a:lnTo>
                    <a:lnTo>
                      <a:pt x="7" y="13"/>
                    </a:lnTo>
                    <a:lnTo>
                      <a:pt x="0" y="29"/>
                    </a:lnTo>
                    <a:lnTo>
                      <a:pt x="16" y="29"/>
                    </a:lnTo>
                    <a:lnTo>
                      <a:pt x="33" y="19"/>
                    </a:lnTo>
                    <a:lnTo>
                      <a:pt x="43" y="19"/>
                    </a:lnTo>
                    <a:lnTo>
                      <a:pt x="36" y="19"/>
                    </a:lnTo>
                    <a:lnTo>
                      <a:pt x="4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0" name="Freeform 1277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1" name="Freeform 1278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2" name="Freeform 1279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3" name="Freeform 1280"/>
              <p:cNvSpPr>
                <a:spLocks/>
              </p:cNvSpPr>
              <p:nvPr/>
            </p:nvSpPr>
            <p:spPr bwMode="auto">
              <a:xfrm>
                <a:off x="7526427" y="4647384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23"/>
                  </a:cxn>
                  <a:cxn ang="0">
                    <a:pos x="20" y="33"/>
                  </a:cxn>
                  <a:cxn ang="0">
                    <a:pos x="10" y="10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40" y="23"/>
                  </a:cxn>
                </a:cxnLst>
                <a:rect l="0" t="0" r="r" b="b"/>
                <a:pathLst>
                  <a:path w="40" h="33">
                    <a:moveTo>
                      <a:pt x="40" y="23"/>
                    </a:moveTo>
                    <a:lnTo>
                      <a:pt x="20" y="33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4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4" name="Freeform 1281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5" name="Freeform 1282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6" name="Freeform 1283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7" name="Freeform 1284"/>
              <p:cNvSpPr>
                <a:spLocks/>
              </p:cNvSpPr>
              <p:nvPr/>
            </p:nvSpPr>
            <p:spPr bwMode="auto">
              <a:xfrm>
                <a:off x="7416889" y="4610871"/>
                <a:ext cx="58738" cy="46038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33" y="0"/>
                  </a:cxn>
                  <a:cxn ang="0">
                    <a:pos x="0" y="0"/>
                  </a:cxn>
                  <a:cxn ang="0">
                    <a:pos x="17" y="29"/>
                  </a:cxn>
                  <a:cxn ang="0">
                    <a:pos x="37" y="13"/>
                  </a:cxn>
                </a:cxnLst>
                <a:rect l="0" t="0" r="r" b="b"/>
                <a:pathLst>
                  <a:path w="37" h="29">
                    <a:moveTo>
                      <a:pt x="37" y="13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17" y="29"/>
                    </a:lnTo>
                    <a:lnTo>
                      <a:pt x="37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8" name="Freeform 1285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59" name="Freeform 1286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0" name="Freeform 1287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1" name="Freeform 1288"/>
              <p:cNvSpPr>
                <a:spLocks/>
              </p:cNvSpPr>
              <p:nvPr/>
            </p:nvSpPr>
            <p:spPr bwMode="auto">
              <a:xfrm>
                <a:off x="7443877" y="4610871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29" y="0"/>
                  </a:cxn>
                  <a:cxn ang="0">
                    <a:pos x="0" y="19"/>
                  </a:cxn>
                  <a:cxn ang="0">
                    <a:pos x="20" y="29"/>
                  </a:cxn>
                  <a:cxn ang="0">
                    <a:pos x="36" y="6"/>
                  </a:cxn>
                </a:cxnLst>
                <a:rect l="0" t="0" r="r" b="b"/>
                <a:pathLst>
                  <a:path w="36" h="29">
                    <a:moveTo>
                      <a:pt x="36" y="6"/>
                    </a:moveTo>
                    <a:lnTo>
                      <a:pt x="29" y="0"/>
                    </a:lnTo>
                    <a:lnTo>
                      <a:pt x="0" y="19"/>
                    </a:lnTo>
                    <a:lnTo>
                      <a:pt x="20" y="29"/>
                    </a:lnTo>
                    <a:lnTo>
                      <a:pt x="36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2" name="Freeform 1289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3" name="Freeform 1290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4" name="Freeform 1291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5" name="Freeform 1292"/>
              <p:cNvSpPr>
                <a:spLocks/>
              </p:cNvSpPr>
              <p:nvPr/>
            </p:nvSpPr>
            <p:spPr bwMode="auto">
              <a:xfrm>
                <a:off x="7234324" y="4437830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20" y="29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6" y="13"/>
                  </a:cxn>
                </a:cxnLst>
                <a:rect l="0" t="0" r="r" b="b"/>
                <a:pathLst>
                  <a:path w="36" h="29">
                    <a:moveTo>
                      <a:pt x="36" y="13"/>
                    </a:moveTo>
                    <a:lnTo>
                      <a:pt x="20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6" name="Freeform 1293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7" name="Freeform 1294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8" name="Freeform 1295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69" name="Freeform 1296"/>
              <p:cNvSpPr>
                <a:spLocks/>
              </p:cNvSpPr>
              <p:nvPr/>
            </p:nvSpPr>
            <p:spPr bwMode="auto">
              <a:xfrm>
                <a:off x="7370851" y="4558482"/>
                <a:ext cx="52388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33" y="0"/>
                  </a:cxn>
                </a:cxnLst>
                <a:rect l="0" t="0" r="r" b="b"/>
                <a:pathLst>
                  <a:path w="33" h="36">
                    <a:moveTo>
                      <a:pt x="33" y="0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0" name="Freeform 1297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1" name="Freeform 1298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2" name="Freeform 1299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3" name="Freeform 1300"/>
              <p:cNvSpPr>
                <a:spLocks/>
              </p:cNvSpPr>
              <p:nvPr/>
            </p:nvSpPr>
            <p:spPr bwMode="auto">
              <a:xfrm>
                <a:off x="7407364" y="4191765"/>
                <a:ext cx="57150" cy="52388"/>
              </a:xfrm>
              <a:custGeom>
                <a:avLst/>
                <a:gdLst/>
                <a:ahLst/>
                <a:cxnLst>
                  <a:cxn ang="0">
                    <a:pos x="16" y="33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6" y="6"/>
                  </a:cxn>
                  <a:cxn ang="0">
                    <a:pos x="29" y="23"/>
                  </a:cxn>
                  <a:cxn ang="0">
                    <a:pos x="16" y="33"/>
                  </a:cxn>
                </a:cxnLst>
                <a:rect l="0" t="0" r="r" b="b"/>
                <a:pathLst>
                  <a:path w="36" h="33">
                    <a:moveTo>
                      <a:pt x="16" y="33"/>
                    </a:moveTo>
                    <a:lnTo>
                      <a:pt x="0" y="13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29" y="23"/>
                    </a:lnTo>
                    <a:lnTo>
                      <a:pt x="1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4" name="Freeform 1301"/>
              <p:cNvSpPr>
                <a:spLocks/>
              </p:cNvSpPr>
              <p:nvPr/>
            </p:nvSpPr>
            <p:spPr bwMode="auto">
              <a:xfrm>
                <a:off x="7291475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5" name="Freeform 1302"/>
              <p:cNvSpPr>
                <a:spLocks/>
              </p:cNvSpPr>
              <p:nvPr/>
            </p:nvSpPr>
            <p:spPr bwMode="auto">
              <a:xfrm>
                <a:off x="7291475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6" name="Freeform 1303"/>
              <p:cNvSpPr>
                <a:spLocks/>
              </p:cNvSpPr>
              <p:nvPr/>
            </p:nvSpPr>
            <p:spPr bwMode="auto">
              <a:xfrm>
                <a:off x="7291475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7" name="Freeform 1304"/>
              <p:cNvSpPr>
                <a:spLocks/>
              </p:cNvSpPr>
              <p:nvPr/>
            </p:nvSpPr>
            <p:spPr bwMode="auto">
              <a:xfrm>
                <a:off x="7291475" y="4139376"/>
                <a:ext cx="250828" cy="177802"/>
              </a:xfrm>
              <a:custGeom>
                <a:avLst/>
                <a:gdLst/>
                <a:ahLst/>
                <a:cxnLst>
                  <a:cxn ang="0">
                    <a:pos x="119" y="0"/>
                  </a:cxn>
                  <a:cxn ang="0">
                    <a:pos x="132" y="6"/>
                  </a:cxn>
                  <a:cxn ang="0">
                    <a:pos x="125" y="13"/>
                  </a:cxn>
                  <a:cxn ang="0">
                    <a:pos x="139" y="13"/>
                  </a:cxn>
                  <a:cxn ang="0">
                    <a:pos x="139" y="19"/>
                  </a:cxn>
                  <a:cxn ang="0">
                    <a:pos x="142" y="19"/>
                  </a:cxn>
                  <a:cxn ang="0">
                    <a:pos x="158" y="29"/>
                  </a:cxn>
                  <a:cxn ang="0">
                    <a:pos x="142" y="33"/>
                  </a:cxn>
                  <a:cxn ang="0">
                    <a:pos x="152" y="42"/>
                  </a:cxn>
                  <a:cxn ang="0">
                    <a:pos x="135" y="46"/>
                  </a:cxn>
                  <a:cxn ang="0">
                    <a:pos x="132" y="52"/>
                  </a:cxn>
                  <a:cxn ang="0">
                    <a:pos x="116" y="46"/>
                  </a:cxn>
                  <a:cxn ang="0">
                    <a:pos x="102" y="46"/>
                  </a:cxn>
                  <a:cxn ang="0">
                    <a:pos x="99" y="59"/>
                  </a:cxn>
                  <a:cxn ang="0">
                    <a:pos x="92" y="72"/>
                  </a:cxn>
                  <a:cxn ang="0">
                    <a:pos x="92" y="85"/>
                  </a:cxn>
                  <a:cxn ang="0">
                    <a:pos x="86" y="99"/>
                  </a:cxn>
                  <a:cxn ang="0">
                    <a:pos x="73" y="105"/>
                  </a:cxn>
                  <a:cxn ang="0">
                    <a:pos x="50" y="102"/>
                  </a:cxn>
                  <a:cxn ang="0">
                    <a:pos x="43" y="109"/>
                  </a:cxn>
                  <a:cxn ang="0">
                    <a:pos x="20" y="112"/>
                  </a:cxn>
                  <a:cxn ang="0">
                    <a:pos x="0" y="102"/>
                  </a:cxn>
                  <a:cxn ang="0">
                    <a:pos x="0" y="92"/>
                  </a:cxn>
                  <a:cxn ang="0">
                    <a:pos x="13" y="99"/>
                  </a:cxn>
                  <a:cxn ang="0">
                    <a:pos x="27" y="105"/>
                  </a:cxn>
                  <a:cxn ang="0">
                    <a:pos x="27" y="102"/>
                  </a:cxn>
                  <a:cxn ang="0">
                    <a:pos x="27" y="99"/>
                  </a:cxn>
                  <a:cxn ang="0">
                    <a:pos x="27" y="79"/>
                  </a:cxn>
                  <a:cxn ang="0">
                    <a:pos x="43" y="72"/>
                  </a:cxn>
                  <a:cxn ang="0">
                    <a:pos x="53" y="69"/>
                  </a:cxn>
                  <a:cxn ang="0">
                    <a:pos x="66" y="56"/>
                  </a:cxn>
                  <a:cxn ang="0">
                    <a:pos x="73" y="39"/>
                  </a:cxn>
                  <a:cxn ang="0">
                    <a:pos x="79" y="52"/>
                  </a:cxn>
                  <a:cxn ang="0">
                    <a:pos x="86" y="42"/>
                  </a:cxn>
                  <a:cxn ang="0">
                    <a:pos x="89" y="36"/>
                  </a:cxn>
                  <a:cxn ang="0">
                    <a:pos x="92" y="46"/>
                  </a:cxn>
                  <a:cxn ang="0">
                    <a:pos x="92" y="36"/>
                  </a:cxn>
                  <a:cxn ang="0">
                    <a:pos x="92" y="33"/>
                  </a:cxn>
                  <a:cxn ang="0">
                    <a:pos x="92" y="29"/>
                  </a:cxn>
                  <a:cxn ang="0">
                    <a:pos x="99" y="23"/>
                  </a:cxn>
                  <a:cxn ang="0">
                    <a:pos x="106" y="13"/>
                  </a:cxn>
                  <a:cxn ang="0">
                    <a:pos x="112" y="0"/>
                  </a:cxn>
                  <a:cxn ang="0">
                    <a:pos x="116" y="0"/>
                  </a:cxn>
                  <a:cxn ang="0">
                    <a:pos x="119" y="0"/>
                  </a:cxn>
                </a:cxnLst>
                <a:rect l="0" t="0" r="r" b="b"/>
                <a:pathLst>
                  <a:path w="158" h="112">
                    <a:moveTo>
                      <a:pt x="119" y="0"/>
                    </a:moveTo>
                    <a:lnTo>
                      <a:pt x="132" y="6"/>
                    </a:lnTo>
                    <a:lnTo>
                      <a:pt x="125" y="13"/>
                    </a:lnTo>
                    <a:lnTo>
                      <a:pt x="139" y="13"/>
                    </a:lnTo>
                    <a:lnTo>
                      <a:pt x="139" y="19"/>
                    </a:lnTo>
                    <a:lnTo>
                      <a:pt x="142" y="19"/>
                    </a:lnTo>
                    <a:lnTo>
                      <a:pt x="158" y="29"/>
                    </a:lnTo>
                    <a:lnTo>
                      <a:pt x="142" y="33"/>
                    </a:lnTo>
                    <a:lnTo>
                      <a:pt x="152" y="42"/>
                    </a:lnTo>
                    <a:lnTo>
                      <a:pt x="135" y="46"/>
                    </a:lnTo>
                    <a:lnTo>
                      <a:pt x="132" y="52"/>
                    </a:lnTo>
                    <a:lnTo>
                      <a:pt x="116" y="46"/>
                    </a:lnTo>
                    <a:lnTo>
                      <a:pt x="102" y="46"/>
                    </a:lnTo>
                    <a:lnTo>
                      <a:pt x="99" y="59"/>
                    </a:lnTo>
                    <a:lnTo>
                      <a:pt x="92" y="72"/>
                    </a:lnTo>
                    <a:lnTo>
                      <a:pt x="92" y="85"/>
                    </a:lnTo>
                    <a:lnTo>
                      <a:pt x="86" y="99"/>
                    </a:lnTo>
                    <a:lnTo>
                      <a:pt x="73" y="105"/>
                    </a:lnTo>
                    <a:lnTo>
                      <a:pt x="50" y="102"/>
                    </a:lnTo>
                    <a:lnTo>
                      <a:pt x="43" y="109"/>
                    </a:lnTo>
                    <a:lnTo>
                      <a:pt x="20" y="11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13" y="99"/>
                    </a:lnTo>
                    <a:lnTo>
                      <a:pt x="27" y="105"/>
                    </a:lnTo>
                    <a:lnTo>
                      <a:pt x="27" y="102"/>
                    </a:lnTo>
                    <a:lnTo>
                      <a:pt x="27" y="99"/>
                    </a:lnTo>
                    <a:lnTo>
                      <a:pt x="27" y="79"/>
                    </a:lnTo>
                    <a:lnTo>
                      <a:pt x="43" y="72"/>
                    </a:lnTo>
                    <a:lnTo>
                      <a:pt x="53" y="69"/>
                    </a:lnTo>
                    <a:lnTo>
                      <a:pt x="66" y="56"/>
                    </a:lnTo>
                    <a:lnTo>
                      <a:pt x="73" y="39"/>
                    </a:lnTo>
                    <a:lnTo>
                      <a:pt x="79" y="52"/>
                    </a:lnTo>
                    <a:lnTo>
                      <a:pt x="86" y="42"/>
                    </a:lnTo>
                    <a:lnTo>
                      <a:pt x="89" y="36"/>
                    </a:lnTo>
                    <a:lnTo>
                      <a:pt x="92" y="46"/>
                    </a:lnTo>
                    <a:lnTo>
                      <a:pt x="92" y="36"/>
                    </a:lnTo>
                    <a:lnTo>
                      <a:pt x="92" y="33"/>
                    </a:lnTo>
                    <a:lnTo>
                      <a:pt x="92" y="29"/>
                    </a:lnTo>
                    <a:lnTo>
                      <a:pt x="99" y="23"/>
                    </a:lnTo>
                    <a:lnTo>
                      <a:pt x="106" y="13"/>
                    </a:lnTo>
                    <a:lnTo>
                      <a:pt x="112" y="0"/>
                    </a:lnTo>
                    <a:lnTo>
                      <a:pt x="116" y="0"/>
                    </a:lnTo>
                    <a:lnTo>
                      <a:pt x="11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8" name="Freeform 1305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79" name="Freeform 1306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0" name="Freeform 1307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1" name="Freeform 1308"/>
              <p:cNvSpPr>
                <a:spLocks/>
              </p:cNvSpPr>
              <p:nvPr/>
            </p:nvSpPr>
            <p:spPr bwMode="auto">
              <a:xfrm>
                <a:off x="7029534" y="4139376"/>
                <a:ext cx="115888" cy="166690"/>
              </a:xfrm>
              <a:custGeom>
                <a:avLst/>
                <a:gdLst/>
                <a:ahLst/>
                <a:cxnLst>
                  <a:cxn ang="0">
                    <a:pos x="63" y="105"/>
                  </a:cxn>
                  <a:cxn ang="0">
                    <a:pos x="43" y="89"/>
                  </a:cxn>
                  <a:cxn ang="0">
                    <a:pos x="20" y="72"/>
                  </a:cxn>
                  <a:cxn ang="0">
                    <a:pos x="14" y="49"/>
                  </a:cxn>
                  <a:cxn ang="0">
                    <a:pos x="7" y="26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14" y="9"/>
                  </a:cxn>
                  <a:cxn ang="0">
                    <a:pos x="14" y="16"/>
                  </a:cxn>
                  <a:cxn ang="0">
                    <a:pos x="27" y="16"/>
                  </a:cxn>
                  <a:cxn ang="0">
                    <a:pos x="30" y="9"/>
                  </a:cxn>
                  <a:cxn ang="0">
                    <a:pos x="43" y="19"/>
                  </a:cxn>
                  <a:cxn ang="0">
                    <a:pos x="53" y="29"/>
                  </a:cxn>
                  <a:cxn ang="0">
                    <a:pos x="56" y="49"/>
                  </a:cxn>
                  <a:cxn ang="0">
                    <a:pos x="56" y="69"/>
                  </a:cxn>
                  <a:cxn ang="0">
                    <a:pos x="66" y="85"/>
                  </a:cxn>
                  <a:cxn ang="0">
                    <a:pos x="73" y="102"/>
                  </a:cxn>
                  <a:cxn ang="0">
                    <a:pos x="66" y="99"/>
                  </a:cxn>
                  <a:cxn ang="0">
                    <a:pos x="63" y="105"/>
                  </a:cxn>
                </a:cxnLst>
                <a:rect l="0" t="0" r="r" b="b"/>
                <a:pathLst>
                  <a:path w="73" h="105">
                    <a:moveTo>
                      <a:pt x="63" y="105"/>
                    </a:moveTo>
                    <a:lnTo>
                      <a:pt x="43" y="89"/>
                    </a:lnTo>
                    <a:lnTo>
                      <a:pt x="20" y="72"/>
                    </a:lnTo>
                    <a:lnTo>
                      <a:pt x="14" y="49"/>
                    </a:lnTo>
                    <a:lnTo>
                      <a:pt x="7" y="2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14" y="16"/>
                    </a:lnTo>
                    <a:lnTo>
                      <a:pt x="27" y="16"/>
                    </a:lnTo>
                    <a:lnTo>
                      <a:pt x="30" y="9"/>
                    </a:lnTo>
                    <a:lnTo>
                      <a:pt x="43" y="19"/>
                    </a:lnTo>
                    <a:lnTo>
                      <a:pt x="53" y="29"/>
                    </a:lnTo>
                    <a:lnTo>
                      <a:pt x="56" y="49"/>
                    </a:lnTo>
                    <a:lnTo>
                      <a:pt x="56" y="69"/>
                    </a:lnTo>
                    <a:lnTo>
                      <a:pt x="66" y="85"/>
                    </a:lnTo>
                    <a:lnTo>
                      <a:pt x="73" y="102"/>
                    </a:lnTo>
                    <a:lnTo>
                      <a:pt x="66" y="99"/>
                    </a:lnTo>
                    <a:lnTo>
                      <a:pt x="63" y="10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2" name="Freeform 1309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3" name="Freeform 1310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4" name="Freeform 1311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5" name="Freeform 1312"/>
              <p:cNvSpPr>
                <a:spLocks/>
              </p:cNvSpPr>
              <p:nvPr/>
            </p:nvSpPr>
            <p:spPr bwMode="auto">
              <a:xfrm>
                <a:off x="8113810" y="4431480"/>
                <a:ext cx="260353" cy="247655"/>
              </a:xfrm>
              <a:custGeom>
                <a:avLst/>
                <a:gdLst/>
                <a:ahLst/>
                <a:cxnLst>
                  <a:cxn ang="0">
                    <a:pos x="164" y="149"/>
                  </a:cxn>
                  <a:cxn ang="0">
                    <a:pos x="154" y="152"/>
                  </a:cxn>
                  <a:cxn ang="0">
                    <a:pos x="154" y="156"/>
                  </a:cxn>
                  <a:cxn ang="0">
                    <a:pos x="145" y="152"/>
                  </a:cxn>
                  <a:cxn ang="0">
                    <a:pos x="131" y="149"/>
                  </a:cxn>
                  <a:cxn ang="0">
                    <a:pos x="115" y="146"/>
                  </a:cxn>
                  <a:cxn ang="0">
                    <a:pos x="108" y="136"/>
                  </a:cxn>
                  <a:cxn ang="0">
                    <a:pos x="95" y="126"/>
                  </a:cxn>
                  <a:cxn ang="0">
                    <a:pos x="89" y="116"/>
                  </a:cxn>
                  <a:cxn ang="0">
                    <a:pos x="79" y="103"/>
                  </a:cxn>
                  <a:cxn ang="0">
                    <a:pos x="56" y="93"/>
                  </a:cxn>
                  <a:cxn ang="0">
                    <a:pos x="56" y="99"/>
                  </a:cxn>
                  <a:cxn ang="0">
                    <a:pos x="46" y="99"/>
                  </a:cxn>
                  <a:cxn ang="0">
                    <a:pos x="46" y="103"/>
                  </a:cxn>
                  <a:cxn ang="0">
                    <a:pos x="42" y="103"/>
                  </a:cxn>
                  <a:cxn ang="0">
                    <a:pos x="42" y="109"/>
                  </a:cxn>
                  <a:cxn ang="0">
                    <a:pos x="23" y="109"/>
                  </a:cxn>
                  <a:cxn ang="0">
                    <a:pos x="39" y="119"/>
                  </a:cxn>
                  <a:cxn ang="0">
                    <a:pos x="33" y="126"/>
                  </a:cxn>
                  <a:cxn ang="0">
                    <a:pos x="0" y="126"/>
                  </a:cxn>
                  <a:cxn ang="0">
                    <a:pos x="0" y="113"/>
                  </a:cxn>
                  <a:cxn ang="0">
                    <a:pos x="0" y="80"/>
                  </a:cxn>
                  <a:cxn ang="0">
                    <a:pos x="3" y="60"/>
                  </a:cxn>
                  <a:cxn ang="0">
                    <a:pos x="3" y="14"/>
                  </a:cxn>
                  <a:cxn ang="0">
                    <a:pos x="6" y="0"/>
                  </a:cxn>
                  <a:cxn ang="0">
                    <a:pos x="23" y="4"/>
                  </a:cxn>
                  <a:cxn ang="0">
                    <a:pos x="39" y="14"/>
                  </a:cxn>
                  <a:cxn ang="0">
                    <a:pos x="52" y="20"/>
                  </a:cxn>
                  <a:cxn ang="0">
                    <a:pos x="72" y="27"/>
                  </a:cxn>
                  <a:cxn ang="0">
                    <a:pos x="85" y="47"/>
                  </a:cxn>
                  <a:cxn ang="0">
                    <a:pos x="85" y="57"/>
                  </a:cxn>
                  <a:cxn ang="0">
                    <a:pos x="98" y="60"/>
                  </a:cxn>
                  <a:cxn ang="0">
                    <a:pos x="115" y="66"/>
                  </a:cxn>
                  <a:cxn ang="0">
                    <a:pos x="115" y="80"/>
                  </a:cxn>
                  <a:cxn ang="0">
                    <a:pos x="102" y="83"/>
                  </a:cxn>
                  <a:cxn ang="0">
                    <a:pos x="108" y="99"/>
                  </a:cxn>
                  <a:cxn ang="0">
                    <a:pos x="122" y="109"/>
                  </a:cxn>
                  <a:cxn ang="0">
                    <a:pos x="128" y="126"/>
                  </a:cxn>
                  <a:cxn ang="0">
                    <a:pos x="138" y="126"/>
                  </a:cxn>
                  <a:cxn ang="0">
                    <a:pos x="138" y="132"/>
                  </a:cxn>
                  <a:cxn ang="0">
                    <a:pos x="145" y="136"/>
                  </a:cxn>
                  <a:cxn ang="0">
                    <a:pos x="145" y="146"/>
                  </a:cxn>
                  <a:cxn ang="0">
                    <a:pos x="164" y="149"/>
                  </a:cxn>
                </a:cxnLst>
                <a:rect l="0" t="0" r="r" b="b"/>
                <a:pathLst>
                  <a:path w="164" h="156">
                    <a:moveTo>
                      <a:pt x="164" y="149"/>
                    </a:moveTo>
                    <a:lnTo>
                      <a:pt x="154" y="152"/>
                    </a:lnTo>
                    <a:lnTo>
                      <a:pt x="154" y="156"/>
                    </a:lnTo>
                    <a:lnTo>
                      <a:pt x="145" y="152"/>
                    </a:lnTo>
                    <a:lnTo>
                      <a:pt x="131" y="149"/>
                    </a:lnTo>
                    <a:lnTo>
                      <a:pt x="115" y="146"/>
                    </a:lnTo>
                    <a:lnTo>
                      <a:pt x="108" y="136"/>
                    </a:lnTo>
                    <a:lnTo>
                      <a:pt x="95" y="126"/>
                    </a:lnTo>
                    <a:lnTo>
                      <a:pt x="89" y="116"/>
                    </a:lnTo>
                    <a:lnTo>
                      <a:pt x="79" y="103"/>
                    </a:lnTo>
                    <a:lnTo>
                      <a:pt x="56" y="93"/>
                    </a:lnTo>
                    <a:lnTo>
                      <a:pt x="56" y="99"/>
                    </a:lnTo>
                    <a:lnTo>
                      <a:pt x="46" y="99"/>
                    </a:lnTo>
                    <a:lnTo>
                      <a:pt x="46" y="103"/>
                    </a:lnTo>
                    <a:lnTo>
                      <a:pt x="42" y="103"/>
                    </a:lnTo>
                    <a:lnTo>
                      <a:pt x="42" y="109"/>
                    </a:lnTo>
                    <a:lnTo>
                      <a:pt x="23" y="109"/>
                    </a:lnTo>
                    <a:lnTo>
                      <a:pt x="39" y="119"/>
                    </a:lnTo>
                    <a:lnTo>
                      <a:pt x="33" y="126"/>
                    </a:lnTo>
                    <a:lnTo>
                      <a:pt x="0" y="126"/>
                    </a:lnTo>
                    <a:lnTo>
                      <a:pt x="0" y="113"/>
                    </a:lnTo>
                    <a:lnTo>
                      <a:pt x="0" y="80"/>
                    </a:lnTo>
                    <a:lnTo>
                      <a:pt x="3" y="60"/>
                    </a:lnTo>
                    <a:lnTo>
                      <a:pt x="3" y="14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9" y="14"/>
                    </a:lnTo>
                    <a:lnTo>
                      <a:pt x="52" y="20"/>
                    </a:lnTo>
                    <a:lnTo>
                      <a:pt x="72" y="27"/>
                    </a:lnTo>
                    <a:lnTo>
                      <a:pt x="85" y="47"/>
                    </a:lnTo>
                    <a:lnTo>
                      <a:pt x="85" y="57"/>
                    </a:lnTo>
                    <a:lnTo>
                      <a:pt x="98" y="60"/>
                    </a:lnTo>
                    <a:lnTo>
                      <a:pt x="115" y="66"/>
                    </a:lnTo>
                    <a:lnTo>
                      <a:pt x="115" y="80"/>
                    </a:lnTo>
                    <a:lnTo>
                      <a:pt x="102" y="83"/>
                    </a:lnTo>
                    <a:lnTo>
                      <a:pt x="108" y="99"/>
                    </a:lnTo>
                    <a:lnTo>
                      <a:pt x="122" y="109"/>
                    </a:lnTo>
                    <a:lnTo>
                      <a:pt x="128" y="126"/>
                    </a:lnTo>
                    <a:lnTo>
                      <a:pt x="138" y="126"/>
                    </a:lnTo>
                    <a:lnTo>
                      <a:pt x="138" y="132"/>
                    </a:lnTo>
                    <a:lnTo>
                      <a:pt x="145" y="136"/>
                    </a:lnTo>
                    <a:lnTo>
                      <a:pt x="145" y="146"/>
                    </a:lnTo>
                    <a:lnTo>
                      <a:pt x="164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6" name="Freeform 1313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7" name="Freeform 1314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8" name="Freeform 1315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89" name="Freeform 1316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0" name="Freeform 1317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1" name="Freeform 1318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2" name="Freeform 1319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3" name="Freeform 1320"/>
              <p:cNvSpPr>
                <a:spLocks/>
              </p:cNvSpPr>
              <p:nvPr/>
            </p:nvSpPr>
            <p:spPr bwMode="auto">
              <a:xfrm>
                <a:off x="6653291" y="3515480"/>
                <a:ext cx="131765" cy="182565"/>
              </a:xfrm>
              <a:custGeom>
                <a:avLst/>
                <a:gdLst/>
                <a:ahLst/>
                <a:cxnLst>
                  <a:cxn ang="0">
                    <a:pos x="30" y="95"/>
                  </a:cxn>
                  <a:cxn ang="0">
                    <a:pos x="27" y="92"/>
                  </a:cxn>
                  <a:cxn ang="0">
                    <a:pos x="20" y="76"/>
                  </a:cxn>
                  <a:cxn ang="0">
                    <a:pos x="13" y="62"/>
                  </a:cxn>
                  <a:cxn ang="0">
                    <a:pos x="13" y="53"/>
                  </a:cxn>
                  <a:cxn ang="0">
                    <a:pos x="0" y="43"/>
                  </a:cxn>
                  <a:cxn ang="0">
                    <a:pos x="3" y="33"/>
                  </a:cxn>
                  <a:cxn ang="0">
                    <a:pos x="10" y="29"/>
                  </a:cxn>
                  <a:cxn ang="0">
                    <a:pos x="0" y="13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3" y="10"/>
                  </a:cxn>
                  <a:cxn ang="0">
                    <a:pos x="20" y="6"/>
                  </a:cxn>
                  <a:cxn ang="0">
                    <a:pos x="27" y="23"/>
                  </a:cxn>
                  <a:cxn ang="0">
                    <a:pos x="40" y="23"/>
                  </a:cxn>
                  <a:cxn ang="0">
                    <a:pos x="59" y="29"/>
                  </a:cxn>
                  <a:cxn ang="0">
                    <a:pos x="73" y="36"/>
                  </a:cxn>
                  <a:cxn ang="0">
                    <a:pos x="66" y="43"/>
                  </a:cxn>
                  <a:cxn ang="0">
                    <a:pos x="53" y="53"/>
                  </a:cxn>
                  <a:cxn ang="0">
                    <a:pos x="56" y="66"/>
                  </a:cxn>
                  <a:cxn ang="0">
                    <a:pos x="59" y="72"/>
                  </a:cxn>
                  <a:cxn ang="0">
                    <a:pos x="66" y="59"/>
                  </a:cxn>
                  <a:cxn ang="0">
                    <a:pos x="73" y="72"/>
                  </a:cxn>
                  <a:cxn ang="0">
                    <a:pos x="83" y="92"/>
                  </a:cxn>
                  <a:cxn ang="0">
                    <a:pos x="83" y="105"/>
                  </a:cxn>
                  <a:cxn ang="0">
                    <a:pos x="79" y="105"/>
                  </a:cxn>
                  <a:cxn ang="0">
                    <a:pos x="79" y="115"/>
                  </a:cxn>
                  <a:cxn ang="0">
                    <a:pos x="73" y="95"/>
                  </a:cxn>
                  <a:cxn ang="0">
                    <a:pos x="59" y="76"/>
                  </a:cxn>
                  <a:cxn ang="0">
                    <a:pos x="50" y="72"/>
                  </a:cxn>
                  <a:cxn ang="0">
                    <a:pos x="40" y="62"/>
                  </a:cxn>
                  <a:cxn ang="0">
                    <a:pos x="30" y="53"/>
                  </a:cxn>
                  <a:cxn ang="0">
                    <a:pos x="20" y="53"/>
                  </a:cxn>
                  <a:cxn ang="0">
                    <a:pos x="40" y="62"/>
                  </a:cxn>
                  <a:cxn ang="0">
                    <a:pos x="46" y="72"/>
                  </a:cxn>
                  <a:cxn ang="0">
                    <a:pos x="46" y="79"/>
                  </a:cxn>
                  <a:cxn ang="0">
                    <a:pos x="40" y="95"/>
                  </a:cxn>
                  <a:cxn ang="0">
                    <a:pos x="40" y="92"/>
                  </a:cxn>
                  <a:cxn ang="0">
                    <a:pos x="33" y="92"/>
                  </a:cxn>
                  <a:cxn ang="0">
                    <a:pos x="33" y="95"/>
                  </a:cxn>
                  <a:cxn ang="0">
                    <a:pos x="30" y="95"/>
                  </a:cxn>
                </a:cxnLst>
                <a:rect l="0" t="0" r="r" b="b"/>
                <a:pathLst>
                  <a:path w="83" h="115">
                    <a:moveTo>
                      <a:pt x="30" y="95"/>
                    </a:moveTo>
                    <a:lnTo>
                      <a:pt x="27" y="92"/>
                    </a:lnTo>
                    <a:lnTo>
                      <a:pt x="20" y="76"/>
                    </a:lnTo>
                    <a:lnTo>
                      <a:pt x="13" y="62"/>
                    </a:lnTo>
                    <a:lnTo>
                      <a:pt x="13" y="53"/>
                    </a:lnTo>
                    <a:lnTo>
                      <a:pt x="0" y="43"/>
                    </a:lnTo>
                    <a:lnTo>
                      <a:pt x="3" y="33"/>
                    </a:lnTo>
                    <a:lnTo>
                      <a:pt x="10" y="29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3" y="10"/>
                    </a:lnTo>
                    <a:lnTo>
                      <a:pt x="20" y="6"/>
                    </a:lnTo>
                    <a:lnTo>
                      <a:pt x="27" y="23"/>
                    </a:lnTo>
                    <a:lnTo>
                      <a:pt x="40" y="23"/>
                    </a:lnTo>
                    <a:lnTo>
                      <a:pt x="59" y="29"/>
                    </a:lnTo>
                    <a:lnTo>
                      <a:pt x="73" y="36"/>
                    </a:lnTo>
                    <a:lnTo>
                      <a:pt x="66" y="43"/>
                    </a:lnTo>
                    <a:lnTo>
                      <a:pt x="53" y="53"/>
                    </a:lnTo>
                    <a:lnTo>
                      <a:pt x="56" y="66"/>
                    </a:lnTo>
                    <a:lnTo>
                      <a:pt x="59" y="72"/>
                    </a:lnTo>
                    <a:lnTo>
                      <a:pt x="66" y="59"/>
                    </a:lnTo>
                    <a:lnTo>
                      <a:pt x="73" y="72"/>
                    </a:lnTo>
                    <a:lnTo>
                      <a:pt x="83" y="92"/>
                    </a:lnTo>
                    <a:lnTo>
                      <a:pt x="83" y="105"/>
                    </a:lnTo>
                    <a:lnTo>
                      <a:pt x="79" y="105"/>
                    </a:lnTo>
                    <a:lnTo>
                      <a:pt x="79" y="115"/>
                    </a:lnTo>
                    <a:lnTo>
                      <a:pt x="73" y="95"/>
                    </a:lnTo>
                    <a:lnTo>
                      <a:pt x="59" y="76"/>
                    </a:lnTo>
                    <a:lnTo>
                      <a:pt x="50" y="72"/>
                    </a:lnTo>
                    <a:lnTo>
                      <a:pt x="40" y="62"/>
                    </a:lnTo>
                    <a:lnTo>
                      <a:pt x="30" y="53"/>
                    </a:lnTo>
                    <a:lnTo>
                      <a:pt x="20" y="53"/>
                    </a:lnTo>
                    <a:lnTo>
                      <a:pt x="40" y="62"/>
                    </a:lnTo>
                    <a:lnTo>
                      <a:pt x="46" y="72"/>
                    </a:lnTo>
                    <a:lnTo>
                      <a:pt x="46" y="79"/>
                    </a:lnTo>
                    <a:lnTo>
                      <a:pt x="40" y="95"/>
                    </a:lnTo>
                    <a:lnTo>
                      <a:pt x="40" y="92"/>
                    </a:lnTo>
                    <a:lnTo>
                      <a:pt x="33" y="92"/>
                    </a:lnTo>
                    <a:lnTo>
                      <a:pt x="33" y="95"/>
                    </a:lnTo>
                    <a:lnTo>
                      <a:pt x="30" y="9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4" name="Freeform 1321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5" name="Freeform 1322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6" name="Freeform 1323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7" name="Freeform 1324"/>
              <p:cNvSpPr>
                <a:spLocks/>
              </p:cNvSpPr>
              <p:nvPr/>
            </p:nvSpPr>
            <p:spPr bwMode="auto">
              <a:xfrm>
                <a:off x="6658055" y="3467854"/>
                <a:ext cx="841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4" y="0"/>
                  </a:cxn>
                  <a:cxn ang="0">
                    <a:pos x="0" y="20"/>
                  </a:cxn>
                  <a:cxn ang="0">
                    <a:pos x="4" y="30"/>
                  </a:cxn>
                  <a:cxn ang="0">
                    <a:pos x="24" y="33"/>
                  </a:cxn>
                  <a:cxn ang="0">
                    <a:pos x="40" y="33"/>
                  </a:cxn>
                  <a:cxn ang="0">
                    <a:pos x="53" y="30"/>
                  </a:cxn>
                  <a:cxn ang="0">
                    <a:pos x="47" y="20"/>
                  </a:cxn>
                  <a:cxn ang="0">
                    <a:pos x="43" y="10"/>
                  </a:cxn>
                  <a:cxn ang="0">
                    <a:pos x="37" y="0"/>
                  </a:cxn>
                </a:cxnLst>
                <a:rect l="0" t="0" r="r" b="b"/>
                <a:pathLst>
                  <a:path w="53" h="33">
                    <a:moveTo>
                      <a:pt x="37" y="0"/>
                    </a:moveTo>
                    <a:lnTo>
                      <a:pt x="14" y="0"/>
                    </a:lnTo>
                    <a:lnTo>
                      <a:pt x="0" y="20"/>
                    </a:lnTo>
                    <a:lnTo>
                      <a:pt x="4" y="30"/>
                    </a:lnTo>
                    <a:lnTo>
                      <a:pt x="24" y="33"/>
                    </a:lnTo>
                    <a:lnTo>
                      <a:pt x="40" y="33"/>
                    </a:lnTo>
                    <a:lnTo>
                      <a:pt x="53" y="30"/>
                    </a:lnTo>
                    <a:lnTo>
                      <a:pt x="47" y="20"/>
                    </a:lnTo>
                    <a:lnTo>
                      <a:pt x="43" y="10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8" name="Freeform 1325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399" name="Freeform 1326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0" name="Freeform 1327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1" name="Freeform 1328"/>
              <p:cNvSpPr>
                <a:spLocks/>
              </p:cNvSpPr>
              <p:nvPr/>
            </p:nvSpPr>
            <p:spPr bwMode="auto">
              <a:xfrm>
                <a:off x="7077159" y="3886960"/>
                <a:ext cx="136527" cy="136526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9" y="79"/>
                  </a:cxn>
                  <a:cxn ang="0">
                    <a:pos x="53" y="76"/>
                  </a:cxn>
                  <a:cxn ang="0">
                    <a:pos x="50" y="79"/>
                  </a:cxn>
                  <a:cxn ang="0">
                    <a:pos x="40" y="86"/>
                  </a:cxn>
                  <a:cxn ang="0">
                    <a:pos x="30" y="83"/>
                  </a:cxn>
                  <a:cxn ang="0">
                    <a:pos x="26" y="79"/>
                  </a:cxn>
                  <a:cxn ang="0">
                    <a:pos x="23" y="73"/>
                  </a:cxn>
                  <a:cxn ang="0">
                    <a:pos x="20" y="76"/>
                  </a:cxn>
                  <a:cxn ang="0">
                    <a:pos x="13" y="63"/>
                  </a:cxn>
                  <a:cxn ang="0">
                    <a:pos x="7" y="46"/>
                  </a:cxn>
                  <a:cxn ang="0">
                    <a:pos x="0" y="30"/>
                  </a:cxn>
                  <a:cxn ang="0">
                    <a:pos x="13" y="10"/>
                  </a:cxn>
                  <a:cxn ang="0">
                    <a:pos x="46" y="10"/>
                  </a:cxn>
                  <a:cxn ang="0">
                    <a:pos x="63" y="17"/>
                  </a:cxn>
                  <a:cxn ang="0">
                    <a:pos x="63" y="13"/>
                  </a:cxn>
                  <a:cxn ang="0">
                    <a:pos x="63" y="3"/>
                  </a:cxn>
                  <a:cxn ang="0">
                    <a:pos x="73" y="10"/>
                  </a:cxn>
                  <a:cxn ang="0">
                    <a:pos x="82" y="0"/>
                  </a:cxn>
                  <a:cxn ang="0">
                    <a:pos x="86" y="20"/>
                  </a:cxn>
                  <a:cxn ang="0">
                    <a:pos x="86" y="50"/>
                  </a:cxn>
                  <a:cxn ang="0">
                    <a:pos x="73" y="63"/>
                  </a:cxn>
                  <a:cxn ang="0">
                    <a:pos x="63" y="63"/>
                  </a:cxn>
                </a:cxnLst>
                <a:rect l="0" t="0" r="r" b="b"/>
                <a:pathLst>
                  <a:path w="86" h="86">
                    <a:moveTo>
                      <a:pt x="63" y="63"/>
                    </a:moveTo>
                    <a:lnTo>
                      <a:pt x="69" y="79"/>
                    </a:lnTo>
                    <a:lnTo>
                      <a:pt x="53" y="76"/>
                    </a:lnTo>
                    <a:lnTo>
                      <a:pt x="50" y="79"/>
                    </a:lnTo>
                    <a:lnTo>
                      <a:pt x="40" y="86"/>
                    </a:lnTo>
                    <a:lnTo>
                      <a:pt x="30" y="83"/>
                    </a:lnTo>
                    <a:lnTo>
                      <a:pt x="26" y="79"/>
                    </a:lnTo>
                    <a:lnTo>
                      <a:pt x="23" y="73"/>
                    </a:lnTo>
                    <a:lnTo>
                      <a:pt x="20" y="76"/>
                    </a:lnTo>
                    <a:lnTo>
                      <a:pt x="13" y="63"/>
                    </a:lnTo>
                    <a:lnTo>
                      <a:pt x="7" y="46"/>
                    </a:lnTo>
                    <a:lnTo>
                      <a:pt x="0" y="30"/>
                    </a:lnTo>
                    <a:lnTo>
                      <a:pt x="13" y="10"/>
                    </a:lnTo>
                    <a:lnTo>
                      <a:pt x="46" y="1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3" y="3"/>
                    </a:lnTo>
                    <a:lnTo>
                      <a:pt x="73" y="10"/>
                    </a:lnTo>
                    <a:lnTo>
                      <a:pt x="82" y="0"/>
                    </a:lnTo>
                    <a:lnTo>
                      <a:pt x="86" y="20"/>
                    </a:lnTo>
                    <a:lnTo>
                      <a:pt x="86" y="50"/>
                    </a:lnTo>
                    <a:lnTo>
                      <a:pt x="73" y="63"/>
                    </a:lnTo>
                    <a:lnTo>
                      <a:pt x="63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2" name="Freeform 1329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3" name="Freeform 1330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4" name="Freeform 1331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5" name="Freeform 1332"/>
              <p:cNvSpPr>
                <a:spLocks/>
              </p:cNvSpPr>
              <p:nvPr/>
            </p:nvSpPr>
            <p:spPr bwMode="auto">
              <a:xfrm>
                <a:off x="6988259" y="3652006"/>
                <a:ext cx="219078" cy="261941"/>
              </a:xfrm>
              <a:custGeom>
                <a:avLst/>
                <a:gdLst/>
                <a:ahLst/>
                <a:cxnLst>
                  <a:cxn ang="0">
                    <a:pos x="79" y="39"/>
                  </a:cxn>
                  <a:cxn ang="0">
                    <a:pos x="73" y="36"/>
                  </a:cxn>
                  <a:cxn ang="0">
                    <a:pos x="63" y="29"/>
                  </a:cxn>
                  <a:cxn ang="0">
                    <a:pos x="53" y="33"/>
                  </a:cxn>
                  <a:cxn ang="0">
                    <a:pos x="40" y="19"/>
                  </a:cxn>
                  <a:cxn ang="0">
                    <a:pos x="40" y="9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3" y="19"/>
                  </a:cxn>
                  <a:cxn ang="0">
                    <a:pos x="17" y="16"/>
                  </a:cxn>
                  <a:cxn ang="0">
                    <a:pos x="13" y="13"/>
                  </a:cxn>
                  <a:cxn ang="0">
                    <a:pos x="7" y="29"/>
                  </a:cxn>
                  <a:cxn ang="0">
                    <a:pos x="0" y="39"/>
                  </a:cxn>
                  <a:cxn ang="0">
                    <a:pos x="7" y="39"/>
                  </a:cxn>
                  <a:cxn ang="0">
                    <a:pos x="7" y="52"/>
                  </a:cxn>
                  <a:cxn ang="0">
                    <a:pos x="20" y="52"/>
                  </a:cxn>
                  <a:cxn ang="0">
                    <a:pos x="20" y="72"/>
                  </a:cxn>
                  <a:cxn ang="0">
                    <a:pos x="23" y="95"/>
                  </a:cxn>
                  <a:cxn ang="0">
                    <a:pos x="40" y="82"/>
                  </a:cxn>
                  <a:cxn ang="0">
                    <a:pos x="46" y="85"/>
                  </a:cxn>
                  <a:cxn ang="0">
                    <a:pos x="53" y="82"/>
                  </a:cxn>
                  <a:cxn ang="0">
                    <a:pos x="63" y="75"/>
                  </a:cxn>
                  <a:cxn ang="0">
                    <a:pos x="86" y="95"/>
                  </a:cxn>
                  <a:cxn ang="0">
                    <a:pos x="86" y="109"/>
                  </a:cxn>
                  <a:cxn ang="0">
                    <a:pos x="102" y="128"/>
                  </a:cxn>
                  <a:cxn ang="0">
                    <a:pos x="106" y="148"/>
                  </a:cxn>
                  <a:cxn ang="0">
                    <a:pos x="102" y="158"/>
                  </a:cxn>
                  <a:cxn ang="0">
                    <a:pos x="119" y="165"/>
                  </a:cxn>
                  <a:cxn ang="0">
                    <a:pos x="119" y="161"/>
                  </a:cxn>
                  <a:cxn ang="0">
                    <a:pos x="119" y="151"/>
                  </a:cxn>
                  <a:cxn ang="0">
                    <a:pos x="125" y="158"/>
                  </a:cxn>
                  <a:cxn ang="0">
                    <a:pos x="138" y="148"/>
                  </a:cxn>
                  <a:cxn ang="0">
                    <a:pos x="138" y="135"/>
                  </a:cxn>
                  <a:cxn ang="0">
                    <a:pos x="132" y="128"/>
                  </a:cxn>
                  <a:cxn ang="0">
                    <a:pos x="132" y="125"/>
                  </a:cxn>
                  <a:cxn ang="0">
                    <a:pos x="119" y="109"/>
                  </a:cxn>
                  <a:cxn ang="0">
                    <a:pos x="109" y="99"/>
                  </a:cxn>
                  <a:cxn ang="0">
                    <a:pos x="99" y="85"/>
                  </a:cxn>
                  <a:cxn ang="0">
                    <a:pos x="86" y="72"/>
                  </a:cxn>
                  <a:cxn ang="0">
                    <a:pos x="66" y="59"/>
                  </a:cxn>
                  <a:cxn ang="0">
                    <a:pos x="69" y="49"/>
                  </a:cxn>
                  <a:cxn ang="0">
                    <a:pos x="79" y="46"/>
                  </a:cxn>
                  <a:cxn ang="0">
                    <a:pos x="79" y="39"/>
                  </a:cxn>
                </a:cxnLst>
                <a:rect l="0" t="0" r="r" b="b"/>
                <a:pathLst>
                  <a:path w="138" h="165">
                    <a:moveTo>
                      <a:pt x="79" y="39"/>
                    </a:moveTo>
                    <a:lnTo>
                      <a:pt x="73" y="36"/>
                    </a:lnTo>
                    <a:lnTo>
                      <a:pt x="63" y="29"/>
                    </a:lnTo>
                    <a:lnTo>
                      <a:pt x="53" y="33"/>
                    </a:lnTo>
                    <a:lnTo>
                      <a:pt x="40" y="19"/>
                    </a:lnTo>
                    <a:lnTo>
                      <a:pt x="40" y="9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3" y="19"/>
                    </a:lnTo>
                    <a:lnTo>
                      <a:pt x="17" y="16"/>
                    </a:lnTo>
                    <a:lnTo>
                      <a:pt x="13" y="13"/>
                    </a:lnTo>
                    <a:lnTo>
                      <a:pt x="7" y="29"/>
                    </a:lnTo>
                    <a:lnTo>
                      <a:pt x="0" y="39"/>
                    </a:lnTo>
                    <a:lnTo>
                      <a:pt x="7" y="39"/>
                    </a:lnTo>
                    <a:lnTo>
                      <a:pt x="7" y="52"/>
                    </a:lnTo>
                    <a:lnTo>
                      <a:pt x="20" y="52"/>
                    </a:lnTo>
                    <a:lnTo>
                      <a:pt x="20" y="72"/>
                    </a:lnTo>
                    <a:lnTo>
                      <a:pt x="23" y="95"/>
                    </a:lnTo>
                    <a:lnTo>
                      <a:pt x="40" y="82"/>
                    </a:lnTo>
                    <a:lnTo>
                      <a:pt x="46" y="85"/>
                    </a:lnTo>
                    <a:lnTo>
                      <a:pt x="53" y="82"/>
                    </a:lnTo>
                    <a:lnTo>
                      <a:pt x="63" y="75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102" y="128"/>
                    </a:lnTo>
                    <a:lnTo>
                      <a:pt x="106" y="148"/>
                    </a:lnTo>
                    <a:lnTo>
                      <a:pt x="102" y="158"/>
                    </a:lnTo>
                    <a:lnTo>
                      <a:pt x="119" y="165"/>
                    </a:lnTo>
                    <a:lnTo>
                      <a:pt x="119" y="161"/>
                    </a:lnTo>
                    <a:lnTo>
                      <a:pt x="119" y="151"/>
                    </a:lnTo>
                    <a:lnTo>
                      <a:pt x="125" y="158"/>
                    </a:lnTo>
                    <a:lnTo>
                      <a:pt x="138" y="148"/>
                    </a:lnTo>
                    <a:lnTo>
                      <a:pt x="138" y="135"/>
                    </a:lnTo>
                    <a:lnTo>
                      <a:pt x="132" y="128"/>
                    </a:lnTo>
                    <a:lnTo>
                      <a:pt x="132" y="125"/>
                    </a:lnTo>
                    <a:lnTo>
                      <a:pt x="119" y="109"/>
                    </a:lnTo>
                    <a:lnTo>
                      <a:pt x="109" y="99"/>
                    </a:lnTo>
                    <a:lnTo>
                      <a:pt x="99" y="85"/>
                    </a:lnTo>
                    <a:lnTo>
                      <a:pt x="86" y="72"/>
                    </a:lnTo>
                    <a:lnTo>
                      <a:pt x="66" y="59"/>
                    </a:lnTo>
                    <a:lnTo>
                      <a:pt x="69" y="49"/>
                    </a:lnTo>
                    <a:lnTo>
                      <a:pt x="79" y="46"/>
                    </a:lnTo>
                    <a:lnTo>
                      <a:pt x="79" y="3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6" name="Freeform 1333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7" name="Freeform 1334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8" name="Freeform 1335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09" name="Freeform 1336"/>
              <p:cNvSpPr>
                <a:spLocks/>
              </p:cNvSpPr>
              <p:nvPr/>
            </p:nvSpPr>
            <p:spPr bwMode="auto">
              <a:xfrm>
                <a:off x="6778706" y="3451979"/>
                <a:ext cx="230190" cy="582621"/>
              </a:xfrm>
              <a:custGeom>
                <a:avLst/>
                <a:gdLst/>
                <a:ahLst/>
                <a:cxnLst>
                  <a:cxn ang="0">
                    <a:pos x="24" y="27"/>
                  </a:cxn>
                  <a:cxn ang="0">
                    <a:pos x="23" y="23"/>
                  </a:cxn>
                  <a:cxn ang="0">
                    <a:pos x="26" y="14"/>
                  </a:cxn>
                  <a:cxn ang="0">
                    <a:pos x="24" y="6"/>
                  </a:cxn>
                  <a:cxn ang="0">
                    <a:pos x="18" y="0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8" y="13"/>
                  </a:cxn>
                  <a:cxn ang="0">
                    <a:pos x="6" y="28"/>
                  </a:cxn>
                  <a:cxn ang="0">
                    <a:pos x="2" y="39"/>
                  </a:cxn>
                  <a:cxn ang="0">
                    <a:pos x="0" y="43"/>
                  </a:cxn>
                  <a:cxn ang="0">
                    <a:pos x="2" y="49"/>
                  </a:cxn>
                  <a:cxn ang="0">
                    <a:pos x="4" y="52"/>
                  </a:cxn>
                  <a:cxn ang="0">
                    <a:pos x="8" y="52"/>
                  </a:cxn>
                  <a:cxn ang="0">
                    <a:pos x="8" y="55"/>
                  </a:cxn>
                  <a:cxn ang="0">
                    <a:pos x="10" y="55"/>
                  </a:cxn>
                  <a:cxn ang="0">
                    <a:pos x="14" y="65"/>
                  </a:cxn>
                  <a:cxn ang="0">
                    <a:pos x="15" y="72"/>
                  </a:cxn>
                  <a:cxn ang="0">
                    <a:pos x="16" y="76"/>
                  </a:cxn>
                  <a:cxn ang="0">
                    <a:pos x="18" y="75"/>
                  </a:cxn>
                  <a:cxn ang="0">
                    <a:pos x="22" y="73"/>
                  </a:cxn>
                  <a:cxn ang="0">
                    <a:pos x="24" y="72"/>
                  </a:cxn>
                  <a:cxn ang="0">
                    <a:pos x="28" y="71"/>
                  </a:cxn>
                  <a:cxn ang="0">
                    <a:pos x="33" y="81"/>
                  </a:cxn>
                  <a:cxn ang="0">
                    <a:pos x="35" y="87"/>
                  </a:cxn>
                  <a:cxn ang="0">
                    <a:pos x="38" y="97"/>
                  </a:cxn>
                  <a:cxn ang="0">
                    <a:pos x="40" y="91"/>
                  </a:cxn>
                  <a:cxn ang="0">
                    <a:pos x="36" y="73"/>
                  </a:cxn>
                  <a:cxn ang="0">
                    <a:pos x="28" y="59"/>
                  </a:cxn>
                  <a:cxn ang="0">
                    <a:pos x="30" y="53"/>
                  </a:cxn>
                  <a:cxn ang="0">
                    <a:pos x="37" y="49"/>
                  </a:cxn>
                  <a:cxn ang="0">
                    <a:pos x="42" y="46"/>
                  </a:cxn>
                  <a:cxn ang="0">
                    <a:pos x="43" y="42"/>
                  </a:cxn>
                  <a:cxn ang="0">
                    <a:pos x="36" y="39"/>
                  </a:cxn>
                  <a:cxn ang="0">
                    <a:pos x="34" y="33"/>
                  </a:cxn>
                  <a:cxn ang="0">
                    <a:pos x="30" y="27"/>
                  </a:cxn>
                </a:cxnLst>
                <a:rect l="0" t="0" r="r" b="b"/>
                <a:pathLst>
                  <a:path w="44" h="111">
                    <a:moveTo>
                      <a:pt x="30" y="27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8" y="71"/>
                      <a:pt x="28" y="71"/>
                      <a:pt x="28" y="71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6" y="91"/>
                      <a:pt x="36" y="91"/>
                      <a:pt x="36" y="91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11"/>
                      <a:pt x="38" y="111"/>
                      <a:pt x="38" y="111"/>
                    </a:cubicBezTo>
                    <a:cubicBezTo>
                      <a:pt x="43" y="102"/>
                      <a:pt x="44" y="102"/>
                      <a:pt x="40" y="91"/>
                    </a:cubicBezTo>
                    <a:cubicBezTo>
                      <a:pt x="34" y="82"/>
                      <a:pt x="35" y="82"/>
                      <a:pt x="37" y="73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40" y="49"/>
                      <a:pt x="40" y="49"/>
                      <a:pt x="40" y="49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6" y="39"/>
                      <a:pt x="36" y="39"/>
                      <a:pt x="36" y="39"/>
                    </a:cubicBez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27"/>
                      <a:pt x="30" y="27"/>
                      <a:pt x="3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0" name="Freeform 1337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1" name="Freeform 1338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2" name="Freeform 1339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3" name="Freeform 1340"/>
              <p:cNvSpPr>
                <a:spLocks/>
              </p:cNvSpPr>
              <p:nvPr/>
            </p:nvSpPr>
            <p:spPr bwMode="auto">
              <a:xfrm>
                <a:off x="6919995" y="3709157"/>
                <a:ext cx="236540" cy="460382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14" y="63"/>
                  </a:cxn>
                  <a:cxn ang="0">
                    <a:pos x="15" y="57"/>
                  </a:cxn>
                  <a:cxn ang="0">
                    <a:pos x="16" y="52"/>
                  </a:cxn>
                  <a:cxn ang="0">
                    <a:pos x="17" y="48"/>
                  </a:cxn>
                  <a:cxn ang="0">
                    <a:pos x="17" y="42"/>
                  </a:cxn>
                  <a:cxn ang="0">
                    <a:pos x="22" y="42"/>
                  </a:cxn>
                  <a:cxn ang="0">
                    <a:pos x="22" y="45"/>
                  </a:cxn>
                  <a:cxn ang="0">
                    <a:pos x="26" y="46"/>
                  </a:cxn>
                  <a:cxn ang="0">
                    <a:pos x="31" y="49"/>
                  </a:cxn>
                  <a:cxn ang="0">
                    <a:pos x="33" y="53"/>
                  </a:cxn>
                  <a:cxn ang="0">
                    <a:pos x="31" y="48"/>
                  </a:cxn>
                  <a:cxn ang="0">
                    <a:pos x="29" y="42"/>
                  </a:cxn>
                  <a:cxn ang="0">
                    <a:pos x="33" y="36"/>
                  </a:cxn>
                  <a:cxn ang="0">
                    <a:pos x="43" y="36"/>
                  </a:cxn>
                  <a:cxn ang="0">
                    <a:pos x="45" y="33"/>
                  </a:cxn>
                  <a:cxn ang="0">
                    <a:pos x="43" y="28"/>
                  </a:cxn>
                  <a:cxn ang="0">
                    <a:pos x="39" y="22"/>
                  </a:cxn>
                  <a:cxn ang="0">
                    <a:pos x="38" y="17"/>
                  </a:cxn>
                  <a:cxn ang="0">
                    <a:pos x="31" y="12"/>
                  </a:cxn>
                  <a:cxn ang="0">
                    <a:pos x="29" y="13"/>
                  </a:cxn>
                  <a:cxn ang="0">
                    <a:pos x="27" y="15"/>
                  </a:cxn>
                  <a:cxn ang="0">
                    <a:pos x="24" y="13"/>
                  </a:cxn>
                  <a:cxn ang="0">
                    <a:pos x="20" y="17"/>
                  </a:cxn>
                  <a:cxn ang="0">
                    <a:pos x="19" y="11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2" y="5"/>
                  </a:cxn>
                  <a:cxn ang="0">
                    <a:pos x="1" y="11"/>
                  </a:cxn>
                  <a:cxn ang="0">
                    <a:pos x="0" y="11"/>
                  </a:cxn>
                  <a:cxn ang="0">
                    <a:pos x="9" y="24"/>
                  </a:cxn>
                  <a:cxn ang="0">
                    <a:pos x="10" y="24"/>
                  </a:cxn>
                  <a:cxn ang="0">
                    <a:pos x="14" y="46"/>
                  </a:cxn>
                  <a:cxn ang="0">
                    <a:pos x="15" y="53"/>
                  </a:cxn>
                  <a:cxn ang="0">
                    <a:pos x="14" y="57"/>
                  </a:cxn>
                  <a:cxn ang="0">
                    <a:pos x="12" y="60"/>
                  </a:cxn>
                  <a:cxn ang="0">
                    <a:pos x="12" y="61"/>
                  </a:cxn>
                  <a:cxn ang="0">
                    <a:pos x="11" y="67"/>
                  </a:cxn>
                  <a:cxn ang="0">
                    <a:pos x="11" y="73"/>
                  </a:cxn>
                  <a:cxn ang="0">
                    <a:pos x="12" y="72"/>
                  </a:cxn>
                  <a:cxn ang="0">
                    <a:pos x="14" y="76"/>
                  </a:cxn>
                  <a:cxn ang="0">
                    <a:pos x="17" y="78"/>
                  </a:cxn>
                  <a:cxn ang="0">
                    <a:pos x="19" y="80"/>
                  </a:cxn>
                  <a:cxn ang="0">
                    <a:pos x="21" y="84"/>
                  </a:cxn>
                  <a:cxn ang="0">
                    <a:pos x="21" y="83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9" y="88"/>
                  </a:cxn>
                  <a:cxn ang="0">
                    <a:pos x="31" y="86"/>
                  </a:cxn>
                  <a:cxn ang="0">
                    <a:pos x="29" y="81"/>
                  </a:cxn>
                  <a:cxn ang="0">
                    <a:pos x="24" y="81"/>
                  </a:cxn>
                  <a:cxn ang="0">
                    <a:pos x="22" y="77"/>
                  </a:cxn>
                  <a:cxn ang="0">
                    <a:pos x="21" y="73"/>
                  </a:cxn>
                  <a:cxn ang="0">
                    <a:pos x="19" y="67"/>
                  </a:cxn>
                  <a:cxn ang="0">
                    <a:pos x="16" y="67"/>
                  </a:cxn>
                </a:cxnLst>
                <a:rect l="0" t="0" r="r" b="b"/>
                <a:pathLst>
                  <a:path w="45" h="88">
                    <a:moveTo>
                      <a:pt x="16" y="67"/>
                    </a:move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4" y="39"/>
                      <a:pt x="11" y="34"/>
                      <a:pt x="14" y="46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16" y="67"/>
                      <a:pt x="16" y="67"/>
                      <a:pt x="16" y="6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4" name="Freeform 1341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5" name="Freeform 1342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6" name="Freeform 1343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7" name="Freeform 1344"/>
              <p:cNvSpPr>
                <a:spLocks/>
              </p:cNvSpPr>
              <p:nvPr/>
            </p:nvSpPr>
            <p:spPr bwMode="auto">
              <a:xfrm>
                <a:off x="7029534" y="3620256"/>
                <a:ext cx="230190" cy="455619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4" y="16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1" y="3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2" y="2"/>
                  </a:cxn>
                  <a:cxn ang="0">
                    <a:pos x="22" y="7"/>
                  </a:cxn>
                  <a:cxn ang="0">
                    <a:pos x="24" y="7"/>
                  </a:cxn>
                  <a:cxn ang="0">
                    <a:pos x="30" y="10"/>
                  </a:cxn>
                  <a:cxn ang="0">
                    <a:pos x="27" y="12"/>
                  </a:cxn>
                  <a:cxn ang="0">
                    <a:pos x="24" y="14"/>
                  </a:cxn>
                  <a:cxn ang="0">
                    <a:pos x="22" y="20"/>
                  </a:cxn>
                  <a:cxn ang="0">
                    <a:pos x="20" y="26"/>
                  </a:cxn>
                  <a:cxn ang="0">
                    <a:pos x="40" y="46"/>
                  </a:cxn>
                  <a:cxn ang="0">
                    <a:pos x="42" y="55"/>
                  </a:cxn>
                  <a:cxn ang="0">
                    <a:pos x="44" y="63"/>
                  </a:cxn>
                  <a:cxn ang="0">
                    <a:pos x="44" y="68"/>
                  </a:cxn>
                  <a:cxn ang="0">
                    <a:pos x="43" y="70"/>
                  </a:cxn>
                  <a:cxn ang="0">
                    <a:pos x="40" y="73"/>
                  </a:cxn>
                  <a:cxn ang="0">
                    <a:pos x="36" y="77"/>
                  </a:cxn>
                  <a:cxn ang="0">
                    <a:pos x="32" y="75"/>
                  </a:cxn>
                  <a:cxn ang="0">
                    <a:pos x="32" y="79"/>
                  </a:cxn>
                  <a:cxn ang="0">
                    <a:pos x="31" y="79"/>
                  </a:cxn>
                  <a:cxn ang="0">
                    <a:pos x="31" y="82"/>
                  </a:cxn>
                  <a:cxn ang="0">
                    <a:pos x="30" y="82"/>
                  </a:cxn>
                  <a:cxn ang="0">
                    <a:pos x="26" y="87"/>
                  </a:cxn>
                  <a:cxn ang="0">
                    <a:pos x="23" y="87"/>
                  </a:cxn>
                  <a:cxn ang="0">
                    <a:pos x="23" y="80"/>
                  </a:cxn>
                  <a:cxn ang="0">
                    <a:pos x="20" y="77"/>
                  </a:cxn>
                  <a:cxn ang="0">
                    <a:pos x="23" y="74"/>
                  </a:cxn>
                  <a:cxn ang="0">
                    <a:pos x="24" y="73"/>
                  </a:cxn>
                  <a:cxn ang="0">
                    <a:pos x="29" y="74"/>
                  </a:cxn>
                  <a:cxn ang="0">
                    <a:pos x="27" y="70"/>
                  </a:cxn>
                  <a:cxn ang="0">
                    <a:pos x="30" y="69"/>
                  </a:cxn>
                  <a:cxn ang="0">
                    <a:pos x="34" y="65"/>
                  </a:cxn>
                  <a:cxn ang="0">
                    <a:pos x="34" y="56"/>
                  </a:cxn>
                  <a:cxn ang="0">
                    <a:pos x="33" y="51"/>
                  </a:cxn>
                  <a:cxn ang="0">
                    <a:pos x="33" y="46"/>
                  </a:cxn>
                  <a:cxn ang="0">
                    <a:pos x="31" y="44"/>
                  </a:cxn>
                  <a:cxn ang="0">
                    <a:pos x="31" y="43"/>
                  </a:cxn>
                  <a:cxn ang="0">
                    <a:pos x="27" y="39"/>
                  </a:cxn>
                  <a:cxn ang="0">
                    <a:pos x="24" y="36"/>
                  </a:cxn>
                  <a:cxn ang="0">
                    <a:pos x="22" y="32"/>
                  </a:cxn>
                  <a:cxn ang="0">
                    <a:pos x="18" y="27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6" y="20"/>
                  </a:cxn>
                  <a:cxn ang="0">
                    <a:pos x="15" y="17"/>
                  </a:cxn>
                </a:cxnLst>
                <a:rect l="0" t="0" r="r" b="b"/>
                <a:pathLst>
                  <a:path w="44" h="87">
                    <a:moveTo>
                      <a:pt x="15" y="17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6" y="33"/>
                      <a:pt x="32" y="40"/>
                      <a:pt x="40" y="46"/>
                    </a:cubicBezTo>
                    <a:cubicBezTo>
                      <a:pt x="42" y="55"/>
                      <a:pt x="42" y="55"/>
                      <a:pt x="42" y="5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1" y="79"/>
                      <a:pt x="31" y="79"/>
                      <a:pt x="31" y="79"/>
                    </a:cubicBezTo>
                    <a:cubicBezTo>
                      <a:pt x="31" y="82"/>
                      <a:pt x="31" y="82"/>
                      <a:pt x="31" y="82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4" y="73"/>
                      <a:pt x="24" y="73"/>
                      <a:pt x="24" y="73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4" y="65"/>
                      <a:pt x="34" y="65"/>
                      <a:pt x="34" y="65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7"/>
                      <a:pt x="15" y="17"/>
                      <a:pt x="15" y="1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8" name="Freeform 1345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30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19" name="Freeform 1346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30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0" name="Freeform 1347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30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1" name="Freeform 1348"/>
              <p:cNvSpPr>
                <a:spLocks/>
              </p:cNvSpPr>
              <p:nvPr/>
            </p:nvSpPr>
            <p:spPr bwMode="auto">
              <a:xfrm>
                <a:off x="5000686" y="3351964"/>
                <a:ext cx="287340" cy="314330"/>
              </a:xfrm>
              <a:custGeom>
                <a:avLst/>
                <a:gdLst/>
                <a:ahLst/>
                <a:cxnLst>
                  <a:cxn ang="0">
                    <a:pos x="45" y="23"/>
                  </a:cxn>
                  <a:cxn ang="0">
                    <a:pos x="42" y="17"/>
                  </a:cxn>
                  <a:cxn ang="0">
                    <a:pos x="38" y="12"/>
                  </a:cxn>
                  <a:cxn ang="0">
                    <a:pos x="37" y="12"/>
                  </a:cxn>
                  <a:cxn ang="0">
                    <a:pos x="48" y="33"/>
                  </a:cxn>
                  <a:cxn ang="0">
                    <a:pos x="50" y="38"/>
                  </a:cxn>
                  <a:cxn ang="0">
                    <a:pos x="53" y="42"/>
                  </a:cxn>
                  <a:cxn ang="0">
                    <a:pos x="55" y="46"/>
                  </a:cxn>
                  <a:cxn ang="0">
                    <a:pos x="55" y="52"/>
                  </a:cxn>
                  <a:cxn ang="0">
                    <a:pos x="53" y="54"/>
                  </a:cxn>
                  <a:cxn ang="0">
                    <a:pos x="53" y="53"/>
                  </a:cxn>
                  <a:cxn ang="0">
                    <a:pos x="51" y="56"/>
                  </a:cxn>
                  <a:cxn ang="0">
                    <a:pos x="49" y="58"/>
                  </a:cxn>
                  <a:cxn ang="0">
                    <a:pos x="48" y="60"/>
                  </a:cxn>
                  <a:cxn ang="0">
                    <a:pos x="42" y="60"/>
                  </a:cxn>
                  <a:cxn ang="0">
                    <a:pos x="36" y="58"/>
                  </a:cxn>
                  <a:cxn ang="0">
                    <a:pos x="36" y="58"/>
                  </a:cxn>
                  <a:cxn ang="0">
                    <a:pos x="34" y="58"/>
                  </a:cxn>
                  <a:cxn ang="0">
                    <a:pos x="22" y="58"/>
                  </a:cxn>
                  <a:cxn ang="0">
                    <a:pos x="3" y="58"/>
                  </a:cxn>
                  <a:cxn ang="0">
                    <a:pos x="2" y="30"/>
                  </a:cxn>
                  <a:cxn ang="0">
                    <a:pos x="1" y="25"/>
                  </a:cxn>
                  <a:cxn ang="0">
                    <a:pos x="1" y="14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4" y="0"/>
                  </a:cxn>
                  <a:cxn ang="0">
                    <a:pos x="12" y="2"/>
                  </a:cxn>
                  <a:cxn ang="0">
                    <a:pos x="19" y="4"/>
                  </a:cxn>
                  <a:cxn ang="0">
                    <a:pos x="26" y="2"/>
                  </a:cxn>
                  <a:cxn ang="0">
                    <a:pos x="29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36" y="4"/>
                  </a:cxn>
                  <a:cxn ang="0">
                    <a:pos x="38" y="4"/>
                  </a:cxn>
                  <a:cxn ang="0">
                    <a:pos x="45" y="2"/>
                  </a:cxn>
                  <a:cxn ang="0">
                    <a:pos x="47" y="8"/>
                  </a:cxn>
                  <a:cxn ang="0">
                    <a:pos x="49" y="14"/>
                  </a:cxn>
                  <a:cxn ang="0">
                    <a:pos x="48" y="18"/>
                  </a:cxn>
                  <a:cxn ang="0">
                    <a:pos x="47" y="23"/>
                  </a:cxn>
                  <a:cxn ang="0">
                    <a:pos x="45" y="23"/>
                  </a:cxn>
                </a:cxnLst>
                <a:rect l="0" t="0" r="r" b="b"/>
                <a:pathLst>
                  <a:path w="55" h="60">
                    <a:moveTo>
                      <a:pt x="45" y="23"/>
                    </a:moveTo>
                    <a:cubicBezTo>
                      <a:pt x="42" y="17"/>
                      <a:pt x="42" y="17"/>
                      <a:pt x="42" y="17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41" y="18"/>
                      <a:pt x="44" y="27"/>
                      <a:pt x="48" y="33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16" y="58"/>
                      <a:pt x="9" y="58"/>
                      <a:pt x="3" y="58"/>
                    </a:cubicBezTo>
                    <a:cubicBezTo>
                      <a:pt x="4" y="44"/>
                      <a:pt x="1" y="45"/>
                      <a:pt x="2" y="30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5" y="23"/>
                      <a:pt x="45" y="23"/>
                      <a:pt x="4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2" name="Freeform 1349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3" name="Freeform 1350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4" name="Freeform 1351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5" name="Freeform 1352"/>
              <p:cNvSpPr>
                <a:spLocks/>
              </p:cNvSpPr>
              <p:nvPr/>
            </p:nvSpPr>
            <p:spPr bwMode="auto">
              <a:xfrm>
                <a:off x="6145286" y="3226550"/>
                <a:ext cx="728671" cy="865200"/>
              </a:xfrm>
              <a:custGeom>
                <a:avLst/>
                <a:gdLst/>
                <a:ahLst/>
                <a:cxnLst>
                  <a:cxn ang="0">
                    <a:pos x="379" y="152"/>
                  </a:cxn>
                  <a:cxn ang="0">
                    <a:pos x="376" y="175"/>
                  </a:cxn>
                  <a:cxn ang="0">
                    <a:pos x="327" y="175"/>
                  </a:cxn>
                  <a:cxn ang="0">
                    <a:pos x="310" y="159"/>
                  </a:cxn>
                  <a:cxn ang="0">
                    <a:pos x="274" y="182"/>
                  </a:cxn>
                  <a:cxn ang="0">
                    <a:pos x="234" y="165"/>
                  </a:cxn>
                  <a:cxn ang="0">
                    <a:pos x="178" y="145"/>
                  </a:cxn>
                  <a:cxn ang="0">
                    <a:pos x="172" y="103"/>
                  </a:cxn>
                  <a:cxn ang="0">
                    <a:pos x="139" y="66"/>
                  </a:cxn>
                  <a:cxn ang="0">
                    <a:pos x="139" y="46"/>
                  </a:cxn>
                  <a:cxn ang="0">
                    <a:pos x="145" y="23"/>
                  </a:cxn>
                  <a:cxn ang="0">
                    <a:pos x="126" y="0"/>
                  </a:cxn>
                  <a:cxn ang="0">
                    <a:pos x="80" y="30"/>
                  </a:cxn>
                  <a:cxn ang="0">
                    <a:pos x="60" y="40"/>
                  </a:cxn>
                  <a:cxn ang="0">
                    <a:pos x="73" y="63"/>
                  </a:cxn>
                  <a:cxn ang="0">
                    <a:pos x="73" y="83"/>
                  </a:cxn>
                  <a:cxn ang="0">
                    <a:pos x="63" y="126"/>
                  </a:cxn>
                  <a:cxn ang="0">
                    <a:pos x="20" y="159"/>
                  </a:cxn>
                  <a:cxn ang="0">
                    <a:pos x="27" y="202"/>
                  </a:cxn>
                  <a:cxn ang="0">
                    <a:pos x="33" y="228"/>
                  </a:cxn>
                  <a:cxn ang="0">
                    <a:pos x="7" y="235"/>
                  </a:cxn>
                  <a:cxn ang="0">
                    <a:pos x="7" y="238"/>
                  </a:cxn>
                  <a:cxn ang="0">
                    <a:pos x="33" y="254"/>
                  </a:cxn>
                  <a:cxn ang="0">
                    <a:pos x="14" y="264"/>
                  </a:cxn>
                  <a:cxn ang="0">
                    <a:pos x="66" y="294"/>
                  </a:cxn>
                  <a:cxn ang="0">
                    <a:pos x="80" y="271"/>
                  </a:cxn>
                  <a:cxn ang="0">
                    <a:pos x="86" y="277"/>
                  </a:cxn>
                  <a:cxn ang="0">
                    <a:pos x="80" y="307"/>
                  </a:cxn>
                  <a:cxn ang="0">
                    <a:pos x="86" y="337"/>
                  </a:cxn>
                  <a:cxn ang="0">
                    <a:pos x="106" y="400"/>
                  </a:cxn>
                  <a:cxn ang="0">
                    <a:pos x="126" y="449"/>
                  </a:cxn>
                  <a:cxn ang="0">
                    <a:pos x="152" y="499"/>
                  </a:cxn>
                  <a:cxn ang="0">
                    <a:pos x="172" y="542"/>
                  </a:cxn>
                  <a:cxn ang="0">
                    <a:pos x="198" y="528"/>
                  </a:cxn>
                  <a:cxn ang="0">
                    <a:pos x="211" y="509"/>
                  </a:cxn>
                  <a:cxn ang="0">
                    <a:pos x="211" y="472"/>
                  </a:cxn>
                  <a:cxn ang="0">
                    <a:pos x="215" y="426"/>
                  </a:cxn>
                  <a:cxn ang="0">
                    <a:pos x="225" y="393"/>
                  </a:cxn>
                  <a:cxn ang="0">
                    <a:pos x="248" y="383"/>
                  </a:cxn>
                  <a:cxn ang="0">
                    <a:pos x="277" y="334"/>
                  </a:cxn>
                  <a:cxn ang="0">
                    <a:pos x="314" y="301"/>
                  </a:cxn>
                  <a:cxn ang="0">
                    <a:pos x="330" y="284"/>
                  </a:cxn>
                  <a:cxn ang="0">
                    <a:pos x="340" y="261"/>
                  </a:cxn>
                  <a:cxn ang="0">
                    <a:pos x="320" y="225"/>
                  </a:cxn>
                  <a:cxn ang="0">
                    <a:pos x="320" y="198"/>
                  </a:cxn>
                  <a:cxn ang="0">
                    <a:pos x="333" y="192"/>
                  </a:cxn>
                  <a:cxn ang="0">
                    <a:pos x="363" y="208"/>
                  </a:cxn>
                  <a:cxn ang="0">
                    <a:pos x="386" y="228"/>
                  </a:cxn>
                  <a:cxn ang="0">
                    <a:pos x="379" y="258"/>
                  </a:cxn>
                  <a:cxn ang="0">
                    <a:pos x="403" y="274"/>
                  </a:cxn>
                  <a:cxn ang="0">
                    <a:pos x="419" y="238"/>
                  </a:cxn>
                  <a:cxn ang="0">
                    <a:pos x="445" y="172"/>
                  </a:cxn>
                  <a:cxn ang="0">
                    <a:pos x="455" y="162"/>
                  </a:cxn>
                  <a:cxn ang="0">
                    <a:pos x="439" y="136"/>
                  </a:cxn>
                  <a:cxn ang="0">
                    <a:pos x="426" y="129"/>
                  </a:cxn>
                </a:cxnLst>
                <a:rect l="0" t="0" r="r" b="b"/>
                <a:pathLst>
                  <a:path w="459" h="545">
                    <a:moveTo>
                      <a:pt x="406" y="132"/>
                    </a:moveTo>
                    <a:lnTo>
                      <a:pt x="396" y="145"/>
                    </a:lnTo>
                    <a:lnTo>
                      <a:pt x="379" y="152"/>
                    </a:lnTo>
                    <a:lnTo>
                      <a:pt x="366" y="162"/>
                    </a:lnTo>
                    <a:lnTo>
                      <a:pt x="370" y="169"/>
                    </a:lnTo>
                    <a:lnTo>
                      <a:pt x="376" y="175"/>
                    </a:lnTo>
                    <a:lnTo>
                      <a:pt x="363" y="178"/>
                    </a:lnTo>
                    <a:lnTo>
                      <a:pt x="347" y="178"/>
                    </a:lnTo>
                    <a:lnTo>
                      <a:pt x="327" y="175"/>
                    </a:lnTo>
                    <a:lnTo>
                      <a:pt x="323" y="169"/>
                    </a:lnTo>
                    <a:lnTo>
                      <a:pt x="317" y="152"/>
                    </a:lnTo>
                    <a:lnTo>
                      <a:pt x="310" y="159"/>
                    </a:lnTo>
                    <a:lnTo>
                      <a:pt x="314" y="185"/>
                    </a:lnTo>
                    <a:lnTo>
                      <a:pt x="294" y="185"/>
                    </a:lnTo>
                    <a:lnTo>
                      <a:pt x="274" y="182"/>
                    </a:lnTo>
                    <a:lnTo>
                      <a:pt x="264" y="178"/>
                    </a:lnTo>
                    <a:lnTo>
                      <a:pt x="254" y="169"/>
                    </a:lnTo>
                    <a:lnTo>
                      <a:pt x="234" y="165"/>
                    </a:lnTo>
                    <a:lnTo>
                      <a:pt x="218" y="162"/>
                    </a:lnTo>
                    <a:lnTo>
                      <a:pt x="198" y="149"/>
                    </a:lnTo>
                    <a:lnTo>
                      <a:pt x="178" y="145"/>
                    </a:lnTo>
                    <a:lnTo>
                      <a:pt x="178" y="129"/>
                    </a:lnTo>
                    <a:lnTo>
                      <a:pt x="188" y="116"/>
                    </a:lnTo>
                    <a:lnTo>
                      <a:pt x="172" y="103"/>
                    </a:lnTo>
                    <a:lnTo>
                      <a:pt x="152" y="93"/>
                    </a:lnTo>
                    <a:lnTo>
                      <a:pt x="145" y="86"/>
                    </a:lnTo>
                    <a:lnTo>
                      <a:pt x="139" y="66"/>
                    </a:lnTo>
                    <a:lnTo>
                      <a:pt x="145" y="70"/>
                    </a:lnTo>
                    <a:lnTo>
                      <a:pt x="145" y="60"/>
                    </a:lnTo>
                    <a:lnTo>
                      <a:pt x="139" y="46"/>
                    </a:lnTo>
                    <a:lnTo>
                      <a:pt x="139" y="36"/>
                    </a:lnTo>
                    <a:lnTo>
                      <a:pt x="145" y="33"/>
                    </a:lnTo>
                    <a:lnTo>
                      <a:pt x="145" y="23"/>
                    </a:lnTo>
                    <a:lnTo>
                      <a:pt x="145" y="7"/>
                    </a:lnTo>
                    <a:lnTo>
                      <a:pt x="139" y="3"/>
                    </a:lnTo>
                    <a:lnTo>
                      <a:pt x="126" y="0"/>
                    </a:lnTo>
                    <a:lnTo>
                      <a:pt x="109" y="7"/>
                    </a:lnTo>
                    <a:lnTo>
                      <a:pt x="96" y="20"/>
                    </a:lnTo>
                    <a:lnTo>
                      <a:pt x="80" y="30"/>
                    </a:lnTo>
                    <a:lnTo>
                      <a:pt x="53" y="23"/>
                    </a:lnTo>
                    <a:lnTo>
                      <a:pt x="53" y="33"/>
                    </a:lnTo>
                    <a:lnTo>
                      <a:pt x="60" y="40"/>
                    </a:lnTo>
                    <a:lnTo>
                      <a:pt x="60" y="46"/>
                    </a:lnTo>
                    <a:lnTo>
                      <a:pt x="66" y="60"/>
                    </a:lnTo>
                    <a:lnTo>
                      <a:pt x="73" y="63"/>
                    </a:lnTo>
                    <a:lnTo>
                      <a:pt x="80" y="70"/>
                    </a:lnTo>
                    <a:lnTo>
                      <a:pt x="86" y="73"/>
                    </a:lnTo>
                    <a:lnTo>
                      <a:pt x="73" y="83"/>
                    </a:lnTo>
                    <a:lnTo>
                      <a:pt x="80" y="96"/>
                    </a:lnTo>
                    <a:lnTo>
                      <a:pt x="73" y="109"/>
                    </a:lnTo>
                    <a:lnTo>
                      <a:pt x="63" y="126"/>
                    </a:lnTo>
                    <a:lnTo>
                      <a:pt x="53" y="145"/>
                    </a:lnTo>
                    <a:lnTo>
                      <a:pt x="43" y="159"/>
                    </a:lnTo>
                    <a:lnTo>
                      <a:pt x="20" y="159"/>
                    </a:lnTo>
                    <a:lnTo>
                      <a:pt x="10" y="178"/>
                    </a:lnTo>
                    <a:lnTo>
                      <a:pt x="24" y="185"/>
                    </a:lnTo>
                    <a:lnTo>
                      <a:pt x="27" y="202"/>
                    </a:lnTo>
                    <a:lnTo>
                      <a:pt x="33" y="202"/>
                    </a:lnTo>
                    <a:lnTo>
                      <a:pt x="43" y="228"/>
                    </a:lnTo>
                    <a:lnTo>
                      <a:pt x="33" y="228"/>
                    </a:lnTo>
                    <a:lnTo>
                      <a:pt x="20" y="231"/>
                    </a:lnTo>
                    <a:lnTo>
                      <a:pt x="7" y="228"/>
                    </a:lnTo>
                    <a:lnTo>
                      <a:pt x="7" y="235"/>
                    </a:lnTo>
                    <a:lnTo>
                      <a:pt x="0" y="238"/>
                    </a:lnTo>
                    <a:lnTo>
                      <a:pt x="0" y="241"/>
                    </a:lnTo>
                    <a:lnTo>
                      <a:pt x="7" y="238"/>
                    </a:lnTo>
                    <a:lnTo>
                      <a:pt x="0" y="241"/>
                    </a:lnTo>
                    <a:lnTo>
                      <a:pt x="17" y="258"/>
                    </a:lnTo>
                    <a:lnTo>
                      <a:pt x="33" y="254"/>
                    </a:lnTo>
                    <a:lnTo>
                      <a:pt x="33" y="258"/>
                    </a:lnTo>
                    <a:lnTo>
                      <a:pt x="24" y="268"/>
                    </a:lnTo>
                    <a:lnTo>
                      <a:pt x="14" y="264"/>
                    </a:lnTo>
                    <a:lnTo>
                      <a:pt x="27" y="284"/>
                    </a:lnTo>
                    <a:lnTo>
                      <a:pt x="47" y="297"/>
                    </a:lnTo>
                    <a:lnTo>
                      <a:pt x="66" y="294"/>
                    </a:lnTo>
                    <a:lnTo>
                      <a:pt x="66" y="277"/>
                    </a:lnTo>
                    <a:lnTo>
                      <a:pt x="73" y="271"/>
                    </a:lnTo>
                    <a:lnTo>
                      <a:pt x="80" y="271"/>
                    </a:lnTo>
                    <a:lnTo>
                      <a:pt x="73" y="274"/>
                    </a:lnTo>
                    <a:lnTo>
                      <a:pt x="73" y="277"/>
                    </a:lnTo>
                    <a:lnTo>
                      <a:pt x="86" y="277"/>
                    </a:lnTo>
                    <a:lnTo>
                      <a:pt x="80" y="287"/>
                    </a:lnTo>
                    <a:lnTo>
                      <a:pt x="80" y="294"/>
                    </a:lnTo>
                    <a:lnTo>
                      <a:pt x="80" y="307"/>
                    </a:lnTo>
                    <a:lnTo>
                      <a:pt x="86" y="327"/>
                    </a:lnTo>
                    <a:lnTo>
                      <a:pt x="86" y="334"/>
                    </a:lnTo>
                    <a:lnTo>
                      <a:pt x="86" y="337"/>
                    </a:lnTo>
                    <a:lnTo>
                      <a:pt x="93" y="363"/>
                    </a:lnTo>
                    <a:lnTo>
                      <a:pt x="99" y="383"/>
                    </a:lnTo>
                    <a:lnTo>
                      <a:pt x="106" y="400"/>
                    </a:lnTo>
                    <a:lnTo>
                      <a:pt x="109" y="403"/>
                    </a:lnTo>
                    <a:lnTo>
                      <a:pt x="119" y="429"/>
                    </a:lnTo>
                    <a:lnTo>
                      <a:pt x="126" y="449"/>
                    </a:lnTo>
                    <a:lnTo>
                      <a:pt x="132" y="466"/>
                    </a:lnTo>
                    <a:lnTo>
                      <a:pt x="139" y="485"/>
                    </a:lnTo>
                    <a:lnTo>
                      <a:pt x="152" y="499"/>
                    </a:lnTo>
                    <a:lnTo>
                      <a:pt x="155" y="515"/>
                    </a:lnTo>
                    <a:lnTo>
                      <a:pt x="162" y="528"/>
                    </a:lnTo>
                    <a:lnTo>
                      <a:pt x="172" y="542"/>
                    </a:lnTo>
                    <a:lnTo>
                      <a:pt x="178" y="545"/>
                    </a:lnTo>
                    <a:lnTo>
                      <a:pt x="188" y="542"/>
                    </a:lnTo>
                    <a:lnTo>
                      <a:pt x="198" y="528"/>
                    </a:lnTo>
                    <a:lnTo>
                      <a:pt x="208" y="525"/>
                    </a:lnTo>
                    <a:lnTo>
                      <a:pt x="202" y="518"/>
                    </a:lnTo>
                    <a:lnTo>
                      <a:pt x="211" y="509"/>
                    </a:lnTo>
                    <a:lnTo>
                      <a:pt x="215" y="502"/>
                    </a:lnTo>
                    <a:lnTo>
                      <a:pt x="215" y="489"/>
                    </a:lnTo>
                    <a:lnTo>
                      <a:pt x="211" y="472"/>
                    </a:lnTo>
                    <a:lnTo>
                      <a:pt x="215" y="459"/>
                    </a:lnTo>
                    <a:lnTo>
                      <a:pt x="218" y="446"/>
                    </a:lnTo>
                    <a:lnTo>
                      <a:pt x="215" y="426"/>
                    </a:lnTo>
                    <a:lnTo>
                      <a:pt x="211" y="403"/>
                    </a:lnTo>
                    <a:lnTo>
                      <a:pt x="225" y="396"/>
                    </a:lnTo>
                    <a:lnTo>
                      <a:pt x="225" y="393"/>
                    </a:lnTo>
                    <a:lnTo>
                      <a:pt x="228" y="393"/>
                    </a:lnTo>
                    <a:lnTo>
                      <a:pt x="231" y="383"/>
                    </a:lnTo>
                    <a:lnTo>
                      <a:pt x="248" y="383"/>
                    </a:lnTo>
                    <a:lnTo>
                      <a:pt x="248" y="367"/>
                    </a:lnTo>
                    <a:lnTo>
                      <a:pt x="264" y="350"/>
                    </a:lnTo>
                    <a:lnTo>
                      <a:pt x="277" y="334"/>
                    </a:lnTo>
                    <a:lnTo>
                      <a:pt x="294" y="320"/>
                    </a:lnTo>
                    <a:lnTo>
                      <a:pt x="304" y="317"/>
                    </a:lnTo>
                    <a:lnTo>
                      <a:pt x="314" y="301"/>
                    </a:lnTo>
                    <a:lnTo>
                      <a:pt x="314" y="287"/>
                    </a:lnTo>
                    <a:lnTo>
                      <a:pt x="327" y="274"/>
                    </a:lnTo>
                    <a:lnTo>
                      <a:pt x="330" y="284"/>
                    </a:lnTo>
                    <a:lnTo>
                      <a:pt x="347" y="284"/>
                    </a:lnTo>
                    <a:lnTo>
                      <a:pt x="347" y="274"/>
                    </a:lnTo>
                    <a:lnTo>
                      <a:pt x="340" y="261"/>
                    </a:lnTo>
                    <a:lnTo>
                      <a:pt x="333" y="244"/>
                    </a:lnTo>
                    <a:lnTo>
                      <a:pt x="333" y="235"/>
                    </a:lnTo>
                    <a:lnTo>
                      <a:pt x="320" y="225"/>
                    </a:lnTo>
                    <a:lnTo>
                      <a:pt x="323" y="218"/>
                    </a:lnTo>
                    <a:lnTo>
                      <a:pt x="330" y="211"/>
                    </a:lnTo>
                    <a:lnTo>
                      <a:pt x="320" y="198"/>
                    </a:lnTo>
                    <a:lnTo>
                      <a:pt x="320" y="182"/>
                    </a:lnTo>
                    <a:lnTo>
                      <a:pt x="330" y="192"/>
                    </a:lnTo>
                    <a:lnTo>
                      <a:pt x="333" y="192"/>
                    </a:lnTo>
                    <a:lnTo>
                      <a:pt x="340" y="192"/>
                    </a:lnTo>
                    <a:lnTo>
                      <a:pt x="347" y="208"/>
                    </a:lnTo>
                    <a:lnTo>
                      <a:pt x="363" y="208"/>
                    </a:lnTo>
                    <a:lnTo>
                      <a:pt x="379" y="211"/>
                    </a:lnTo>
                    <a:lnTo>
                      <a:pt x="393" y="221"/>
                    </a:lnTo>
                    <a:lnTo>
                      <a:pt x="386" y="228"/>
                    </a:lnTo>
                    <a:lnTo>
                      <a:pt x="373" y="235"/>
                    </a:lnTo>
                    <a:lnTo>
                      <a:pt x="376" y="251"/>
                    </a:lnTo>
                    <a:lnTo>
                      <a:pt x="379" y="258"/>
                    </a:lnTo>
                    <a:lnTo>
                      <a:pt x="386" y="241"/>
                    </a:lnTo>
                    <a:lnTo>
                      <a:pt x="396" y="258"/>
                    </a:lnTo>
                    <a:lnTo>
                      <a:pt x="403" y="274"/>
                    </a:lnTo>
                    <a:lnTo>
                      <a:pt x="409" y="274"/>
                    </a:lnTo>
                    <a:lnTo>
                      <a:pt x="409" y="238"/>
                    </a:lnTo>
                    <a:lnTo>
                      <a:pt x="419" y="238"/>
                    </a:lnTo>
                    <a:lnTo>
                      <a:pt x="426" y="211"/>
                    </a:lnTo>
                    <a:lnTo>
                      <a:pt x="426" y="185"/>
                    </a:lnTo>
                    <a:lnTo>
                      <a:pt x="445" y="172"/>
                    </a:lnTo>
                    <a:lnTo>
                      <a:pt x="455" y="172"/>
                    </a:lnTo>
                    <a:lnTo>
                      <a:pt x="452" y="169"/>
                    </a:lnTo>
                    <a:lnTo>
                      <a:pt x="455" y="162"/>
                    </a:lnTo>
                    <a:lnTo>
                      <a:pt x="459" y="149"/>
                    </a:lnTo>
                    <a:lnTo>
                      <a:pt x="439" y="145"/>
                    </a:lnTo>
                    <a:lnTo>
                      <a:pt x="439" y="136"/>
                    </a:lnTo>
                    <a:lnTo>
                      <a:pt x="435" y="136"/>
                    </a:lnTo>
                    <a:lnTo>
                      <a:pt x="435" y="132"/>
                    </a:lnTo>
                    <a:lnTo>
                      <a:pt x="426" y="129"/>
                    </a:lnTo>
                    <a:lnTo>
                      <a:pt x="419" y="136"/>
                    </a:lnTo>
                    <a:lnTo>
                      <a:pt x="406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6" name="Freeform 1353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7" name="Freeform 1354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8" name="Freeform 1355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29" name="Freeform 1356"/>
              <p:cNvSpPr>
                <a:spLocks/>
              </p:cNvSpPr>
              <p:nvPr/>
            </p:nvSpPr>
            <p:spPr bwMode="auto">
              <a:xfrm>
                <a:off x="5507104" y="3436102"/>
                <a:ext cx="6350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4"/>
                  </a:cxn>
                  <a:cxn ang="0">
                    <a:pos x="17" y="30"/>
                  </a:cxn>
                  <a:cxn ang="0">
                    <a:pos x="40" y="13"/>
                  </a:cxn>
                  <a:cxn ang="0">
                    <a:pos x="14" y="0"/>
                  </a:cxn>
                </a:cxnLst>
                <a:rect l="0" t="0" r="r" b="b"/>
                <a:pathLst>
                  <a:path w="40" h="30">
                    <a:moveTo>
                      <a:pt x="14" y="0"/>
                    </a:moveTo>
                    <a:lnTo>
                      <a:pt x="0" y="4"/>
                    </a:lnTo>
                    <a:lnTo>
                      <a:pt x="17" y="30"/>
                    </a:lnTo>
                    <a:lnTo>
                      <a:pt x="40" y="13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0" name="Freeform 1357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1" name="Freeform 1358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2" name="Freeform 1359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3" name="Freeform 1360"/>
              <p:cNvSpPr>
                <a:spLocks/>
              </p:cNvSpPr>
              <p:nvPr/>
            </p:nvSpPr>
            <p:spPr bwMode="auto">
              <a:xfrm>
                <a:off x="5240401" y="3305926"/>
                <a:ext cx="58738" cy="125414"/>
              </a:xfrm>
              <a:custGeom>
                <a:avLst/>
                <a:gdLst/>
                <a:ahLst/>
                <a:cxnLst>
                  <a:cxn ang="0">
                    <a:pos x="23" y="79"/>
                  </a:cxn>
                  <a:cxn ang="0">
                    <a:pos x="14" y="59"/>
                  </a:cxn>
                  <a:cxn ang="0">
                    <a:pos x="0" y="39"/>
                  </a:cxn>
                  <a:cxn ang="0">
                    <a:pos x="14" y="23"/>
                  </a:cxn>
                  <a:cxn ang="0">
                    <a:pos x="17" y="3"/>
                  </a:cxn>
                  <a:cxn ang="0">
                    <a:pos x="27" y="0"/>
                  </a:cxn>
                  <a:cxn ang="0">
                    <a:pos x="37" y="13"/>
                  </a:cxn>
                  <a:cxn ang="0">
                    <a:pos x="27" y="26"/>
                  </a:cxn>
                  <a:cxn ang="0">
                    <a:pos x="27" y="59"/>
                  </a:cxn>
                  <a:cxn ang="0">
                    <a:pos x="23" y="72"/>
                  </a:cxn>
                  <a:cxn ang="0">
                    <a:pos x="23" y="79"/>
                  </a:cxn>
                </a:cxnLst>
                <a:rect l="0" t="0" r="r" b="b"/>
                <a:pathLst>
                  <a:path w="37" h="79">
                    <a:moveTo>
                      <a:pt x="23" y="79"/>
                    </a:moveTo>
                    <a:lnTo>
                      <a:pt x="14" y="59"/>
                    </a:lnTo>
                    <a:lnTo>
                      <a:pt x="0" y="39"/>
                    </a:lnTo>
                    <a:lnTo>
                      <a:pt x="14" y="23"/>
                    </a:lnTo>
                    <a:lnTo>
                      <a:pt x="17" y="3"/>
                    </a:lnTo>
                    <a:lnTo>
                      <a:pt x="27" y="0"/>
                    </a:lnTo>
                    <a:lnTo>
                      <a:pt x="37" y="13"/>
                    </a:lnTo>
                    <a:lnTo>
                      <a:pt x="27" y="26"/>
                    </a:lnTo>
                    <a:lnTo>
                      <a:pt x="27" y="59"/>
                    </a:lnTo>
                    <a:lnTo>
                      <a:pt x="23" y="72"/>
                    </a:lnTo>
                    <a:lnTo>
                      <a:pt x="23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4" name="Freeform 1361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5" name="Freeform 1362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6" name="Freeform 1363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7" name="Freeform 1364"/>
              <p:cNvSpPr>
                <a:spLocks/>
              </p:cNvSpPr>
              <p:nvPr/>
            </p:nvSpPr>
            <p:spPr bwMode="auto">
              <a:xfrm>
                <a:off x="5262626" y="3305926"/>
                <a:ext cx="109538" cy="130176"/>
              </a:xfrm>
              <a:custGeom>
                <a:avLst/>
                <a:gdLst/>
                <a:ahLst/>
                <a:cxnLst>
                  <a:cxn ang="0">
                    <a:pos x="26" y="20"/>
                  </a:cxn>
                  <a:cxn ang="0">
                    <a:pos x="6" y="13"/>
                  </a:cxn>
                  <a:cxn ang="0">
                    <a:pos x="0" y="26"/>
                  </a:cxn>
                  <a:cxn ang="0">
                    <a:pos x="0" y="59"/>
                  </a:cxn>
                  <a:cxn ang="0">
                    <a:pos x="0" y="76"/>
                  </a:cxn>
                  <a:cxn ang="0">
                    <a:pos x="0" y="79"/>
                  </a:cxn>
                  <a:cxn ang="0">
                    <a:pos x="19" y="82"/>
                  </a:cxn>
                  <a:cxn ang="0">
                    <a:pos x="26" y="69"/>
                  </a:cxn>
                  <a:cxn ang="0">
                    <a:pos x="42" y="66"/>
                  </a:cxn>
                  <a:cxn ang="0">
                    <a:pos x="49" y="56"/>
                  </a:cxn>
                  <a:cxn ang="0">
                    <a:pos x="33" y="36"/>
                  </a:cxn>
                  <a:cxn ang="0">
                    <a:pos x="49" y="33"/>
                  </a:cxn>
                  <a:cxn ang="0">
                    <a:pos x="69" y="23"/>
                  </a:cxn>
                  <a:cxn ang="0">
                    <a:pos x="59" y="0"/>
                  </a:cxn>
                  <a:cxn ang="0">
                    <a:pos x="42" y="13"/>
                  </a:cxn>
                  <a:cxn ang="0">
                    <a:pos x="26" y="20"/>
                  </a:cxn>
                </a:cxnLst>
                <a:rect l="0" t="0" r="r" b="b"/>
                <a:pathLst>
                  <a:path w="69" h="82">
                    <a:moveTo>
                      <a:pt x="26" y="20"/>
                    </a:moveTo>
                    <a:lnTo>
                      <a:pt x="6" y="13"/>
                    </a:lnTo>
                    <a:lnTo>
                      <a:pt x="0" y="26"/>
                    </a:lnTo>
                    <a:lnTo>
                      <a:pt x="0" y="59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19" y="82"/>
                    </a:lnTo>
                    <a:lnTo>
                      <a:pt x="26" y="69"/>
                    </a:lnTo>
                    <a:lnTo>
                      <a:pt x="42" y="66"/>
                    </a:lnTo>
                    <a:lnTo>
                      <a:pt x="49" y="56"/>
                    </a:lnTo>
                    <a:lnTo>
                      <a:pt x="33" y="36"/>
                    </a:lnTo>
                    <a:lnTo>
                      <a:pt x="49" y="33"/>
                    </a:lnTo>
                    <a:lnTo>
                      <a:pt x="69" y="23"/>
                    </a:lnTo>
                    <a:lnTo>
                      <a:pt x="59" y="0"/>
                    </a:lnTo>
                    <a:lnTo>
                      <a:pt x="42" y="13"/>
                    </a:lnTo>
                    <a:lnTo>
                      <a:pt x="2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8" name="Freeform 1365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39" name="Freeform 1366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0" name="Freeform 1367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1" name="Freeform 1368"/>
              <p:cNvSpPr>
                <a:spLocks/>
              </p:cNvSpPr>
              <p:nvPr/>
            </p:nvSpPr>
            <p:spPr bwMode="auto">
              <a:xfrm>
                <a:off x="5727769" y="3567868"/>
                <a:ext cx="203203" cy="261941"/>
              </a:xfrm>
              <a:custGeom>
                <a:avLst/>
                <a:gdLst/>
                <a:ahLst/>
                <a:cxnLst>
                  <a:cxn ang="0">
                    <a:pos x="128" y="49"/>
                  </a:cxn>
                  <a:cxn ang="0">
                    <a:pos x="112" y="36"/>
                  </a:cxn>
                  <a:cxn ang="0">
                    <a:pos x="102" y="23"/>
                  </a:cxn>
                  <a:cxn ang="0">
                    <a:pos x="89" y="20"/>
                  </a:cxn>
                  <a:cxn ang="0">
                    <a:pos x="72" y="13"/>
                  </a:cxn>
                  <a:cxn ang="0">
                    <a:pos x="62" y="0"/>
                  </a:cxn>
                  <a:cxn ang="0">
                    <a:pos x="59" y="3"/>
                  </a:cxn>
                  <a:cxn ang="0">
                    <a:pos x="56" y="0"/>
                  </a:cxn>
                  <a:cxn ang="0">
                    <a:pos x="59" y="16"/>
                  </a:cxn>
                  <a:cxn ang="0">
                    <a:pos x="53" y="20"/>
                  </a:cxn>
                  <a:cxn ang="0">
                    <a:pos x="49" y="43"/>
                  </a:cxn>
                  <a:cxn ang="0">
                    <a:pos x="56" y="56"/>
                  </a:cxn>
                  <a:cxn ang="0">
                    <a:pos x="53" y="76"/>
                  </a:cxn>
                  <a:cxn ang="0">
                    <a:pos x="49" y="99"/>
                  </a:cxn>
                  <a:cxn ang="0">
                    <a:pos x="39" y="102"/>
                  </a:cxn>
                  <a:cxn ang="0">
                    <a:pos x="30" y="102"/>
                  </a:cxn>
                  <a:cxn ang="0">
                    <a:pos x="16" y="112"/>
                  </a:cxn>
                  <a:cxn ang="0">
                    <a:pos x="3" y="115"/>
                  </a:cxn>
                  <a:cxn ang="0">
                    <a:pos x="0" y="122"/>
                  </a:cxn>
                  <a:cxn ang="0">
                    <a:pos x="16" y="142"/>
                  </a:cxn>
                  <a:cxn ang="0">
                    <a:pos x="26" y="165"/>
                  </a:cxn>
                  <a:cxn ang="0">
                    <a:pos x="39" y="158"/>
                  </a:cxn>
                  <a:cxn ang="0">
                    <a:pos x="49" y="155"/>
                  </a:cxn>
                  <a:cxn ang="0">
                    <a:pos x="59" y="148"/>
                  </a:cxn>
                  <a:cxn ang="0">
                    <a:pos x="62" y="135"/>
                  </a:cxn>
                  <a:cxn ang="0">
                    <a:pos x="79" y="132"/>
                  </a:cxn>
                  <a:cxn ang="0">
                    <a:pos x="86" y="119"/>
                  </a:cxn>
                  <a:cxn ang="0">
                    <a:pos x="99" y="112"/>
                  </a:cxn>
                  <a:cxn ang="0">
                    <a:pos x="99" y="89"/>
                  </a:cxn>
                  <a:cxn ang="0">
                    <a:pos x="102" y="86"/>
                  </a:cxn>
                  <a:cxn ang="0">
                    <a:pos x="109" y="86"/>
                  </a:cxn>
                  <a:cxn ang="0">
                    <a:pos x="118" y="69"/>
                  </a:cxn>
                  <a:cxn ang="0">
                    <a:pos x="128" y="49"/>
                  </a:cxn>
                </a:cxnLst>
                <a:rect l="0" t="0" r="r" b="b"/>
                <a:pathLst>
                  <a:path w="128" h="165">
                    <a:moveTo>
                      <a:pt x="128" y="49"/>
                    </a:moveTo>
                    <a:lnTo>
                      <a:pt x="112" y="36"/>
                    </a:lnTo>
                    <a:lnTo>
                      <a:pt x="102" y="23"/>
                    </a:lnTo>
                    <a:lnTo>
                      <a:pt x="89" y="20"/>
                    </a:lnTo>
                    <a:lnTo>
                      <a:pt x="72" y="13"/>
                    </a:lnTo>
                    <a:lnTo>
                      <a:pt x="62" y="0"/>
                    </a:lnTo>
                    <a:lnTo>
                      <a:pt x="59" y="3"/>
                    </a:lnTo>
                    <a:lnTo>
                      <a:pt x="56" y="0"/>
                    </a:lnTo>
                    <a:lnTo>
                      <a:pt x="59" y="16"/>
                    </a:lnTo>
                    <a:lnTo>
                      <a:pt x="53" y="20"/>
                    </a:lnTo>
                    <a:lnTo>
                      <a:pt x="49" y="43"/>
                    </a:lnTo>
                    <a:lnTo>
                      <a:pt x="56" y="56"/>
                    </a:lnTo>
                    <a:lnTo>
                      <a:pt x="53" y="76"/>
                    </a:lnTo>
                    <a:lnTo>
                      <a:pt x="49" y="99"/>
                    </a:lnTo>
                    <a:lnTo>
                      <a:pt x="39" y="102"/>
                    </a:lnTo>
                    <a:lnTo>
                      <a:pt x="30" y="102"/>
                    </a:lnTo>
                    <a:lnTo>
                      <a:pt x="16" y="112"/>
                    </a:lnTo>
                    <a:lnTo>
                      <a:pt x="3" y="115"/>
                    </a:lnTo>
                    <a:lnTo>
                      <a:pt x="0" y="122"/>
                    </a:lnTo>
                    <a:lnTo>
                      <a:pt x="16" y="142"/>
                    </a:lnTo>
                    <a:lnTo>
                      <a:pt x="26" y="165"/>
                    </a:lnTo>
                    <a:lnTo>
                      <a:pt x="39" y="158"/>
                    </a:lnTo>
                    <a:lnTo>
                      <a:pt x="49" y="155"/>
                    </a:lnTo>
                    <a:lnTo>
                      <a:pt x="59" y="148"/>
                    </a:lnTo>
                    <a:lnTo>
                      <a:pt x="62" y="135"/>
                    </a:lnTo>
                    <a:lnTo>
                      <a:pt x="79" y="132"/>
                    </a:lnTo>
                    <a:lnTo>
                      <a:pt x="86" y="119"/>
                    </a:lnTo>
                    <a:lnTo>
                      <a:pt x="99" y="112"/>
                    </a:lnTo>
                    <a:lnTo>
                      <a:pt x="99" y="89"/>
                    </a:lnTo>
                    <a:lnTo>
                      <a:pt x="102" y="86"/>
                    </a:lnTo>
                    <a:lnTo>
                      <a:pt x="109" y="86"/>
                    </a:lnTo>
                    <a:lnTo>
                      <a:pt x="118" y="69"/>
                    </a:lnTo>
                    <a:lnTo>
                      <a:pt x="128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2" name="Freeform 1369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3" name="Freeform 1370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4" name="Freeform 1371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5" name="Freeform 1372"/>
              <p:cNvSpPr>
                <a:spLocks/>
              </p:cNvSpPr>
              <p:nvPr/>
            </p:nvSpPr>
            <p:spPr bwMode="auto">
              <a:xfrm>
                <a:off x="5262626" y="3342439"/>
                <a:ext cx="549281" cy="519120"/>
              </a:xfrm>
              <a:custGeom>
                <a:avLst/>
                <a:gdLst/>
                <a:ahLst/>
                <a:cxnLst>
                  <a:cxn ang="0">
                    <a:pos x="25" y="68"/>
                  </a:cxn>
                  <a:cxn ang="0">
                    <a:pos x="23" y="60"/>
                  </a:cxn>
                  <a:cxn ang="0">
                    <a:pos x="22" y="55"/>
                  </a:cxn>
                  <a:cxn ang="0">
                    <a:pos x="20" y="50"/>
                  </a:cxn>
                  <a:cxn ang="0">
                    <a:pos x="17" y="48"/>
                  </a:cxn>
                  <a:cxn ang="0">
                    <a:pos x="14" y="44"/>
                  </a:cxn>
                  <a:cxn ang="0">
                    <a:pos x="10" y="39"/>
                  </a:cxn>
                  <a:cxn ang="0">
                    <a:pos x="6" y="31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17"/>
                  </a:cxn>
                  <a:cxn ang="0">
                    <a:pos x="6" y="18"/>
                  </a:cxn>
                  <a:cxn ang="0">
                    <a:pos x="8" y="14"/>
                  </a:cxn>
                  <a:cxn ang="0">
                    <a:pos x="12" y="13"/>
                  </a:cxn>
                  <a:cxn ang="0">
                    <a:pos x="14" y="10"/>
                  </a:cxn>
                  <a:cxn ang="0">
                    <a:pos x="9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8" y="4"/>
                  </a:cxn>
                  <a:cxn ang="0">
                    <a:pos x="34" y="7"/>
                  </a:cxn>
                  <a:cxn ang="0">
                    <a:pos x="38" y="8"/>
                  </a:cxn>
                  <a:cxn ang="0">
                    <a:pos x="39" y="11"/>
                  </a:cxn>
                  <a:cxn ang="0">
                    <a:pos x="42" y="11"/>
                  </a:cxn>
                  <a:cxn ang="0">
                    <a:pos x="42" y="16"/>
                  </a:cxn>
                  <a:cxn ang="0">
                    <a:pos x="48" y="18"/>
                  </a:cxn>
                  <a:cxn ang="0">
                    <a:pos x="52" y="21"/>
                  </a:cxn>
                  <a:cxn ang="0">
                    <a:pos x="57" y="19"/>
                  </a:cxn>
                  <a:cxn ang="0">
                    <a:pos x="61" y="19"/>
                  </a:cxn>
                  <a:cxn ang="0">
                    <a:pos x="63" y="21"/>
                  </a:cxn>
                  <a:cxn ang="0">
                    <a:pos x="66" y="22"/>
                  </a:cxn>
                  <a:cxn ang="0">
                    <a:pos x="69" y="27"/>
                  </a:cxn>
                  <a:cxn ang="0">
                    <a:pos x="71" y="29"/>
                  </a:cxn>
                  <a:cxn ang="0">
                    <a:pos x="76" y="33"/>
                  </a:cxn>
                  <a:cxn ang="0">
                    <a:pos x="77" y="36"/>
                  </a:cxn>
                  <a:cxn ang="0">
                    <a:pos x="79" y="40"/>
                  </a:cxn>
                  <a:cxn ang="0">
                    <a:pos x="81" y="44"/>
                  </a:cxn>
                  <a:cxn ang="0">
                    <a:pos x="82" y="46"/>
                  </a:cxn>
                  <a:cxn ang="0">
                    <a:pos x="82" y="48"/>
                  </a:cxn>
                  <a:cxn ang="0">
                    <a:pos x="85" y="50"/>
                  </a:cxn>
                  <a:cxn ang="0">
                    <a:pos x="87" y="55"/>
                  </a:cxn>
                  <a:cxn ang="0">
                    <a:pos x="95" y="57"/>
                  </a:cxn>
                  <a:cxn ang="0">
                    <a:pos x="103" y="58"/>
                  </a:cxn>
                  <a:cxn ang="0">
                    <a:pos x="103" y="57"/>
                  </a:cxn>
                  <a:cxn ang="0">
                    <a:pos x="105" y="61"/>
                  </a:cxn>
                  <a:cxn ang="0">
                    <a:pos x="105" y="67"/>
                  </a:cxn>
                  <a:cxn ang="0">
                    <a:pos x="103" y="73"/>
                  </a:cxn>
                  <a:cxn ang="0">
                    <a:pos x="81" y="81"/>
                  </a:cxn>
                  <a:cxn ang="0">
                    <a:pos x="61" y="99"/>
                  </a:cxn>
                  <a:cxn ang="0">
                    <a:pos x="61" y="94"/>
                  </a:cxn>
                  <a:cxn ang="0">
                    <a:pos x="57" y="91"/>
                  </a:cxn>
                  <a:cxn ang="0">
                    <a:pos x="52" y="89"/>
                  </a:cxn>
                  <a:cxn ang="0">
                    <a:pos x="47" y="88"/>
                  </a:cxn>
                  <a:cxn ang="0">
                    <a:pos x="46" y="93"/>
                  </a:cxn>
                  <a:cxn ang="0">
                    <a:pos x="45" y="94"/>
                  </a:cxn>
                  <a:cxn ang="0">
                    <a:pos x="41" y="90"/>
                  </a:cxn>
                  <a:cxn ang="0">
                    <a:pos x="39" y="85"/>
                  </a:cxn>
                  <a:cxn ang="0">
                    <a:pos x="35" y="79"/>
                  </a:cxn>
                  <a:cxn ang="0">
                    <a:pos x="31" y="72"/>
                  </a:cxn>
                  <a:cxn ang="0">
                    <a:pos x="25" y="68"/>
                  </a:cxn>
                </a:cxnLst>
                <a:rect l="0" t="0" r="r" b="b"/>
                <a:pathLst>
                  <a:path w="105" h="99">
                    <a:moveTo>
                      <a:pt x="25" y="68"/>
                    </a:moveTo>
                    <a:cubicBezTo>
                      <a:pt x="23" y="60"/>
                      <a:pt x="23" y="60"/>
                      <a:pt x="23" y="6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63" y="21"/>
                      <a:pt x="63" y="21"/>
                      <a:pt x="63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6" y="33"/>
                      <a:pt x="76" y="33"/>
                      <a:pt x="76" y="3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95" y="57"/>
                      <a:pt x="95" y="57"/>
                      <a:pt x="95" y="57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3" y="73"/>
                      <a:pt x="103" y="73"/>
                      <a:pt x="103" y="73"/>
                    </a:cubicBezTo>
                    <a:cubicBezTo>
                      <a:pt x="96" y="76"/>
                      <a:pt x="89" y="80"/>
                      <a:pt x="81" y="81"/>
                    </a:cubicBezTo>
                    <a:cubicBezTo>
                      <a:pt x="64" y="85"/>
                      <a:pt x="74" y="89"/>
                      <a:pt x="61" y="99"/>
                    </a:cubicBezTo>
                    <a:cubicBezTo>
                      <a:pt x="61" y="94"/>
                      <a:pt x="61" y="94"/>
                      <a:pt x="61" y="94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25" y="68"/>
                      <a:pt x="25" y="68"/>
                      <a:pt x="25" y="6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6" name="Freeform 1373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7" name="Freeform 1374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8" name="Freeform 1375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49" name="Freeform 1376"/>
              <p:cNvSpPr>
                <a:spLocks/>
              </p:cNvSpPr>
              <p:nvPr/>
            </p:nvSpPr>
            <p:spPr bwMode="auto">
              <a:xfrm>
                <a:off x="5486465" y="3756782"/>
                <a:ext cx="277815" cy="193678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" y="14"/>
                  </a:cxn>
                  <a:cxn ang="0">
                    <a:pos x="0" y="21"/>
                  </a:cxn>
                  <a:cxn ang="0">
                    <a:pos x="3" y="29"/>
                  </a:cxn>
                  <a:cxn ang="0">
                    <a:pos x="5" y="37"/>
                  </a:cxn>
                  <a:cxn ang="0">
                    <a:pos x="12" y="36"/>
                  </a:cxn>
                  <a:cxn ang="0">
                    <a:pos x="18" y="33"/>
                  </a:cxn>
                  <a:cxn ang="0">
                    <a:pos x="24" y="30"/>
                  </a:cxn>
                  <a:cxn ang="0">
                    <a:pos x="28" y="29"/>
                  </a:cxn>
                  <a:cxn ang="0">
                    <a:pos x="32" y="27"/>
                  </a:cxn>
                  <a:cxn ang="0">
                    <a:pos x="36" y="25"/>
                  </a:cxn>
                  <a:cxn ang="0">
                    <a:pos x="40" y="24"/>
                  </a:cxn>
                  <a:cxn ang="0">
                    <a:pos x="44" y="21"/>
                  </a:cxn>
                  <a:cxn ang="0">
                    <a:pos x="47" y="19"/>
                  </a:cxn>
                  <a:cxn ang="0">
                    <a:pos x="48" y="17"/>
                  </a:cxn>
                  <a:cxn ang="0">
                    <a:pos x="53" y="14"/>
                  </a:cxn>
                  <a:cxn ang="0">
                    <a:pos x="50" y="7"/>
                  </a:cxn>
                  <a:cxn ang="0">
                    <a:pos x="45" y="1"/>
                  </a:cxn>
                  <a:cxn ang="0">
                    <a:pos x="46" y="0"/>
                  </a:cxn>
                  <a:cxn ang="0">
                    <a:pos x="18" y="19"/>
                  </a:cxn>
                  <a:cxn ang="0">
                    <a:pos x="18" y="14"/>
                  </a:cxn>
                  <a:cxn ang="0">
                    <a:pos x="14" y="11"/>
                  </a:cxn>
                  <a:cxn ang="0">
                    <a:pos x="8" y="10"/>
                  </a:cxn>
                  <a:cxn ang="0">
                    <a:pos x="3" y="8"/>
                  </a:cxn>
                  <a:cxn ang="0">
                    <a:pos x="2" y="13"/>
                  </a:cxn>
                </a:cxnLst>
                <a:rect l="0" t="0" r="r" b="b"/>
                <a:pathLst>
                  <a:path w="53" h="37">
                    <a:moveTo>
                      <a:pt x="2" y="13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4" y="21"/>
                      <a:pt x="44" y="21"/>
                      <a:pt x="44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18" y="5"/>
                      <a:pt x="33" y="5"/>
                      <a:pt x="18" y="19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13"/>
                      <a:pt x="2" y="13"/>
                      <a:pt x="2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0" name="Freeform 1377"/>
              <p:cNvSpPr>
                <a:spLocks/>
              </p:cNvSpPr>
              <p:nvPr/>
            </p:nvSpPr>
            <p:spPr bwMode="auto">
              <a:xfrm>
                <a:off x="5675380" y="3536118"/>
                <a:ext cx="1588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1" name="Line 1378"/>
              <p:cNvSpPr>
                <a:spLocks noChangeShapeType="1"/>
              </p:cNvSpPr>
              <p:nvPr/>
            </p:nvSpPr>
            <p:spPr bwMode="auto">
              <a:xfrm>
                <a:off x="5675380" y="3536118"/>
                <a:ext cx="1588" cy="4763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2" name="Freeform 1379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3" name="Freeform 1380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4" name="Freeform 1381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5" name="Freeform 1382"/>
              <p:cNvSpPr>
                <a:spLocks/>
              </p:cNvSpPr>
              <p:nvPr/>
            </p:nvSpPr>
            <p:spPr bwMode="auto">
              <a:xfrm>
                <a:off x="4706994" y="3613906"/>
                <a:ext cx="293690" cy="498482"/>
              </a:xfrm>
              <a:custGeom>
                <a:avLst/>
                <a:gdLst/>
                <a:ahLst/>
                <a:cxnLst>
                  <a:cxn ang="0">
                    <a:pos x="55" y="23"/>
                  </a:cxn>
                  <a:cxn ang="0">
                    <a:pos x="50" y="21"/>
                  </a:cxn>
                  <a:cxn ang="0">
                    <a:pos x="44" y="17"/>
                  </a:cxn>
                  <a:cxn ang="0">
                    <a:pos x="40" y="14"/>
                  </a:cxn>
                  <a:cxn ang="0">
                    <a:pos x="35" y="12"/>
                  </a:cxn>
                  <a:cxn ang="0">
                    <a:pos x="30" y="8"/>
                  </a:cxn>
                  <a:cxn ang="0">
                    <a:pos x="25" y="5"/>
                  </a:cxn>
                  <a:cxn ang="0">
                    <a:pos x="20" y="3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10" y="8"/>
                  </a:cxn>
                  <a:cxn ang="0">
                    <a:pos x="11" y="12"/>
                  </a:cxn>
                  <a:cxn ang="0">
                    <a:pos x="16" y="18"/>
                  </a:cxn>
                  <a:cxn ang="0">
                    <a:pos x="13" y="21"/>
                  </a:cxn>
                  <a:cxn ang="0">
                    <a:pos x="13" y="38"/>
                  </a:cxn>
                  <a:cxn ang="0">
                    <a:pos x="10" y="41"/>
                  </a:cxn>
                  <a:cxn ang="0">
                    <a:pos x="6" y="61"/>
                  </a:cxn>
                  <a:cxn ang="0">
                    <a:pos x="8" y="61"/>
                  </a:cxn>
                  <a:cxn ang="0">
                    <a:pos x="10" y="67"/>
                  </a:cxn>
                  <a:cxn ang="0">
                    <a:pos x="11" y="74"/>
                  </a:cxn>
                  <a:cxn ang="0">
                    <a:pos x="15" y="80"/>
                  </a:cxn>
                  <a:cxn ang="0">
                    <a:pos x="9" y="80"/>
                  </a:cxn>
                  <a:cxn ang="0">
                    <a:pos x="6" y="82"/>
                  </a:cxn>
                  <a:cxn ang="0">
                    <a:pos x="10" y="87"/>
                  </a:cxn>
                  <a:cxn ang="0">
                    <a:pos x="13" y="95"/>
                  </a:cxn>
                  <a:cxn ang="0">
                    <a:pos x="19" y="93"/>
                  </a:cxn>
                  <a:cxn ang="0">
                    <a:pos x="20" y="94"/>
                  </a:cxn>
                  <a:cxn ang="0">
                    <a:pos x="22" y="93"/>
                  </a:cxn>
                  <a:cxn ang="0">
                    <a:pos x="30" y="92"/>
                  </a:cxn>
                  <a:cxn ang="0">
                    <a:pos x="32" y="89"/>
                  </a:cxn>
                  <a:cxn ang="0">
                    <a:pos x="30" y="86"/>
                  </a:cxn>
                  <a:cxn ang="0">
                    <a:pos x="38" y="85"/>
                  </a:cxn>
                  <a:cxn ang="0">
                    <a:pos x="42" y="81"/>
                  </a:cxn>
                  <a:cxn ang="0">
                    <a:pos x="45" y="75"/>
                  </a:cxn>
                  <a:cxn ang="0">
                    <a:pos x="50" y="74"/>
                  </a:cxn>
                  <a:cxn ang="0">
                    <a:pos x="50" y="71"/>
                  </a:cxn>
                  <a:cxn ang="0">
                    <a:pos x="50" y="69"/>
                  </a:cxn>
                  <a:cxn ang="0">
                    <a:pos x="48" y="64"/>
                  </a:cxn>
                  <a:cxn ang="0">
                    <a:pos x="45" y="63"/>
                  </a:cxn>
                  <a:cxn ang="0">
                    <a:pos x="48" y="58"/>
                  </a:cxn>
                  <a:cxn ang="0">
                    <a:pos x="48" y="56"/>
                  </a:cxn>
                  <a:cxn ang="0">
                    <a:pos x="48" y="54"/>
                  </a:cxn>
                  <a:cxn ang="0">
                    <a:pos x="48" y="52"/>
                  </a:cxn>
                  <a:cxn ang="0">
                    <a:pos x="50" y="47"/>
                  </a:cxn>
                  <a:cxn ang="0">
                    <a:pos x="53" y="46"/>
                  </a:cxn>
                  <a:cxn ang="0">
                    <a:pos x="56" y="46"/>
                  </a:cxn>
                  <a:cxn ang="0">
                    <a:pos x="55" y="41"/>
                  </a:cxn>
                  <a:cxn ang="0">
                    <a:pos x="55" y="23"/>
                  </a:cxn>
                </a:cxnLst>
                <a:rect l="0" t="0" r="r" b="b"/>
                <a:pathLst>
                  <a:path w="56" h="95">
                    <a:moveTo>
                      <a:pt x="55" y="23"/>
                    </a:moveTo>
                    <a:cubicBezTo>
                      <a:pt x="50" y="21"/>
                      <a:pt x="50" y="21"/>
                      <a:pt x="50" y="21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8" y="50"/>
                      <a:pt x="0" y="52"/>
                      <a:pt x="6" y="61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32" y="89"/>
                      <a:pt x="32" y="89"/>
                      <a:pt x="32" y="89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23"/>
                      <a:pt x="55" y="23"/>
                      <a:pt x="55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6" name="Freeform 1383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7" name="Freeform 1384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8" name="Freeform 1385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59" name="Freeform 1386"/>
              <p:cNvSpPr>
                <a:spLocks/>
              </p:cNvSpPr>
              <p:nvPr/>
            </p:nvSpPr>
            <p:spPr bwMode="auto">
              <a:xfrm>
                <a:off x="5470590" y="3959985"/>
                <a:ext cx="6350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7" y="33"/>
                  </a:cxn>
                  <a:cxn ang="0">
                    <a:pos x="40" y="2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0" y="33"/>
                  </a:cxn>
                </a:cxnLst>
                <a:rect l="0" t="0" r="r" b="b"/>
                <a:pathLst>
                  <a:path w="40" h="33">
                    <a:moveTo>
                      <a:pt x="0" y="33"/>
                    </a:moveTo>
                    <a:lnTo>
                      <a:pt x="37" y="33"/>
                    </a:lnTo>
                    <a:lnTo>
                      <a:pt x="40" y="2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0" name="Freeform 1387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1" name="Freeform 1388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2" name="Freeform 1389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3" name="Freeform 1390"/>
              <p:cNvSpPr>
                <a:spLocks/>
              </p:cNvSpPr>
              <p:nvPr/>
            </p:nvSpPr>
            <p:spPr bwMode="auto">
              <a:xfrm>
                <a:off x="5324539" y="3782183"/>
                <a:ext cx="173040" cy="17780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" y="23"/>
                  </a:cxn>
                  <a:cxn ang="0">
                    <a:pos x="1" y="14"/>
                  </a:cxn>
                  <a:cxn ang="0">
                    <a:pos x="3" y="7"/>
                  </a:cxn>
                  <a:cxn ang="0">
                    <a:pos x="6" y="4"/>
                  </a:cxn>
                  <a:cxn ang="0">
                    <a:pos x="9" y="1"/>
                  </a:cxn>
                  <a:cxn ang="0">
                    <a:pos x="9" y="0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5" y="14"/>
                  </a:cxn>
                  <a:cxn ang="0">
                    <a:pos x="16" y="18"/>
                  </a:cxn>
                  <a:cxn ang="0">
                    <a:pos x="17" y="16"/>
                  </a:cxn>
                  <a:cxn ang="0">
                    <a:pos x="18" y="17"/>
                  </a:cxn>
                  <a:cxn ang="0">
                    <a:pos x="22" y="20"/>
                  </a:cxn>
                  <a:cxn ang="0">
                    <a:pos x="33" y="31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29" y="34"/>
                  </a:cxn>
                  <a:cxn ang="0">
                    <a:pos x="29" y="34"/>
                  </a:cxn>
                  <a:cxn ang="0">
                    <a:pos x="11" y="24"/>
                  </a:cxn>
                  <a:cxn ang="0">
                    <a:pos x="7" y="21"/>
                  </a:cxn>
                  <a:cxn ang="0">
                    <a:pos x="7" y="27"/>
                  </a:cxn>
                  <a:cxn ang="0">
                    <a:pos x="5" y="24"/>
                  </a:cxn>
                  <a:cxn ang="0">
                    <a:pos x="2" y="27"/>
                  </a:cxn>
                  <a:cxn ang="0">
                    <a:pos x="0" y="27"/>
                  </a:cxn>
                </a:cxnLst>
                <a:rect l="0" t="0" r="r" b="b"/>
                <a:pathLst>
                  <a:path w="33" h="34">
                    <a:moveTo>
                      <a:pt x="0" y="27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0" y="30"/>
                      <a:pt x="21" y="22"/>
                      <a:pt x="11" y="2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4" name="Freeform 1391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5" name="Freeform 1392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6" name="Freeform 1393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7" name="Freeform 1394"/>
              <p:cNvSpPr>
                <a:spLocks/>
              </p:cNvSpPr>
              <p:nvPr/>
            </p:nvSpPr>
            <p:spPr bwMode="auto">
              <a:xfrm>
                <a:off x="5240401" y="3891722"/>
                <a:ext cx="403230" cy="346081"/>
              </a:xfrm>
              <a:custGeom>
                <a:avLst/>
                <a:gdLst/>
                <a:ahLst/>
                <a:cxnLst>
                  <a:cxn ang="0">
                    <a:pos x="86" y="215"/>
                  </a:cxn>
                  <a:cxn ang="0">
                    <a:pos x="66" y="202"/>
                  </a:cxn>
                  <a:cxn ang="0">
                    <a:pos x="50" y="195"/>
                  </a:cxn>
                  <a:cxn ang="0">
                    <a:pos x="47" y="182"/>
                  </a:cxn>
                  <a:cxn ang="0">
                    <a:pos x="37" y="175"/>
                  </a:cxn>
                  <a:cxn ang="0">
                    <a:pos x="30" y="162"/>
                  </a:cxn>
                  <a:cxn ang="0">
                    <a:pos x="27" y="152"/>
                  </a:cxn>
                  <a:cxn ang="0">
                    <a:pos x="7" y="132"/>
                  </a:cxn>
                  <a:cxn ang="0">
                    <a:pos x="0" y="129"/>
                  </a:cxn>
                  <a:cxn ang="0">
                    <a:pos x="7" y="123"/>
                  </a:cxn>
                  <a:cxn ang="0">
                    <a:pos x="20" y="119"/>
                  </a:cxn>
                  <a:cxn ang="0">
                    <a:pos x="23" y="96"/>
                  </a:cxn>
                  <a:cxn ang="0">
                    <a:pos x="27" y="73"/>
                  </a:cxn>
                  <a:cxn ang="0">
                    <a:pos x="33" y="73"/>
                  </a:cxn>
                  <a:cxn ang="0">
                    <a:pos x="37" y="53"/>
                  </a:cxn>
                  <a:cxn ang="0">
                    <a:pos x="53" y="20"/>
                  </a:cxn>
                  <a:cxn ang="0">
                    <a:pos x="60" y="20"/>
                  </a:cxn>
                  <a:cxn ang="0">
                    <a:pos x="70" y="10"/>
                  </a:cxn>
                  <a:cxn ang="0">
                    <a:pos x="79" y="20"/>
                  </a:cxn>
                  <a:cxn ang="0">
                    <a:pos x="79" y="0"/>
                  </a:cxn>
                  <a:cxn ang="0">
                    <a:pos x="89" y="10"/>
                  </a:cxn>
                  <a:cxn ang="0">
                    <a:pos x="99" y="7"/>
                  </a:cxn>
                  <a:cxn ang="0">
                    <a:pos x="106" y="10"/>
                  </a:cxn>
                  <a:cxn ang="0">
                    <a:pos x="119" y="14"/>
                  </a:cxn>
                  <a:cxn ang="0">
                    <a:pos x="126" y="24"/>
                  </a:cxn>
                  <a:cxn ang="0">
                    <a:pos x="135" y="33"/>
                  </a:cxn>
                  <a:cxn ang="0">
                    <a:pos x="149" y="43"/>
                  </a:cxn>
                  <a:cxn ang="0">
                    <a:pos x="149" y="43"/>
                  </a:cxn>
                  <a:cxn ang="0">
                    <a:pos x="159" y="43"/>
                  </a:cxn>
                  <a:cxn ang="0">
                    <a:pos x="145" y="73"/>
                  </a:cxn>
                  <a:cxn ang="0">
                    <a:pos x="168" y="73"/>
                  </a:cxn>
                  <a:cxn ang="0">
                    <a:pos x="165" y="83"/>
                  </a:cxn>
                  <a:cxn ang="0">
                    <a:pos x="175" y="96"/>
                  </a:cxn>
                  <a:cxn ang="0">
                    <a:pos x="185" y="109"/>
                  </a:cxn>
                  <a:cxn ang="0">
                    <a:pos x="198" y="116"/>
                  </a:cxn>
                  <a:cxn ang="0">
                    <a:pos x="208" y="119"/>
                  </a:cxn>
                  <a:cxn ang="0">
                    <a:pos x="224" y="123"/>
                  </a:cxn>
                  <a:cxn ang="0">
                    <a:pos x="234" y="129"/>
                  </a:cxn>
                  <a:cxn ang="0">
                    <a:pos x="254" y="129"/>
                  </a:cxn>
                  <a:cxn ang="0">
                    <a:pos x="238" y="142"/>
                  </a:cxn>
                  <a:cxn ang="0">
                    <a:pos x="228" y="159"/>
                  </a:cxn>
                  <a:cxn ang="0">
                    <a:pos x="215" y="175"/>
                  </a:cxn>
                  <a:cxn ang="0">
                    <a:pos x="201" y="192"/>
                  </a:cxn>
                  <a:cxn ang="0">
                    <a:pos x="175" y="192"/>
                  </a:cxn>
                  <a:cxn ang="0">
                    <a:pos x="162" y="202"/>
                  </a:cxn>
                  <a:cxn ang="0">
                    <a:pos x="152" y="208"/>
                  </a:cxn>
                  <a:cxn ang="0">
                    <a:pos x="135" y="205"/>
                  </a:cxn>
                  <a:cxn ang="0">
                    <a:pos x="119" y="208"/>
                  </a:cxn>
                  <a:cxn ang="0">
                    <a:pos x="112" y="218"/>
                  </a:cxn>
                  <a:cxn ang="0">
                    <a:pos x="86" y="215"/>
                  </a:cxn>
                </a:cxnLst>
                <a:rect l="0" t="0" r="r" b="b"/>
                <a:pathLst>
                  <a:path w="254" h="218">
                    <a:moveTo>
                      <a:pt x="86" y="215"/>
                    </a:moveTo>
                    <a:lnTo>
                      <a:pt x="66" y="202"/>
                    </a:lnTo>
                    <a:lnTo>
                      <a:pt x="50" y="195"/>
                    </a:lnTo>
                    <a:lnTo>
                      <a:pt x="47" y="182"/>
                    </a:lnTo>
                    <a:lnTo>
                      <a:pt x="37" y="175"/>
                    </a:lnTo>
                    <a:lnTo>
                      <a:pt x="30" y="162"/>
                    </a:lnTo>
                    <a:lnTo>
                      <a:pt x="27" y="152"/>
                    </a:lnTo>
                    <a:lnTo>
                      <a:pt x="7" y="132"/>
                    </a:lnTo>
                    <a:lnTo>
                      <a:pt x="0" y="129"/>
                    </a:lnTo>
                    <a:lnTo>
                      <a:pt x="7" y="123"/>
                    </a:lnTo>
                    <a:lnTo>
                      <a:pt x="20" y="119"/>
                    </a:lnTo>
                    <a:lnTo>
                      <a:pt x="23" y="96"/>
                    </a:lnTo>
                    <a:lnTo>
                      <a:pt x="27" y="73"/>
                    </a:lnTo>
                    <a:lnTo>
                      <a:pt x="33" y="73"/>
                    </a:lnTo>
                    <a:lnTo>
                      <a:pt x="37" y="53"/>
                    </a:lnTo>
                    <a:lnTo>
                      <a:pt x="53" y="20"/>
                    </a:lnTo>
                    <a:lnTo>
                      <a:pt x="60" y="20"/>
                    </a:lnTo>
                    <a:lnTo>
                      <a:pt x="70" y="10"/>
                    </a:lnTo>
                    <a:lnTo>
                      <a:pt x="79" y="20"/>
                    </a:lnTo>
                    <a:lnTo>
                      <a:pt x="79" y="0"/>
                    </a:lnTo>
                    <a:lnTo>
                      <a:pt x="89" y="10"/>
                    </a:lnTo>
                    <a:lnTo>
                      <a:pt x="99" y="7"/>
                    </a:lnTo>
                    <a:lnTo>
                      <a:pt x="106" y="10"/>
                    </a:lnTo>
                    <a:lnTo>
                      <a:pt x="119" y="14"/>
                    </a:lnTo>
                    <a:lnTo>
                      <a:pt x="126" y="24"/>
                    </a:lnTo>
                    <a:lnTo>
                      <a:pt x="135" y="33"/>
                    </a:lnTo>
                    <a:lnTo>
                      <a:pt x="149" y="43"/>
                    </a:lnTo>
                    <a:lnTo>
                      <a:pt x="149" y="43"/>
                    </a:lnTo>
                    <a:lnTo>
                      <a:pt x="159" y="43"/>
                    </a:lnTo>
                    <a:lnTo>
                      <a:pt x="145" y="73"/>
                    </a:lnTo>
                    <a:lnTo>
                      <a:pt x="168" y="73"/>
                    </a:lnTo>
                    <a:lnTo>
                      <a:pt x="165" y="83"/>
                    </a:lnTo>
                    <a:lnTo>
                      <a:pt x="175" y="96"/>
                    </a:lnTo>
                    <a:lnTo>
                      <a:pt x="185" y="109"/>
                    </a:lnTo>
                    <a:lnTo>
                      <a:pt x="198" y="116"/>
                    </a:lnTo>
                    <a:lnTo>
                      <a:pt x="208" y="119"/>
                    </a:lnTo>
                    <a:lnTo>
                      <a:pt x="224" y="123"/>
                    </a:lnTo>
                    <a:lnTo>
                      <a:pt x="234" y="129"/>
                    </a:lnTo>
                    <a:lnTo>
                      <a:pt x="254" y="129"/>
                    </a:lnTo>
                    <a:lnTo>
                      <a:pt x="238" y="142"/>
                    </a:lnTo>
                    <a:lnTo>
                      <a:pt x="228" y="159"/>
                    </a:lnTo>
                    <a:lnTo>
                      <a:pt x="215" y="175"/>
                    </a:lnTo>
                    <a:lnTo>
                      <a:pt x="201" y="192"/>
                    </a:lnTo>
                    <a:lnTo>
                      <a:pt x="175" y="192"/>
                    </a:lnTo>
                    <a:lnTo>
                      <a:pt x="162" y="202"/>
                    </a:lnTo>
                    <a:lnTo>
                      <a:pt x="152" y="208"/>
                    </a:lnTo>
                    <a:lnTo>
                      <a:pt x="135" y="205"/>
                    </a:lnTo>
                    <a:lnTo>
                      <a:pt x="119" y="208"/>
                    </a:lnTo>
                    <a:lnTo>
                      <a:pt x="112" y="218"/>
                    </a:lnTo>
                    <a:lnTo>
                      <a:pt x="86" y="2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8" name="Freeform 1395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69" name="Freeform 1396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0" name="Freeform 1397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1" name="Freeform 1398"/>
              <p:cNvSpPr>
                <a:spLocks/>
              </p:cNvSpPr>
              <p:nvPr/>
            </p:nvSpPr>
            <p:spPr bwMode="auto">
              <a:xfrm>
                <a:off x="5454715" y="3975862"/>
                <a:ext cx="273053" cy="430219"/>
              </a:xfrm>
              <a:custGeom>
                <a:avLst/>
                <a:gdLst/>
                <a:ahLst/>
                <a:cxnLst>
                  <a:cxn ang="0">
                    <a:pos x="50" y="11"/>
                  </a:cxn>
                  <a:cxn ang="0">
                    <a:pos x="48" y="18"/>
                  </a:cxn>
                  <a:cxn ang="0">
                    <a:pos x="45" y="24"/>
                  </a:cxn>
                  <a:cxn ang="0">
                    <a:pos x="42" y="32"/>
                  </a:cxn>
                  <a:cxn ang="0">
                    <a:pos x="38" y="39"/>
                  </a:cxn>
                  <a:cxn ang="0">
                    <a:pos x="34" y="47"/>
                  </a:cxn>
                  <a:cxn ang="0">
                    <a:pos x="31" y="49"/>
                  </a:cxn>
                  <a:cxn ang="0">
                    <a:pos x="28" y="52"/>
                  </a:cxn>
                  <a:cxn ang="0">
                    <a:pos x="3" y="82"/>
                  </a:cxn>
                  <a:cxn ang="0">
                    <a:pos x="0" y="77"/>
                  </a:cxn>
                  <a:cxn ang="0">
                    <a:pos x="0" y="71"/>
                  </a:cxn>
                  <a:cxn ang="0">
                    <a:pos x="0" y="66"/>
                  </a:cxn>
                  <a:cxn ang="0">
                    <a:pos x="0" y="54"/>
                  </a:cxn>
                  <a:cxn ang="0">
                    <a:pos x="20" y="42"/>
                  </a:cxn>
                  <a:cxn ang="0">
                    <a:pos x="24" y="38"/>
                  </a:cxn>
                  <a:cxn ang="0">
                    <a:pos x="28" y="32"/>
                  </a:cxn>
                  <a:cxn ang="0">
                    <a:pos x="31" y="28"/>
                  </a:cxn>
                  <a:cxn ang="0">
                    <a:pos x="36" y="23"/>
                  </a:cxn>
                  <a:cxn ang="0">
                    <a:pos x="30" y="23"/>
                  </a:cxn>
                  <a:cxn ang="0">
                    <a:pos x="27" y="22"/>
                  </a:cxn>
                  <a:cxn ang="0">
                    <a:pos x="22" y="20"/>
                  </a:cxn>
                  <a:cxn ang="0">
                    <a:pos x="19" y="19"/>
                  </a:cxn>
                  <a:cxn ang="0">
                    <a:pos x="14" y="18"/>
                  </a:cxn>
                  <a:cxn ang="0">
                    <a:pos x="12" y="13"/>
                  </a:cxn>
                  <a:cxn ang="0">
                    <a:pos x="8" y="9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4" y="6"/>
                  </a:cxn>
                  <a:cxn ang="0">
                    <a:pos x="17" y="9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34" y="4"/>
                  </a:cxn>
                  <a:cxn ang="0">
                    <a:pos x="40" y="3"/>
                  </a:cxn>
                  <a:cxn ang="0">
                    <a:pos x="48" y="1"/>
                  </a:cxn>
                  <a:cxn ang="0">
                    <a:pos x="50" y="0"/>
                  </a:cxn>
                  <a:cxn ang="0">
                    <a:pos x="52" y="1"/>
                  </a:cxn>
                  <a:cxn ang="0">
                    <a:pos x="51" y="9"/>
                  </a:cxn>
                  <a:cxn ang="0">
                    <a:pos x="52" y="9"/>
                  </a:cxn>
                  <a:cxn ang="0">
                    <a:pos x="50" y="11"/>
                  </a:cxn>
                </a:cxnLst>
                <a:rect l="0" t="0" r="r" b="b"/>
                <a:pathLst>
                  <a:path w="52" h="82">
                    <a:moveTo>
                      <a:pt x="50" y="11"/>
                    </a:moveTo>
                    <a:cubicBezTo>
                      <a:pt x="48" y="18"/>
                      <a:pt x="48" y="18"/>
                      <a:pt x="48" y="18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1" y="64"/>
                      <a:pt x="8" y="69"/>
                      <a:pt x="3" y="8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6" y="46"/>
                      <a:pt x="9" y="41"/>
                      <a:pt x="20" y="4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0" y="11"/>
                      <a:pt x="50" y="11"/>
                      <a:pt x="50" y="1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2" name="Freeform 1399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3" name="Freeform 1400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4" name="Freeform 1401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5" name="Freeform 1402"/>
              <p:cNvSpPr>
                <a:spLocks/>
              </p:cNvSpPr>
              <p:nvPr/>
            </p:nvSpPr>
            <p:spPr bwMode="auto">
              <a:xfrm>
                <a:off x="4059286" y="4080638"/>
                <a:ext cx="109538" cy="131764"/>
              </a:xfrm>
              <a:custGeom>
                <a:avLst/>
                <a:gdLst/>
                <a:ahLst/>
                <a:cxnLst>
                  <a:cxn ang="0">
                    <a:pos x="66" y="83"/>
                  </a:cxn>
                  <a:cxn ang="0">
                    <a:pos x="46" y="70"/>
                  </a:cxn>
                  <a:cxn ang="0">
                    <a:pos x="33" y="60"/>
                  </a:cxn>
                  <a:cxn ang="0">
                    <a:pos x="13" y="46"/>
                  </a:cxn>
                  <a:cxn ang="0">
                    <a:pos x="0" y="33"/>
                  </a:cxn>
                  <a:cxn ang="0">
                    <a:pos x="0" y="23"/>
                  </a:cxn>
                  <a:cxn ang="0">
                    <a:pos x="10" y="13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3" y="20"/>
                  </a:cxn>
                  <a:cxn ang="0">
                    <a:pos x="39" y="23"/>
                  </a:cxn>
                  <a:cxn ang="0">
                    <a:pos x="46" y="20"/>
                  </a:cxn>
                  <a:cxn ang="0">
                    <a:pos x="49" y="17"/>
                  </a:cxn>
                  <a:cxn ang="0">
                    <a:pos x="49" y="40"/>
                  </a:cxn>
                  <a:cxn ang="0">
                    <a:pos x="62" y="50"/>
                  </a:cxn>
                  <a:cxn ang="0">
                    <a:pos x="69" y="56"/>
                  </a:cxn>
                  <a:cxn ang="0">
                    <a:pos x="66" y="83"/>
                  </a:cxn>
                </a:cxnLst>
                <a:rect l="0" t="0" r="r" b="b"/>
                <a:pathLst>
                  <a:path w="69" h="83">
                    <a:moveTo>
                      <a:pt x="66" y="83"/>
                    </a:moveTo>
                    <a:lnTo>
                      <a:pt x="46" y="70"/>
                    </a:lnTo>
                    <a:lnTo>
                      <a:pt x="33" y="60"/>
                    </a:lnTo>
                    <a:lnTo>
                      <a:pt x="13" y="46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10" y="13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3" y="20"/>
                    </a:lnTo>
                    <a:lnTo>
                      <a:pt x="39" y="23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49" y="40"/>
                    </a:lnTo>
                    <a:lnTo>
                      <a:pt x="62" y="50"/>
                    </a:lnTo>
                    <a:lnTo>
                      <a:pt x="69" y="56"/>
                    </a:lnTo>
                    <a:lnTo>
                      <a:pt x="6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6" name="Freeform 1403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7" name="Freeform 1404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8" name="Freeform 1405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79" name="Freeform 1406"/>
              <p:cNvSpPr>
                <a:spLocks/>
              </p:cNvSpPr>
              <p:nvPr/>
            </p:nvSpPr>
            <p:spPr bwMode="auto">
              <a:xfrm>
                <a:off x="4597455" y="3934585"/>
                <a:ext cx="204790" cy="361956"/>
              </a:xfrm>
              <a:custGeom>
                <a:avLst/>
                <a:gdLst/>
                <a:ahLst/>
                <a:cxnLst>
                  <a:cxn ang="0">
                    <a:pos x="115" y="63"/>
                  </a:cxn>
                  <a:cxn ang="0">
                    <a:pos x="99" y="63"/>
                  </a:cxn>
                  <a:cxn ang="0">
                    <a:pos x="89" y="69"/>
                  </a:cxn>
                  <a:cxn ang="0">
                    <a:pos x="102" y="86"/>
                  </a:cxn>
                  <a:cxn ang="0">
                    <a:pos x="112" y="112"/>
                  </a:cxn>
                  <a:cxn ang="0">
                    <a:pos x="105" y="125"/>
                  </a:cxn>
                  <a:cxn ang="0">
                    <a:pos x="99" y="142"/>
                  </a:cxn>
                  <a:cxn ang="0">
                    <a:pos x="102" y="171"/>
                  </a:cxn>
                  <a:cxn ang="0">
                    <a:pos x="112" y="181"/>
                  </a:cxn>
                  <a:cxn ang="0">
                    <a:pos x="119" y="195"/>
                  </a:cxn>
                  <a:cxn ang="0">
                    <a:pos x="129" y="214"/>
                  </a:cxn>
                  <a:cxn ang="0">
                    <a:pos x="122" y="228"/>
                  </a:cxn>
                  <a:cxn ang="0">
                    <a:pos x="109" y="218"/>
                  </a:cxn>
                  <a:cxn ang="0">
                    <a:pos x="96" y="214"/>
                  </a:cxn>
                  <a:cxn ang="0">
                    <a:pos x="33" y="214"/>
                  </a:cxn>
                  <a:cxn ang="0">
                    <a:pos x="20" y="211"/>
                  </a:cxn>
                  <a:cxn ang="0">
                    <a:pos x="20" y="191"/>
                  </a:cxn>
                  <a:cxn ang="0">
                    <a:pos x="17" y="181"/>
                  </a:cxn>
                  <a:cxn ang="0">
                    <a:pos x="17" y="178"/>
                  </a:cxn>
                  <a:cxn ang="0">
                    <a:pos x="7" y="178"/>
                  </a:cxn>
                  <a:cxn ang="0">
                    <a:pos x="0" y="165"/>
                  </a:cxn>
                  <a:cxn ang="0">
                    <a:pos x="0" y="165"/>
                  </a:cxn>
                  <a:cxn ang="0">
                    <a:pos x="0" y="162"/>
                  </a:cxn>
                  <a:cxn ang="0">
                    <a:pos x="3" y="148"/>
                  </a:cxn>
                  <a:cxn ang="0">
                    <a:pos x="13" y="138"/>
                  </a:cxn>
                  <a:cxn ang="0">
                    <a:pos x="17" y="125"/>
                  </a:cxn>
                  <a:cxn ang="0">
                    <a:pos x="33" y="119"/>
                  </a:cxn>
                  <a:cxn ang="0">
                    <a:pos x="43" y="129"/>
                  </a:cxn>
                  <a:cxn ang="0">
                    <a:pos x="53" y="115"/>
                  </a:cxn>
                  <a:cxn ang="0">
                    <a:pos x="59" y="102"/>
                  </a:cxn>
                  <a:cxn ang="0">
                    <a:pos x="63" y="89"/>
                  </a:cxn>
                  <a:cxn ang="0">
                    <a:pos x="69" y="72"/>
                  </a:cxn>
                  <a:cxn ang="0">
                    <a:pos x="76" y="63"/>
                  </a:cxn>
                  <a:cxn ang="0">
                    <a:pos x="82" y="46"/>
                  </a:cxn>
                  <a:cxn ang="0">
                    <a:pos x="96" y="33"/>
                  </a:cxn>
                  <a:cxn ang="0">
                    <a:pos x="99" y="23"/>
                  </a:cxn>
                  <a:cxn ang="0">
                    <a:pos x="92" y="16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2" y="20"/>
                  </a:cxn>
                  <a:cxn ang="0">
                    <a:pos x="105" y="43"/>
                  </a:cxn>
                  <a:cxn ang="0">
                    <a:pos x="115" y="63"/>
                  </a:cxn>
                </a:cxnLst>
                <a:rect l="0" t="0" r="r" b="b"/>
                <a:pathLst>
                  <a:path w="129" h="228">
                    <a:moveTo>
                      <a:pt x="115" y="63"/>
                    </a:moveTo>
                    <a:lnTo>
                      <a:pt x="99" y="63"/>
                    </a:lnTo>
                    <a:lnTo>
                      <a:pt x="89" y="69"/>
                    </a:lnTo>
                    <a:lnTo>
                      <a:pt x="102" y="86"/>
                    </a:lnTo>
                    <a:lnTo>
                      <a:pt x="112" y="112"/>
                    </a:lnTo>
                    <a:lnTo>
                      <a:pt x="105" y="125"/>
                    </a:lnTo>
                    <a:lnTo>
                      <a:pt x="99" y="142"/>
                    </a:lnTo>
                    <a:lnTo>
                      <a:pt x="102" y="171"/>
                    </a:lnTo>
                    <a:lnTo>
                      <a:pt x="112" y="181"/>
                    </a:lnTo>
                    <a:lnTo>
                      <a:pt x="119" y="195"/>
                    </a:lnTo>
                    <a:lnTo>
                      <a:pt x="129" y="214"/>
                    </a:lnTo>
                    <a:lnTo>
                      <a:pt x="122" y="228"/>
                    </a:lnTo>
                    <a:lnTo>
                      <a:pt x="109" y="218"/>
                    </a:lnTo>
                    <a:lnTo>
                      <a:pt x="96" y="214"/>
                    </a:lnTo>
                    <a:lnTo>
                      <a:pt x="33" y="214"/>
                    </a:lnTo>
                    <a:lnTo>
                      <a:pt x="20" y="211"/>
                    </a:lnTo>
                    <a:lnTo>
                      <a:pt x="20" y="191"/>
                    </a:lnTo>
                    <a:lnTo>
                      <a:pt x="17" y="181"/>
                    </a:lnTo>
                    <a:lnTo>
                      <a:pt x="17" y="178"/>
                    </a:lnTo>
                    <a:lnTo>
                      <a:pt x="7" y="178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0" y="162"/>
                    </a:lnTo>
                    <a:lnTo>
                      <a:pt x="3" y="148"/>
                    </a:lnTo>
                    <a:lnTo>
                      <a:pt x="13" y="138"/>
                    </a:lnTo>
                    <a:lnTo>
                      <a:pt x="17" y="125"/>
                    </a:lnTo>
                    <a:lnTo>
                      <a:pt x="33" y="119"/>
                    </a:lnTo>
                    <a:lnTo>
                      <a:pt x="43" y="129"/>
                    </a:lnTo>
                    <a:lnTo>
                      <a:pt x="53" y="115"/>
                    </a:lnTo>
                    <a:lnTo>
                      <a:pt x="59" y="102"/>
                    </a:lnTo>
                    <a:lnTo>
                      <a:pt x="63" y="89"/>
                    </a:lnTo>
                    <a:lnTo>
                      <a:pt x="69" y="72"/>
                    </a:lnTo>
                    <a:lnTo>
                      <a:pt x="76" y="63"/>
                    </a:lnTo>
                    <a:lnTo>
                      <a:pt x="82" y="46"/>
                    </a:lnTo>
                    <a:lnTo>
                      <a:pt x="96" y="33"/>
                    </a:lnTo>
                    <a:lnTo>
                      <a:pt x="99" y="23"/>
                    </a:lnTo>
                    <a:lnTo>
                      <a:pt x="92" y="16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20"/>
                    </a:lnTo>
                    <a:lnTo>
                      <a:pt x="105" y="43"/>
                    </a:lnTo>
                    <a:lnTo>
                      <a:pt x="115" y="6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0" name="Freeform 1407"/>
              <p:cNvSpPr>
                <a:spLocks/>
              </p:cNvSpPr>
              <p:nvPr/>
            </p:nvSpPr>
            <p:spPr bwMode="auto">
              <a:xfrm>
                <a:off x="4749857" y="4007611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1" name="Freeform 1408"/>
              <p:cNvSpPr>
                <a:spLocks/>
              </p:cNvSpPr>
              <p:nvPr/>
            </p:nvSpPr>
            <p:spPr bwMode="auto">
              <a:xfrm>
                <a:off x="4749857" y="4007611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2" name="Freeform 1409"/>
              <p:cNvSpPr>
                <a:spLocks/>
              </p:cNvSpPr>
              <p:nvPr/>
            </p:nvSpPr>
            <p:spPr bwMode="auto">
              <a:xfrm>
                <a:off x="4749857" y="4007611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3" name="Freeform 1410"/>
              <p:cNvSpPr>
                <a:spLocks/>
              </p:cNvSpPr>
              <p:nvPr/>
            </p:nvSpPr>
            <p:spPr bwMode="auto">
              <a:xfrm>
                <a:off x="4749857" y="4007611"/>
                <a:ext cx="349255" cy="273055"/>
              </a:xfrm>
              <a:custGeom>
                <a:avLst/>
                <a:gdLst/>
                <a:ahLst/>
                <a:cxnLst>
                  <a:cxn ang="0">
                    <a:pos x="75" y="46"/>
                  </a:cxn>
                  <a:cxn ang="0">
                    <a:pos x="72" y="40"/>
                  </a:cxn>
                  <a:cxn ang="0">
                    <a:pos x="95" y="36"/>
                  </a:cxn>
                  <a:cxn ang="0">
                    <a:pos x="112" y="23"/>
                  </a:cxn>
                  <a:cxn ang="0">
                    <a:pos x="122" y="3"/>
                  </a:cxn>
                  <a:cxn ang="0">
                    <a:pos x="141" y="0"/>
                  </a:cxn>
                  <a:cxn ang="0">
                    <a:pos x="145" y="17"/>
                  </a:cxn>
                  <a:cxn ang="0">
                    <a:pos x="154" y="26"/>
                  </a:cxn>
                  <a:cxn ang="0">
                    <a:pos x="151" y="43"/>
                  </a:cxn>
                  <a:cxn ang="0">
                    <a:pos x="164" y="46"/>
                  </a:cxn>
                  <a:cxn ang="0">
                    <a:pos x="164" y="56"/>
                  </a:cxn>
                  <a:cxn ang="0">
                    <a:pos x="184" y="63"/>
                  </a:cxn>
                  <a:cxn ang="0">
                    <a:pos x="187" y="73"/>
                  </a:cxn>
                  <a:cxn ang="0">
                    <a:pos x="201" y="89"/>
                  </a:cxn>
                  <a:cxn ang="0">
                    <a:pos x="211" y="99"/>
                  </a:cxn>
                  <a:cxn ang="0">
                    <a:pos x="217" y="109"/>
                  </a:cxn>
                  <a:cxn ang="0">
                    <a:pos x="220" y="116"/>
                  </a:cxn>
                  <a:cxn ang="0">
                    <a:pos x="211" y="112"/>
                  </a:cxn>
                  <a:cxn ang="0">
                    <a:pos x="184" y="112"/>
                  </a:cxn>
                  <a:cxn ang="0">
                    <a:pos x="178" y="116"/>
                  </a:cxn>
                  <a:cxn ang="0">
                    <a:pos x="164" y="116"/>
                  </a:cxn>
                  <a:cxn ang="0">
                    <a:pos x="145" y="125"/>
                  </a:cxn>
                  <a:cxn ang="0">
                    <a:pos x="141" y="125"/>
                  </a:cxn>
                  <a:cxn ang="0">
                    <a:pos x="131" y="135"/>
                  </a:cxn>
                  <a:cxn ang="0">
                    <a:pos x="118" y="129"/>
                  </a:cxn>
                  <a:cxn ang="0">
                    <a:pos x="98" y="125"/>
                  </a:cxn>
                  <a:cxn ang="0">
                    <a:pos x="82" y="112"/>
                  </a:cxn>
                  <a:cxn ang="0">
                    <a:pos x="69" y="129"/>
                  </a:cxn>
                  <a:cxn ang="0">
                    <a:pos x="69" y="145"/>
                  </a:cxn>
                  <a:cxn ang="0">
                    <a:pos x="46" y="145"/>
                  </a:cxn>
                  <a:cxn ang="0">
                    <a:pos x="33" y="149"/>
                  </a:cxn>
                  <a:cxn ang="0">
                    <a:pos x="29" y="172"/>
                  </a:cxn>
                  <a:cxn ang="0">
                    <a:pos x="23" y="152"/>
                  </a:cxn>
                  <a:cxn ang="0">
                    <a:pos x="13" y="139"/>
                  </a:cxn>
                  <a:cxn ang="0">
                    <a:pos x="3" y="129"/>
                  </a:cxn>
                  <a:cxn ang="0">
                    <a:pos x="0" y="99"/>
                  </a:cxn>
                  <a:cxn ang="0">
                    <a:pos x="6" y="83"/>
                  </a:cxn>
                  <a:cxn ang="0">
                    <a:pos x="13" y="69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46" y="63"/>
                  </a:cxn>
                  <a:cxn ang="0">
                    <a:pos x="69" y="59"/>
                  </a:cxn>
                  <a:cxn ang="0">
                    <a:pos x="75" y="46"/>
                  </a:cxn>
                </a:cxnLst>
                <a:rect l="0" t="0" r="r" b="b"/>
                <a:pathLst>
                  <a:path w="220" h="172">
                    <a:moveTo>
                      <a:pt x="75" y="46"/>
                    </a:moveTo>
                    <a:lnTo>
                      <a:pt x="72" y="40"/>
                    </a:lnTo>
                    <a:lnTo>
                      <a:pt x="95" y="36"/>
                    </a:lnTo>
                    <a:lnTo>
                      <a:pt x="112" y="23"/>
                    </a:lnTo>
                    <a:lnTo>
                      <a:pt x="122" y="3"/>
                    </a:lnTo>
                    <a:lnTo>
                      <a:pt x="141" y="0"/>
                    </a:lnTo>
                    <a:lnTo>
                      <a:pt x="145" y="17"/>
                    </a:lnTo>
                    <a:lnTo>
                      <a:pt x="154" y="26"/>
                    </a:lnTo>
                    <a:lnTo>
                      <a:pt x="151" y="43"/>
                    </a:lnTo>
                    <a:lnTo>
                      <a:pt x="164" y="46"/>
                    </a:lnTo>
                    <a:lnTo>
                      <a:pt x="164" y="56"/>
                    </a:lnTo>
                    <a:lnTo>
                      <a:pt x="184" y="63"/>
                    </a:lnTo>
                    <a:lnTo>
                      <a:pt x="187" y="73"/>
                    </a:lnTo>
                    <a:lnTo>
                      <a:pt x="201" y="89"/>
                    </a:lnTo>
                    <a:lnTo>
                      <a:pt x="211" y="99"/>
                    </a:lnTo>
                    <a:lnTo>
                      <a:pt x="217" y="109"/>
                    </a:lnTo>
                    <a:lnTo>
                      <a:pt x="220" y="116"/>
                    </a:lnTo>
                    <a:lnTo>
                      <a:pt x="211" y="112"/>
                    </a:lnTo>
                    <a:lnTo>
                      <a:pt x="184" y="112"/>
                    </a:lnTo>
                    <a:lnTo>
                      <a:pt x="178" y="116"/>
                    </a:lnTo>
                    <a:lnTo>
                      <a:pt x="164" y="116"/>
                    </a:lnTo>
                    <a:lnTo>
                      <a:pt x="145" y="125"/>
                    </a:lnTo>
                    <a:lnTo>
                      <a:pt x="141" y="125"/>
                    </a:lnTo>
                    <a:lnTo>
                      <a:pt x="131" y="135"/>
                    </a:lnTo>
                    <a:lnTo>
                      <a:pt x="118" y="129"/>
                    </a:lnTo>
                    <a:lnTo>
                      <a:pt x="98" y="125"/>
                    </a:lnTo>
                    <a:lnTo>
                      <a:pt x="82" y="112"/>
                    </a:lnTo>
                    <a:lnTo>
                      <a:pt x="69" y="129"/>
                    </a:lnTo>
                    <a:lnTo>
                      <a:pt x="69" y="145"/>
                    </a:lnTo>
                    <a:lnTo>
                      <a:pt x="46" y="145"/>
                    </a:lnTo>
                    <a:lnTo>
                      <a:pt x="33" y="149"/>
                    </a:lnTo>
                    <a:lnTo>
                      <a:pt x="29" y="172"/>
                    </a:lnTo>
                    <a:lnTo>
                      <a:pt x="23" y="152"/>
                    </a:lnTo>
                    <a:lnTo>
                      <a:pt x="13" y="139"/>
                    </a:lnTo>
                    <a:lnTo>
                      <a:pt x="3" y="129"/>
                    </a:lnTo>
                    <a:lnTo>
                      <a:pt x="0" y="99"/>
                    </a:lnTo>
                    <a:lnTo>
                      <a:pt x="6" y="83"/>
                    </a:lnTo>
                    <a:lnTo>
                      <a:pt x="13" y="69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46" y="63"/>
                    </a:lnTo>
                    <a:lnTo>
                      <a:pt x="69" y="59"/>
                    </a:lnTo>
                    <a:lnTo>
                      <a:pt x="75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4" name="Freeform 1412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5" name="Freeform 1413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6" name="Freeform 1414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7" name="Freeform 1415"/>
              <p:cNvSpPr>
                <a:spLocks/>
              </p:cNvSpPr>
              <p:nvPr/>
            </p:nvSpPr>
            <p:spPr bwMode="auto">
              <a:xfrm>
                <a:off x="4283126" y="4002848"/>
                <a:ext cx="111127" cy="193678"/>
              </a:xfrm>
              <a:custGeom>
                <a:avLst/>
                <a:gdLst/>
                <a:ahLst/>
                <a:cxnLst>
                  <a:cxn ang="0">
                    <a:pos x="60" y="102"/>
                  </a:cxn>
                  <a:cxn ang="0">
                    <a:pos x="50" y="109"/>
                  </a:cxn>
                  <a:cxn ang="0">
                    <a:pos x="37" y="112"/>
                  </a:cxn>
                  <a:cxn ang="0">
                    <a:pos x="27" y="119"/>
                  </a:cxn>
                  <a:cxn ang="0">
                    <a:pos x="17" y="122"/>
                  </a:cxn>
                  <a:cxn ang="0">
                    <a:pos x="0" y="119"/>
                  </a:cxn>
                  <a:cxn ang="0">
                    <a:pos x="4" y="112"/>
                  </a:cxn>
                  <a:cxn ang="0">
                    <a:pos x="0" y="99"/>
                  </a:cxn>
                  <a:cxn ang="0">
                    <a:pos x="0" y="82"/>
                  </a:cxn>
                  <a:cxn ang="0">
                    <a:pos x="4" y="69"/>
                  </a:cxn>
                  <a:cxn ang="0">
                    <a:pos x="10" y="56"/>
                  </a:cxn>
                  <a:cxn ang="0">
                    <a:pos x="4" y="33"/>
                  </a:cxn>
                  <a:cxn ang="0">
                    <a:pos x="4" y="3"/>
                  </a:cxn>
                  <a:cxn ang="0">
                    <a:pos x="43" y="3"/>
                  </a:cxn>
                  <a:cxn ang="0">
                    <a:pos x="46" y="0"/>
                  </a:cxn>
                  <a:cxn ang="0">
                    <a:pos x="50" y="6"/>
                  </a:cxn>
                  <a:cxn ang="0">
                    <a:pos x="56" y="23"/>
                  </a:cxn>
                  <a:cxn ang="0">
                    <a:pos x="56" y="46"/>
                  </a:cxn>
                  <a:cxn ang="0">
                    <a:pos x="60" y="56"/>
                  </a:cxn>
                  <a:cxn ang="0">
                    <a:pos x="60" y="89"/>
                  </a:cxn>
                  <a:cxn ang="0">
                    <a:pos x="70" y="95"/>
                  </a:cxn>
                  <a:cxn ang="0">
                    <a:pos x="60" y="102"/>
                  </a:cxn>
                  <a:cxn ang="0">
                    <a:pos x="53" y="99"/>
                  </a:cxn>
                  <a:cxn ang="0">
                    <a:pos x="60" y="102"/>
                  </a:cxn>
                </a:cxnLst>
                <a:rect l="0" t="0" r="r" b="b"/>
                <a:pathLst>
                  <a:path w="70" h="122">
                    <a:moveTo>
                      <a:pt x="60" y="102"/>
                    </a:moveTo>
                    <a:lnTo>
                      <a:pt x="50" y="109"/>
                    </a:lnTo>
                    <a:lnTo>
                      <a:pt x="37" y="112"/>
                    </a:lnTo>
                    <a:lnTo>
                      <a:pt x="27" y="119"/>
                    </a:lnTo>
                    <a:lnTo>
                      <a:pt x="17" y="122"/>
                    </a:lnTo>
                    <a:lnTo>
                      <a:pt x="0" y="119"/>
                    </a:lnTo>
                    <a:lnTo>
                      <a:pt x="4" y="112"/>
                    </a:lnTo>
                    <a:lnTo>
                      <a:pt x="0" y="99"/>
                    </a:lnTo>
                    <a:lnTo>
                      <a:pt x="0" y="82"/>
                    </a:lnTo>
                    <a:lnTo>
                      <a:pt x="4" y="69"/>
                    </a:lnTo>
                    <a:lnTo>
                      <a:pt x="10" y="56"/>
                    </a:lnTo>
                    <a:lnTo>
                      <a:pt x="4" y="33"/>
                    </a:lnTo>
                    <a:lnTo>
                      <a:pt x="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0" y="6"/>
                    </a:lnTo>
                    <a:lnTo>
                      <a:pt x="56" y="23"/>
                    </a:lnTo>
                    <a:lnTo>
                      <a:pt x="56" y="46"/>
                    </a:lnTo>
                    <a:lnTo>
                      <a:pt x="60" y="56"/>
                    </a:lnTo>
                    <a:lnTo>
                      <a:pt x="60" y="89"/>
                    </a:lnTo>
                    <a:lnTo>
                      <a:pt x="70" y="95"/>
                    </a:lnTo>
                    <a:lnTo>
                      <a:pt x="60" y="102"/>
                    </a:lnTo>
                    <a:lnTo>
                      <a:pt x="53" y="99"/>
                    </a:lnTo>
                    <a:lnTo>
                      <a:pt x="60" y="1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8" name="Freeform 1416"/>
              <p:cNvSpPr>
                <a:spLocks/>
              </p:cNvSpPr>
              <p:nvPr/>
            </p:nvSpPr>
            <p:spPr bwMode="auto">
              <a:xfrm>
                <a:off x="4137074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89" name="Freeform 1417"/>
              <p:cNvSpPr>
                <a:spLocks/>
              </p:cNvSpPr>
              <p:nvPr/>
            </p:nvSpPr>
            <p:spPr bwMode="auto">
              <a:xfrm>
                <a:off x="4137074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0" name="Freeform 1418"/>
              <p:cNvSpPr>
                <a:spLocks/>
              </p:cNvSpPr>
              <p:nvPr/>
            </p:nvSpPr>
            <p:spPr bwMode="auto">
              <a:xfrm>
                <a:off x="4137074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1" name="Freeform 1419"/>
              <p:cNvSpPr>
                <a:spLocks/>
              </p:cNvSpPr>
              <p:nvPr/>
            </p:nvSpPr>
            <p:spPr bwMode="auto">
              <a:xfrm>
                <a:off x="4137074" y="4012373"/>
                <a:ext cx="161928" cy="200028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9" y="4"/>
                  </a:cxn>
                  <a:cxn ang="0">
                    <a:pos x="40" y="7"/>
                  </a:cxn>
                  <a:cxn ang="0">
                    <a:pos x="36" y="0"/>
                  </a:cxn>
                  <a:cxn ang="0">
                    <a:pos x="30" y="4"/>
                  </a:cxn>
                  <a:cxn ang="0">
                    <a:pos x="23" y="7"/>
                  </a:cxn>
                  <a:cxn ang="0">
                    <a:pos x="10" y="4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0" y="27"/>
                  </a:cxn>
                  <a:cxn ang="0">
                    <a:pos x="10" y="43"/>
                  </a:cxn>
                  <a:cxn ang="0">
                    <a:pos x="3" y="43"/>
                  </a:cxn>
                  <a:cxn ang="0">
                    <a:pos x="7" y="53"/>
                  </a:cxn>
                  <a:cxn ang="0">
                    <a:pos x="0" y="60"/>
                  </a:cxn>
                  <a:cxn ang="0">
                    <a:pos x="0" y="83"/>
                  </a:cxn>
                  <a:cxn ang="0">
                    <a:pos x="10" y="93"/>
                  </a:cxn>
                  <a:cxn ang="0">
                    <a:pos x="17" y="99"/>
                  </a:cxn>
                  <a:cxn ang="0">
                    <a:pos x="17" y="126"/>
                  </a:cxn>
                  <a:cxn ang="0">
                    <a:pos x="36" y="116"/>
                  </a:cxn>
                  <a:cxn ang="0">
                    <a:pos x="56" y="106"/>
                  </a:cxn>
                  <a:cxn ang="0">
                    <a:pos x="53" y="106"/>
                  </a:cxn>
                  <a:cxn ang="0">
                    <a:pos x="76" y="106"/>
                  </a:cxn>
                  <a:cxn ang="0">
                    <a:pos x="63" y="106"/>
                  </a:cxn>
                  <a:cxn ang="0">
                    <a:pos x="89" y="106"/>
                  </a:cxn>
                  <a:cxn ang="0">
                    <a:pos x="89" y="109"/>
                  </a:cxn>
                  <a:cxn ang="0">
                    <a:pos x="96" y="106"/>
                  </a:cxn>
                  <a:cxn ang="0">
                    <a:pos x="92" y="93"/>
                  </a:cxn>
                  <a:cxn ang="0">
                    <a:pos x="89" y="73"/>
                  </a:cxn>
                  <a:cxn ang="0">
                    <a:pos x="96" y="63"/>
                  </a:cxn>
                  <a:cxn ang="0">
                    <a:pos x="102" y="47"/>
                  </a:cxn>
                  <a:cxn ang="0">
                    <a:pos x="96" y="23"/>
                  </a:cxn>
                  <a:cxn ang="0">
                    <a:pos x="82" y="17"/>
                  </a:cxn>
                  <a:cxn ang="0">
                    <a:pos x="69" y="20"/>
                  </a:cxn>
                  <a:cxn ang="0">
                    <a:pos x="56" y="7"/>
                  </a:cxn>
                </a:cxnLst>
                <a:rect l="0" t="0" r="r" b="b"/>
                <a:pathLst>
                  <a:path w="102" h="126">
                    <a:moveTo>
                      <a:pt x="56" y="7"/>
                    </a:moveTo>
                    <a:lnTo>
                      <a:pt x="49" y="4"/>
                    </a:lnTo>
                    <a:lnTo>
                      <a:pt x="40" y="7"/>
                    </a:lnTo>
                    <a:lnTo>
                      <a:pt x="36" y="0"/>
                    </a:lnTo>
                    <a:lnTo>
                      <a:pt x="30" y="4"/>
                    </a:lnTo>
                    <a:lnTo>
                      <a:pt x="23" y="7"/>
                    </a:lnTo>
                    <a:lnTo>
                      <a:pt x="10" y="4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10" y="43"/>
                    </a:lnTo>
                    <a:lnTo>
                      <a:pt x="3" y="43"/>
                    </a:lnTo>
                    <a:lnTo>
                      <a:pt x="7" y="53"/>
                    </a:lnTo>
                    <a:lnTo>
                      <a:pt x="0" y="60"/>
                    </a:lnTo>
                    <a:lnTo>
                      <a:pt x="0" y="83"/>
                    </a:lnTo>
                    <a:lnTo>
                      <a:pt x="10" y="93"/>
                    </a:lnTo>
                    <a:lnTo>
                      <a:pt x="17" y="99"/>
                    </a:lnTo>
                    <a:lnTo>
                      <a:pt x="17" y="126"/>
                    </a:lnTo>
                    <a:lnTo>
                      <a:pt x="36" y="116"/>
                    </a:lnTo>
                    <a:lnTo>
                      <a:pt x="56" y="106"/>
                    </a:lnTo>
                    <a:lnTo>
                      <a:pt x="53" y="106"/>
                    </a:lnTo>
                    <a:lnTo>
                      <a:pt x="76" y="106"/>
                    </a:lnTo>
                    <a:lnTo>
                      <a:pt x="63" y="106"/>
                    </a:lnTo>
                    <a:lnTo>
                      <a:pt x="89" y="106"/>
                    </a:lnTo>
                    <a:lnTo>
                      <a:pt x="89" y="109"/>
                    </a:lnTo>
                    <a:lnTo>
                      <a:pt x="96" y="106"/>
                    </a:lnTo>
                    <a:lnTo>
                      <a:pt x="92" y="93"/>
                    </a:lnTo>
                    <a:lnTo>
                      <a:pt x="89" y="73"/>
                    </a:lnTo>
                    <a:lnTo>
                      <a:pt x="96" y="63"/>
                    </a:lnTo>
                    <a:lnTo>
                      <a:pt x="102" y="47"/>
                    </a:lnTo>
                    <a:lnTo>
                      <a:pt x="96" y="23"/>
                    </a:lnTo>
                    <a:lnTo>
                      <a:pt x="82" y="17"/>
                    </a:lnTo>
                    <a:lnTo>
                      <a:pt x="69" y="20"/>
                    </a:lnTo>
                    <a:lnTo>
                      <a:pt x="56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2" name="Freeform 1420"/>
              <p:cNvSpPr>
                <a:spLocks/>
              </p:cNvSpPr>
              <p:nvPr/>
            </p:nvSpPr>
            <p:spPr bwMode="auto">
              <a:xfrm>
                <a:off x="4137074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3" name="Freeform 1421"/>
              <p:cNvSpPr>
                <a:spLocks/>
              </p:cNvSpPr>
              <p:nvPr/>
            </p:nvSpPr>
            <p:spPr bwMode="auto">
              <a:xfrm>
                <a:off x="4137074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4" name="Freeform 1422"/>
              <p:cNvSpPr>
                <a:spLocks/>
              </p:cNvSpPr>
              <p:nvPr/>
            </p:nvSpPr>
            <p:spPr bwMode="auto">
              <a:xfrm>
                <a:off x="4137074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5" name="Freeform 1423"/>
              <p:cNvSpPr>
                <a:spLocks/>
              </p:cNvSpPr>
              <p:nvPr/>
            </p:nvSpPr>
            <p:spPr bwMode="auto">
              <a:xfrm>
                <a:off x="4137074" y="3190037"/>
                <a:ext cx="538168" cy="555634"/>
              </a:xfrm>
              <a:custGeom>
                <a:avLst/>
                <a:gdLst/>
                <a:ahLst/>
                <a:cxnLst>
                  <a:cxn ang="0">
                    <a:pos x="1" y="48"/>
                  </a:cxn>
                  <a:cxn ang="0">
                    <a:pos x="0" y="55"/>
                  </a:cxn>
                  <a:cxn ang="0">
                    <a:pos x="0" y="59"/>
                  </a:cxn>
                  <a:cxn ang="0">
                    <a:pos x="6" y="61"/>
                  </a:cxn>
                  <a:cxn ang="0">
                    <a:pos x="10" y="65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3" y="74"/>
                  </a:cxn>
                  <a:cxn ang="0">
                    <a:pos x="28" y="77"/>
                  </a:cxn>
                  <a:cxn ang="0">
                    <a:pos x="31" y="80"/>
                  </a:cxn>
                  <a:cxn ang="0">
                    <a:pos x="35" y="83"/>
                  </a:cxn>
                  <a:cxn ang="0">
                    <a:pos x="38" y="86"/>
                  </a:cxn>
                  <a:cxn ang="0">
                    <a:pos x="41" y="88"/>
                  </a:cxn>
                  <a:cxn ang="0">
                    <a:pos x="46" y="92"/>
                  </a:cxn>
                  <a:cxn ang="0">
                    <a:pos x="49" y="95"/>
                  </a:cxn>
                  <a:cxn ang="0">
                    <a:pos x="49" y="96"/>
                  </a:cxn>
                  <a:cxn ang="0">
                    <a:pos x="52" y="98"/>
                  </a:cxn>
                  <a:cxn ang="0">
                    <a:pos x="59" y="102"/>
                  </a:cxn>
                  <a:cxn ang="0">
                    <a:pos x="60" y="106"/>
                  </a:cxn>
                  <a:cxn ang="0">
                    <a:pos x="66" y="106"/>
                  </a:cxn>
                  <a:cxn ang="0">
                    <a:pos x="68" y="105"/>
                  </a:cxn>
                  <a:cxn ang="0">
                    <a:pos x="73" y="105"/>
                  </a:cxn>
                  <a:cxn ang="0">
                    <a:pos x="77" y="100"/>
                  </a:cxn>
                  <a:cxn ang="0">
                    <a:pos x="82" y="96"/>
                  </a:cxn>
                  <a:cxn ang="0">
                    <a:pos x="87" y="92"/>
                  </a:cxn>
                  <a:cxn ang="0">
                    <a:pos x="92" y="88"/>
                  </a:cxn>
                  <a:cxn ang="0">
                    <a:pos x="98" y="83"/>
                  </a:cxn>
                  <a:cxn ang="0">
                    <a:pos x="103" y="80"/>
                  </a:cxn>
                  <a:cxn ang="0">
                    <a:pos x="101" y="76"/>
                  </a:cxn>
                  <a:cxn ang="0">
                    <a:pos x="96" y="75"/>
                  </a:cxn>
                  <a:cxn ang="0">
                    <a:pos x="93" y="69"/>
                  </a:cxn>
                  <a:cxn ang="0">
                    <a:pos x="90" y="65"/>
                  </a:cxn>
                  <a:cxn ang="0">
                    <a:pos x="92" y="63"/>
                  </a:cxn>
                  <a:cxn ang="0">
                    <a:pos x="92" y="48"/>
                  </a:cxn>
                  <a:cxn ang="0">
                    <a:pos x="90" y="41"/>
                  </a:cxn>
                  <a:cxn ang="0">
                    <a:pos x="80" y="19"/>
                  </a:cxn>
                  <a:cxn ang="0">
                    <a:pos x="83" y="15"/>
                  </a:cxn>
                  <a:cxn ang="0">
                    <a:pos x="85" y="11"/>
                  </a:cxn>
                  <a:cxn ang="0">
                    <a:pos x="84" y="2"/>
                  </a:cxn>
                  <a:cxn ang="0">
                    <a:pos x="85" y="1"/>
                  </a:cxn>
                  <a:cxn ang="0">
                    <a:pos x="58" y="2"/>
                  </a:cxn>
                  <a:cxn ang="0">
                    <a:pos x="51" y="3"/>
                  </a:cxn>
                  <a:cxn ang="0">
                    <a:pos x="45" y="5"/>
                  </a:cxn>
                  <a:cxn ang="0">
                    <a:pos x="42" y="6"/>
                  </a:cxn>
                  <a:cxn ang="0">
                    <a:pos x="37" y="9"/>
                  </a:cxn>
                  <a:cxn ang="0">
                    <a:pos x="33" y="12"/>
                  </a:cxn>
                  <a:cxn ang="0">
                    <a:pos x="34" y="12"/>
                  </a:cxn>
                  <a:cxn ang="0">
                    <a:pos x="35" y="17"/>
                  </a:cxn>
                  <a:cxn ang="0">
                    <a:pos x="35" y="21"/>
                  </a:cxn>
                  <a:cxn ang="0">
                    <a:pos x="38" y="27"/>
                  </a:cxn>
                  <a:cxn ang="0">
                    <a:pos x="37" y="28"/>
                  </a:cxn>
                  <a:cxn ang="0">
                    <a:pos x="32" y="28"/>
                  </a:cxn>
                  <a:cxn ang="0">
                    <a:pos x="26" y="31"/>
                  </a:cxn>
                  <a:cxn ang="0">
                    <a:pos x="26" y="35"/>
                  </a:cxn>
                  <a:cxn ang="0">
                    <a:pos x="22" y="37"/>
                  </a:cxn>
                  <a:cxn ang="0">
                    <a:pos x="19" y="41"/>
                  </a:cxn>
                  <a:cxn ang="0">
                    <a:pos x="14" y="41"/>
                  </a:cxn>
                  <a:cxn ang="0">
                    <a:pos x="10" y="44"/>
                  </a:cxn>
                  <a:cxn ang="0">
                    <a:pos x="6" y="46"/>
                  </a:cxn>
                  <a:cxn ang="0">
                    <a:pos x="1" y="48"/>
                  </a:cxn>
                </a:cxnLst>
                <a:rect l="0" t="0" r="r" b="b"/>
                <a:pathLst>
                  <a:path w="103" h="106">
                    <a:moveTo>
                      <a:pt x="1" y="48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8" y="77"/>
                      <a:pt x="28" y="77"/>
                      <a:pt x="28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8" y="86"/>
                      <a:pt x="38" y="86"/>
                      <a:pt x="38" y="86"/>
                    </a:cubicBezTo>
                    <a:cubicBezTo>
                      <a:pt x="41" y="88"/>
                      <a:pt x="41" y="88"/>
                      <a:pt x="41" y="8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9" y="95"/>
                      <a:pt x="49" y="95"/>
                      <a:pt x="49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8" y="105"/>
                      <a:pt x="68" y="105"/>
                      <a:pt x="68" y="10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92" y="88"/>
                      <a:pt x="92" y="88"/>
                      <a:pt x="92" y="88"/>
                    </a:cubicBezTo>
                    <a:cubicBezTo>
                      <a:pt x="98" y="83"/>
                      <a:pt x="98" y="83"/>
                      <a:pt x="98" y="83"/>
                    </a:cubicBezTo>
                    <a:cubicBezTo>
                      <a:pt x="103" y="80"/>
                      <a:pt x="103" y="80"/>
                      <a:pt x="103" y="80"/>
                    </a:cubicBezTo>
                    <a:cubicBezTo>
                      <a:pt x="101" y="76"/>
                      <a:pt x="101" y="76"/>
                      <a:pt x="101" y="76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3" y="69"/>
                      <a:pt x="93" y="69"/>
                      <a:pt x="93" y="69"/>
                    </a:cubicBezTo>
                    <a:cubicBezTo>
                      <a:pt x="90" y="65"/>
                      <a:pt x="90" y="65"/>
                      <a:pt x="90" y="65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2" y="48"/>
                      <a:pt x="92" y="48"/>
                      <a:pt x="92" y="48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9" y="23"/>
                      <a:pt x="87" y="33"/>
                      <a:pt x="80" y="19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73" y="0"/>
                      <a:pt x="70" y="3"/>
                      <a:pt x="58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1" y="48"/>
                      <a:pt x="1" y="48"/>
                      <a:pt x="1" y="4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6" name="Freeform 1424"/>
              <p:cNvSpPr>
                <a:spLocks/>
              </p:cNvSpPr>
              <p:nvPr/>
            </p:nvSpPr>
            <p:spPr bwMode="auto">
              <a:xfrm>
                <a:off x="4602217" y="3315450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7" name="Freeform 1425"/>
              <p:cNvSpPr>
                <a:spLocks/>
              </p:cNvSpPr>
              <p:nvPr/>
            </p:nvSpPr>
            <p:spPr bwMode="auto">
              <a:xfrm>
                <a:off x="4602217" y="3315450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8" name="Freeform 1426"/>
              <p:cNvSpPr>
                <a:spLocks/>
              </p:cNvSpPr>
              <p:nvPr/>
            </p:nvSpPr>
            <p:spPr bwMode="auto">
              <a:xfrm>
                <a:off x="4602217" y="3315450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499" name="Freeform 1427"/>
              <p:cNvSpPr>
                <a:spLocks/>
              </p:cNvSpPr>
              <p:nvPr/>
            </p:nvSpPr>
            <p:spPr bwMode="auto">
              <a:xfrm>
                <a:off x="4602217" y="3315450"/>
                <a:ext cx="419105" cy="419106"/>
              </a:xfrm>
              <a:custGeom>
                <a:avLst/>
                <a:gdLst/>
                <a:ahLst/>
                <a:cxnLst>
                  <a:cxn ang="0">
                    <a:pos x="247" y="264"/>
                  </a:cxn>
                  <a:cxn ang="0">
                    <a:pos x="247" y="258"/>
                  </a:cxn>
                  <a:cxn ang="0">
                    <a:pos x="264" y="258"/>
                  </a:cxn>
                  <a:cxn ang="0">
                    <a:pos x="261" y="235"/>
                  </a:cxn>
                  <a:cxn ang="0">
                    <a:pos x="261" y="182"/>
                  </a:cxn>
                  <a:cxn ang="0">
                    <a:pos x="257" y="162"/>
                  </a:cxn>
                  <a:cxn ang="0">
                    <a:pos x="257" y="126"/>
                  </a:cxn>
                  <a:cxn ang="0">
                    <a:pos x="254" y="109"/>
                  </a:cxn>
                  <a:cxn ang="0">
                    <a:pos x="254" y="73"/>
                  </a:cxn>
                  <a:cxn ang="0">
                    <a:pos x="251" y="60"/>
                  </a:cxn>
                  <a:cxn ang="0">
                    <a:pos x="251" y="40"/>
                  </a:cxn>
                  <a:cxn ang="0">
                    <a:pos x="254" y="27"/>
                  </a:cxn>
                  <a:cxn ang="0">
                    <a:pos x="244" y="23"/>
                  </a:cxn>
                  <a:cxn ang="0">
                    <a:pos x="218" y="14"/>
                  </a:cxn>
                  <a:cxn ang="0">
                    <a:pos x="215" y="10"/>
                  </a:cxn>
                  <a:cxn ang="0">
                    <a:pos x="191" y="4"/>
                  </a:cxn>
                  <a:cxn ang="0">
                    <a:pos x="185" y="10"/>
                  </a:cxn>
                  <a:cxn ang="0">
                    <a:pos x="172" y="17"/>
                  </a:cxn>
                  <a:cxn ang="0">
                    <a:pos x="172" y="43"/>
                  </a:cxn>
                  <a:cxn ang="0">
                    <a:pos x="155" y="53"/>
                  </a:cxn>
                  <a:cxn ang="0">
                    <a:pos x="139" y="43"/>
                  </a:cxn>
                  <a:cxn ang="0">
                    <a:pos x="119" y="37"/>
                  </a:cxn>
                  <a:cxn ang="0">
                    <a:pos x="99" y="30"/>
                  </a:cxn>
                  <a:cxn ang="0">
                    <a:pos x="93" y="14"/>
                  </a:cxn>
                  <a:cxn ang="0">
                    <a:pos x="76" y="10"/>
                  </a:cxn>
                  <a:cxn ang="0">
                    <a:pos x="60" y="7"/>
                  </a:cxn>
                  <a:cxn ang="0">
                    <a:pos x="33" y="0"/>
                  </a:cxn>
                  <a:cxn ang="0">
                    <a:pos x="33" y="14"/>
                  </a:cxn>
                  <a:cxn ang="0">
                    <a:pos x="20" y="27"/>
                  </a:cxn>
                  <a:cxn ang="0">
                    <a:pos x="14" y="30"/>
                  </a:cxn>
                  <a:cxn ang="0">
                    <a:pos x="14" y="5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7" y="83"/>
                  </a:cxn>
                  <a:cxn ang="0">
                    <a:pos x="7" y="129"/>
                  </a:cxn>
                  <a:cxn ang="0">
                    <a:pos x="0" y="136"/>
                  </a:cxn>
                  <a:cxn ang="0">
                    <a:pos x="14" y="152"/>
                  </a:cxn>
                  <a:cxn ang="0">
                    <a:pos x="20" y="169"/>
                  </a:cxn>
                  <a:cxn ang="0">
                    <a:pos x="37" y="175"/>
                  </a:cxn>
                  <a:cxn ang="0">
                    <a:pos x="43" y="188"/>
                  </a:cxn>
                  <a:cxn ang="0">
                    <a:pos x="66" y="192"/>
                  </a:cxn>
                  <a:cxn ang="0">
                    <a:pos x="83" y="205"/>
                  </a:cxn>
                  <a:cxn ang="0">
                    <a:pos x="93" y="198"/>
                  </a:cxn>
                  <a:cxn ang="0">
                    <a:pos x="112" y="188"/>
                  </a:cxn>
                  <a:cxn ang="0">
                    <a:pos x="129" y="198"/>
                  </a:cxn>
                  <a:cxn ang="0">
                    <a:pos x="145" y="205"/>
                  </a:cxn>
                  <a:cxn ang="0">
                    <a:pos x="162" y="215"/>
                  </a:cxn>
                  <a:cxn ang="0">
                    <a:pos x="178" y="228"/>
                  </a:cxn>
                  <a:cxn ang="0">
                    <a:pos x="198" y="235"/>
                  </a:cxn>
                  <a:cxn ang="0">
                    <a:pos x="211" y="245"/>
                  </a:cxn>
                  <a:cxn ang="0">
                    <a:pos x="228" y="258"/>
                  </a:cxn>
                  <a:cxn ang="0">
                    <a:pos x="247" y="264"/>
                  </a:cxn>
                </a:cxnLst>
                <a:rect l="0" t="0" r="r" b="b"/>
                <a:pathLst>
                  <a:path w="264" h="264">
                    <a:moveTo>
                      <a:pt x="247" y="264"/>
                    </a:moveTo>
                    <a:lnTo>
                      <a:pt x="247" y="258"/>
                    </a:lnTo>
                    <a:lnTo>
                      <a:pt x="264" y="258"/>
                    </a:lnTo>
                    <a:lnTo>
                      <a:pt x="261" y="235"/>
                    </a:lnTo>
                    <a:lnTo>
                      <a:pt x="261" y="182"/>
                    </a:lnTo>
                    <a:lnTo>
                      <a:pt x="257" y="162"/>
                    </a:lnTo>
                    <a:lnTo>
                      <a:pt x="257" y="126"/>
                    </a:lnTo>
                    <a:lnTo>
                      <a:pt x="254" y="109"/>
                    </a:lnTo>
                    <a:lnTo>
                      <a:pt x="254" y="73"/>
                    </a:lnTo>
                    <a:lnTo>
                      <a:pt x="251" y="60"/>
                    </a:lnTo>
                    <a:lnTo>
                      <a:pt x="251" y="40"/>
                    </a:lnTo>
                    <a:lnTo>
                      <a:pt x="254" y="27"/>
                    </a:lnTo>
                    <a:lnTo>
                      <a:pt x="244" y="23"/>
                    </a:lnTo>
                    <a:lnTo>
                      <a:pt x="218" y="14"/>
                    </a:lnTo>
                    <a:lnTo>
                      <a:pt x="215" y="10"/>
                    </a:lnTo>
                    <a:lnTo>
                      <a:pt x="191" y="4"/>
                    </a:lnTo>
                    <a:lnTo>
                      <a:pt x="185" y="10"/>
                    </a:lnTo>
                    <a:lnTo>
                      <a:pt x="172" y="17"/>
                    </a:lnTo>
                    <a:lnTo>
                      <a:pt x="172" y="43"/>
                    </a:lnTo>
                    <a:lnTo>
                      <a:pt x="155" y="53"/>
                    </a:lnTo>
                    <a:lnTo>
                      <a:pt x="139" y="43"/>
                    </a:lnTo>
                    <a:lnTo>
                      <a:pt x="119" y="37"/>
                    </a:lnTo>
                    <a:lnTo>
                      <a:pt x="99" y="30"/>
                    </a:lnTo>
                    <a:lnTo>
                      <a:pt x="93" y="14"/>
                    </a:lnTo>
                    <a:lnTo>
                      <a:pt x="76" y="10"/>
                    </a:lnTo>
                    <a:lnTo>
                      <a:pt x="60" y="7"/>
                    </a:lnTo>
                    <a:lnTo>
                      <a:pt x="33" y="0"/>
                    </a:lnTo>
                    <a:lnTo>
                      <a:pt x="33" y="14"/>
                    </a:lnTo>
                    <a:lnTo>
                      <a:pt x="20" y="27"/>
                    </a:lnTo>
                    <a:lnTo>
                      <a:pt x="14" y="30"/>
                    </a:lnTo>
                    <a:lnTo>
                      <a:pt x="14" y="5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7" y="83"/>
                    </a:lnTo>
                    <a:lnTo>
                      <a:pt x="7" y="129"/>
                    </a:lnTo>
                    <a:lnTo>
                      <a:pt x="0" y="136"/>
                    </a:lnTo>
                    <a:lnTo>
                      <a:pt x="14" y="152"/>
                    </a:lnTo>
                    <a:lnTo>
                      <a:pt x="20" y="169"/>
                    </a:lnTo>
                    <a:lnTo>
                      <a:pt x="37" y="175"/>
                    </a:lnTo>
                    <a:lnTo>
                      <a:pt x="43" y="188"/>
                    </a:lnTo>
                    <a:lnTo>
                      <a:pt x="66" y="192"/>
                    </a:lnTo>
                    <a:lnTo>
                      <a:pt x="83" y="205"/>
                    </a:lnTo>
                    <a:lnTo>
                      <a:pt x="93" y="198"/>
                    </a:lnTo>
                    <a:lnTo>
                      <a:pt x="112" y="188"/>
                    </a:lnTo>
                    <a:lnTo>
                      <a:pt x="129" y="198"/>
                    </a:lnTo>
                    <a:lnTo>
                      <a:pt x="145" y="205"/>
                    </a:lnTo>
                    <a:lnTo>
                      <a:pt x="162" y="215"/>
                    </a:lnTo>
                    <a:lnTo>
                      <a:pt x="178" y="228"/>
                    </a:lnTo>
                    <a:lnTo>
                      <a:pt x="198" y="235"/>
                    </a:lnTo>
                    <a:lnTo>
                      <a:pt x="211" y="245"/>
                    </a:lnTo>
                    <a:lnTo>
                      <a:pt x="228" y="258"/>
                    </a:lnTo>
                    <a:lnTo>
                      <a:pt x="247" y="26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0" name="Freeform 1428"/>
              <p:cNvSpPr>
                <a:spLocks/>
              </p:cNvSpPr>
              <p:nvPr/>
            </p:nvSpPr>
            <p:spPr bwMode="auto">
              <a:xfrm>
                <a:off x="4037061" y="3567867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1" name="Freeform 1429"/>
              <p:cNvSpPr>
                <a:spLocks/>
              </p:cNvSpPr>
              <p:nvPr/>
            </p:nvSpPr>
            <p:spPr bwMode="auto">
              <a:xfrm>
                <a:off x="4037061" y="3567867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2" name="Freeform 1430"/>
              <p:cNvSpPr>
                <a:spLocks/>
              </p:cNvSpPr>
              <p:nvPr/>
            </p:nvSpPr>
            <p:spPr bwMode="auto">
              <a:xfrm>
                <a:off x="4037061" y="3567867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3" name="Freeform 1431"/>
              <p:cNvSpPr>
                <a:spLocks/>
              </p:cNvSpPr>
              <p:nvPr/>
            </p:nvSpPr>
            <p:spPr bwMode="auto">
              <a:xfrm>
                <a:off x="4037061" y="3567867"/>
                <a:ext cx="439743" cy="460382"/>
              </a:xfrm>
              <a:custGeom>
                <a:avLst/>
                <a:gdLst/>
                <a:ahLst/>
                <a:cxnLst>
                  <a:cxn ang="0">
                    <a:pos x="18" y="82"/>
                  </a:cxn>
                  <a:cxn ang="0">
                    <a:pos x="20" y="88"/>
                  </a:cxn>
                  <a:cxn ang="0">
                    <a:pos x="25" y="88"/>
                  </a:cxn>
                  <a:cxn ang="0">
                    <a:pos x="30" y="85"/>
                  </a:cxn>
                  <a:cxn ang="0">
                    <a:pos x="34" y="86"/>
                  </a:cxn>
                  <a:cxn ang="0">
                    <a:pos x="38" y="78"/>
                  </a:cxn>
                  <a:cxn ang="0">
                    <a:pos x="40" y="72"/>
                  </a:cxn>
                  <a:cxn ang="0">
                    <a:pos x="45" y="70"/>
                  </a:cxn>
                  <a:cxn ang="0">
                    <a:pos x="46" y="67"/>
                  </a:cxn>
                  <a:cxn ang="0">
                    <a:pos x="51" y="65"/>
                  </a:cxn>
                  <a:cxn ang="0">
                    <a:pos x="58" y="59"/>
                  </a:cxn>
                  <a:cxn ang="0">
                    <a:pos x="64" y="60"/>
                  </a:cxn>
                  <a:cxn ang="0">
                    <a:pos x="80" y="58"/>
                  </a:cxn>
                  <a:cxn ang="0">
                    <a:pos x="82" y="43"/>
                  </a:cxn>
                  <a:cxn ang="0">
                    <a:pos x="84" y="35"/>
                  </a:cxn>
                  <a:cxn ang="0">
                    <a:pos x="77" y="30"/>
                  </a:cxn>
                  <a:cxn ang="0">
                    <a:pos x="68" y="24"/>
                  </a:cxn>
                  <a:cxn ang="0">
                    <a:pos x="64" y="20"/>
                  </a:cxn>
                  <a:cxn ang="0">
                    <a:pos x="56" y="14"/>
                  </a:cxn>
                  <a:cxn ang="0">
                    <a:pos x="49" y="9"/>
                  </a:cxn>
                  <a:cxn ang="0">
                    <a:pos x="42" y="2"/>
                  </a:cxn>
                  <a:cxn ang="0">
                    <a:pos x="30" y="0"/>
                  </a:cxn>
                  <a:cxn ang="0">
                    <a:pos x="30" y="12"/>
                  </a:cxn>
                  <a:cxn ang="0">
                    <a:pos x="32" y="26"/>
                  </a:cxn>
                  <a:cxn ang="0">
                    <a:pos x="33" y="38"/>
                  </a:cxn>
                  <a:cxn ang="0">
                    <a:pos x="34" y="50"/>
                  </a:cxn>
                  <a:cxn ang="0">
                    <a:pos x="34" y="56"/>
                  </a:cxn>
                  <a:cxn ang="0">
                    <a:pos x="14" y="55"/>
                  </a:cxn>
                  <a:cxn ang="0">
                    <a:pos x="6" y="58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4" y="75"/>
                  </a:cxn>
                  <a:cxn ang="0">
                    <a:pos x="16" y="75"/>
                  </a:cxn>
                  <a:cxn ang="0">
                    <a:pos x="19" y="81"/>
                  </a:cxn>
                </a:cxnLst>
                <a:rect l="0" t="0" r="r" b="b"/>
                <a:pathLst>
                  <a:path w="84" h="88">
                    <a:moveTo>
                      <a:pt x="19" y="81"/>
                    </a:moveTo>
                    <a:cubicBezTo>
                      <a:pt x="18" y="82"/>
                      <a:pt x="18" y="82"/>
                      <a:pt x="18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20" y="88"/>
                      <a:pt x="20" y="88"/>
                      <a:pt x="20" y="88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5"/>
                      <a:pt x="30" y="85"/>
                      <a:pt x="30" y="85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5" y="79"/>
                      <a:pt x="35" y="79"/>
                      <a:pt x="35" y="7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45" y="70"/>
                      <a:pt x="45" y="70"/>
                      <a:pt x="45" y="70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8" y="58"/>
                      <a:pt x="68" y="58"/>
                      <a:pt x="68" y="58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82" y="52"/>
                      <a:pt x="82" y="52"/>
                      <a:pt x="82" y="52"/>
                    </a:cubicBezTo>
                    <a:cubicBezTo>
                      <a:pt x="82" y="43"/>
                      <a:pt x="82" y="43"/>
                      <a:pt x="82" y="43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11" y="76"/>
                      <a:pt x="9" y="78"/>
                      <a:pt x="16" y="7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9" y="81"/>
                      <a:pt x="19" y="81"/>
                      <a:pt x="19" y="8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4" name="Freeform 1432"/>
              <p:cNvSpPr>
                <a:spLocks/>
              </p:cNvSpPr>
              <p:nvPr/>
            </p:nvSpPr>
            <p:spPr bwMode="auto">
              <a:xfrm>
                <a:off x="3917997" y="3499604"/>
                <a:ext cx="319090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5" name="Freeform 1433"/>
              <p:cNvSpPr>
                <a:spLocks/>
              </p:cNvSpPr>
              <p:nvPr/>
            </p:nvSpPr>
            <p:spPr bwMode="auto">
              <a:xfrm>
                <a:off x="3917997" y="3499604"/>
                <a:ext cx="319090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6" name="Freeform 1434"/>
              <p:cNvSpPr>
                <a:spLocks/>
              </p:cNvSpPr>
              <p:nvPr/>
            </p:nvSpPr>
            <p:spPr bwMode="auto">
              <a:xfrm>
                <a:off x="3917997" y="3499604"/>
                <a:ext cx="319090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7" name="Freeform 1435"/>
              <p:cNvSpPr>
                <a:spLocks/>
              </p:cNvSpPr>
              <p:nvPr/>
            </p:nvSpPr>
            <p:spPr bwMode="auto">
              <a:xfrm>
                <a:off x="3917997" y="3499604"/>
                <a:ext cx="319090" cy="387356"/>
              </a:xfrm>
              <a:custGeom>
                <a:avLst/>
                <a:gdLst/>
                <a:ahLst/>
                <a:cxnLst>
                  <a:cxn ang="0">
                    <a:pos x="4" y="64"/>
                  </a:cxn>
                  <a:cxn ang="0">
                    <a:pos x="2" y="66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4" y="46"/>
                  </a:cxn>
                  <a:cxn ang="0">
                    <a:pos x="4" y="39"/>
                  </a:cxn>
                  <a:cxn ang="0">
                    <a:pos x="0" y="36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21" y="34"/>
                  </a:cxn>
                  <a:cxn ang="0">
                    <a:pos x="21" y="24"/>
                  </a:cxn>
                  <a:cxn ang="0">
                    <a:pos x="25" y="22"/>
                  </a:cxn>
                  <a:cxn ang="0">
                    <a:pos x="26" y="14"/>
                  </a:cxn>
                  <a:cxn ang="0">
                    <a:pos x="26" y="6"/>
                  </a:cxn>
                  <a:cxn ang="0">
                    <a:pos x="42" y="6"/>
                  </a:cxn>
                  <a:cxn ang="0">
                    <a:pos x="42" y="0"/>
                  </a:cxn>
                  <a:cxn ang="0">
                    <a:pos x="47" y="3"/>
                  </a:cxn>
                  <a:cxn ang="0">
                    <a:pos x="51" y="6"/>
                  </a:cxn>
                  <a:cxn ang="0">
                    <a:pos x="55" y="10"/>
                  </a:cxn>
                  <a:cxn ang="0">
                    <a:pos x="61" y="13"/>
                  </a:cxn>
                  <a:cxn ang="0">
                    <a:pos x="53" y="13"/>
                  </a:cxn>
                  <a:cxn ang="0">
                    <a:pos x="55" y="44"/>
                  </a:cxn>
                  <a:cxn ang="0">
                    <a:pos x="55" y="51"/>
                  </a:cxn>
                  <a:cxn ang="0">
                    <a:pos x="55" y="57"/>
                  </a:cxn>
                  <a:cxn ang="0">
                    <a:pos x="57" y="63"/>
                  </a:cxn>
                  <a:cxn ang="0">
                    <a:pos x="58" y="64"/>
                  </a:cxn>
                  <a:cxn ang="0">
                    <a:pos x="57" y="69"/>
                  </a:cxn>
                  <a:cxn ang="0">
                    <a:pos x="38" y="69"/>
                  </a:cxn>
                  <a:cxn ang="0">
                    <a:pos x="38" y="68"/>
                  </a:cxn>
                  <a:cxn ang="0">
                    <a:pos x="30" y="70"/>
                  </a:cxn>
                  <a:cxn ang="0">
                    <a:pos x="29" y="70"/>
                  </a:cxn>
                  <a:cxn ang="0">
                    <a:pos x="27" y="69"/>
                  </a:cxn>
                  <a:cxn ang="0">
                    <a:pos x="24" y="74"/>
                  </a:cxn>
                  <a:cxn ang="0">
                    <a:pos x="23" y="74"/>
                  </a:cxn>
                  <a:cxn ang="0">
                    <a:pos x="20" y="69"/>
                  </a:cxn>
                  <a:cxn ang="0">
                    <a:pos x="16" y="65"/>
                  </a:cxn>
                  <a:cxn ang="0">
                    <a:pos x="11" y="63"/>
                  </a:cxn>
                  <a:cxn ang="0">
                    <a:pos x="7" y="63"/>
                  </a:cxn>
                  <a:cxn ang="0">
                    <a:pos x="4" y="64"/>
                  </a:cxn>
                </a:cxnLst>
                <a:rect l="0" t="0" r="r" b="b"/>
                <a:pathLst>
                  <a:path w="61" h="74">
                    <a:moveTo>
                      <a:pt x="4" y="64"/>
                    </a:moveTo>
                    <a:cubicBezTo>
                      <a:pt x="2" y="66"/>
                      <a:pt x="2" y="66"/>
                      <a:pt x="2" y="66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24"/>
                      <a:pt x="54" y="34"/>
                      <a:pt x="55" y="44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4" y="64"/>
                      <a:pt x="4" y="64"/>
                      <a:pt x="4" y="6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8" name="Freeform 1436"/>
              <p:cNvSpPr>
                <a:spLocks/>
              </p:cNvSpPr>
              <p:nvPr/>
            </p:nvSpPr>
            <p:spPr bwMode="auto">
              <a:xfrm>
                <a:off x="4027536" y="3226549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09" name="Freeform 1437"/>
              <p:cNvSpPr>
                <a:spLocks/>
              </p:cNvSpPr>
              <p:nvPr/>
            </p:nvSpPr>
            <p:spPr bwMode="auto">
              <a:xfrm>
                <a:off x="4027536" y="3226549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0" name="Freeform 1438"/>
              <p:cNvSpPr>
                <a:spLocks/>
              </p:cNvSpPr>
              <p:nvPr/>
            </p:nvSpPr>
            <p:spPr bwMode="auto">
              <a:xfrm>
                <a:off x="4027536" y="3226549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1" name="Freeform 1439"/>
              <p:cNvSpPr>
                <a:spLocks/>
              </p:cNvSpPr>
              <p:nvPr/>
            </p:nvSpPr>
            <p:spPr bwMode="auto">
              <a:xfrm>
                <a:off x="4027536" y="3226549"/>
                <a:ext cx="307978" cy="257180"/>
              </a:xfrm>
              <a:custGeom>
                <a:avLst/>
                <a:gdLst/>
                <a:ahLst/>
                <a:cxnLst>
                  <a:cxn ang="0">
                    <a:pos x="30" y="12"/>
                  </a:cxn>
                  <a:cxn ang="0">
                    <a:pos x="26" y="15"/>
                  </a:cxn>
                  <a:cxn ang="0">
                    <a:pos x="21" y="18"/>
                  </a:cxn>
                  <a:cxn ang="0">
                    <a:pos x="19" y="23"/>
                  </a:cxn>
                  <a:cxn ang="0">
                    <a:pos x="17" y="27"/>
                  </a:cxn>
                  <a:cxn ang="0">
                    <a:pos x="17" y="33"/>
                  </a:cxn>
                  <a:cxn ang="0">
                    <a:pos x="0" y="49"/>
                  </a:cxn>
                  <a:cxn ang="0">
                    <a:pos x="21" y="49"/>
                  </a:cxn>
                  <a:cxn ang="0">
                    <a:pos x="22" y="42"/>
                  </a:cxn>
                  <a:cxn ang="0">
                    <a:pos x="26" y="39"/>
                  </a:cxn>
                  <a:cxn ang="0">
                    <a:pos x="31" y="37"/>
                  </a:cxn>
                  <a:cxn ang="0">
                    <a:pos x="35" y="35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46" y="29"/>
                  </a:cxn>
                  <a:cxn ang="0">
                    <a:pos x="46" y="25"/>
                  </a:cxn>
                  <a:cxn ang="0">
                    <a:pos x="52" y="22"/>
                  </a:cxn>
                  <a:cxn ang="0">
                    <a:pos x="58" y="22"/>
                  </a:cxn>
                  <a:cxn ang="0">
                    <a:pos x="59" y="21"/>
                  </a:cxn>
                  <a:cxn ang="0">
                    <a:pos x="56" y="15"/>
                  </a:cxn>
                  <a:cxn ang="0">
                    <a:pos x="56" y="10"/>
                  </a:cxn>
                  <a:cxn ang="0">
                    <a:pos x="55" y="6"/>
                  </a:cxn>
                  <a:cxn ang="0">
                    <a:pos x="54" y="5"/>
                  </a:cxn>
                  <a:cxn ang="0">
                    <a:pos x="50" y="4"/>
                  </a:cxn>
                  <a:cxn ang="0">
                    <a:pos x="49" y="4"/>
                  </a:cxn>
                  <a:cxn ang="0">
                    <a:pos x="40" y="3"/>
                  </a:cxn>
                  <a:cxn ang="0">
                    <a:pos x="38" y="0"/>
                  </a:cxn>
                  <a:cxn ang="0">
                    <a:pos x="35" y="1"/>
                  </a:cxn>
                  <a:cxn ang="0">
                    <a:pos x="32" y="7"/>
                  </a:cxn>
                  <a:cxn ang="0">
                    <a:pos x="30" y="12"/>
                  </a:cxn>
                </a:cxnLst>
                <a:rect l="0" t="0" r="r" b="b"/>
                <a:pathLst>
                  <a:path w="59" h="49">
                    <a:moveTo>
                      <a:pt x="30" y="12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42"/>
                      <a:pt x="8" y="44"/>
                      <a:pt x="0" y="4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5"/>
                      <a:pt x="56" y="15"/>
                      <a:pt x="56" y="1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0" y="12"/>
                      <a:pt x="30" y="12"/>
                      <a:pt x="30" y="1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2" name="Freeform 1440"/>
              <p:cNvSpPr>
                <a:spLocks/>
              </p:cNvSpPr>
              <p:nvPr/>
            </p:nvSpPr>
            <p:spPr bwMode="auto">
              <a:xfrm>
                <a:off x="4372027" y="3613905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3" name="Freeform 1441"/>
              <p:cNvSpPr>
                <a:spLocks/>
              </p:cNvSpPr>
              <p:nvPr/>
            </p:nvSpPr>
            <p:spPr bwMode="auto">
              <a:xfrm>
                <a:off x="4372027" y="3613905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4" name="Freeform 1442"/>
              <p:cNvSpPr>
                <a:spLocks/>
              </p:cNvSpPr>
              <p:nvPr/>
            </p:nvSpPr>
            <p:spPr bwMode="auto">
              <a:xfrm>
                <a:off x="4372027" y="3613905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5" name="Freeform 1443"/>
              <p:cNvSpPr>
                <a:spLocks/>
              </p:cNvSpPr>
              <p:nvPr/>
            </p:nvSpPr>
            <p:spPr bwMode="auto">
              <a:xfrm>
                <a:off x="4372027" y="3613905"/>
                <a:ext cx="414343" cy="368306"/>
              </a:xfrm>
              <a:custGeom>
                <a:avLst/>
                <a:gdLst/>
                <a:ahLst/>
                <a:cxnLst>
                  <a:cxn ang="0">
                    <a:pos x="27" y="212"/>
                  </a:cxn>
                  <a:cxn ang="0">
                    <a:pos x="20" y="212"/>
                  </a:cxn>
                  <a:cxn ang="0">
                    <a:pos x="14" y="205"/>
                  </a:cxn>
                  <a:cxn ang="0">
                    <a:pos x="14" y="199"/>
                  </a:cxn>
                  <a:cxn ang="0">
                    <a:pos x="0" y="185"/>
                  </a:cxn>
                  <a:cxn ang="0">
                    <a:pos x="0" y="166"/>
                  </a:cxn>
                  <a:cxn ang="0">
                    <a:pos x="0" y="169"/>
                  </a:cxn>
                  <a:cxn ang="0">
                    <a:pos x="14" y="162"/>
                  </a:cxn>
                  <a:cxn ang="0">
                    <a:pos x="53" y="162"/>
                  </a:cxn>
                  <a:cxn ang="0">
                    <a:pos x="60" y="142"/>
                  </a:cxn>
                  <a:cxn ang="0">
                    <a:pos x="60" y="113"/>
                  </a:cxn>
                  <a:cxn ang="0">
                    <a:pos x="66" y="99"/>
                  </a:cxn>
                  <a:cxn ang="0">
                    <a:pos x="66" y="83"/>
                  </a:cxn>
                  <a:cxn ang="0">
                    <a:pos x="73" y="80"/>
                  </a:cxn>
                  <a:cxn ang="0">
                    <a:pos x="93" y="80"/>
                  </a:cxn>
                  <a:cxn ang="0">
                    <a:pos x="106" y="66"/>
                  </a:cxn>
                  <a:cxn ang="0">
                    <a:pos x="119" y="50"/>
                  </a:cxn>
                  <a:cxn ang="0">
                    <a:pos x="135" y="37"/>
                  </a:cxn>
                  <a:cxn ang="0">
                    <a:pos x="152" y="27"/>
                  </a:cxn>
                  <a:cxn ang="0">
                    <a:pos x="172" y="10"/>
                  </a:cxn>
                  <a:cxn ang="0">
                    <a:pos x="188" y="0"/>
                  </a:cxn>
                  <a:cxn ang="0">
                    <a:pos x="211" y="4"/>
                  </a:cxn>
                  <a:cxn ang="0">
                    <a:pos x="228" y="17"/>
                  </a:cxn>
                  <a:cxn ang="0">
                    <a:pos x="238" y="10"/>
                  </a:cxn>
                  <a:cxn ang="0">
                    <a:pos x="241" y="10"/>
                  </a:cxn>
                  <a:cxn ang="0">
                    <a:pos x="241" y="27"/>
                  </a:cxn>
                  <a:cxn ang="0">
                    <a:pos x="244" y="40"/>
                  </a:cxn>
                  <a:cxn ang="0">
                    <a:pos x="261" y="60"/>
                  </a:cxn>
                  <a:cxn ang="0">
                    <a:pos x="251" y="70"/>
                  </a:cxn>
                  <a:cxn ang="0">
                    <a:pos x="251" y="126"/>
                  </a:cxn>
                  <a:cxn ang="0">
                    <a:pos x="241" y="136"/>
                  </a:cxn>
                  <a:cxn ang="0">
                    <a:pos x="234" y="152"/>
                  </a:cxn>
                  <a:cxn ang="0">
                    <a:pos x="228" y="166"/>
                  </a:cxn>
                  <a:cxn ang="0">
                    <a:pos x="221" y="175"/>
                  </a:cxn>
                  <a:cxn ang="0">
                    <a:pos x="221" y="189"/>
                  </a:cxn>
                  <a:cxn ang="0">
                    <a:pos x="205" y="199"/>
                  </a:cxn>
                  <a:cxn ang="0">
                    <a:pos x="165" y="199"/>
                  </a:cxn>
                  <a:cxn ang="0">
                    <a:pos x="149" y="208"/>
                  </a:cxn>
                  <a:cxn ang="0">
                    <a:pos x="135" y="205"/>
                  </a:cxn>
                  <a:cxn ang="0">
                    <a:pos x="126" y="199"/>
                  </a:cxn>
                  <a:cxn ang="0">
                    <a:pos x="106" y="205"/>
                  </a:cxn>
                  <a:cxn ang="0">
                    <a:pos x="96" y="192"/>
                  </a:cxn>
                  <a:cxn ang="0">
                    <a:pos x="79" y="189"/>
                  </a:cxn>
                  <a:cxn ang="0">
                    <a:pos x="66" y="199"/>
                  </a:cxn>
                  <a:cxn ang="0">
                    <a:pos x="60" y="212"/>
                  </a:cxn>
                  <a:cxn ang="0">
                    <a:pos x="53" y="222"/>
                  </a:cxn>
                  <a:cxn ang="0">
                    <a:pos x="53" y="232"/>
                  </a:cxn>
                  <a:cxn ang="0">
                    <a:pos x="40" y="218"/>
                  </a:cxn>
                  <a:cxn ang="0">
                    <a:pos x="33" y="222"/>
                  </a:cxn>
                  <a:cxn ang="0">
                    <a:pos x="33" y="228"/>
                  </a:cxn>
                  <a:cxn ang="0">
                    <a:pos x="27" y="215"/>
                  </a:cxn>
                  <a:cxn ang="0">
                    <a:pos x="27" y="212"/>
                  </a:cxn>
                </a:cxnLst>
                <a:rect l="0" t="0" r="r" b="b"/>
                <a:pathLst>
                  <a:path w="261" h="232">
                    <a:moveTo>
                      <a:pt x="27" y="212"/>
                    </a:moveTo>
                    <a:lnTo>
                      <a:pt x="20" y="212"/>
                    </a:lnTo>
                    <a:lnTo>
                      <a:pt x="14" y="205"/>
                    </a:lnTo>
                    <a:lnTo>
                      <a:pt x="14" y="199"/>
                    </a:lnTo>
                    <a:lnTo>
                      <a:pt x="0" y="185"/>
                    </a:lnTo>
                    <a:lnTo>
                      <a:pt x="0" y="166"/>
                    </a:lnTo>
                    <a:lnTo>
                      <a:pt x="0" y="169"/>
                    </a:lnTo>
                    <a:lnTo>
                      <a:pt x="14" y="162"/>
                    </a:lnTo>
                    <a:lnTo>
                      <a:pt x="53" y="162"/>
                    </a:lnTo>
                    <a:lnTo>
                      <a:pt x="60" y="142"/>
                    </a:lnTo>
                    <a:lnTo>
                      <a:pt x="60" y="113"/>
                    </a:lnTo>
                    <a:lnTo>
                      <a:pt x="66" y="99"/>
                    </a:lnTo>
                    <a:lnTo>
                      <a:pt x="66" y="83"/>
                    </a:lnTo>
                    <a:lnTo>
                      <a:pt x="73" y="80"/>
                    </a:lnTo>
                    <a:lnTo>
                      <a:pt x="93" y="80"/>
                    </a:lnTo>
                    <a:lnTo>
                      <a:pt x="106" y="66"/>
                    </a:lnTo>
                    <a:lnTo>
                      <a:pt x="119" y="50"/>
                    </a:lnTo>
                    <a:lnTo>
                      <a:pt x="135" y="37"/>
                    </a:lnTo>
                    <a:lnTo>
                      <a:pt x="152" y="27"/>
                    </a:lnTo>
                    <a:lnTo>
                      <a:pt x="172" y="10"/>
                    </a:lnTo>
                    <a:lnTo>
                      <a:pt x="188" y="0"/>
                    </a:lnTo>
                    <a:lnTo>
                      <a:pt x="211" y="4"/>
                    </a:lnTo>
                    <a:lnTo>
                      <a:pt x="228" y="17"/>
                    </a:lnTo>
                    <a:lnTo>
                      <a:pt x="238" y="10"/>
                    </a:lnTo>
                    <a:lnTo>
                      <a:pt x="241" y="10"/>
                    </a:lnTo>
                    <a:lnTo>
                      <a:pt x="241" y="27"/>
                    </a:lnTo>
                    <a:lnTo>
                      <a:pt x="244" y="40"/>
                    </a:lnTo>
                    <a:lnTo>
                      <a:pt x="261" y="60"/>
                    </a:lnTo>
                    <a:lnTo>
                      <a:pt x="251" y="70"/>
                    </a:lnTo>
                    <a:lnTo>
                      <a:pt x="251" y="126"/>
                    </a:lnTo>
                    <a:lnTo>
                      <a:pt x="241" y="136"/>
                    </a:lnTo>
                    <a:lnTo>
                      <a:pt x="234" y="152"/>
                    </a:lnTo>
                    <a:lnTo>
                      <a:pt x="228" y="166"/>
                    </a:lnTo>
                    <a:lnTo>
                      <a:pt x="221" y="175"/>
                    </a:lnTo>
                    <a:lnTo>
                      <a:pt x="221" y="189"/>
                    </a:lnTo>
                    <a:lnTo>
                      <a:pt x="205" y="199"/>
                    </a:lnTo>
                    <a:lnTo>
                      <a:pt x="165" y="199"/>
                    </a:lnTo>
                    <a:lnTo>
                      <a:pt x="149" y="208"/>
                    </a:lnTo>
                    <a:lnTo>
                      <a:pt x="135" y="205"/>
                    </a:lnTo>
                    <a:lnTo>
                      <a:pt x="126" y="199"/>
                    </a:lnTo>
                    <a:lnTo>
                      <a:pt x="106" y="205"/>
                    </a:lnTo>
                    <a:lnTo>
                      <a:pt x="96" y="192"/>
                    </a:lnTo>
                    <a:lnTo>
                      <a:pt x="79" y="189"/>
                    </a:lnTo>
                    <a:lnTo>
                      <a:pt x="66" y="199"/>
                    </a:lnTo>
                    <a:lnTo>
                      <a:pt x="60" y="212"/>
                    </a:lnTo>
                    <a:lnTo>
                      <a:pt x="53" y="222"/>
                    </a:lnTo>
                    <a:lnTo>
                      <a:pt x="53" y="232"/>
                    </a:lnTo>
                    <a:lnTo>
                      <a:pt x="40" y="218"/>
                    </a:lnTo>
                    <a:lnTo>
                      <a:pt x="33" y="222"/>
                    </a:lnTo>
                    <a:lnTo>
                      <a:pt x="33" y="228"/>
                    </a:lnTo>
                    <a:lnTo>
                      <a:pt x="27" y="215"/>
                    </a:lnTo>
                    <a:lnTo>
                      <a:pt x="27" y="21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6" name="Freeform 1444"/>
              <p:cNvSpPr>
                <a:spLocks/>
              </p:cNvSpPr>
              <p:nvPr/>
            </p:nvSpPr>
            <p:spPr bwMode="auto">
              <a:xfrm>
                <a:off x="4549830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7" name="Freeform 1445"/>
              <p:cNvSpPr>
                <a:spLocks/>
              </p:cNvSpPr>
              <p:nvPr/>
            </p:nvSpPr>
            <p:spPr bwMode="auto">
              <a:xfrm>
                <a:off x="4549830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8" name="Freeform 1446"/>
              <p:cNvSpPr>
                <a:spLocks/>
              </p:cNvSpPr>
              <p:nvPr/>
            </p:nvSpPr>
            <p:spPr bwMode="auto">
              <a:xfrm>
                <a:off x="4549830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19" name="Freeform 1447"/>
              <p:cNvSpPr>
                <a:spLocks/>
              </p:cNvSpPr>
              <p:nvPr/>
            </p:nvSpPr>
            <p:spPr bwMode="auto">
              <a:xfrm>
                <a:off x="4549830" y="3178924"/>
                <a:ext cx="104776" cy="225428"/>
              </a:xfrm>
              <a:custGeom>
                <a:avLst/>
                <a:gdLst/>
                <a:ahLst/>
                <a:cxnLst>
                  <a:cxn ang="0">
                    <a:pos x="47" y="133"/>
                  </a:cxn>
                  <a:cxn ang="0">
                    <a:pos x="33" y="142"/>
                  </a:cxn>
                  <a:cxn ang="0">
                    <a:pos x="30" y="123"/>
                  </a:cxn>
                  <a:cxn ang="0">
                    <a:pos x="27" y="106"/>
                  </a:cxn>
                  <a:cxn ang="0">
                    <a:pos x="14" y="90"/>
                  </a:cxn>
                  <a:cxn ang="0">
                    <a:pos x="0" y="73"/>
                  </a:cxn>
                  <a:cxn ang="0">
                    <a:pos x="7" y="57"/>
                  </a:cxn>
                  <a:cxn ang="0">
                    <a:pos x="17" y="43"/>
                  </a:cxn>
                  <a:cxn ang="0">
                    <a:pos x="14" y="14"/>
                  </a:cxn>
                  <a:cxn ang="0">
                    <a:pos x="17" y="10"/>
                  </a:cxn>
                  <a:cxn ang="0">
                    <a:pos x="33" y="0"/>
                  </a:cxn>
                  <a:cxn ang="0">
                    <a:pos x="40" y="4"/>
                  </a:cxn>
                  <a:cxn ang="0">
                    <a:pos x="47" y="14"/>
                  </a:cxn>
                  <a:cxn ang="0">
                    <a:pos x="56" y="4"/>
                  </a:cxn>
                  <a:cxn ang="0">
                    <a:pos x="47" y="30"/>
                  </a:cxn>
                  <a:cxn ang="0">
                    <a:pos x="60" y="43"/>
                  </a:cxn>
                  <a:cxn ang="0">
                    <a:pos x="47" y="53"/>
                  </a:cxn>
                  <a:cxn ang="0">
                    <a:pos x="40" y="63"/>
                  </a:cxn>
                  <a:cxn ang="0">
                    <a:pos x="56" y="76"/>
                  </a:cxn>
                  <a:cxn ang="0">
                    <a:pos x="66" y="83"/>
                  </a:cxn>
                  <a:cxn ang="0">
                    <a:pos x="66" y="96"/>
                  </a:cxn>
                  <a:cxn ang="0">
                    <a:pos x="56" y="109"/>
                  </a:cxn>
                  <a:cxn ang="0">
                    <a:pos x="47" y="116"/>
                  </a:cxn>
                  <a:cxn ang="0">
                    <a:pos x="47" y="133"/>
                  </a:cxn>
                </a:cxnLst>
                <a:rect l="0" t="0" r="r" b="b"/>
                <a:pathLst>
                  <a:path w="66" h="142">
                    <a:moveTo>
                      <a:pt x="47" y="133"/>
                    </a:moveTo>
                    <a:lnTo>
                      <a:pt x="33" y="142"/>
                    </a:lnTo>
                    <a:lnTo>
                      <a:pt x="30" y="123"/>
                    </a:lnTo>
                    <a:lnTo>
                      <a:pt x="27" y="106"/>
                    </a:lnTo>
                    <a:lnTo>
                      <a:pt x="14" y="90"/>
                    </a:lnTo>
                    <a:lnTo>
                      <a:pt x="0" y="73"/>
                    </a:lnTo>
                    <a:lnTo>
                      <a:pt x="7" y="57"/>
                    </a:lnTo>
                    <a:lnTo>
                      <a:pt x="17" y="43"/>
                    </a:lnTo>
                    <a:lnTo>
                      <a:pt x="14" y="14"/>
                    </a:lnTo>
                    <a:lnTo>
                      <a:pt x="17" y="10"/>
                    </a:lnTo>
                    <a:lnTo>
                      <a:pt x="33" y="0"/>
                    </a:lnTo>
                    <a:lnTo>
                      <a:pt x="40" y="4"/>
                    </a:lnTo>
                    <a:lnTo>
                      <a:pt x="47" y="14"/>
                    </a:lnTo>
                    <a:lnTo>
                      <a:pt x="56" y="4"/>
                    </a:lnTo>
                    <a:lnTo>
                      <a:pt x="47" y="30"/>
                    </a:lnTo>
                    <a:lnTo>
                      <a:pt x="60" y="43"/>
                    </a:lnTo>
                    <a:lnTo>
                      <a:pt x="47" y="53"/>
                    </a:lnTo>
                    <a:lnTo>
                      <a:pt x="40" y="63"/>
                    </a:lnTo>
                    <a:lnTo>
                      <a:pt x="56" y="76"/>
                    </a:lnTo>
                    <a:lnTo>
                      <a:pt x="66" y="83"/>
                    </a:lnTo>
                    <a:lnTo>
                      <a:pt x="66" y="96"/>
                    </a:lnTo>
                    <a:lnTo>
                      <a:pt x="56" y="109"/>
                    </a:lnTo>
                    <a:lnTo>
                      <a:pt x="47" y="116"/>
                    </a:lnTo>
                    <a:lnTo>
                      <a:pt x="47" y="1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0" name="Freeform 1448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1" name="Freeform 1449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2" name="Freeform 1450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3" name="Freeform 1451"/>
              <p:cNvSpPr>
                <a:spLocks/>
              </p:cNvSpPr>
              <p:nvPr/>
            </p:nvSpPr>
            <p:spPr bwMode="auto">
              <a:xfrm>
                <a:off x="4356152" y="4002848"/>
                <a:ext cx="58738" cy="15716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14" y="23"/>
                  </a:cxn>
                  <a:cxn ang="0">
                    <a:pos x="14" y="46"/>
                  </a:cxn>
                  <a:cxn ang="0">
                    <a:pos x="20" y="56"/>
                  </a:cxn>
                  <a:cxn ang="0">
                    <a:pos x="20" y="89"/>
                  </a:cxn>
                  <a:cxn ang="0">
                    <a:pos x="27" y="99"/>
                  </a:cxn>
                  <a:cxn ang="0">
                    <a:pos x="37" y="99"/>
                  </a:cxn>
                  <a:cxn ang="0">
                    <a:pos x="37" y="82"/>
                  </a:cxn>
                  <a:cxn ang="0">
                    <a:pos x="33" y="66"/>
                  </a:cxn>
                  <a:cxn ang="0">
                    <a:pos x="33" y="36"/>
                  </a:cxn>
                  <a:cxn ang="0">
                    <a:pos x="27" y="23"/>
                  </a:cxn>
                  <a:cxn ang="0">
                    <a:pos x="20" y="10"/>
                  </a:cxn>
                  <a:cxn ang="0">
                    <a:pos x="20" y="3"/>
                  </a:cxn>
                  <a:cxn ang="0">
                    <a:pos x="20" y="3"/>
                  </a:cxn>
                </a:cxnLst>
                <a:rect l="0" t="0" r="r" b="b"/>
                <a:pathLst>
                  <a:path w="37" h="99">
                    <a:moveTo>
                      <a:pt x="20" y="3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14" y="23"/>
                    </a:lnTo>
                    <a:lnTo>
                      <a:pt x="14" y="46"/>
                    </a:lnTo>
                    <a:lnTo>
                      <a:pt x="20" y="56"/>
                    </a:lnTo>
                    <a:lnTo>
                      <a:pt x="20" y="89"/>
                    </a:lnTo>
                    <a:lnTo>
                      <a:pt x="27" y="99"/>
                    </a:lnTo>
                    <a:lnTo>
                      <a:pt x="37" y="99"/>
                    </a:lnTo>
                    <a:lnTo>
                      <a:pt x="37" y="82"/>
                    </a:lnTo>
                    <a:lnTo>
                      <a:pt x="33" y="66"/>
                    </a:lnTo>
                    <a:lnTo>
                      <a:pt x="33" y="36"/>
                    </a:lnTo>
                    <a:lnTo>
                      <a:pt x="27" y="23"/>
                    </a:lnTo>
                    <a:lnTo>
                      <a:pt x="20" y="10"/>
                    </a:lnTo>
                    <a:lnTo>
                      <a:pt x="20" y="3"/>
                    </a:lnTo>
                    <a:lnTo>
                      <a:pt x="2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4" name="Freeform 1452"/>
              <p:cNvSpPr>
                <a:spLocks/>
              </p:cNvSpPr>
              <p:nvPr/>
            </p:nvSpPr>
            <p:spPr bwMode="auto">
              <a:xfrm>
                <a:off x="4383140" y="3959985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5" name="Freeform 1453"/>
              <p:cNvSpPr>
                <a:spLocks/>
              </p:cNvSpPr>
              <p:nvPr/>
            </p:nvSpPr>
            <p:spPr bwMode="auto">
              <a:xfrm>
                <a:off x="4383140" y="3959985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6" name="Freeform 1454"/>
              <p:cNvSpPr>
                <a:spLocks/>
              </p:cNvSpPr>
              <p:nvPr/>
            </p:nvSpPr>
            <p:spPr bwMode="auto">
              <a:xfrm>
                <a:off x="4383140" y="3959985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7" name="Freeform 1455"/>
              <p:cNvSpPr>
                <a:spLocks/>
              </p:cNvSpPr>
              <p:nvPr/>
            </p:nvSpPr>
            <p:spPr bwMode="auto">
              <a:xfrm>
                <a:off x="4383140" y="3959985"/>
                <a:ext cx="84138" cy="200028"/>
              </a:xfrm>
              <a:custGeom>
                <a:avLst/>
                <a:gdLst/>
                <a:ahLst/>
                <a:cxnLst>
                  <a:cxn ang="0">
                    <a:pos x="7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7" y="47"/>
                  </a:cxn>
                  <a:cxn ang="0">
                    <a:pos x="13" y="63"/>
                  </a:cxn>
                  <a:cxn ang="0">
                    <a:pos x="13" y="93"/>
                  </a:cxn>
                  <a:cxn ang="0">
                    <a:pos x="13" y="109"/>
                  </a:cxn>
                  <a:cxn ang="0">
                    <a:pos x="13" y="126"/>
                  </a:cxn>
                  <a:cxn ang="0">
                    <a:pos x="33" y="119"/>
                  </a:cxn>
                  <a:cxn ang="0">
                    <a:pos x="33" y="93"/>
                  </a:cxn>
                  <a:cxn ang="0">
                    <a:pos x="39" y="63"/>
                  </a:cxn>
                  <a:cxn ang="0">
                    <a:pos x="46" y="43"/>
                  </a:cxn>
                  <a:cxn ang="0">
                    <a:pos x="53" y="23"/>
                  </a:cxn>
                  <a:cxn ang="0">
                    <a:pos x="46" y="14"/>
                  </a:cxn>
                  <a:cxn ang="0">
                    <a:pos x="33" y="0"/>
                  </a:cxn>
                  <a:cxn ang="0">
                    <a:pos x="26" y="4"/>
                  </a:cxn>
                  <a:cxn ang="0">
                    <a:pos x="26" y="14"/>
                  </a:cxn>
                  <a:cxn ang="0">
                    <a:pos x="13" y="20"/>
                  </a:cxn>
                  <a:cxn ang="0">
                    <a:pos x="7" y="27"/>
                  </a:cxn>
                </a:cxnLst>
                <a:rect l="0" t="0" r="r" b="b"/>
                <a:pathLst>
                  <a:path w="53" h="126">
                    <a:moveTo>
                      <a:pt x="7" y="27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7" y="47"/>
                    </a:lnTo>
                    <a:lnTo>
                      <a:pt x="13" y="63"/>
                    </a:lnTo>
                    <a:lnTo>
                      <a:pt x="13" y="93"/>
                    </a:lnTo>
                    <a:lnTo>
                      <a:pt x="13" y="109"/>
                    </a:lnTo>
                    <a:lnTo>
                      <a:pt x="13" y="126"/>
                    </a:lnTo>
                    <a:lnTo>
                      <a:pt x="33" y="119"/>
                    </a:lnTo>
                    <a:lnTo>
                      <a:pt x="33" y="93"/>
                    </a:lnTo>
                    <a:lnTo>
                      <a:pt x="39" y="63"/>
                    </a:lnTo>
                    <a:lnTo>
                      <a:pt x="46" y="43"/>
                    </a:lnTo>
                    <a:lnTo>
                      <a:pt x="53" y="23"/>
                    </a:lnTo>
                    <a:lnTo>
                      <a:pt x="46" y="14"/>
                    </a:lnTo>
                    <a:lnTo>
                      <a:pt x="33" y="0"/>
                    </a:lnTo>
                    <a:lnTo>
                      <a:pt x="26" y="4"/>
                    </a:lnTo>
                    <a:lnTo>
                      <a:pt x="26" y="14"/>
                    </a:lnTo>
                    <a:lnTo>
                      <a:pt x="13" y="20"/>
                    </a:lnTo>
                    <a:lnTo>
                      <a:pt x="7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8" name="Freeform 1456"/>
              <p:cNvSpPr>
                <a:spLocks/>
              </p:cNvSpPr>
              <p:nvPr/>
            </p:nvSpPr>
            <p:spPr bwMode="auto">
              <a:xfrm>
                <a:off x="4214863" y="3877434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29" name="Freeform 1457"/>
              <p:cNvSpPr>
                <a:spLocks/>
              </p:cNvSpPr>
              <p:nvPr/>
            </p:nvSpPr>
            <p:spPr bwMode="auto">
              <a:xfrm>
                <a:off x="4214863" y="3877434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0" name="Freeform 1458"/>
              <p:cNvSpPr>
                <a:spLocks/>
              </p:cNvSpPr>
              <p:nvPr/>
            </p:nvSpPr>
            <p:spPr bwMode="auto">
              <a:xfrm>
                <a:off x="4214863" y="3877434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1" name="Freeform 1459"/>
              <p:cNvSpPr>
                <a:spLocks/>
              </p:cNvSpPr>
              <p:nvPr/>
            </p:nvSpPr>
            <p:spPr bwMode="auto">
              <a:xfrm>
                <a:off x="4214863" y="3877434"/>
                <a:ext cx="215903" cy="177802"/>
              </a:xfrm>
              <a:custGeom>
                <a:avLst/>
                <a:gdLst/>
                <a:ahLst/>
                <a:cxnLst>
                  <a:cxn ang="0">
                    <a:pos x="113" y="82"/>
                  </a:cxn>
                  <a:cxn ang="0">
                    <a:pos x="106" y="82"/>
                  </a:cxn>
                  <a:cxn ang="0">
                    <a:pos x="89" y="75"/>
                  </a:cxn>
                  <a:cxn ang="0">
                    <a:pos x="86" y="82"/>
                  </a:cxn>
                  <a:cxn ang="0">
                    <a:pos x="47" y="82"/>
                  </a:cxn>
                  <a:cxn ang="0">
                    <a:pos x="47" y="112"/>
                  </a:cxn>
                  <a:cxn ang="0">
                    <a:pos x="33" y="102"/>
                  </a:cxn>
                  <a:cxn ang="0">
                    <a:pos x="20" y="108"/>
                  </a:cxn>
                  <a:cxn ang="0">
                    <a:pos x="10" y="95"/>
                  </a:cxn>
                  <a:cxn ang="0">
                    <a:pos x="0" y="92"/>
                  </a:cxn>
                  <a:cxn ang="0">
                    <a:pos x="4" y="69"/>
                  </a:cxn>
                  <a:cxn ang="0">
                    <a:pos x="14" y="62"/>
                  </a:cxn>
                  <a:cxn ang="0">
                    <a:pos x="20" y="52"/>
                  </a:cxn>
                  <a:cxn ang="0">
                    <a:pos x="24" y="42"/>
                  </a:cxn>
                  <a:cxn ang="0">
                    <a:pos x="27" y="33"/>
                  </a:cxn>
                  <a:cxn ang="0">
                    <a:pos x="37" y="36"/>
                  </a:cxn>
                  <a:cxn ang="0">
                    <a:pos x="43" y="29"/>
                  </a:cxn>
                  <a:cxn ang="0">
                    <a:pos x="43" y="29"/>
                  </a:cxn>
                  <a:cxn ang="0">
                    <a:pos x="47" y="19"/>
                  </a:cxn>
                  <a:cxn ang="0">
                    <a:pos x="60" y="19"/>
                  </a:cxn>
                  <a:cxn ang="0">
                    <a:pos x="63" y="9"/>
                  </a:cxn>
                  <a:cxn ang="0">
                    <a:pos x="83" y="0"/>
                  </a:cxn>
                  <a:cxn ang="0">
                    <a:pos x="99" y="0"/>
                  </a:cxn>
                  <a:cxn ang="0">
                    <a:pos x="103" y="19"/>
                  </a:cxn>
                  <a:cxn ang="0">
                    <a:pos x="113" y="33"/>
                  </a:cxn>
                  <a:cxn ang="0">
                    <a:pos x="113" y="39"/>
                  </a:cxn>
                  <a:cxn ang="0">
                    <a:pos x="119" y="49"/>
                  </a:cxn>
                  <a:cxn ang="0">
                    <a:pos x="129" y="49"/>
                  </a:cxn>
                  <a:cxn ang="0">
                    <a:pos x="129" y="52"/>
                  </a:cxn>
                  <a:cxn ang="0">
                    <a:pos x="136" y="62"/>
                  </a:cxn>
                  <a:cxn ang="0">
                    <a:pos x="136" y="69"/>
                  </a:cxn>
                  <a:cxn ang="0">
                    <a:pos x="122" y="72"/>
                  </a:cxn>
                  <a:cxn ang="0">
                    <a:pos x="113" y="82"/>
                  </a:cxn>
                </a:cxnLst>
                <a:rect l="0" t="0" r="r" b="b"/>
                <a:pathLst>
                  <a:path w="136" h="112">
                    <a:moveTo>
                      <a:pt x="113" y="82"/>
                    </a:moveTo>
                    <a:lnTo>
                      <a:pt x="106" y="82"/>
                    </a:lnTo>
                    <a:lnTo>
                      <a:pt x="89" y="75"/>
                    </a:lnTo>
                    <a:lnTo>
                      <a:pt x="86" y="82"/>
                    </a:lnTo>
                    <a:lnTo>
                      <a:pt x="47" y="82"/>
                    </a:lnTo>
                    <a:lnTo>
                      <a:pt x="47" y="112"/>
                    </a:lnTo>
                    <a:lnTo>
                      <a:pt x="33" y="102"/>
                    </a:lnTo>
                    <a:lnTo>
                      <a:pt x="20" y="108"/>
                    </a:lnTo>
                    <a:lnTo>
                      <a:pt x="10" y="95"/>
                    </a:lnTo>
                    <a:lnTo>
                      <a:pt x="0" y="92"/>
                    </a:lnTo>
                    <a:lnTo>
                      <a:pt x="4" y="69"/>
                    </a:lnTo>
                    <a:lnTo>
                      <a:pt x="14" y="62"/>
                    </a:lnTo>
                    <a:lnTo>
                      <a:pt x="20" y="52"/>
                    </a:lnTo>
                    <a:lnTo>
                      <a:pt x="24" y="42"/>
                    </a:lnTo>
                    <a:lnTo>
                      <a:pt x="27" y="33"/>
                    </a:lnTo>
                    <a:lnTo>
                      <a:pt x="37" y="36"/>
                    </a:lnTo>
                    <a:lnTo>
                      <a:pt x="43" y="29"/>
                    </a:lnTo>
                    <a:lnTo>
                      <a:pt x="43" y="29"/>
                    </a:lnTo>
                    <a:lnTo>
                      <a:pt x="47" y="19"/>
                    </a:lnTo>
                    <a:lnTo>
                      <a:pt x="60" y="19"/>
                    </a:lnTo>
                    <a:lnTo>
                      <a:pt x="63" y="9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03" y="19"/>
                    </a:lnTo>
                    <a:lnTo>
                      <a:pt x="113" y="33"/>
                    </a:lnTo>
                    <a:lnTo>
                      <a:pt x="113" y="39"/>
                    </a:lnTo>
                    <a:lnTo>
                      <a:pt x="119" y="49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6" y="62"/>
                    </a:lnTo>
                    <a:lnTo>
                      <a:pt x="136" y="69"/>
                    </a:lnTo>
                    <a:lnTo>
                      <a:pt x="122" y="72"/>
                    </a:lnTo>
                    <a:lnTo>
                      <a:pt x="113" y="8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2" name="Freeform 1460"/>
              <p:cNvSpPr>
                <a:spLocks/>
              </p:cNvSpPr>
              <p:nvPr/>
            </p:nvSpPr>
            <p:spPr bwMode="auto">
              <a:xfrm>
                <a:off x="3964035" y="3955222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3" name="Freeform 1461"/>
              <p:cNvSpPr>
                <a:spLocks/>
              </p:cNvSpPr>
              <p:nvPr/>
            </p:nvSpPr>
            <p:spPr bwMode="auto">
              <a:xfrm>
                <a:off x="3964035" y="3955222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4" name="Freeform 1462"/>
              <p:cNvSpPr>
                <a:spLocks/>
              </p:cNvSpPr>
              <p:nvPr/>
            </p:nvSpPr>
            <p:spPr bwMode="auto">
              <a:xfrm>
                <a:off x="3964035" y="3955222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5" name="Freeform 1463"/>
              <p:cNvSpPr>
                <a:spLocks/>
              </p:cNvSpPr>
              <p:nvPr/>
            </p:nvSpPr>
            <p:spPr bwMode="auto">
              <a:xfrm>
                <a:off x="3964035" y="3955222"/>
                <a:ext cx="188915" cy="168277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32" y="8"/>
                  </a:cxn>
                  <a:cxn ang="0">
                    <a:pos x="33" y="10"/>
                  </a:cxn>
                  <a:cxn ang="0">
                    <a:pos x="35" y="14"/>
                  </a:cxn>
                  <a:cxn ang="0">
                    <a:pos x="35" y="20"/>
                  </a:cxn>
                  <a:cxn ang="0">
                    <a:pos x="36" y="20"/>
                  </a:cxn>
                  <a:cxn ang="0">
                    <a:pos x="36" y="25"/>
                  </a:cxn>
                  <a:cxn ang="0">
                    <a:pos x="34" y="25"/>
                  </a:cxn>
                  <a:cxn ang="0">
                    <a:pos x="35" y="27"/>
                  </a:cxn>
                  <a:cxn ang="0">
                    <a:pos x="33" y="30"/>
                  </a:cxn>
                  <a:cxn ang="0">
                    <a:pos x="32" y="31"/>
                  </a:cxn>
                  <a:cxn ang="0">
                    <a:pos x="30" y="32"/>
                  </a:cxn>
                  <a:cxn ang="0">
                    <a:pos x="28" y="31"/>
                  </a:cxn>
                  <a:cxn ang="0">
                    <a:pos x="27" y="24"/>
                  </a:cxn>
                  <a:cxn ang="0">
                    <a:pos x="24" y="24"/>
                  </a:cxn>
                  <a:cxn ang="0">
                    <a:pos x="22" y="25"/>
                  </a:cxn>
                  <a:cxn ang="0">
                    <a:pos x="22" y="21"/>
                  </a:cxn>
                  <a:cxn ang="0">
                    <a:pos x="19" y="16"/>
                  </a:cxn>
                  <a:cxn ang="0">
                    <a:pos x="13" y="17"/>
                  </a:cxn>
                  <a:cxn ang="0">
                    <a:pos x="9" y="21"/>
                  </a:cxn>
                  <a:cxn ang="0">
                    <a:pos x="9" y="20"/>
                  </a:cxn>
                  <a:cxn ang="0">
                    <a:pos x="7" y="17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1" y="10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12" y="1"/>
                  </a:cxn>
                  <a:cxn ang="0">
                    <a:pos x="18" y="1"/>
                  </a:cxn>
                  <a:cxn ang="0">
                    <a:pos x="18" y="3"/>
                  </a:cxn>
                  <a:cxn ang="0">
                    <a:pos x="30" y="1"/>
                  </a:cxn>
                  <a:cxn ang="0">
                    <a:pos x="31" y="5"/>
                  </a:cxn>
                  <a:cxn ang="0">
                    <a:pos x="33" y="7"/>
                  </a:cxn>
                </a:cxnLst>
                <a:rect l="0" t="0" r="r" b="b"/>
                <a:pathLst>
                  <a:path w="36" h="32">
                    <a:moveTo>
                      <a:pt x="33" y="7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27" y="3"/>
                      <a:pt x="22" y="4"/>
                      <a:pt x="30" y="1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3" y="7"/>
                      <a:pt x="33" y="7"/>
                      <a:pt x="33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6" name="Freeform 1464"/>
              <p:cNvSpPr>
                <a:spLocks/>
              </p:cNvSpPr>
              <p:nvPr/>
            </p:nvSpPr>
            <p:spPr bwMode="auto">
              <a:xfrm>
                <a:off x="4440291" y="3913947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7" name="Freeform 1465"/>
              <p:cNvSpPr>
                <a:spLocks/>
              </p:cNvSpPr>
              <p:nvPr/>
            </p:nvSpPr>
            <p:spPr bwMode="auto">
              <a:xfrm>
                <a:off x="4440291" y="3913947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8" name="Freeform 1466"/>
              <p:cNvSpPr>
                <a:spLocks/>
              </p:cNvSpPr>
              <p:nvPr/>
            </p:nvSpPr>
            <p:spPr bwMode="auto">
              <a:xfrm>
                <a:off x="4440291" y="3913947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39" name="Freeform 1467"/>
              <p:cNvSpPr>
                <a:spLocks/>
              </p:cNvSpPr>
              <p:nvPr/>
            </p:nvSpPr>
            <p:spPr bwMode="auto">
              <a:xfrm>
                <a:off x="4440291" y="3913947"/>
                <a:ext cx="309565" cy="298455"/>
              </a:xfrm>
              <a:custGeom>
                <a:avLst/>
                <a:gdLst/>
                <a:ahLst/>
                <a:cxnLst>
                  <a:cxn ang="0">
                    <a:pos x="39" y="40"/>
                  </a:cxn>
                  <a:cxn ang="0">
                    <a:pos x="35" y="41"/>
                  </a:cxn>
                  <a:cxn ang="0">
                    <a:pos x="33" y="46"/>
                  </a:cxn>
                  <a:cxn ang="0">
                    <a:pos x="30" y="49"/>
                  </a:cxn>
                  <a:cxn ang="0">
                    <a:pos x="29" y="53"/>
                  </a:cxn>
                  <a:cxn ang="0">
                    <a:pos x="27" y="53"/>
                  </a:cxn>
                  <a:cxn ang="0">
                    <a:pos x="27" y="56"/>
                  </a:cxn>
                  <a:cxn ang="0">
                    <a:pos x="23" y="56"/>
                  </a:cxn>
                  <a:cxn ang="0">
                    <a:pos x="22" y="54"/>
                  </a:cxn>
                  <a:cxn ang="0">
                    <a:pos x="21" y="54"/>
                  </a:cxn>
                  <a:cxn ang="0">
                    <a:pos x="19" y="56"/>
                  </a:cxn>
                  <a:cxn ang="0">
                    <a:pos x="19" y="53"/>
                  </a:cxn>
                  <a:cxn ang="0">
                    <a:pos x="19" y="57"/>
                  </a:cxn>
                  <a:cxn ang="0">
                    <a:pos x="19" y="56"/>
                  </a:cxn>
                  <a:cxn ang="0">
                    <a:pos x="15" y="56"/>
                  </a:cxn>
                  <a:cxn ang="0">
                    <a:pos x="4" y="44"/>
                  </a:cxn>
                  <a:cxn ang="0">
                    <a:pos x="5" y="44"/>
                  </a:cxn>
                  <a:cxn ang="0">
                    <a:pos x="0" y="45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4" y="13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11" y="0"/>
                  </a:cxn>
                  <a:cxn ang="0">
                    <a:pos x="17" y="2"/>
                  </a:cxn>
                  <a:cxn ang="0">
                    <a:pos x="19" y="5"/>
                  </a:cxn>
                  <a:cxn ang="0">
                    <a:pos x="25" y="3"/>
                  </a:cxn>
                  <a:cxn ang="0">
                    <a:pos x="29" y="5"/>
                  </a:cxn>
                  <a:cxn ang="0">
                    <a:pos x="33" y="6"/>
                  </a:cxn>
                  <a:cxn ang="0">
                    <a:pos x="38" y="4"/>
                  </a:cxn>
                  <a:cxn ang="0">
                    <a:pos x="48" y="4"/>
                  </a:cxn>
                  <a:cxn ang="0">
                    <a:pos x="54" y="0"/>
                  </a:cxn>
                  <a:cxn ang="0">
                    <a:pos x="56" y="5"/>
                  </a:cxn>
                  <a:cxn ang="0">
                    <a:pos x="57" y="9"/>
                  </a:cxn>
                  <a:cxn ang="0">
                    <a:pos x="59" y="12"/>
                  </a:cxn>
                  <a:cxn ang="0">
                    <a:pos x="58" y="15"/>
                  </a:cxn>
                  <a:cxn ang="0">
                    <a:pos x="55" y="18"/>
                  </a:cxn>
                  <a:cxn ang="0">
                    <a:pos x="53" y="23"/>
                  </a:cxn>
                  <a:cxn ang="0">
                    <a:pos x="50" y="26"/>
                  </a:cxn>
                  <a:cxn ang="0">
                    <a:pos x="48" y="32"/>
                  </a:cxn>
                  <a:cxn ang="0">
                    <a:pos x="47" y="34"/>
                  </a:cxn>
                  <a:cxn ang="0">
                    <a:pos x="45" y="39"/>
                  </a:cxn>
                  <a:cxn ang="0">
                    <a:pos x="42" y="44"/>
                  </a:cxn>
                  <a:cxn ang="0">
                    <a:pos x="39" y="40"/>
                  </a:cxn>
                </a:cxnLst>
                <a:rect l="0" t="0" r="r" b="b"/>
                <a:pathLst>
                  <a:path w="59" h="57">
                    <a:moveTo>
                      <a:pt x="39" y="40"/>
                    </a:moveTo>
                    <a:cubicBezTo>
                      <a:pt x="35" y="41"/>
                      <a:pt x="35" y="41"/>
                      <a:pt x="35" y="41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0" y="44"/>
                      <a:pt x="14" y="51"/>
                      <a:pt x="4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39" y="40"/>
                      <a:pt x="39" y="40"/>
                      <a:pt x="3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0" name="Freeform 1468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1" name="Freeform 1469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2" name="Freeform 1470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3" name="Freeform 1471"/>
              <p:cNvSpPr>
                <a:spLocks/>
              </p:cNvSpPr>
              <p:nvPr/>
            </p:nvSpPr>
            <p:spPr bwMode="auto">
              <a:xfrm>
                <a:off x="2901986" y="4169539"/>
                <a:ext cx="84138" cy="111126"/>
              </a:xfrm>
              <a:custGeom>
                <a:avLst/>
                <a:gdLst/>
                <a:ahLst/>
                <a:cxnLst>
                  <a:cxn ang="0">
                    <a:pos x="43" y="17"/>
                  </a:cxn>
                  <a:cxn ang="0">
                    <a:pos x="27" y="4"/>
                  </a:cxn>
                  <a:cxn ang="0">
                    <a:pos x="14" y="0"/>
                  </a:cxn>
                  <a:cxn ang="0">
                    <a:pos x="7" y="7"/>
                  </a:cxn>
                  <a:cxn ang="0">
                    <a:pos x="7" y="27"/>
                  </a:cxn>
                  <a:cxn ang="0">
                    <a:pos x="14" y="47"/>
                  </a:cxn>
                  <a:cxn ang="0">
                    <a:pos x="0" y="66"/>
                  </a:cxn>
                  <a:cxn ang="0">
                    <a:pos x="14" y="70"/>
                  </a:cxn>
                  <a:cxn ang="0">
                    <a:pos x="30" y="70"/>
                  </a:cxn>
                  <a:cxn ang="0">
                    <a:pos x="43" y="50"/>
                  </a:cxn>
                  <a:cxn ang="0">
                    <a:pos x="53" y="30"/>
                  </a:cxn>
                  <a:cxn ang="0">
                    <a:pos x="50" y="20"/>
                  </a:cxn>
                  <a:cxn ang="0">
                    <a:pos x="50" y="27"/>
                  </a:cxn>
                  <a:cxn ang="0">
                    <a:pos x="43" y="17"/>
                  </a:cxn>
                </a:cxnLst>
                <a:rect l="0" t="0" r="r" b="b"/>
                <a:pathLst>
                  <a:path w="53" h="70">
                    <a:moveTo>
                      <a:pt x="43" y="17"/>
                    </a:moveTo>
                    <a:lnTo>
                      <a:pt x="27" y="4"/>
                    </a:lnTo>
                    <a:lnTo>
                      <a:pt x="14" y="0"/>
                    </a:lnTo>
                    <a:lnTo>
                      <a:pt x="7" y="7"/>
                    </a:lnTo>
                    <a:lnTo>
                      <a:pt x="7" y="27"/>
                    </a:lnTo>
                    <a:lnTo>
                      <a:pt x="14" y="47"/>
                    </a:lnTo>
                    <a:lnTo>
                      <a:pt x="0" y="66"/>
                    </a:lnTo>
                    <a:lnTo>
                      <a:pt x="14" y="70"/>
                    </a:lnTo>
                    <a:lnTo>
                      <a:pt x="30" y="70"/>
                    </a:lnTo>
                    <a:lnTo>
                      <a:pt x="43" y="50"/>
                    </a:lnTo>
                    <a:lnTo>
                      <a:pt x="53" y="30"/>
                    </a:lnTo>
                    <a:lnTo>
                      <a:pt x="50" y="20"/>
                    </a:lnTo>
                    <a:lnTo>
                      <a:pt x="50" y="27"/>
                    </a:lnTo>
                    <a:lnTo>
                      <a:pt x="4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4" name="Freeform 1472"/>
              <p:cNvSpPr>
                <a:spLocks/>
              </p:cNvSpPr>
              <p:nvPr/>
            </p:nvSpPr>
            <p:spPr bwMode="auto">
              <a:xfrm>
                <a:off x="2263803" y="3959985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5" name="Freeform 1473"/>
              <p:cNvSpPr>
                <a:spLocks/>
              </p:cNvSpPr>
              <p:nvPr/>
            </p:nvSpPr>
            <p:spPr bwMode="auto">
              <a:xfrm>
                <a:off x="2263803" y="3959985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6" name="Freeform 1474"/>
              <p:cNvSpPr>
                <a:spLocks/>
              </p:cNvSpPr>
              <p:nvPr/>
            </p:nvSpPr>
            <p:spPr bwMode="auto">
              <a:xfrm>
                <a:off x="2263803" y="3959985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7" name="Freeform 1475"/>
              <p:cNvSpPr>
                <a:spLocks/>
              </p:cNvSpPr>
              <p:nvPr/>
            </p:nvSpPr>
            <p:spPr bwMode="auto">
              <a:xfrm>
                <a:off x="2263803" y="3959985"/>
                <a:ext cx="319090" cy="523883"/>
              </a:xfrm>
              <a:custGeom>
                <a:avLst/>
                <a:gdLst/>
                <a:ahLst/>
                <a:cxnLst>
                  <a:cxn ang="0">
                    <a:pos x="79" y="27"/>
                  </a:cxn>
                  <a:cxn ang="0">
                    <a:pos x="69" y="27"/>
                  </a:cxn>
                  <a:cxn ang="0">
                    <a:pos x="56" y="56"/>
                  </a:cxn>
                  <a:cxn ang="0">
                    <a:pos x="33" y="83"/>
                  </a:cxn>
                  <a:cxn ang="0">
                    <a:pos x="27" y="70"/>
                  </a:cxn>
                  <a:cxn ang="0">
                    <a:pos x="23" y="89"/>
                  </a:cxn>
                  <a:cxn ang="0">
                    <a:pos x="23" y="109"/>
                  </a:cxn>
                  <a:cxn ang="0">
                    <a:pos x="23" y="139"/>
                  </a:cxn>
                  <a:cxn ang="0">
                    <a:pos x="27" y="165"/>
                  </a:cxn>
                  <a:cxn ang="0">
                    <a:pos x="7" y="195"/>
                  </a:cxn>
                  <a:cxn ang="0">
                    <a:pos x="0" y="205"/>
                  </a:cxn>
                  <a:cxn ang="0">
                    <a:pos x="13" y="225"/>
                  </a:cxn>
                  <a:cxn ang="0">
                    <a:pos x="40" y="235"/>
                  </a:cxn>
                  <a:cxn ang="0">
                    <a:pos x="60" y="245"/>
                  </a:cxn>
                  <a:cxn ang="0">
                    <a:pos x="79" y="268"/>
                  </a:cxn>
                  <a:cxn ang="0">
                    <a:pos x="96" y="288"/>
                  </a:cxn>
                  <a:cxn ang="0">
                    <a:pos x="145" y="294"/>
                  </a:cxn>
                  <a:cxn ang="0">
                    <a:pos x="149" y="330"/>
                  </a:cxn>
                  <a:cxn ang="0">
                    <a:pos x="158" y="271"/>
                  </a:cxn>
                  <a:cxn ang="0">
                    <a:pos x="149" y="231"/>
                  </a:cxn>
                  <a:cxn ang="0">
                    <a:pos x="162" y="225"/>
                  </a:cxn>
                  <a:cxn ang="0">
                    <a:pos x="152" y="212"/>
                  </a:cxn>
                  <a:cxn ang="0">
                    <a:pos x="178" y="205"/>
                  </a:cxn>
                  <a:cxn ang="0">
                    <a:pos x="191" y="205"/>
                  </a:cxn>
                  <a:cxn ang="0">
                    <a:pos x="201" y="218"/>
                  </a:cxn>
                  <a:cxn ang="0">
                    <a:pos x="188" y="185"/>
                  </a:cxn>
                  <a:cxn ang="0">
                    <a:pos x="185" y="155"/>
                  </a:cxn>
                  <a:cxn ang="0">
                    <a:pos x="195" y="122"/>
                  </a:cxn>
                  <a:cxn ang="0">
                    <a:pos x="149" y="109"/>
                  </a:cxn>
                  <a:cxn ang="0">
                    <a:pos x="122" y="103"/>
                  </a:cxn>
                  <a:cxn ang="0">
                    <a:pos x="112" y="83"/>
                  </a:cxn>
                  <a:cxn ang="0">
                    <a:pos x="96" y="60"/>
                  </a:cxn>
                  <a:cxn ang="0">
                    <a:pos x="112" y="27"/>
                  </a:cxn>
                  <a:cxn ang="0">
                    <a:pos x="132" y="7"/>
                  </a:cxn>
                  <a:cxn ang="0">
                    <a:pos x="122" y="0"/>
                  </a:cxn>
                  <a:cxn ang="0">
                    <a:pos x="93" y="23"/>
                  </a:cxn>
                </a:cxnLst>
                <a:rect l="0" t="0" r="r" b="b"/>
                <a:pathLst>
                  <a:path w="201" h="330">
                    <a:moveTo>
                      <a:pt x="83" y="23"/>
                    </a:moveTo>
                    <a:lnTo>
                      <a:pt x="79" y="27"/>
                    </a:lnTo>
                    <a:lnTo>
                      <a:pt x="79" y="27"/>
                    </a:lnTo>
                    <a:lnTo>
                      <a:pt x="69" y="27"/>
                    </a:lnTo>
                    <a:lnTo>
                      <a:pt x="60" y="47"/>
                    </a:lnTo>
                    <a:lnTo>
                      <a:pt x="56" y="56"/>
                    </a:lnTo>
                    <a:lnTo>
                      <a:pt x="40" y="73"/>
                    </a:lnTo>
                    <a:lnTo>
                      <a:pt x="33" y="83"/>
                    </a:lnTo>
                    <a:lnTo>
                      <a:pt x="30" y="76"/>
                    </a:lnTo>
                    <a:lnTo>
                      <a:pt x="27" y="70"/>
                    </a:lnTo>
                    <a:lnTo>
                      <a:pt x="27" y="89"/>
                    </a:lnTo>
                    <a:lnTo>
                      <a:pt x="23" y="89"/>
                    </a:lnTo>
                    <a:lnTo>
                      <a:pt x="17" y="99"/>
                    </a:lnTo>
                    <a:lnTo>
                      <a:pt x="23" y="109"/>
                    </a:lnTo>
                    <a:lnTo>
                      <a:pt x="27" y="126"/>
                    </a:lnTo>
                    <a:lnTo>
                      <a:pt x="23" y="139"/>
                    </a:lnTo>
                    <a:lnTo>
                      <a:pt x="23" y="152"/>
                    </a:lnTo>
                    <a:lnTo>
                      <a:pt x="27" y="165"/>
                    </a:lnTo>
                    <a:lnTo>
                      <a:pt x="17" y="185"/>
                    </a:lnTo>
                    <a:lnTo>
                      <a:pt x="7" y="195"/>
                    </a:lnTo>
                    <a:lnTo>
                      <a:pt x="4" y="205"/>
                    </a:lnTo>
                    <a:lnTo>
                      <a:pt x="0" y="205"/>
                    </a:lnTo>
                    <a:lnTo>
                      <a:pt x="0" y="215"/>
                    </a:lnTo>
                    <a:lnTo>
                      <a:pt x="13" y="225"/>
                    </a:lnTo>
                    <a:lnTo>
                      <a:pt x="23" y="235"/>
                    </a:lnTo>
                    <a:lnTo>
                      <a:pt x="40" y="235"/>
                    </a:lnTo>
                    <a:lnTo>
                      <a:pt x="60" y="248"/>
                    </a:lnTo>
                    <a:lnTo>
                      <a:pt x="60" y="245"/>
                    </a:lnTo>
                    <a:lnTo>
                      <a:pt x="69" y="255"/>
                    </a:lnTo>
                    <a:lnTo>
                      <a:pt x="79" y="268"/>
                    </a:lnTo>
                    <a:lnTo>
                      <a:pt x="93" y="281"/>
                    </a:lnTo>
                    <a:lnTo>
                      <a:pt x="96" y="288"/>
                    </a:lnTo>
                    <a:lnTo>
                      <a:pt x="126" y="288"/>
                    </a:lnTo>
                    <a:lnTo>
                      <a:pt x="145" y="294"/>
                    </a:lnTo>
                    <a:lnTo>
                      <a:pt x="139" y="321"/>
                    </a:lnTo>
                    <a:lnTo>
                      <a:pt x="149" y="330"/>
                    </a:lnTo>
                    <a:lnTo>
                      <a:pt x="155" y="301"/>
                    </a:lnTo>
                    <a:lnTo>
                      <a:pt x="158" y="271"/>
                    </a:lnTo>
                    <a:lnTo>
                      <a:pt x="152" y="251"/>
                    </a:lnTo>
                    <a:lnTo>
                      <a:pt x="149" y="231"/>
                    </a:lnTo>
                    <a:lnTo>
                      <a:pt x="158" y="231"/>
                    </a:lnTo>
                    <a:lnTo>
                      <a:pt x="162" y="225"/>
                    </a:lnTo>
                    <a:lnTo>
                      <a:pt x="152" y="222"/>
                    </a:lnTo>
                    <a:lnTo>
                      <a:pt x="152" y="212"/>
                    </a:lnTo>
                    <a:lnTo>
                      <a:pt x="182" y="212"/>
                    </a:lnTo>
                    <a:lnTo>
                      <a:pt x="178" y="205"/>
                    </a:lnTo>
                    <a:lnTo>
                      <a:pt x="182" y="212"/>
                    </a:lnTo>
                    <a:lnTo>
                      <a:pt x="191" y="205"/>
                    </a:lnTo>
                    <a:lnTo>
                      <a:pt x="198" y="218"/>
                    </a:lnTo>
                    <a:lnTo>
                      <a:pt x="201" y="218"/>
                    </a:lnTo>
                    <a:lnTo>
                      <a:pt x="198" y="205"/>
                    </a:lnTo>
                    <a:lnTo>
                      <a:pt x="188" y="185"/>
                    </a:lnTo>
                    <a:lnTo>
                      <a:pt x="195" y="175"/>
                    </a:lnTo>
                    <a:lnTo>
                      <a:pt x="185" y="155"/>
                    </a:lnTo>
                    <a:lnTo>
                      <a:pt x="188" y="139"/>
                    </a:lnTo>
                    <a:lnTo>
                      <a:pt x="195" y="122"/>
                    </a:lnTo>
                    <a:lnTo>
                      <a:pt x="162" y="122"/>
                    </a:lnTo>
                    <a:lnTo>
                      <a:pt x="149" y="109"/>
                    </a:lnTo>
                    <a:lnTo>
                      <a:pt x="132" y="103"/>
                    </a:lnTo>
                    <a:lnTo>
                      <a:pt x="122" y="103"/>
                    </a:lnTo>
                    <a:lnTo>
                      <a:pt x="109" y="96"/>
                    </a:lnTo>
                    <a:lnTo>
                      <a:pt x="112" y="83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102" y="47"/>
                    </a:lnTo>
                    <a:lnTo>
                      <a:pt x="112" y="27"/>
                    </a:lnTo>
                    <a:lnTo>
                      <a:pt x="122" y="10"/>
                    </a:lnTo>
                    <a:lnTo>
                      <a:pt x="132" y="7"/>
                    </a:lnTo>
                    <a:lnTo>
                      <a:pt x="132" y="0"/>
                    </a:lnTo>
                    <a:lnTo>
                      <a:pt x="122" y="0"/>
                    </a:lnTo>
                    <a:lnTo>
                      <a:pt x="109" y="10"/>
                    </a:lnTo>
                    <a:lnTo>
                      <a:pt x="93" y="23"/>
                    </a:lnTo>
                    <a:lnTo>
                      <a:pt x="83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8" name="Freeform 1476"/>
              <p:cNvSpPr>
                <a:spLocks/>
              </p:cNvSpPr>
              <p:nvPr/>
            </p:nvSpPr>
            <p:spPr bwMode="auto">
              <a:xfrm>
                <a:off x="2730533" y="4080636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49" name="Freeform 1477"/>
              <p:cNvSpPr>
                <a:spLocks/>
              </p:cNvSpPr>
              <p:nvPr/>
            </p:nvSpPr>
            <p:spPr bwMode="auto">
              <a:xfrm>
                <a:off x="2730533" y="4080636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0" name="Freeform 1478"/>
              <p:cNvSpPr>
                <a:spLocks/>
              </p:cNvSpPr>
              <p:nvPr/>
            </p:nvSpPr>
            <p:spPr bwMode="auto">
              <a:xfrm>
                <a:off x="2730533" y="4080636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1" name="Freeform 1479"/>
              <p:cNvSpPr>
                <a:spLocks/>
              </p:cNvSpPr>
              <p:nvPr/>
            </p:nvSpPr>
            <p:spPr bwMode="auto">
              <a:xfrm>
                <a:off x="2730533" y="4080636"/>
                <a:ext cx="125415" cy="225428"/>
              </a:xfrm>
              <a:custGeom>
                <a:avLst/>
                <a:gdLst/>
                <a:ahLst/>
                <a:cxnLst>
                  <a:cxn ang="0">
                    <a:pos x="62" y="103"/>
                  </a:cxn>
                  <a:cxn ang="0">
                    <a:pos x="52" y="89"/>
                  </a:cxn>
                  <a:cxn ang="0">
                    <a:pos x="59" y="73"/>
                  </a:cxn>
                  <a:cxn ang="0">
                    <a:pos x="62" y="70"/>
                  </a:cxn>
                  <a:cxn ang="0">
                    <a:pos x="69" y="63"/>
                  </a:cxn>
                  <a:cxn ang="0">
                    <a:pos x="69" y="43"/>
                  </a:cxn>
                  <a:cxn ang="0">
                    <a:pos x="49" y="33"/>
                  </a:cxn>
                  <a:cxn ang="0">
                    <a:pos x="42" y="40"/>
                  </a:cxn>
                  <a:cxn ang="0">
                    <a:pos x="46" y="20"/>
                  </a:cxn>
                  <a:cxn ang="0">
                    <a:pos x="36" y="10"/>
                  </a:cxn>
                  <a:cxn ang="0">
                    <a:pos x="26" y="4"/>
                  </a:cxn>
                  <a:cxn ang="0">
                    <a:pos x="29" y="7"/>
                  </a:cxn>
                  <a:cxn ang="0">
                    <a:pos x="23" y="0"/>
                  </a:cxn>
                  <a:cxn ang="0">
                    <a:pos x="26" y="4"/>
                  </a:cxn>
                  <a:cxn ang="0">
                    <a:pos x="9" y="20"/>
                  </a:cxn>
                  <a:cxn ang="0">
                    <a:pos x="16" y="30"/>
                  </a:cxn>
                  <a:cxn ang="0">
                    <a:pos x="3" y="37"/>
                  </a:cxn>
                  <a:cxn ang="0">
                    <a:pos x="0" y="50"/>
                  </a:cxn>
                  <a:cxn ang="0">
                    <a:pos x="6" y="63"/>
                  </a:cxn>
                  <a:cxn ang="0">
                    <a:pos x="16" y="63"/>
                  </a:cxn>
                  <a:cxn ang="0">
                    <a:pos x="16" y="76"/>
                  </a:cxn>
                  <a:cxn ang="0">
                    <a:pos x="26" y="86"/>
                  </a:cxn>
                  <a:cxn ang="0">
                    <a:pos x="23" y="106"/>
                  </a:cxn>
                  <a:cxn ang="0">
                    <a:pos x="26" y="129"/>
                  </a:cxn>
                  <a:cxn ang="0">
                    <a:pos x="36" y="142"/>
                  </a:cxn>
                  <a:cxn ang="0">
                    <a:pos x="46" y="142"/>
                  </a:cxn>
                  <a:cxn ang="0">
                    <a:pos x="62" y="132"/>
                  </a:cxn>
                  <a:cxn ang="0">
                    <a:pos x="79" y="132"/>
                  </a:cxn>
                  <a:cxn ang="0">
                    <a:pos x="72" y="116"/>
                  </a:cxn>
                  <a:cxn ang="0">
                    <a:pos x="62" y="103"/>
                  </a:cxn>
                </a:cxnLst>
                <a:rect l="0" t="0" r="r" b="b"/>
                <a:pathLst>
                  <a:path w="79" h="142">
                    <a:moveTo>
                      <a:pt x="62" y="103"/>
                    </a:moveTo>
                    <a:lnTo>
                      <a:pt x="52" y="89"/>
                    </a:lnTo>
                    <a:lnTo>
                      <a:pt x="59" y="73"/>
                    </a:lnTo>
                    <a:lnTo>
                      <a:pt x="62" y="70"/>
                    </a:lnTo>
                    <a:lnTo>
                      <a:pt x="69" y="63"/>
                    </a:lnTo>
                    <a:lnTo>
                      <a:pt x="69" y="43"/>
                    </a:lnTo>
                    <a:lnTo>
                      <a:pt x="49" y="33"/>
                    </a:lnTo>
                    <a:lnTo>
                      <a:pt x="42" y="40"/>
                    </a:lnTo>
                    <a:lnTo>
                      <a:pt x="46" y="20"/>
                    </a:lnTo>
                    <a:lnTo>
                      <a:pt x="36" y="10"/>
                    </a:lnTo>
                    <a:lnTo>
                      <a:pt x="26" y="4"/>
                    </a:lnTo>
                    <a:lnTo>
                      <a:pt x="29" y="7"/>
                    </a:lnTo>
                    <a:lnTo>
                      <a:pt x="23" y="0"/>
                    </a:lnTo>
                    <a:lnTo>
                      <a:pt x="26" y="4"/>
                    </a:lnTo>
                    <a:lnTo>
                      <a:pt x="9" y="20"/>
                    </a:lnTo>
                    <a:lnTo>
                      <a:pt x="16" y="30"/>
                    </a:lnTo>
                    <a:lnTo>
                      <a:pt x="3" y="37"/>
                    </a:lnTo>
                    <a:lnTo>
                      <a:pt x="0" y="50"/>
                    </a:lnTo>
                    <a:lnTo>
                      <a:pt x="6" y="63"/>
                    </a:lnTo>
                    <a:lnTo>
                      <a:pt x="16" y="63"/>
                    </a:lnTo>
                    <a:lnTo>
                      <a:pt x="16" y="76"/>
                    </a:lnTo>
                    <a:lnTo>
                      <a:pt x="26" y="86"/>
                    </a:lnTo>
                    <a:lnTo>
                      <a:pt x="23" y="106"/>
                    </a:lnTo>
                    <a:lnTo>
                      <a:pt x="26" y="129"/>
                    </a:lnTo>
                    <a:lnTo>
                      <a:pt x="36" y="142"/>
                    </a:lnTo>
                    <a:lnTo>
                      <a:pt x="46" y="142"/>
                    </a:lnTo>
                    <a:lnTo>
                      <a:pt x="62" y="132"/>
                    </a:lnTo>
                    <a:lnTo>
                      <a:pt x="79" y="132"/>
                    </a:lnTo>
                    <a:lnTo>
                      <a:pt x="72" y="116"/>
                    </a:lnTo>
                    <a:lnTo>
                      <a:pt x="62" y="10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2" name="Freeform 1480"/>
              <p:cNvSpPr>
                <a:spLocks/>
              </p:cNvSpPr>
              <p:nvPr/>
            </p:nvSpPr>
            <p:spPr bwMode="auto">
              <a:xfrm>
                <a:off x="2813083" y="4164776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3" name="Freeform 1481"/>
              <p:cNvSpPr>
                <a:spLocks/>
              </p:cNvSpPr>
              <p:nvPr/>
            </p:nvSpPr>
            <p:spPr bwMode="auto">
              <a:xfrm>
                <a:off x="2813083" y="4164776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4" name="Freeform 1482"/>
              <p:cNvSpPr>
                <a:spLocks/>
              </p:cNvSpPr>
              <p:nvPr/>
            </p:nvSpPr>
            <p:spPr bwMode="auto">
              <a:xfrm>
                <a:off x="2813083" y="4164776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5" name="Freeform 1483"/>
              <p:cNvSpPr>
                <a:spLocks/>
              </p:cNvSpPr>
              <p:nvPr/>
            </p:nvSpPr>
            <p:spPr bwMode="auto">
              <a:xfrm>
                <a:off x="2813083" y="4164776"/>
                <a:ext cx="115888" cy="125414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40"/>
                  </a:cxn>
                  <a:cxn ang="0">
                    <a:pos x="7" y="20"/>
                  </a:cxn>
                  <a:cxn ang="0">
                    <a:pos x="13" y="17"/>
                  </a:cxn>
                  <a:cxn ang="0">
                    <a:pos x="17" y="10"/>
                  </a:cxn>
                  <a:cxn ang="0">
                    <a:pos x="20" y="0"/>
                  </a:cxn>
                  <a:cxn ang="0">
                    <a:pos x="40" y="3"/>
                  </a:cxn>
                  <a:cxn ang="0">
                    <a:pos x="53" y="3"/>
                  </a:cxn>
                  <a:cxn ang="0">
                    <a:pos x="53" y="0"/>
                  </a:cxn>
                  <a:cxn ang="0">
                    <a:pos x="73" y="3"/>
                  </a:cxn>
                  <a:cxn ang="0">
                    <a:pos x="66" y="10"/>
                  </a:cxn>
                  <a:cxn ang="0">
                    <a:pos x="63" y="30"/>
                  </a:cxn>
                  <a:cxn ang="0">
                    <a:pos x="73" y="50"/>
                  </a:cxn>
                  <a:cxn ang="0">
                    <a:pos x="60" y="69"/>
                  </a:cxn>
                  <a:cxn ang="0">
                    <a:pos x="46" y="63"/>
                  </a:cxn>
                  <a:cxn ang="0">
                    <a:pos x="33" y="69"/>
                  </a:cxn>
                  <a:cxn ang="0">
                    <a:pos x="33" y="79"/>
                  </a:cxn>
                  <a:cxn ang="0">
                    <a:pos x="27" y="79"/>
                  </a:cxn>
                  <a:cxn ang="0">
                    <a:pos x="20" y="63"/>
                  </a:cxn>
                  <a:cxn ang="0">
                    <a:pos x="13" y="50"/>
                  </a:cxn>
                </a:cxnLst>
                <a:rect l="0" t="0" r="r" b="b"/>
                <a:pathLst>
                  <a:path w="73" h="79">
                    <a:moveTo>
                      <a:pt x="13" y="50"/>
                    </a:moveTo>
                    <a:lnTo>
                      <a:pt x="0" y="40"/>
                    </a:lnTo>
                    <a:lnTo>
                      <a:pt x="7" y="20"/>
                    </a:lnTo>
                    <a:lnTo>
                      <a:pt x="13" y="17"/>
                    </a:lnTo>
                    <a:lnTo>
                      <a:pt x="17" y="10"/>
                    </a:lnTo>
                    <a:lnTo>
                      <a:pt x="20" y="0"/>
                    </a:lnTo>
                    <a:lnTo>
                      <a:pt x="40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73" y="3"/>
                    </a:lnTo>
                    <a:lnTo>
                      <a:pt x="66" y="10"/>
                    </a:lnTo>
                    <a:lnTo>
                      <a:pt x="63" y="30"/>
                    </a:lnTo>
                    <a:lnTo>
                      <a:pt x="73" y="50"/>
                    </a:lnTo>
                    <a:lnTo>
                      <a:pt x="60" y="69"/>
                    </a:lnTo>
                    <a:lnTo>
                      <a:pt x="46" y="63"/>
                    </a:lnTo>
                    <a:lnTo>
                      <a:pt x="33" y="69"/>
                    </a:lnTo>
                    <a:lnTo>
                      <a:pt x="33" y="79"/>
                    </a:lnTo>
                    <a:lnTo>
                      <a:pt x="27" y="79"/>
                    </a:lnTo>
                    <a:lnTo>
                      <a:pt x="20" y="63"/>
                    </a:lnTo>
                    <a:lnTo>
                      <a:pt x="13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6" name="Freeform 1484"/>
              <p:cNvSpPr>
                <a:spLocks/>
              </p:cNvSpPr>
              <p:nvPr/>
            </p:nvSpPr>
            <p:spPr bwMode="auto">
              <a:xfrm>
                <a:off x="2416204" y="3966335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7" name="Freeform 1485"/>
              <p:cNvSpPr>
                <a:spLocks/>
              </p:cNvSpPr>
              <p:nvPr/>
            </p:nvSpPr>
            <p:spPr bwMode="auto">
              <a:xfrm>
                <a:off x="2416204" y="3966335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8" name="Freeform 1486"/>
              <p:cNvSpPr>
                <a:spLocks/>
              </p:cNvSpPr>
              <p:nvPr/>
            </p:nvSpPr>
            <p:spPr bwMode="auto">
              <a:xfrm>
                <a:off x="2416204" y="3966335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59" name="Freeform 1487"/>
              <p:cNvSpPr>
                <a:spLocks/>
              </p:cNvSpPr>
              <p:nvPr/>
            </p:nvSpPr>
            <p:spPr bwMode="auto">
              <a:xfrm>
                <a:off x="2416204" y="3966335"/>
                <a:ext cx="355605" cy="360368"/>
              </a:xfrm>
              <a:custGeom>
                <a:avLst/>
                <a:gdLst/>
                <a:ahLst/>
                <a:cxnLst>
                  <a:cxn ang="0">
                    <a:pos x="184" y="46"/>
                  </a:cxn>
                  <a:cxn ang="0">
                    <a:pos x="175" y="43"/>
                  </a:cxn>
                  <a:cxn ang="0">
                    <a:pos x="175" y="33"/>
                  </a:cxn>
                  <a:cxn ang="0">
                    <a:pos x="151" y="29"/>
                  </a:cxn>
                  <a:cxn ang="0">
                    <a:pos x="145" y="43"/>
                  </a:cxn>
                  <a:cxn ang="0">
                    <a:pos x="92" y="33"/>
                  </a:cxn>
                  <a:cxn ang="0">
                    <a:pos x="66" y="10"/>
                  </a:cxn>
                  <a:cxn ang="0">
                    <a:pos x="53" y="10"/>
                  </a:cxn>
                  <a:cxn ang="0">
                    <a:pos x="59" y="10"/>
                  </a:cxn>
                  <a:cxn ang="0">
                    <a:pos x="33" y="26"/>
                  </a:cxn>
                  <a:cxn ang="0">
                    <a:pos x="30" y="59"/>
                  </a:cxn>
                  <a:cxn ang="0">
                    <a:pos x="30" y="29"/>
                  </a:cxn>
                  <a:cxn ang="0">
                    <a:pos x="36" y="3"/>
                  </a:cxn>
                  <a:cxn ang="0">
                    <a:pos x="16" y="26"/>
                  </a:cxn>
                  <a:cxn ang="0">
                    <a:pos x="0" y="59"/>
                  </a:cxn>
                  <a:cxn ang="0">
                    <a:pos x="16" y="82"/>
                  </a:cxn>
                  <a:cxn ang="0">
                    <a:pos x="26" y="102"/>
                  </a:cxn>
                  <a:cxn ang="0">
                    <a:pos x="53" y="105"/>
                  </a:cxn>
                  <a:cxn ang="0">
                    <a:pos x="99" y="118"/>
                  </a:cxn>
                  <a:cxn ang="0">
                    <a:pos x="86" y="151"/>
                  </a:cxn>
                  <a:cxn ang="0">
                    <a:pos x="92" y="185"/>
                  </a:cxn>
                  <a:cxn ang="0">
                    <a:pos x="105" y="214"/>
                  </a:cxn>
                  <a:cxn ang="0">
                    <a:pos x="132" y="227"/>
                  </a:cxn>
                  <a:cxn ang="0">
                    <a:pos x="158" y="201"/>
                  </a:cxn>
                  <a:cxn ang="0">
                    <a:pos x="151" y="188"/>
                  </a:cxn>
                  <a:cxn ang="0">
                    <a:pos x="145" y="155"/>
                  </a:cxn>
                  <a:cxn ang="0">
                    <a:pos x="175" y="168"/>
                  </a:cxn>
                  <a:cxn ang="0">
                    <a:pos x="188" y="155"/>
                  </a:cxn>
                  <a:cxn ang="0">
                    <a:pos x="211" y="135"/>
                  </a:cxn>
                  <a:cxn ang="0">
                    <a:pos x="198" y="122"/>
                  </a:cxn>
                  <a:cxn ang="0">
                    <a:pos x="217" y="102"/>
                  </a:cxn>
                  <a:cxn ang="0">
                    <a:pos x="224" y="72"/>
                  </a:cxn>
                  <a:cxn ang="0">
                    <a:pos x="198" y="72"/>
                  </a:cxn>
                  <a:cxn ang="0">
                    <a:pos x="204" y="59"/>
                  </a:cxn>
                  <a:cxn ang="0">
                    <a:pos x="198" y="46"/>
                  </a:cxn>
                  <a:cxn ang="0">
                    <a:pos x="184" y="46"/>
                  </a:cxn>
                </a:cxnLst>
                <a:rect l="0" t="0" r="r" b="b"/>
                <a:pathLst>
                  <a:path w="224" h="227">
                    <a:moveTo>
                      <a:pt x="184" y="49"/>
                    </a:moveTo>
                    <a:lnTo>
                      <a:pt x="184" y="46"/>
                    </a:lnTo>
                    <a:lnTo>
                      <a:pt x="181" y="43"/>
                    </a:lnTo>
                    <a:lnTo>
                      <a:pt x="175" y="43"/>
                    </a:lnTo>
                    <a:lnTo>
                      <a:pt x="178" y="43"/>
                    </a:lnTo>
                    <a:lnTo>
                      <a:pt x="175" y="33"/>
                    </a:lnTo>
                    <a:lnTo>
                      <a:pt x="191" y="29"/>
                    </a:lnTo>
                    <a:lnTo>
                      <a:pt x="151" y="29"/>
                    </a:lnTo>
                    <a:lnTo>
                      <a:pt x="158" y="33"/>
                    </a:lnTo>
                    <a:lnTo>
                      <a:pt x="145" y="43"/>
                    </a:lnTo>
                    <a:lnTo>
                      <a:pt x="122" y="33"/>
                    </a:lnTo>
                    <a:lnTo>
                      <a:pt x="92" y="33"/>
                    </a:lnTo>
                    <a:lnTo>
                      <a:pt x="82" y="19"/>
                    </a:lnTo>
                    <a:lnTo>
                      <a:pt x="66" y="10"/>
                    </a:lnTo>
                    <a:lnTo>
                      <a:pt x="59" y="0"/>
                    </a:lnTo>
                    <a:lnTo>
                      <a:pt x="53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36" y="23"/>
                    </a:lnTo>
                    <a:lnTo>
                      <a:pt x="33" y="26"/>
                    </a:lnTo>
                    <a:lnTo>
                      <a:pt x="36" y="52"/>
                    </a:lnTo>
                    <a:lnTo>
                      <a:pt x="30" y="59"/>
                    </a:lnTo>
                    <a:lnTo>
                      <a:pt x="20" y="49"/>
                    </a:lnTo>
                    <a:lnTo>
                      <a:pt x="30" y="29"/>
                    </a:lnTo>
                    <a:lnTo>
                      <a:pt x="26" y="13"/>
                    </a:lnTo>
                    <a:lnTo>
                      <a:pt x="36" y="3"/>
                    </a:lnTo>
                    <a:lnTo>
                      <a:pt x="26" y="10"/>
                    </a:lnTo>
                    <a:lnTo>
                      <a:pt x="16" y="26"/>
                    </a:lnTo>
                    <a:lnTo>
                      <a:pt x="6" y="43"/>
                    </a:lnTo>
                    <a:lnTo>
                      <a:pt x="0" y="59"/>
                    </a:lnTo>
                    <a:lnTo>
                      <a:pt x="6" y="59"/>
                    </a:lnTo>
                    <a:lnTo>
                      <a:pt x="16" y="82"/>
                    </a:lnTo>
                    <a:lnTo>
                      <a:pt x="13" y="92"/>
                    </a:lnTo>
                    <a:lnTo>
                      <a:pt x="26" y="102"/>
                    </a:lnTo>
                    <a:lnTo>
                      <a:pt x="36" y="102"/>
                    </a:lnTo>
                    <a:lnTo>
                      <a:pt x="53" y="105"/>
                    </a:lnTo>
                    <a:lnTo>
                      <a:pt x="66" y="118"/>
                    </a:lnTo>
                    <a:lnTo>
                      <a:pt x="99" y="118"/>
                    </a:lnTo>
                    <a:lnTo>
                      <a:pt x="92" y="135"/>
                    </a:lnTo>
                    <a:lnTo>
                      <a:pt x="86" y="151"/>
                    </a:lnTo>
                    <a:lnTo>
                      <a:pt x="99" y="175"/>
                    </a:lnTo>
                    <a:lnTo>
                      <a:pt x="92" y="185"/>
                    </a:lnTo>
                    <a:lnTo>
                      <a:pt x="99" y="201"/>
                    </a:lnTo>
                    <a:lnTo>
                      <a:pt x="105" y="214"/>
                    </a:lnTo>
                    <a:lnTo>
                      <a:pt x="118" y="227"/>
                    </a:lnTo>
                    <a:lnTo>
                      <a:pt x="132" y="227"/>
                    </a:lnTo>
                    <a:lnTo>
                      <a:pt x="145" y="211"/>
                    </a:lnTo>
                    <a:lnTo>
                      <a:pt x="158" y="201"/>
                    </a:lnTo>
                    <a:lnTo>
                      <a:pt x="165" y="191"/>
                    </a:lnTo>
                    <a:lnTo>
                      <a:pt x="151" y="188"/>
                    </a:lnTo>
                    <a:lnTo>
                      <a:pt x="145" y="168"/>
                    </a:lnTo>
                    <a:lnTo>
                      <a:pt x="145" y="155"/>
                    </a:lnTo>
                    <a:lnTo>
                      <a:pt x="158" y="161"/>
                    </a:lnTo>
                    <a:lnTo>
                      <a:pt x="175" y="168"/>
                    </a:lnTo>
                    <a:lnTo>
                      <a:pt x="175" y="158"/>
                    </a:lnTo>
                    <a:lnTo>
                      <a:pt x="188" y="155"/>
                    </a:lnTo>
                    <a:lnTo>
                      <a:pt x="204" y="148"/>
                    </a:lnTo>
                    <a:lnTo>
                      <a:pt x="211" y="135"/>
                    </a:lnTo>
                    <a:lnTo>
                      <a:pt x="204" y="135"/>
                    </a:lnTo>
                    <a:lnTo>
                      <a:pt x="198" y="122"/>
                    </a:lnTo>
                    <a:lnTo>
                      <a:pt x="204" y="105"/>
                    </a:lnTo>
                    <a:lnTo>
                      <a:pt x="217" y="102"/>
                    </a:lnTo>
                    <a:lnTo>
                      <a:pt x="211" y="92"/>
                    </a:lnTo>
                    <a:lnTo>
                      <a:pt x="224" y="72"/>
                    </a:lnTo>
                    <a:lnTo>
                      <a:pt x="221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204" y="59"/>
                    </a:lnTo>
                    <a:lnTo>
                      <a:pt x="211" y="56"/>
                    </a:lnTo>
                    <a:lnTo>
                      <a:pt x="198" y="46"/>
                    </a:lnTo>
                    <a:lnTo>
                      <a:pt x="191" y="49"/>
                    </a:lnTo>
                    <a:lnTo>
                      <a:pt x="184" y="46"/>
                    </a:lnTo>
                    <a:lnTo>
                      <a:pt x="184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0" name="Freeform 1488"/>
              <p:cNvSpPr>
                <a:spLocks/>
              </p:cNvSpPr>
              <p:nvPr/>
            </p:nvSpPr>
            <p:spPr bwMode="auto">
              <a:xfrm>
                <a:off x="2149501" y="3620255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1" name="Freeform 1489"/>
              <p:cNvSpPr>
                <a:spLocks/>
              </p:cNvSpPr>
              <p:nvPr/>
            </p:nvSpPr>
            <p:spPr bwMode="auto">
              <a:xfrm>
                <a:off x="2149501" y="3620255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2" name="Freeform 1490"/>
              <p:cNvSpPr>
                <a:spLocks/>
              </p:cNvSpPr>
              <p:nvPr/>
            </p:nvSpPr>
            <p:spPr bwMode="auto">
              <a:xfrm>
                <a:off x="2149501" y="3620255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3" name="Freeform 1491"/>
              <p:cNvSpPr>
                <a:spLocks/>
              </p:cNvSpPr>
              <p:nvPr/>
            </p:nvSpPr>
            <p:spPr bwMode="auto">
              <a:xfrm>
                <a:off x="2149501" y="3620255"/>
                <a:ext cx="276228" cy="104776"/>
              </a:xfrm>
              <a:custGeom>
                <a:avLst/>
                <a:gdLst/>
                <a:ahLst/>
                <a:cxnLst>
                  <a:cxn ang="0">
                    <a:pos x="37" y="8"/>
                  </a:cxn>
                  <a:cxn ang="0">
                    <a:pos x="32" y="6"/>
                  </a:cxn>
                  <a:cxn ang="0">
                    <a:pos x="27" y="3"/>
                  </a:cxn>
                  <a:cxn ang="0">
                    <a:pos x="23" y="2"/>
                  </a:cxn>
                  <a:cxn ang="0">
                    <a:pos x="19" y="1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6"/>
                  </a:cxn>
                  <a:cxn ang="0">
                    <a:pos x="10" y="4"/>
                  </a:cxn>
                  <a:cxn ang="0">
                    <a:pos x="16" y="4"/>
                  </a:cxn>
                  <a:cxn ang="0">
                    <a:pos x="14" y="5"/>
                  </a:cxn>
                  <a:cxn ang="0">
                    <a:pos x="18" y="6"/>
                  </a:cxn>
                  <a:cxn ang="0">
                    <a:pos x="22" y="7"/>
                  </a:cxn>
                  <a:cxn ang="0">
                    <a:pos x="23" y="7"/>
                  </a:cxn>
                  <a:cxn ang="0">
                    <a:pos x="30" y="10"/>
                  </a:cxn>
                  <a:cxn ang="0">
                    <a:pos x="31" y="13"/>
                  </a:cxn>
                  <a:cxn ang="0">
                    <a:pos x="38" y="16"/>
                  </a:cxn>
                  <a:cxn ang="0">
                    <a:pos x="34" y="20"/>
                  </a:cxn>
                  <a:cxn ang="0">
                    <a:pos x="44" y="20"/>
                  </a:cxn>
                  <a:cxn ang="0">
                    <a:pos x="48" y="19"/>
                  </a:cxn>
                  <a:cxn ang="0">
                    <a:pos x="53" y="19"/>
                  </a:cxn>
                  <a:cxn ang="0">
                    <a:pos x="48" y="16"/>
                  </a:cxn>
                  <a:cxn ang="0">
                    <a:pos x="45" y="14"/>
                  </a:cxn>
                  <a:cxn ang="0">
                    <a:pos x="45" y="13"/>
                  </a:cxn>
                  <a:cxn ang="0">
                    <a:pos x="41" y="11"/>
                  </a:cxn>
                  <a:cxn ang="0">
                    <a:pos x="38" y="10"/>
                  </a:cxn>
                  <a:cxn ang="0">
                    <a:pos x="37" y="8"/>
                  </a:cxn>
                </a:cxnLst>
                <a:rect l="0" t="0" r="r" b="b"/>
                <a:pathLst>
                  <a:path w="53" h="20">
                    <a:moveTo>
                      <a:pt x="37" y="8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7" y="2"/>
                      <a:pt x="8" y="0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8"/>
                      <a:pt x="37" y="8"/>
                      <a:pt x="37" y="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4" name="Freeform 1492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5" name="Freeform 1493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6" name="Freeform 1494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7" name="Freeform 1495"/>
              <p:cNvSpPr>
                <a:spLocks/>
              </p:cNvSpPr>
              <p:nvPr/>
            </p:nvSpPr>
            <p:spPr bwMode="auto">
              <a:xfrm>
                <a:off x="2238401" y="3740907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0" y="0"/>
                  </a:cxn>
                  <a:cxn ang="0">
                    <a:pos x="0" y="36"/>
                  </a:cxn>
                  <a:cxn ang="0">
                    <a:pos x="10" y="36"/>
                  </a:cxn>
                  <a:cxn ang="0">
                    <a:pos x="1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6">
                    <a:moveTo>
                      <a:pt x="36" y="0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10" y="36"/>
                    </a:lnTo>
                    <a:lnTo>
                      <a:pt x="1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8" name="Freeform 1496"/>
              <p:cNvSpPr>
                <a:spLocks noEditPoints="1"/>
              </p:cNvSpPr>
              <p:nvPr/>
            </p:nvSpPr>
            <p:spPr bwMode="auto">
              <a:xfrm>
                <a:off x="2263803" y="3729794"/>
                <a:ext cx="11113" cy="158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0" y="0"/>
                    </a:lnTo>
                    <a:lnTo>
                      <a:pt x="7" y="0"/>
                    </a:lnTo>
                    <a:close/>
                    <a:moveTo>
                      <a:pt x="7" y="0"/>
                    </a:move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69" name="Freeform 1497"/>
              <p:cNvSpPr>
                <a:spLocks noEditPoints="1"/>
              </p:cNvSpPr>
              <p:nvPr/>
            </p:nvSpPr>
            <p:spPr bwMode="auto">
              <a:xfrm>
                <a:off x="2263803" y="3729794"/>
                <a:ext cx="11113" cy="158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0" y="0"/>
                    </a:lnTo>
                    <a:moveTo>
                      <a:pt x="7" y="0"/>
                    </a:moveTo>
                    <a:lnTo>
                      <a:pt x="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0" name="Freeform 1498"/>
              <p:cNvSpPr>
                <a:spLocks/>
              </p:cNvSpPr>
              <p:nvPr/>
            </p:nvSpPr>
            <p:spPr bwMode="auto">
              <a:xfrm>
                <a:off x="2478118" y="3729794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1" name="Freeform 1499"/>
              <p:cNvSpPr>
                <a:spLocks/>
              </p:cNvSpPr>
              <p:nvPr/>
            </p:nvSpPr>
            <p:spPr bwMode="auto">
              <a:xfrm>
                <a:off x="2478118" y="3729794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2" name="Freeform 1500"/>
              <p:cNvSpPr>
                <a:spLocks/>
              </p:cNvSpPr>
              <p:nvPr/>
            </p:nvSpPr>
            <p:spPr bwMode="auto">
              <a:xfrm>
                <a:off x="2478118" y="3729794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3" name="Freeform 1501"/>
              <p:cNvSpPr>
                <a:spLocks/>
              </p:cNvSpPr>
              <p:nvPr/>
            </p:nvSpPr>
            <p:spPr bwMode="auto">
              <a:xfrm>
                <a:off x="2478118" y="3729794"/>
                <a:ext cx="95250" cy="7302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17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7" y="46"/>
                  </a:cxn>
                  <a:cxn ang="0">
                    <a:pos x="14" y="33"/>
                  </a:cxn>
                  <a:cxn ang="0">
                    <a:pos x="20" y="26"/>
                  </a:cxn>
                  <a:cxn ang="0">
                    <a:pos x="30" y="30"/>
                  </a:cxn>
                  <a:cxn ang="0">
                    <a:pos x="53" y="30"/>
                  </a:cxn>
                  <a:cxn ang="0">
                    <a:pos x="60" y="23"/>
                  </a:cxn>
                  <a:cxn ang="0">
                    <a:pos x="37" y="13"/>
                  </a:cxn>
                  <a:cxn ang="0">
                    <a:pos x="43" y="10"/>
                  </a:cxn>
                  <a:cxn ang="0">
                    <a:pos x="33" y="3"/>
                  </a:cxn>
                  <a:cxn ang="0">
                    <a:pos x="14" y="0"/>
                  </a:cxn>
                  <a:cxn ang="0">
                    <a:pos x="4" y="0"/>
                  </a:cxn>
                </a:cxnLst>
                <a:rect l="0" t="0" r="r" b="b"/>
                <a:pathLst>
                  <a:path w="60" h="46">
                    <a:moveTo>
                      <a:pt x="4" y="0"/>
                    </a:moveTo>
                    <a:lnTo>
                      <a:pt x="4" y="17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7" y="46"/>
                    </a:lnTo>
                    <a:lnTo>
                      <a:pt x="14" y="33"/>
                    </a:lnTo>
                    <a:lnTo>
                      <a:pt x="20" y="26"/>
                    </a:lnTo>
                    <a:lnTo>
                      <a:pt x="30" y="30"/>
                    </a:lnTo>
                    <a:lnTo>
                      <a:pt x="53" y="30"/>
                    </a:lnTo>
                    <a:lnTo>
                      <a:pt x="60" y="23"/>
                    </a:lnTo>
                    <a:lnTo>
                      <a:pt x="37" y="13"/>
                    </a:lnTo>
                    <a:lnTo>
                      <a:pt x="43" y="10"/>
                    </a:lnTo>
                    <a:lnTo>
                      <a:pt x="33" y="3"/>
                    </a:lnTo>
                    <a:lnTo>
                      <a:pt x="14" y="0"/>
                    </a:lnTo>
                    <a:lnTo>
                      <a:pt x="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4" name="Freeform 1502"/>
              <p:cNvSpPr>
                <a:spLocks/>
              </p:cNvSpPr>
              <p:nvPr/>
            </p:nvSpPr>
            <p:spPr bwMode="auto">
              <a:xfrm>
                <a:off x="2405091" y="3729794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5" name="Freeform 1503"/>
              <p:cNvSpPr>
                <a:spLocks/>
              </p:cNvSpPr>
              <p:nvPr/>
            </p:nvSpPr>
            <p:spPr bwMode="auto">
              <a:xfrm>
                <a:off x="2405091" y="3729794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6" name="Freeform 1504"/>
              <p:cNvSpPr>
                <a:spLocks/>
              </p:cNvSpPr>
              <p:nvPr/>
            </p:nvSpPr>
            <p:spPr bwMode="auto">
              <a:xfrm>
                <a:off x="2405091" y="3729794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7" name="Freeform 1505"/>
              <p:cNvSpPr>
                <a:spLocks/>
              </p:cNvSpPr>
              <p:nvPr/>
            </p:nvSpPr>
            <p:spPr bwMode="auto">
              <a:xfrm>
                <a:off x="2405091" y="3729794"/>
                <a:ext cx="79375" cy="57151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7"/>
                  </a:cxn>
                  <a:cxn ang="0">
                    <a:pos x="46" y="26"/>
                  </a:cxn>
                  <a:cxn ang="0">
                    <a:pos x="46" y="36"/>
                  </a:cxn>
                  <a:cxn ang="0">
                    <a:pos x="13" y="36"/>
                  </a:cxn>
                  <a:cxn ang="0">
                    <a:pos x="0" y="30"/>
                  </a:cxn>
                  <a:cxn ang="0">
                    <a:pos x="7" y="26"/>
                  </a:cxn>
                  <a:cxn ang="0">
                    <a:pos x="37" y="26"/>
                  </a:cxn>
                  <a:cxn ang="0">
                    <a:pos x="30" y="10"/>
                  </a:cxn>
                  <a:cxn ang="0">
                    <a:pos x="23" y="3"/>
                  </a:cxn>
                  <a:cxn ang="0">
                    <a:pos x="23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6">
                    <a:moveTo>
                      <a:pt x="50" y="0"/>
                    </a:moveTo>
                    <a:lnTo>
                      <a:pt x="50" y="17"/>
                    </a:lnTo>
                    <a:lnTo>
                      <a:pt x="46" y="26"/>
                    </a:lnTo>
                    <a:lnTo>
                      <a:pt x="46" y="36"/>
                    </a:lnTo>
                    <a:lnTo>
                      <a:pt x="13" y="36"/>
                    </a:lnTo>
                    <a:lnTo>
                      <a:pt x="0" y="30"/>
                    </a:lnTo>
                    <a:lnTo>
                      <a:pt x="7" y="26"/>
                    </a:lnTo>
                    <a:lnTo>
                      <a:pt x="37" y="26"/>
                    </a:lnTo>
                    <a:lnTo>
                      <a:pt x="30" y="10"/>
                    </a:lnTo>
                    <a:lnTo>
                      <a:pt x="23" y="3"/>
                    </a:lnTo>
                    <a:lnTo>
                      <a:pt x="23" y="0"/>
                    </a:lnTo>
                    <a:lnTo>
                      <a:pt x="5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8" name="Freeform 1506"/>
              <p:cNvSpPr>
                <a:spLocks/>
              </p:cNvSpPr>
              <p:nvPr/>
            </p:nvSpPr>
            <p:spPr bwMode="auto">
              <a:xfrm>
                <a:off x="2165376" y="4055236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79" name="Freeform 1507"/>
              <p:cNvSpPr>
                <a:spLocks/>
              </p:cNvSpPr>
              <p:nvPr/>
            </p:nvSpPr>
            <p:spPr bwMode="auto">
              <a:xfrm>
                <a:off x="2165376" y="4055236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0" name="Freeform 1508"/>
              <p:cNvSpPr>
                <a:spLocks/>
              </p:cNvSpPr>
              <p:nvPr/>
            </p:nvSpPr>
            <p:spPr bwMode="auto">
              <a:xfrm>
                <a:off x="2165376" y="4055236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1" name="Freeform 1509"/>
              <p:cNvSpPr>
                <a:spLocks/>
              </p:cNvSpPr>
              <p:nvPr/>
            </p:nvSpPr>
            <p:spPr bwMode="auto">
              <a:xfrm>
                <a:off x="2165376" y="4055236"/>
                <a:ext cx="73025" cy="682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0" y="6"/>
                  </a:cxn>
                  <a:cxn ang="0">
                    <a:pos x="16" y="10"/>
                  </a:cxn>
                  <a:cxn ang="0">
                    <a:pos x="23" y="13"/>
                  </a:cxn>
                  <a:cxn ang="0">
                    <a:pos x="39" y="6"/>
                  </a:cxn>
                  <a:cxn ang="0">
                    <a:pos x="46" y="6"/>
                  </a:cxn>
                  <a:cxn ang="0">
                    <a:pos x="46" y="13"/>
                  </a:cxn>
                  <a:cxn ang="0">
                    <a:pos x="36" y="23"/>
                  </a:cxn>
                  <a:cxn ang="0">
                    <a:pos x="46" y="39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26" y="36"/>
                  </a:cxn>
                  <a:cxn ang="0">
                    <a:pos x="16" y="26"/>
                  </a:cxn>
                  <a:cxn ang="0">
                    <a:pos x="3" y="20"/>
                  </a:cxn>
                  <a:cxn ang="0">
                    <a:pos x="0" y="26"/>
                  </a:cxn>
                </a:cxnLst>
                <a:rect l="0" t="0" r="r" b="b"/>
                <a:pathLst>
                  <a:path w="46" h="43">
                    <a:moveTo>
                      <a:pt x="0" y="26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0" y="6"/>
                    </a:lnTo>
                    <a:lnTo>
                      <a:pt x="16" y="10"/>
                    </a:lnTo>
                    <a:lnTo>
                      <a:pt x="23" y="13"/>
                    </a:lnTo>
                    <a:lnTo>
                      <a:pt x="39" y="6"/>
                    </a:lnTo>
                    <a:lnTo>
                      <a:pt x="46" y="6"/>
                    </a:lnTo>
                    <a:lnTo>
                      <a:pt x="46" y="13"/>
                    </a:lnTo>
                    <a:lnTo>
                      <a:pt x="36" y="23"/>
                    </a:lnTo>
                    <a:lnTo>
                      <a:pt x="46" y="39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16" y="26"/>
                    </a:lnTo>
                    <a:lnTo>
                      <a:pt x="3" y="20"/>
                    </a:lnTo>
                    <a:lnTo>
                      <a:pt x="0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2" name="Freeform 1510"/>
              <p:cNvSpPr>
                <a:spLocks/>
              </p:cNvSpPr>
              <p:nvPr/>
            </p:nvSpPr>
            <p:spPr bwMode="auto">
              <a:xfrm>
                <a:off x="2238401" y="4055236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3" name="Freeform 1511"/>
              <p:cNvSpPr>
                <a:spLocks/>
              </p:cNvSpPr>
              <p:nvPr/>
            </p:nvSpPr>
            <p:spPr bwMode="auto">
              <a:xfrm>
                <a:off x="2238401" y="4055236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4" name="Freeform 1512"/>
              <p:cNvSpPr>
                <a:spLocks/>
              </p:cNvSpPr>
              <p:nvPr/>
            </p:nvSpPr>
            <p:spPr bwMode="auto">
              <a:xfrm>
                <a:off x="2238401" y="4055236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5" name="Freeform 1513"/>
              <p:cNvSpPr>
                <a:spLocks/>
              </p:cNvSpPr>
              <p:nvPr/>
            </p:nvSpPr>
            <p:spPr bwMode="auto">
              <a:xfrm>
                <a:off x="2238401" y="4055236"/>
                <a:ext cx="68263" cy="68263"/>
              </a:xfrm>
              <a:custGeom>
                <a:avLst/>
                <a:gdLst/>
                <a:ahLst/>
                <a:cxnLst>
                  <a:cxn ang="0">
                    <a:pos x="29" y="23"/>
                  </a:cxn>
                  <a:cxn ang="0">
                    <a:pos x="36" y="23"/>
                  </a:cxn>
                  <a:cxn ang="0">
                    <a:pos x="33" y="20"/>
                  </a:cxn>
                  <a:cxn ang="0">
                    <a:pos x="26" y="20"/>
                  </a:cxn>
                  <a:cxn ang="0">
                    <a:pos x="20" y="13"/>
                  </a:cxn>
                  <a:cxn ang="0">
                    <a:pos x="6" y="10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0" y="0"/>
                  </a:cxn>
                  <a:cxn ang="0">
                    <a:pos x="33" y="6"/>
                  </a:cxn>
                  <a:cxn ang="0">
                    <a:pos x="43" y="13"/>
                  </a:cxn>
                  <a:cxn ang="0">
                    <a:pos x="43" y="33"/>
                  </a:cxn>
                  <a:cxn ang="0">
                    <a:pos x="39" y="36"/>
                  </a:cxn>
                  <a:cxn ang="0">
                    <a:pos x="33" y="43"/>
                  </a:cxn>
                  <a:cxn ang="0">
                    <a:pos x="29" y="39"/>
                  </a:cxn>
                  <a:cxn ang="0">
                    <a:pos x="29" y="23"/>
                  </a:cxn>
                </a:cxnLst>
                <a:rect l="0" t="0" r="r" b="b"/>
                <a:pathLst>
                  <a:path w="43" h="43">
                    <a:moveTo>
                      <a:pt x="29" y="23"/>
                    </a:moveTo>
                    <a:lnTo>
                      <a:pt x="36" y="23"/>
                    </a:lnTo>
                    <a:lnTo>
                      <a:pt x="33" y="20"/>
                    </a:lnTo>
                    <a:lnTo>
                      <a:pt x="26" y="20"/>
                    </a:lnTo>
                    <a:lnTo>
                      <a:pt x="20" y="13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0" y="0"/>
                    </a:lnTo>
                    <a:lnTo>
                      <a:pt x="33" y="6"/>
                    </a:lnTo>
                    <a:lnTo>
                      <a:pt x="43" y="13"/>
                    </a:lnTo>
                    <a:lnTo>
                      <a:pt x="43" y="33"/>
                    </a:lnTo>
                    <a:lnTo>
                      <a:pt x="39" y="36"/>
                    </a:lnTo>
                    <a:lnTo>
                      <a:pt x="33" y="43"/>
                    </a:lnTo>
                    <a:lnTo>
                      <a:pt x="29" y="39"/>
                    </a:lnTo>
                    <a:lnTo>
                      <a:pt x="2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6" name="Freeform 1514"/>
              <p:cNvSpPr>
                <a:spLocks/>
              </p:cNvSpPr>
              <p:nvPr/>
            </p:nvSpPr>
            <p:spPr bwMode="auto">
              <a:xfrm>
                <a:off x="2086000" y="4007610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7" name="Freeform 1515"/>
              <p:cNvSpPr>
                <a:spLocks/>
              </p:cNvSpPr>
              <p:nvPr/>
            </p:nvSpPr>
            <p:spPr bwMode="auto">
              <a:xfrm>
                <a:off x="2086000" y="4007610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8" name="Freeform 1516"/>
              <p:cNvSpPr>
                <a:spLocks/>
              </p:cNvSpPr>
              <p:nvPr/>
            </p:nvSpPr>
            <p:spPr bwMode="auto">
              <a:xfrm>
                <a:off x="2086000" y="4007610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89" name="Freeform 1517"/>
              <p:cNvSpPr>
                <a:spLocks/>
              </p:cNvSpPr>
              <p:nvPr/>
            </p:nvSpPr>
            <p:spPr bwMode="auto">
              <a:xfrm>
                <a:off x="2086000" y="4007610"/>
                <a:ext cx="84138" cy="88901"/>
              </a:xfrm>
              <a:custGeom>
                <a:avLst/>
                <a:gdLst/>
                <a:ahLst/>
                <a:cxnLst>
                  <a:cxn ang="0">
                    <a:pos x="13" y="2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27" y="0"/>
                  </a:cxn>
                  <a:cxn ang="0">
                    <a:pos x="36" y="0"/>
                  </a:cxn>
                  <a:cxn ang="0">
                    <a:pos x="46" y="13"/>
                  </a:cxn>
                  <a:cxn ang="0">
                    <a:pos x="53" y="26"/>
                  </a:cxn>
                  <a:cxn ang="0">
                    <a:pos x="46" y="26"/>
                  </a:cxn>
                  <a:cxn ang="0">
                    <a:pos x="46" y="56"/>
                  </a:cxn>
                  <a:cxn ang="0">
                    <a:pos x="40" y="40"/>
                  </a:cxn>
                  <a:cxn ang="0">
                    <a:pos x="40" y="46"/>
                  </a:cxn>
                  <a:cxn ang="0">
                    <a:pos x="36" y="40"/>
                  </a:cxn>
                  <a:cxn ang="0">
                    <a:pos x="30" y="30"/>
                  </a:cxn>
                  <a:cxn ang="0">
                    <a:pos x="20" y="23"/>
                  </a:cxn>
                  <a:cxn ang="0">
                    <a:pos x="7" y="13"/>
                  </a:cxn>
                  <a:cxn ang="0">
                    <a:pos x="13" y="23"/>
                  </a:cxn>
                  <a:cxn ang="0">
                    <a:pos x="13" y="26"/>
                  </a:cxn>
                </a:cxnLst>
                <a:rect l="0" t="0" r="r" b="b"/>
                <a:pathLst>
                  <a:path w="53" h="56">
                    <a:moveTo>
                      <a:pt x="13" y="26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27" y="0"/>
                    </a:lnTo>
                    <a:lnTo>
                      <a:pt x="36" y="0"/>
                    </a:lnTo>
                    <a:lnTo>
                      <a:pt x="46" y="13"/>
                    </a:lnTo>
                    <a:lnTo>
                      <a:pt x="53" y="26"/>
                    </a:lnTo>
                    <a:lnTo>
                      <a:pt x="46" y="26"/>
                    </a:lnTo>
                    <a:lnTo>
                      <a:pt x="46" y="56"/>
                    </a:lnTo>
                    <a:lnTo>
                      <a:pt x="40" y="40"/>
                    </a:lnTo>
                    <a:lnTo>
                      <a:pt x="40" y="46"/>
                    </a:lnTo>
                    <a:lnTo>
                      <a:pt x="36" y="40"/>
                    </a:lnTo>
                    <a:lnTo>
                      <a:pt x="30" y="30"/>
                    </a:lnTo>
                    <a:lnTo>
                      <a:pt x="20" y="23"/>
                    </a:lnTo>
                    <a:lnTo>
                      <a:pt x="7" y="13"/>
                    </a:lnTo>
                    <a:lnTo>
                      <a:pt x="13" y="23"/>
                    </a:lnTo>
                    <a:lnTo>
                      <a:pt x="1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0" name="Freeform 1518"/>
              <p:cNvSpPr>
                <a:spLocks/>
              </p:cNvSpPr>
              <p:nvPr/>
            </p:nvSpPr>
            <p:spPr bwMode="auto">
              <a:xfrm>
                <a:off x="2509868" y="3950460"/>
                <a:ext cx="4763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6"/>
                  </a:cxn>
                  <a:cxn ang="0">
                    <a:pos x="0" y="0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3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1" name="Line 1519"/>
              <p:cNvSpPr>
                <a:spLocks noChangeShapeType="1"/>
              </p:cNvSpPr>
              <p:nvPr/>
            </p:nvSpPr>
            <p:spPr bwMode="auto">
              <a:xfrm>
                <a:off x="2509868" y="3950460"/>
                <a:ext cx="4763" cy="9525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2" name="Freeform 1520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3" name="Freeform 1521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4" name="Freeform 1522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5" name="Freeform 1523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6" name="Freeform 1524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7" name="Freeform 1525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8" name="Freeform 1526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599" name="Freeform 1527"/>
              <p:cNvSpPr>
                <a:spLocks/>
              </p:cNvSpPr>
              <p:nvPr/>
            </p:nvSpPr>
            <p:spPr bwMode="auto">
              <a:xfrm>
                <a:off x="2003450" y="3855209"/>
                <a:ext cx="166690" cy="79376"/>
              </a:xfrm>
              <a:custGeom>
                <a:avLst/>
                <a:gdLst/>
                <a:ahLst/>
                <a:cxnLst>
                  <a:cxn ang="0">
                    <a:pos x="59" y="33"/>
                  </a:cxn>
                  <a:cxn ang="0">
                    <a:pos x="52" y="37"/>
                  </a:cxn>
                  <a:cxn ang="0">
                    <a:pos x="42" y="4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29" y="43"/>
                  </a:cxn>
                  <a:cxn ang="0">
                    <a:pos x="26" y="43"/>
                  </a:cxn>
                  <a:cxn ang="0">
                    <a:pos x="26" y="33"/>
                  </a:cxn>
                  <a:cxn ang="0">
                    <a:pos x="13" y="33"/>
                  </a:cxn>
                  <a:cxn ang="0">
                    <a:pos x="0" y="27"/>
                  </a:cxn>
                  <a:cxn ang="0">
                    <a:pos x="13" y="10"/>
                  </a:cxn>
                  <a:cxn ang="0">
                    <a:pos x="19" y="0"/>
                  </a:cxn>
                  <a:cxn ang="0">
                    <a:pos x="26" y="0"/>
                  </a:cxn>
                  <a:cxn ang="0">
                    <a:pos x="39" y="0"/>
                  </a:cxn>
                  <a:cxn ang="0">
                    <a:pos x="82" y="0"/>
                  </a:cxn>
                  <a:cxn ang="0">
                    <a:pos x="92" y="4"/>
                  </a:cxn>
                  <a:cxn ang="0">
                    <a:pos x="88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105" y="14"/>
                  </a:cxn>
                  <a:cxn ang="0">
                    <a:pos x="92" y="17"/>
                  </a:cxn>
                  <a:cxn ang="0">
                    <a:pos x="79" y="20"/>
                  </a:cxn>
                  <a:cxn ang="0">
                    <a:pos x="59" y="33"/>
                  </a:cxn>
                </a:cxnLst>
                <a:rect l="0" t="0" r="r" b="b"/>
                <a:pathLst>
                  <a:path w="105" h="50">
                    <a:moveTo>
                      <a:pt x="59" y="33"/>
                    </a:moveTo>
                    <a:lnTo>
                      <a:pt x="52" y="37"/>
                    </a:lnTo>
                    <a:lnTo>
                      <a:pt x="42" y="4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29" y="43"/>
                    </a:lnTo>
                    <a:lnTo>
                      <a:pt x="26" y="43"/>
                    </a:lnTo>
                    <a:lnTo>
                      <a:pt x="26" y="33"/>
                    </a:lnTo>
                    <a:lnTo>
                      <a:pt x="13" y="33"/>
                    </a:lnTo>
                    <a:lnTo>
                      <a:pt x="0" y="27"/>
                    </a:lnTo>
                    <a:lnTo>
                      <a:pt x="13" y="10"/>
                    </a:lnTo>
                    <a:lnTo>
                      <a:pt x="19" y="0"/>
                    </a:lnTo>
                    <a:lnTo>
                      <a:pt x="26" y="0"/>
                    </a:lnTo>
                    <a:lnTo>
                      <a:pt x="39" y="0"/>
                    </a:lnTo>
                    <a:lnTo>
                      <a:pt x="82" y="0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05" y="14"/>
                    </a:lnTo>
                    <a:lnTo>
                      <a:pt x="92" y="17"/>
                    </a:lnTo>
                    <a:lnTo>
                      <a:pt x="79" y="20"/>
                    </a:lnTo>
                    <a:lnTo>
                      <a:pt x="59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0" name="Freeform 1528"/>
              <p:cNvSpPr>
                <a:spLocks/>
              </p:cNvSpPr>
              <p:nvPr/>
            </p:nvSpPr>
            <p:spPr bwMode="auto">
              <a:xfrm>
                <a:off x="2039962" y="3877434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1" name="Freeform 1529"/>
              <p:cNvSpPr>
                <a:spLocks/>
              </p:cNvSpPr>
              <p:nvPr/>
            </p:nvSpPr>
            <p:spPr bwMode="auto">
              <a:xfrm>
                <a:off x="2039962" y="3877434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2" name="Freeform 1530"/>
              <p:cNvSpPr>
                <a:spLocks/>
              </p:cNvSpPr>
              <p:nvPr/>
            </p:nvSpPr>
            <p:spPr bwMode="auto">
              <a:xfrm>
                <a:off x="2039962" y="3877434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3" name="Freeform 1531"/>
              <p:cNvSpPr>
                <a:spLocks/>
              </p:cNvSpPr>
              <p:nvPr/>
            </p:nvSpPr>
            <p:spPr bwMode="auto">
              <a:xfrm>
                <a:off x="2039962" y="3877434"/>
                <a:ext cx="125415" cy="130176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26" y="23"/>
                  </a:cxn>
                  <a:cxn ang="0">
                    <a:pos x="19" y="29"/>
                  </a:cxn>
                  <a:cxn ang="0">
                    <a:pos x="13" y="39"/>
                  </a:cxn>
                  <a:cxn ang="0">
                    <a:pos x="6" y="39"/>
                  </a:cxn>
                  <a:cxn ang="0">
                    <a:pos x="0" y="42"/>
                  </a:cxn>
                  <a:cxn ang="0">
                    <a:pos x="13" y="62"/>
                  </a:cxn>
                  <a:cxn ang="0">
                    <a:pos x="33" y="79"/>
                  </a:cxn>
                  <a:cxn ang="0">
                    <a:pos x="52" y="82"/>
                  </a:cxn>
                  <a:cxn ang="0">
                    <a:pos x="65" y="79"/>
                  </a:cxn>
                  <a:cxn ang="0">
                    <a:pos x="65" y="56"/>
                  </a:cxn>
                  <a:cxn ang="0">
                    <a:pos x="69" y="46"/>
                  </a:cxn>
                  <a:cxn ang="0">
                    <a:pos x="72" y="52"/>
                  </a:cxn>
                  <a:cxn ang="0">
                    <a:pos x="72" y="33"/>
                  </a:cxn>
                  <a:cxn ang="0">
                    <a:pos x="75" y="19"/>
                  </a:cxn>
                  <a:cxn ang="0">
                    <a:pos x="75" y="6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52" y="6"/>
                  </a:cxn>
                  <a:cxn ang="0">
                    <a:pos x="33" y="19"/>
                  </a:cxn>
                </a:cxnLst>
                <a:rect l="0" t="0" r="r" b="b"/>
                <a:pathLst>
                  <a:path w="79" h="82">
                    <a:moveTo>
                      <a:pt x="33" y="19"/>
                    </a:moveTo>
                    <a:lnTo>
                      <a:pt x="26" y="23"/>
                    </a:lnTo>
                    <a:lnTo>
                      <a:pt x="19" y="29"/>
                    </a:lnTo>
                    <a:lnTo>
                      <a:pt x="13" y="39"/>
                    </a:lnTo>
                    <a:lnTo>
                      <a:pt x="6" y="39"/>
                    </a:lnTo>
                    <a:lnTo>
                      <a:pt x="0" y="42"/>
                    </a:lnTo>
                    <a:lnTo>
                      <a:pt x="13" y="62"/>
                    </a:lnTo>
                    <a:lnTo>
                      <a:pt x="33" y="79"/>
                    </a:lnTo>
                    <a:lnTo>
                      <a:pt x="52" y="82"/>
                    </a:lnTo>
                    <a:lnTo>
                      <a:pt x="65" y="79"/>
                    </a:lnTo>
                    <a:lnTo>
                      <a:pt x="65" y="56"/>
                    </a:lnTo>
                    <a:lnTo>
                      <a:pt x="69" y="46"/>
                    </a:lnTo>
                    <a:lnTo>
                      <a:pt x="72" y="52"/>
                    </a:lnTo>
                    <a:lnTo>
                      <a:pt x="72" y="33"/>
                    </a:lnTo>
                    <a:lnTo>
                      <a:pt x="75" y="19"/>
                    </a:lnTo>
                    <a:lnTo>
                      <a:pt x="75" y="6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52" y="6"/>
                    </a:lnTo>
                    <a:lnTo>
                      <a:pt x="33" y="1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4" name="Freeform 1532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5" name="Freeform 1533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6" name="Freeform 1534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7" name="Freeform 1535"/>
              <p:cNvSpPr>
                <a:spLocks/>
              </p:cNvSpPr>
              <p:nvPr/>
            </p:nvSpPr>
            <p:spPr bwMode="auto">
              <a:xfrm>
                <a:off x="2008212" y="3777420"/>
                <a:ext cx="57150" cy="77788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10" y="49"/>
                  </a:cxn>
                  <a:cxn ang="0">
                    <a:pos x="0" y="49"/>
                  </a:cxn>
                  <a:cxn ang="0">
                    <a:pos x="3" y="26"/>
                  </a:cxn>
                  <a:cxn ang="0">
                    <a:pos x="10" y="6"/>
                  </a:cxn>
                  <a:cxn ang="0">
                    <a:pos x="33" y="0"/>
                  </a:cxn>
                  <a:cxn ang="0">
                    <a:pos x="36" y="3"/>
                  </a:cxn>
                  <a:cxn ang="0">
                    <a:pos x="33" y="20"/>
                  </a:cxn>
                  <a:cxn ang="0">
                    <a:pos x="23" y="36"/>
                  </a:cxn>
                </a:cxnLst>
                <a:rect l="0" t="0" r="r" b="b"/>
                <a:pathLst>
                  <a:path w="36" h="49">
                    <a:moveTo>
                      <a:pt x="23" y="36"/>
                    </a:moveTo>
                    <a:lnTo>
                      <a:pt x="10" y="49"/>
                    </a:lnTo>
                    <a:lnTo>
                      <a:pt x="0" y="49"/>
                    </a:lnTo>
                    <a:lnTo>
                      <a:pt x="3" y="26"/>
                    </a:lnTo>
                    <a:lnTo>
                      <a:pt x="10" y="6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3" y="20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8" name="Freeform 1536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09" name="Freeform 1537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0" name="Freeform 1538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1" name="Freeform 1539"/>
              <p:cNvSpPr>
                <a:spLocks/>
              </p:cNvSpPr>
              <p:nvPr/>
            </p:nvSpPr>
            <p:spPr bwMode="auto">
              <a:xfrm>
                <a:off x="1928836" y="3786945"/>
                <a:ext cx="104776" cy="131764"/>
              </a:xfrm>
              <a:custGeom>
                <a:avLst/>
                <a:gdLst/>
                <a:ahLst/>
                <a:cxnLst>
                  <a:cxn ang="0">
                    <a:pos x="7" y="76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14" y="40"/>
                  </a:cxn>
                  <a:cxn ang="0">
                    <a:pos x="33" y="33"/>
                  </a:cxn>
                  <a:cxn ang="0">
                    <a:pos x="20" y="17"/>
                  </a:cxn>
                  <a:cxn ang="0">
                    <a:pos x="27" y="14"/>
                  </a:cxn>
                  <a:cxn ang="0">
                    <a:pos x="27" y="0"/>
                  </a:cxn>
                  <a:cxn ang="0">
                    <a:pos x="56" y="0"/>
                  </a:cxn>
                  <a:cxn ang="0">
                    <a:pos x="53" y="20"/>
                  </a:cxn>
                  <a:cxn ang="0">
                    <a:pos x="50" y="43"/>
                  </a:cxn>
                  <a:cxn ang="0">
                    <a:pos x="63" y="43"/>
                  </a:cxn>
                  <a:cxn ang="0">
                    <a:pos x="66" y="47"/>
                  </a:cxn>
                  <a:cxn ang="0">
                    <a:pos x="56" y="53"/>
                  </a:cxn>
                  <a:cxn ang="0">
                    <a:pos x="47" y="73"/>
                  </a:cxn>
                  <a:cxn ang="0">
                    <a:pos x="33" y="83"/>
                  </a:cxn>
                  <a:cxn ang="0">
                    <a:pos x="20" y="80"/>
                  </a:cxn>
                  <a:cxn ang="0">
                    <a:pos x="7" y="76"/>
                  </a:cxn>
                </a:cxnLst>
                <a:rect l="0" t="0" r="r" b="b"/>
                <a:pathLst>
                  <a:path w="66" h="83">
                    <a:moveTo>
                      <a:pt x="7" y="76"/>
                    </a:moveTo>
                    <a:lnTo>
                      <a:pt x="0" y="70"/>
                    </a:lnTo>
                    <a:lnTo>
                      <a:pt x="0" y="53"/>
                    </a:lnTo>
                    <a:lnTo>
                      <a:pt x="14" y="40"/>
                    </a:lnTo>
                    <a:lnTo>
                      <a:pt x="33" y="33"/>
                    </a:lnTo>
                    <a:lnTo>
                      <a:pt x="20" y="17"/>
                    </a:lnTo>
                    <a:lnTo>
                      <a:pt x="27" y="14"/>
                    </a:lnTo>
                    <a:lnTo>
                      <a:pt x="27" y="0"/>
                    </a:lnTo>
                    <a:lnTo>
                      <a:pt x="56" y="0"/>
                    </a:lnTo>
                    <a:lnTo>
                      <a:pt x="53" y="20"/>
                    </a:lnTo>
                    <a:lnTo>
                      <a:pt x="50" y="43"/>
                    </a:lnTo>
                    <a:lnTo>
                      <a:pt x="63" y="43"/>
                    </a:lnTo>
                    <a:lnTo>
                      <a:pt x="66" y="47"/>
                    </a:lnTo>
                    <a:lnTo>
                      <a:pt x="56" y="53"/>
                    </a:lnTo>
                    <a:lnTo>
                      <a:pt x="47" y="73"/>
                    </a:lnTo>
                    <a:lnTo>
                      <a:pt x="33" y="83"/>
                    </a:lnTo>
                    <a:lnTo>
                      <a:pt x="20" y="80"/>
                    </a:lnTo>
                    <a:lnTo>
                      <a:pt x="7" y="7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2" name="Freeform 1540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3" name="Freeform 1541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4" name="Freeform 1542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5" name="Freeform 1543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6" name="Freeform 1544"/>
              <p:cNvSpPr>
                <a:spLocks/>
              </p:cNvSpPr>
              <p:nvPr/>
            </p:nvSpPr>
            <p:spPr bwMode="auto">
              <a:xfrm>
                <a:off x="7270836" y="4688659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7" name="Freeform 1545"/>
              <p:cNvSpPr>
                <a:spLocks/>
              </p:cNvSpPr>
              <p:nvPr/>
            </p:nvSpPr>
            <p:spPr bwMode="auto">
              <a:xfrm>
                <a:off x="7270836" y="4688659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8" name="Freeform 1546"/>
              <p:cNvSpPr>
                <a:spLocks/>
              </p:cNvSpPr>
              <p:nvPr/>
            </p:nvSpPr>
            <p:spPr bwMode="auto">
              <a:xfrm>
                <a:off x="7270836" y="4688659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19" name="Freeform 1547"/>
              <p:cNvSpPr>
                <a:spLocks/>
              </p:cNvSpPr>
              <p:nvPr/>
            </p:nvSpPr>
            <p:spPr bwMode="auto">
              <a:xfrm>
                <a:off x="7270836" y="4688659"/>
                <a:ext cx="1062051" cy="881075"/>
              </a:xfrm>
              <a:custGeom>
                <a:avLst/>
                <a:gdLst/>
                <a:ahLst/>
                <a:cxnLst>
                  <a:cxn ang="0">
                    <a:pos x="115" y="3"/>
                  </a:cxn>
                  <a:cxn ang="0">
                    <a:pos x="117" y="7"/>
                  </a:cxn>
                  <a:cxn ang="0">
                    <a:pos x="107" y="10"/>
                  </a:cxn>
                  <a:cxn ang="0">
                    <a:pos x="103" y="14"/>
                  </a:cxn>
                  <a:cxn ang="0">
                    <a:pos x="102" y="23"/>
                  </a:cxn>
                  <a:cxn ang="0">
                    <a:pos x="98" y="25"/>
                  </a:cxn>
                  <a:cxn ang="0">
                    <a:pos x="91" y="26"/>
                  </a:cxn>
                  <a:cxn ang="0">
                    <a:pos x="84" y="19"/>
                  </a:cxn>
                  <a:cxn ang="0">
                    <a:pos x="82" y="21"/>
                  </a:cxn>
                  <a:cxn ang="0">
                    <a:pos x="76" y="25"/>
                  </a:cxn>
                  <a:cxn ang="0">
                    <a:pos x="74" y="29"/>
                  </a:cxn>
                  <a:cxn ang="0">
                    <a:pos x="70" y="33"/>
                  </a:cxn>
                  <a:cxn ang="0">
                    <a:pos x="68" y="37"/>
                  </a:cxn>
                  <a:cxn ang="0">
                    <a:pos x="62" y="35"/>
                  </a:cxn>
                  <a:cxn ang="0">
                    <a:pos x="50" y="52"/>
                  </a:cxn>
                  <a:cxn ang="0">
                    <a:pos x="32" y="58"/>
                  </a:cxn>
                  <a:cxn ang="0">
                    <a:pos x="14" y="69"/>
                  </a:cxn>
                  <a:cxn ang="0">
                    <a:pos x="8" y="90"/>
                  </a:cxn>
                  <a:cxn ang="0">
                    <a:pos x="5" y="90"/>
                  </a:cxn>
                  <a:cxn ang="0">
                    <a:pos x="8" y="113"/>
                  </a:cxn>
                  <a:cxn ang="0">
                    <a:pos x="4" y="141"/>
                  </a:cxn>
                  <a:cxn ang="0">
                    <a:pos x="20" y="140"/>
                  </a:cxn>
                  <a:cxn ang="0">
                    <a:pos x="41" y="137"/>
                  </a:cxn>
                  <a:cxn ang="0">
                    <a:pos x="96" y="133"/>
                  </a:cxn>
                  <a:cxn ang="0">
                    <a:pos x="99" y="143"/>
                  </a:cxn>
                  <a:cxn ang="0">
                    <a:pos x="114" y="129"/>
                  </a:cxn>
                  <a:cxn ang="0">
                    <a:pos x="103" y="144"/>
                  </a:cxn>
                  <a:cxn ang="0">
                    <a:pos x="107" y="147"/>
                  </a:cxn>
                  <a:cxn ang="0">
                    <a:pos x="111" y="161"/>
                  </a:cxn>
                  <a:cxn ang="0">
                    <a:pos x="130" y="163"/>
                  </a:cxn>
                  <a:cxn ang="0">
                    <a:pos x="134" y="163"/>
                  </a:cxn>
                  <a:cxn ang="0">
                    <a:pos x="147" y="161"/>
                  </a:cxn>
                  <a:cxn ang="0">
                    <a:pos x="165" y="149"/>
                  </a:cxn>
                  <a:cxn ang="0">
                    <a:pos x="183" y="130"/>
                  </a:cxn>
                  <a:cxn ang="0">
                    <a:pos x="197" y="113"/>
                  </a:cxn>
                  <a:cxn ang="0">
                    <a:pos x="202" y="94"/>
                  </a:cxn>
                  <a:cxn ang="0">
                    <a:pos x="199" y="78"/>
                  </a:cxn>
                  <a:cxn ang="0">
                    <a:pos x="193" y="66"/>
                  </a:cxn>
                  <a:cxn ang="0">
                    <a:pos x="189" y="58"/>
                  </a:cxn>
                  <a:cxn ang="0">
                    <a:pos x="179" y="47"/>
                  </a:cxn>
                  <a:cxn ang="0">
                    <a:pos x="178" y="23"/>
                  </a:cxn>
                  <a:cxn ang="0">
                    <a:pos x="167" y="0"/>
                  </a:cxn>
                  <a:cxn ang="0">
                    <a:pos x="163" y="12"/>
                  </a:cxn>
                  <a:cxn ang="0">
                    <a:pos x="160" y="20"/>
                  </a:cxn>
                  <a:cxn ang="0">
                    <a:pos x="149" y="40"/>
                  </a:cxn>
                  <a:cxn ang="0">
                    <a:pos x="135" y="14"/>
                  </a:cxn>
                  <a:cxn ang="0">
                    <a:pos x="134" y="9"/>
                  </a:cxn>
                  <a:cxn ang="0">
                    <a:pos x="129" y="8"/>
                  </a:cxn>
                </a:cxnLst>
                <a:rect l="0" t="0" r="r" b="b"/>
                <a:pathLst>
                  <a:path w="203" h="168">
                    <a:moveTo>
                      <a:pt x="119" y="3"/>
                    </a:moveTo>
                    <a:cubicBezTo>
                      <a:pt x="117" y="3"/>
                      <a:pt x="117" y="3"/>
                      <a:pt x="117" y="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3" y="14"/>
                      <a:pt x="103" y="14"/>
                      <a:pt x="103" y="14"/>
                    </a:cubicBezTo>
                    <a:cubicBezTo>
                      <a:pt x="101" y="17"/>
                      <a:pt x="101" y="17"/>
                      <a:pt x="101" y="17"/>
                    </a:cubicBezTo>
                    <a:cubicBezTo>
                      <a:pt x="99" y="21"/>
                      <a:pt x="99" y="21"/>
                      <a:pt x="99" y="21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25"/>
                      <a:pt x="98" y="25"/>
                      <a:pt x="98" y="25"/>
                    </a:cubicBezTo>
                    <a:cubicBezTo>
                      <a:pt x="94" y="23"/>
                      <a:pt x="94" y="23"/>
                      <a:pt x="94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19"/>
                      <a:pt x="82" y="19"/>
                      <a:pt x="82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77" y="23"/>
                      <a:pt x="77" y="23"/>
                      <a:pt x="77" y="23"/>
                    </a:cubicBezTo>
                    <a:cubicBezTo>
                      <a:pt x="77" y="25"/>
                      <a:pt x="77" y="25"/>
                      <a:pt x="77" y="25"/>
                    </a:cubicBezTo>
                    <a:cubicBezTo>
                      <a:pt x="76" y="25"/>
                      <a:pt x="76" y="25"/>
                      <a:pt x="76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30"/>
                      <a:pt x="73" y="30"/>
                      <a:pt x="73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0" y="73"/>
                      <a:pt x="8" y="81"/>
                      <a:pt x="11" y="90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5"/>
                      <a:pt x="6" y="95"/>
                      <a:pt x="6" y="95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7" y="124"/>
                      <a:pt x="9" y="125"/>
                      <a:pt x="3" y="135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4" y="141"/>
                      <a:pt x="4" y="141"/>
                      <a:pt x="4" y="141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14" y="143"/>
                      <a:pt x="14" y="143"/>
                      <a:pt x="14" y="143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4" y="138"/>
                      <a:pt x="24" y="138"/>
                      <a:pt x="24" y="138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34" y="137"/>
                      <a:pt x="34" y="137"/>
                      <a:pt x="34" y="137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7" y="130"/>
                      <a:pt x="61" y="126"/>
                      <a:pt x="71" y="124"/>
                    </a:cubicBezTo>
                    <a:cubicBezTo>
                      <a:pt x="87" y="123"/>
                      <a:pt x="80" y="119"/>
                      <a:pt x="96" y="128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6" y="133"/>
                      <a:pt x="96" y="133"/>
                      <a:pt x="96" y="13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8" y="140"/>
                      <a:pt x="98" y="140"/>
                      <a:pt x="98" y="14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99" y="143"/>
                      <a:pt x="99" y="143"/>
                      <a:pt x="99" y="143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11" y="133"/>
                      <a:pt x="111" y="133"/>
                      <a:pt x="111" y="133"/>
                    </a:cubicBezTo>
                    <a:cubicBezTo>
                      <a:pt x="114" y="129"/>
                      <a:pt x="114" y="129"/>
                      <a:pt x="114" y="129"/>
                    </a:cubicBezTo>
                    <a:cubicBezTo>
                      <a:pt x="111" y="134"/>
                      <a:pt x="111" y="134"/>
                      <a:pt x="111" y="13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5" y="143"/>
                      <a:pt x="105" y="143"/>
                      <a:pt x="105" y="143"/>
                    </a:cubicBezTo>
                    <a:cubicBezTo>
                      <a:pt x="103" y="144"/>
                      <a:pt x="103" y="144"/>
                      <a:pt x="103" y="14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7" y="147"/>
                      <a:pt x="107" y="147"/>
                      <a:pt x="107" y="147"/>
                    </a:cubicBezTo>
                    <a:cubicBezTo>
                      <a:pt x="111" y="147"/>
                      <a:pt x="111" y="147"/>
                      <a:pt x="111" y="147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61"/>
                      <a:pt x="111" y="161"/>
                      <a:pt x="111" y="161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9" y="164"/>
                      <a:pt x="119" y="164"/>
                      <a:pt x="119" y="164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0" y="163"/>
                      <a:pt x="130" y="163"/>
                      <a:pt x="130" y="163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4" y="163"/>
                      <a:pt x="134" y="163"/>
                      <a:pt x="134" y="163"/>
                    </a:cubicBezTo>
                    <a:cubicBezTo>
                      <a:pt x="135" y="167"/>
                      <a:pt x="135" y="167"/>
                      <a:pt x="135" y="167"/>
                    </a:cubicBezTo>
                    <a:cubicBezTo>
                      <a:pt x="136" y="168"/>
                      <a:pt x="136" y="168"/>
                      <a:pt x="136" y="168"/>
                    </a:cubicBezTo>
                    <a:cubicBezTo>
                      <a:pt x="137" y="166"/>
                      <a:pt x="137" y="166"/>
                      <a:pt x="137" y="166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49"/>
                      <a:pt x="165" y="149"/>
                      <a:pt x="165" y="149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3" y="130"/>
                      <a:pt x="183" y="130"/>
                      <a:pt x="183" y="130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89" y="124"/>
                      <a:pt x="189" y="124"/>
                      <a:pt x="189" y="124"/>
                    </a:cubicBezTo>
                    <a:cubicBezTo>
                      <a:pt x="193" y="118"/>
                      <a:pt x="193" y="118"/>
                      <a:pt x="193" y="118"/>
                    </a:cubicBezTo>
                    <a:cubicBezTo>
                      <a:pt x="197" y="113"/>
                      <a:pt x="197" y="113"/>
                      <a:pt x="197" y="113"/>
                    </a:cubicBezTo>
                    <a:cubicBezTo>
                      <a:pt x="200" y="107"/>
                      <a:pt x="200" y="107"/>
                      <a:pt x="200" y="107"/>
                    </a:cubicBezTo>
                    <a:cubicBezTo>
                      <a:pt x="200" y="102"/>
                      <a:pt x="200" y="102"/>
                      <a:pt x="200" y="102"/>
                    </a:cubicBezTo>
                    <a:cubicBezTo>
                      <a:pt x="201" y="98"/>
                      <a:pt x="201" y="98"/>
                      <a:pt x="201" y="98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02" y="85"/>
                      <a:pt x="202" y="85"/>
                      <a:pt x="202" y="85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6" y="69"/>
                      <a:pt x="196" y="69"/>
                      <a:pt x="196" y="69"/>
                    </a:cubicBezTo>
                    <a:cubicBezTo>
                      <a:pt x="193" y="66"/>
                      <a:pt x="193" y="66"/>
                      <a:pt x="193" y="66"/>
                    </a:cubicBezTo>
                    <a:cubicBezTo>
                      <a:pt x="193" y="69"/>
                      <a:pt x="193" y="69"/>
                      <a:pt x="193" y="69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9" y="58"/>
                      <a:pt x="189" y="58"/>
                      <a:pt x="189" y="58"/>
                    </a:cubicBezTo>
                    <a:cubicBezTo>
                      <a:pt x="190" y="57"/>
                      <a:pt x="190" y="57"/>
                      <a:pt x="190" y="57"/>
                    </a:cubicBezTo>
                    <a:cubicBezTo>
                      <a:pt x="189" y="55"/>
                      <a:pt x="189" y="55"/>
                      <a:pt x="189" y="55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79" y="36"/>
                      <a:pt x="179" y="36"/>
                      <a:pt x="179" y="36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9" y="26"/>
                      <a:pt x="179" y="26"/>
                      <a:pt x="179" y="26"/>
                    </a:cubicBezTo>
                    <a:cubicBezTo>
                      <a:pt x="178" y="23"/>
                      <a:pt x="178" y="23"/>
                      <a:pt x="178" y="23"/>
                    </a:cubicBezTo>
                    <a:cubicBezTo>
                      <a:pt x="175" y="20"/>
                      <a:pt x="175" y="20"/>
                      <a:pt x="175" y="20"/>
                    </a:cubicBezTo>
                    <a:cubicBezTo>
                      <a:pt x="171" y="20"/>
                      <a:pt x="171" y="20"/>
                      <a:pt x="171" y="20"/>
                    </a:cubicBezTo>
                    <a:cubicBezTo>
                      <a:pt x="171" y="13"/>
                      <a:pt x="171" y="7"/>
                      <a:pt x="16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10"/>
                      <a:pt x="163" y="10"/>
                      <a:pt x="163" y="10"/>
                    </a:cubicBezTo>
                    <a:cubicBezTo>
                      <a:pt x="163" y="12"/>
                      <a:pt x="163" y="12"/>
                      <a:pt x="163" y="12"/>
                    </a:cubicBezTo>
                    <a:cubicBezTo>
                      <a:pt x="162" y="14"/>
                      <a:pt x="162" y="14"/>
                      <a:pt x="162" y="14"/>
                    </a:cubicBezTo>
                    <a:cubicBezTo>
                      <a:pt x="162" y="16"/>
                      <a:pt x="162" y="16"/>
                      <a:pt x="162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33"/>
                      <a:pt x="157" y="33"/>
                      <a:pt x="157" y="33"/>
                    </a:cubicBezTo>
                    <a:cubicBezTo>
                      <a:pt x="152" y="39"/>
                      <a:pt x="152" y="39"/>
                      <a:pt x="152" y="39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3" y="34"/>
                      <a:pt x="134" y="29"/>
                      <a:pt x="129" y="23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8" y="8"/>
                      <a:pt x="138" y="8"/>
                      <a:pt x="138" y="8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32" y="8"/>
                      <a:pt x="132" y="8"/>
                      <a:pt x="132" y="8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9" y="3"/>
                      <a:pt x="119" y="3"/>
                      <a:pt x="119" y="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0" name="Freeform 1548"/>
              <p:cNvSpPr>
                <a:spLocks/>
              </p:cNvSpPr>
              <p:nvPr/>
            </p:nvSpPr>
            <p:spPr bwMode="auto">
              <a:xfrm>
                <a:off x="5141974" y="4421954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1" name="Freeform 1549"/>
              <p:cNvSpPr>
                <a:spLocks/>
              </p:cNvSpPr>
              <p:nvPr/>
            </p:nvSpPr>
            <p:spPr bwMode="auto">
              <a:xfrm>
                <a:off x="5141974" y="4421954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2" name="Freeform 1550"/>
              <p:cNvSpPr>
                <a:spLocks/>
              </p:cNvSpPr>
              <p:nvPr/>
            </p:nvSpPr>
            <p:spPr bwMode="auto">
              <a:xfrm>
                <a:off x="5141974" y="4421954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3" name="Freeform 1551"/>
              <p:cNvSpPr>
                <a:spLocks/>
              </p:cNvSpPr>
              <p:nvPr/>
            </p:nvSpPr>
            <p:spPr bwMode="auto">
              <a:xfrm>
                <a:off x="5141974" y="4421954"/>
                <a:ext cx="57150" cy="61913"/>
              </a:xfrm>
              <a:custGeom>
                <a:avLst/>
                <a:gdLst/>
                <a:ahLst/>
                <a:cxnLst>
                  <a:cxn ang="0">
                    <a:pos x="29" y="10"/>
                  </a:cxn>
                  <a:cxn ang="0">
                    <a:pos x="29" y="0"/>
                  </a:cxn>
                  <a:cxn ang="0">
                    <a:pos x="20" y="0"/>
                  </a:cxn>
                  <a:cxn ang="0">
                    <a:pos x="20" y="3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26"/>
                  </a:cxn>
                  <a:cxn ang="0">
                    <a:pos x="3" y="39"/>
                  </a:cxn>
                  <a:cxn ang="0">
                    <a:pos x="13" y="39"/>
                  </a:cxn>
                  <a:cxn ang="0">
                    <a:pos x="23" y="30"/>
                  </a:cxn>
                  <a:cxn ang="0">
                    <a:pos x="36" y="13"/>
                  </a:cxn>
                  <a:cxn ang="0">
                    <a:pos x="29" y="10"/>
                  </a:cxn>
                </a:cxnLst>
                <a:rect l="0" t="0" r="r" b="b"/>
                <a:pathLst>
                  <a:path w="36" h="39">
                    <a:moveTo>
                      <a:pt x="29" y="10"/>
                    </a:moveTo>
                    <a:lnTo>
                      <a:pt x="29" y="0"/>
                    </a:lnTo>
                    <a:lnTo>
                      <a:pt x="20" y="0"/>
                    </a:lnTo>
                    <a:lnTo>
                      <a:pt x="2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26"/>
                    </a:lnTo>
                    <a:lnTo>
                      <a:pt x="3" y="39"/>
                    </a:lnTo>
                    <a:lnTo>
                      <a:pt x="13" y="39"/>
                    </a:lnTo>
                    <a:lnTo>
                      <a:pt x="23" y="30"/>
                    </a:lnTo>
                    <a:lnTo>
                      <a:pt x="36" y="13"/>
                    </a:lnTo>
                    <a:lnTo>
                      <a:pt x="2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4" name="Freeform 1552"/>
              <p:cNvSpPr>
                <a:spLocks/>
              </p:cNvSpPr>
              <p:nvPr/>
            </p:nvSpPr>
            <p:spPr bwMode="auto">
              <a:xfrm>
                <a:off x="4660956" y="4237802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5" name="Freeform 1553"/>
              <p:cNvSpPr>
                <a:spLocks/>
              </p:cNvSpPr>
              <p:nvPr/>
            </p:nvSpPr>
            <p:spPr bwMode="auto">
              <a:xfrm>
                <a:off x="4660956" y="4237802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6" name="Freeform 1554"/>
              <p:cNvSpPr>
                <a:spLocks/>
              </p:cNvSpPr>
              <p:nvPr/>
            </p:nvSpPr>
            <p:spPr bwMode="auto">
              <a:xfrm>
                <a:off x="4660956" y="4237802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7" name="Freeform 1555"/>
              <p:cNvSpPr>
                <a:spLocks/>
              </p:cNvSpPr>
              <p:nvPr/>
            </p:nvSpPr>
            <p:spPr bwMode="auto">
              <a:xfrm>
                <a:off x="4660956" y="4237802"/>
                <a:ext cx="198440" cy="268291"/>
              </a:xfrm>
              <a:custGeom>
                <a:avLst/>
                <a:gdLst/>
                <a:ahLst/>
                <a:cxnLst>
                  <a:cxn ang="0">
                    <a:pos x="6" y="35"/>
                  </a:cxn>
                  <a:cxn ang="0">
                    <a:pos x="2" y="35"/>
                  </a:cxn>
                  <a:cxn ang="0">
                    <a:pos x="2" y="38"/>
                  </a:cxn>
                  <a:cxn ang="0">
                    <a:pos x="3" y="38"/>
                  </a:cxn>
                  <a:cxn ang="0">
                    <a:pos x="4" y="42"/>
                  </a:cxn>
                  <a:cxn ang="0">
                    <a:pos x="3" y="43"/>
                  </a:cxn>
                  <a:cxn ang="0">
                    <a:pos x="1" y="42"/>
                  </a:cxn>
                  <a:cxn ang="0">
                    <a:pos x="0" y="43"/>
                  </a:cxn>
                  <a:cxn ang="0">
                    <a:pos x="4" y="51"/>
                  </a:cxn>
                  <a:cxn ang="0">
                    <a:pos x="7" y="47"/>
                  </a:cxn>
                  <a:cxn ang="0">
                    <a:pos x="9" y="48"/>
                  </a:cxn>
                  <a:cxn ang="0">
                    <a:pos x="12" y="49"/>
                  </a:cxn>
                  <a:cxn ang="0">
                    <a:pos x="14" y="47"/>
                  </a:cxn>
                  <a:cxn ang="0">
                    <a:pos x="17" y="47"/>
                  </a:cxn>
                  <a:cxn ang="0">
                    <a:pos x="17" y="49"/>
                  </a:cxn>
                  <a:cxn ang="0">
                    <a:pos x="31" y="27"/>
                  </a:cxn>
                  <a:cxn ang="0">
                    <a:pos x="33" y="23"/>
                  </a:cxn>
                  <a:cxn ang="0">
                    <a:pos x="35" y="18"/>
                  </a:cxn>
                  <a:cxn ang="0">
                    <a:pos x="35" y="14"/>
                  </a:cxn>
                  <a:cxn ang="0">
                    <a:pos x="35" y="9"/>
                  </a:cxn>
                  <a:cxn ang="0">
                    <a:pos x="37" y="5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1"/>
                  </a:cxn>
                  <a:cxn ang="0">
                    <a:pos x="26" y="7"/>
                  </a:cxn>
                  <a:cxn ang="0">
                    <a:pos x="25" y="11"/>
                  </a:cxn>
                  <a:cxn ang="0">
                    <a:pos x="21" y="9"/>
                  </a:cxn>
                  <a:cxn ang="0">
                    <a:pos x="16" y="7"/>
                  </a:cxn>
                  <a:cxn ang="0">
                    <a:pos x="11" y="7"/>
                  </a:cxn>
                  <a:cxn ang="0">
                    <a:pos x="11" y="13"/>
                  </a:cxn>
                  <a:cxn ang="0">
                    <a:pos x="16" y="13"/>
                  </a:cxn>
                  <a:cxn ang="0">
                    <a:pos x="16" y="17"/>
                  </a:cxn>
                  <a:cxn ang="0">
                    <a:pos x="14" y="20"/>
                  </a:cxn>
                  <a:cxn ang="0">
                    <a:pos x="17" y="25"/>
                  </a:cxn>
                  <a:cxn ang="0">
                    <a:pos x="15" y="34"/>
                  </a:cxn>
                  <a:cxn ang="0">
                    <a:pos x="14" y="35"/>
                  </a:cxn>
                  <a:cxn ang="0">
                    <a:pos x="13" y="34"/>
                  </a:cxn>
                  <a:cxn ang="0">
                    <a:pos x="9" y="35"/>
                  </a:cxn>
                  <a:cxn ang="0">
                    <a:pos x="7" y="32"/>
                  </a:cxn>
                  <a:cxn ang="0">
                    <a:pos x="6" y="35"/>
                  </a:cxn>
                </a:cxnLst>
                <a:rect l="0" t="0" r="r" b="b"/>
                <a:pathLst>
                  <a:path w="38" h="51">
                    <a:moveTo>
                      <a:pt x="6" y="35"/>
                    </a:moveTo>
                    <a:cubicBezTo>
                      <a:pt x="2" y="35"/>
                      <a:pt x="2" y="35"/>
                      <a:pt x="2" y="3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32" y="39"/>
                      <a:pt x="21" y="37"/>
                      <a:pt x="31" y="2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6" y="35"/>
                      <a:pt x="6" y="35"/>
                      <a:pt x="6" y="3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8" name="Freeform 1556"/>
              <p:cNvSpPr>
                <a:spLocks/>
              </p:cNvSpPr>
              <p:nvPr/>
            </p:nvSpPr>
            <p:spPr bwMode="auto">
              <a:xfrm>
                <a:off x="5272149" y="4201289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29" name="Freeform 1557"/>
              <p:cNvSpPr>
                <a:spLocks/>
              </p:cNvSpPr>
              <p:nvPr/>
            </p:nvSpPr>
            <p:spPr bwMode="auto">
              <a:xfrm>
                <a:off x="5272149" y="4201289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0" name="Freeform 1558"/>
              <p:cNvSpPr>
                <a:spLocks/>
              </p:cNvSpPr>
              <p:nvPr/>
            </p:nvSpPr>
            <p:spPr bwMode="auto">
              <a:xfrm>
                <a:off x="5272149" y="4201289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1" name="Freeform 1559"/>
              <p:cNvSpPr>
                <a:spLocks/>
              </p:cNvSpPr>
              <p:nvPr/>
            </p:nvSpPr>
            <p:spPr bwMode="auto">
              <a:xfrm>
                <a:off x="5272149" y="4201289"/>
                <a:ext cx="204790" cy="288930"/>
              </a:xfrm>
              <a:custGeom>
                <a:avLst/>
                <a:gdLst/>
                <a:ahLst/>
                <a:cxnLst>
                  <a:cxn ang="0">
                    <a:pos x="56" y="149"/>
                  </a:cxn>
                  <a:cxn ang="0">
                    <a:pos x="43" y="139"/>
                  </a:cxn>
                  <a:cxn ang="0">
                    <a:pos x="30" y="129"/>
                  </a:cxn>
                  <a:cxn ang="0">
                    <a:pos x="13" y="119"/>
                  </a:cxn>
                  <a:cxn ang="0">
                    <a:pos x="0" y="109"/>
                  </a:cxn>
                  <a:cxn ang="0">
                    <a:pos x="0" y="86"/>
                  </a:cxn>
                  <a:cxn ang="0">
                    <a:pos x="10" y="70"/>
                  </a:cxn>
                  <a:cxn ang="0">
                    <a:pos x="17" y="53"/>
                  </a:cxn>
                  <a:cxn ang="0">
                    <a:pos x="13" y="40"/>
                  </a:cxn>
                  <a:cxn ang="0">
                    <a:pos x="7" y="23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63" y="17"/>
                  </a:cxn>
                  <a:cxn ang="0">
                    <a:pos x="89" y="20"/>
                  </a:cxn>
                  <a:cxn ang="0">
                    <a:pos x="96" y="13"/>
                  </a:cxn>
                  <a:cxn ang="0">
                    <a:pos x="115" y="10"/>
                  </a:cxn>
                  <a:cxn ang="0">
                    <a:pos x="129" y="13"/>
                  </a:cxn>
                  <a:cxn ang="0">
                    <a:pos x="119" y="23"/>
                  </a:cxn>
                  <a:cxn ang="0">
                    <a:pos x="115" y="33"/>
                  </a:cxn>
                  <a:cxn ang="0">
                    <a:pos x="115" y="73"/>
                  </a:cxn>
                  <a:cxn ang="0">
                    <a:pos x="115" y="89"/>
                  </a:cxn>
                  <a:cxn ang="0">
                    <a:pos x="115" y="109"/>
                  </a:cxn>
                  <a:cxn ang="0">
                    <a:pos x="122" y="122"/>
                  </a:cxn>
                  <a:cxn ang="0">
                    <a:pos x="115" y="129"/>
                  </a:cxn>
                  <a:cxn ang="0">
                    <a:pos x="109" y="142"/>
                  </a:cxn>
                  <a:cxn ang="0">
                    <a:pos x="102" y="149"/>
                  </a:cxn>
                  <a:cxn ang="0">
                    <a:pos x="92" y="162"/>
                  </a:cxn>
                  <a:cxn ang="0">
                    <a:pos x="86" y="182"/>
                  </a:cxn>
                  <a:cxn ang="0">
                    <a:pos x="69" y="172"/>
                  </a:cxn>
                  <a:cxn ang="0">
                    <a:pos x="63" y="159"/>
                  </a:cxn>
                  <a:cxn ang="0">
                    <a:pos x="56" y="149"/>
                  </a:cxn>
                </a:cxnLst>
                <a:rect l="0" t="0" r="r" b="b"/>
                <a:pathLst>
                  <a:path w="129" h="182">
                    <a:moveTo>
                      <a:pt x="56" y="149"/>
                    </a:moveTo>
                    <a:lnTo>
                      <a:pt x="43" y="139"/>
                    </a:lnTo>
                    <a:lnTo>
                      <a:pt x="30" y="129"/>
                    </a:lnTo>
                    <a:lnTo>
                      <a:pt x="13" y="119"/>
                    </a:lnTo>
                    <a:lnTo>
                      <a:pt x="0" y="109"/>
                    </a:lnTo>
                    <a:lnTo>
                      <a:pt x="0" y="86"/>
                    </a:lnTo>
                    <a:lnTo>
                      <a:pt x="10" y="70"/>
                    </a:lnTo>
                    <a:lnTo>
                      <a:pt x="17" y="53"/>
                    </a:lnTo>
                    <a:lnTo>
                      <a:pt x="13" y="40"/>
                    </a:lnTo>
                    <a:lnTo>
                      <a:pt x="7" y="2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63" y="17"/>
                    </a:lnTo>
                    <a:lnTo>
                      <a:pt x="89" y="20"/>
                    </a:lnTo>
                    <a:lnTo>
                      <a:pt x="96" y="13"/>
                    </a:lnTo>
                    <a:lnTo>
                      <a:pt x="115" y="10"/>
                    </a:lnTo>
                    <a:lnTo>
                      <a:pt x="129" y="13"/>
                    </a:lnTo>
                    <a:lnTo>
                      <a:pt x="119" y="23"/>
                    </a:lnTo>
                    <a:lnTo>
                      <a:pt x="115" y="33"/>
                    </a:lnTo>
                    <a:lnTo>
                      <a:pt x="115" y="73"/>
                    </a:lnTo>
                    <a:lnTo>
                      <a:pt x="115" y="89"/>
                    </a:lnTo>
                    <a:lnTo>
                      <a:pt x="115" y="109"/>
                    </a:lnTo>
                    <a:lnTo>
                      <a:pt x="122" y="122"/>
                    </a:lnTo>
                    <a:lnTo>
                      <a:pt x="115" y="129"/>
                    </a:lnTo>
                    <a:lnTo>
                      <a:pt x="109" y="142"/>
                    </a:lnTo>
                    <a:lnTo>
                      <a:pt x="102" y="149"/>
                    </a:lnTo>
                    <a:lnTo>
                      <a:pt x="92" y="162"/>
                    </a:lnTo>
                    <a:lnTo>
                      <a:pt x="86" y="182"/>
                    </a:lnTo>
                    <a:lnTo>
                      <a:pt x="69" y="172"/>
                    </a:lnTo>
                    <a:lnTo>
                      <a:pt x="63" y="159"/>
                    </a:lnTo>
                    <a:lnTo>
                      <a:pt x="56" y="1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2" name="Freeform 1560"/>
              <p:cNvSpPr>
                <a:spLocks/>
              </p:cNvSpPr>
              <p:nvPr/>
            </p:nvSpPr>
            <p:spPr bwMode="auto">
              <a:xfrm>
                <a:off x="5130862" y="4385441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3" name="Freeform 1561"/>
              <p:cNvSpPr>
                <a:spLocks/>
              </p:cNvSpPr>
              <p:nvPr/>
            </p:nvSpPr>
            <p:spPr bwMode="auto">
              <a:xfrm>
                <a:off x="5130862" y="4385441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4" name="Freeform 1562"/>
              <p:cNvSpPr>
                <a:spLocks/>
              </p:cNvSpPr>
              <p:nvPr/>
            </p:nvSpPr>
            <p:spPr bwMode="auto">
              <a:xfrm>
                <a:off x="5130862" y="4385441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5" name="Freeform 1563"/>
              <p:cNvSpPr>
                <a:spLocks/>
              </p:cNvSpPr>
              <p:nvPr/>
            </p:nvSpPr>
            <p:spPr bwMode="auto">
              <a:xfrm>
                <a:off x="5130862" y="4385441"/>
                <a:ext cx="68263" cy="5238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7" y="16"/>
                  </a:cxn>
                  <a:cxn ang="0">
                    <a:pos x="0" y="33"/>
                  </a:cxn>
                  <a:cxn ang="0">
                    <a:pos x="27" y="33"/>
                  </a:cxn>
                  <a:cxn ang="0">
                    <a:pos x="27" y="26"/>
                  </a:cxn>
                  <a:cxn ang="0">
                    <a:pos x="36" y="26"/>
                  </a:cxn>
                  <a:cxn ang="0">
                    <a:pos x="43" y="23"/>
                  </a:cxn>
                  <a:cxn ang="0">
                    <a:pos x="36" y="0"/>
                  </a:cxn>
                  <a:cxn ang="0">
                    <a:pos x="27" y="3"/>
                  </a:cxn>
                  <a:cxn ang="0">
                    <a:pos x="17" y="3"/>
                  </a:cxn>
                </a:cxnLst>
                <a:rect l="0" t="0" r="r" b="b"/>
                <a:pathLst>
                  <a:path w="43" h="33">
                    <a:moveTo>
                      <a:pt x="17" y="3"/>
                    </a:moveTo>
                    <a:lnTo>
                      <a:pt x="7" y="16"/>
                    </a:lnTo>
                    <a:lnTo>
                      <a:pt x="0" y="33"/>
                    </a:lnTo>
                    <a:lnTo>
                      <a:pt x="27" y="33"/>
                    </a:lnTo>
                    <a:lnTo>
                      <a:pt x="27" y="26"/>
                    </a:lnTo>
                    <a:lnTo>
                      <a:pt x="36" y="26"/>
                    </a:lnTo>
                    <a:lnTo>
                      <a:pt x="43" y="23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17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6" name="Freeform 1564"/>
              <p:cNvSpPr>
                <a:spLocks/>
              </p:cNvSpPr>
              <p:nvPr/>
            </p:nvSpPr>
            <p:spPr bwMode="auto">
              <a:xfrm>
                <a:off x="5141974" y="4379091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7" name="Freeform 1565"/>
              <p:cNvSpPr>
                <a:spLocks/>
              </p:cNvSpPr>
              <p:nvPr/>
            </p:nvSpPr>
            <p:spPr bwMode="auto">
              <a:xfrm>
                <a:off x="5141974" y="4379091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8" name="Freeform 1566"/>
              <p:cNvSpPr>
                <a:spLocks/>
              </p:cNvSpPr>
              <p:nvPr/>
            </p:nvSpPr>
            <p:spPr bwMode="auto">
              <a:xfrm>
                <a:off x="5141974" y="4379091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39" name="Freeform 1567"/>
              <p:cNvSpPr>
                <a:spLocks/>
              </p:cNvSpPr>
              <p:nvPr/>
            </p:nvSpPr>
            <p:spPr bwMode="auto">
              <a:xfrm>
                <a:off x="5141974" y="4379091"/>
                <a:ext cx="298453" cy="336554"/>
              </a:xfrm>
              <a:custGeom>
                <a:avLst/>
                <a:gdLst/>
                <a:ahLst/>
                <a:cxnLst>
                  <a:cxn ang="0">
                    <a:pos x="44" y="14"/>
                  </a:cxn>
                  <a:cxn ang="0">
                    <a:pos x="43" y="11"/>
                  </a:cxn>
                  <a:cxn ang="0">
                    <a:pos x="38" y="8"/>
                  </a:cxn>
                  <a:cxn ang="0">
                    <a:pos x="34" y="5"/>
                  </a:cxn>
                  <a:cxn ang="0">
                    <a:pos x="29" y="2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7" y="1"/>
                  </a:cxn>
                  <a:cxn ang="0">
                    <a:pos x="9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9" y="12"/>
                  </a:cxn>
                  <a:cxn ang="0">
                    <a:pos x="5" y="17"/>
                  </a:cxn>
                  <a:cxn ang="0">
                    <a:pos x="3" y="20"/>
                  </a:cxn>
                  <a:cxn ang="0">
                    <a:pos x="3" y="20"/>
                  </a:cxn>
                  <a:cxn ang="0">
                    <a:pos x="7" y="43"/>
                  </a:cxn>
                  <a:cxn ang="0">
                    <a:pos x="26" y="51"/>
                  </a:cxn>
                  <a:cxn ang="0">
                    <a:pos x="28" y="58"/>
                  </a:cxn>
                  <a:cxn ang="0">
                    <a:pos x="29" y="63"/>
                  </a:cxn>
                  <a:cxn ang="0">
                    <a:pos x="34" y="63"/>
                  </a:cxn>
                  <a:cxn ang="0">
                    <a:pos x="40" y="64"/>
                  </a:cxn>
                  <a:cxn ang="0">
                    <a:pos x="44" y="61"/>
                  </a:cxn>
                  <a:cxn ang="0">
                    <a:pos x="46" y="61"/>
                  </a:cxn>
                  <a:cxn ang="0">
                    <a:pos x="51" y="59"/>
                  </a:cxn>
                  <a:cxn ang="0">
                    <a:pos x="57" y="56"/>
                  </a:cxn>
                  <a:cxn ang="0">
                    <a:pos x="54" y="53"/>
                  </a:cxn>
                  <a:cxn ang="0">
                    <a:pos x="52" y="47"/>
                  </a:cxn>
                  <a:cxn ang="0">
                    <a:pos x="51" y="43"/>
                  </a:cxn>
                  <a:cxn ang="0">
                    <a:pos x="51" y="40"/>
                  </a:cxn>
                  <a:cxn ang="0">
                    <a:pos x="52" y="35"/>
                  </a:cxn>
                  <a:cxn ang="0">
                    <a:pos x="49" y="29"/>
                  </a:cxn>
                  <a:cxn ang="0">
                    <a:pos x="51" y="21"/>
                  </a:cxn>
                  <a:cxn ang="0">
                    <a:pos x="47" y="18"/>
                  </a:cxn>
                  <a:cxn ang="0">
                    <a:pos x="44" y="14"/>
                  </a:cxn>
                </a:cxnLst>
                <a:rect l="0" t="0" r="r" b="b"/>
                <a:pathLst>
                  <a:path w="57" h="64">
                    <a:moveTo>
                      <a:pt x="44" y="14"/>
                    </a:moveTo>
                    <a:cubicBezTo>
                      <a:pt x="43" y="11"/>
                      <a:pt x="43" y="11"/>
                      <a:pt x="43" y="1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6"/>
                      <a:pt x="0" y="29"/>
                      <a:pt x="7" y="43"/>
                    </a:cubicBezTo>
                    <a:cubicBezTo>
                      <a:pt x="15" y="48"/>
                      <a:pt x="18" y="48"/>
                      <a:pt x="26" y="51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4" y="63"/>
                      <a:pt x="34" y="63"/>
                      <a:pt x="34" y="63"/>
                    </a:cubicBezTo>
                    <a:cubicBezTo>
                      <a:pt x="40" y="64"/>
                      <a:pt x="40" y="64"/>
                      <a:pt x="40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2" y="47"/>
                      <a:pt x="52" y="47"/>
                      <a:pt x="52" y="47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4" y="14"/>
                      <a:pt x="44" y="14"/>
                      <a:pt x="4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0" name="Freeform 1568"/>
              <p:cNvSpPr>
                <a:spLocks/>
              </p:cNvSpPr>
              <p:nvPr/>
            </p:nvSpPr>
            <p:spPr bwMode="auto">
              <a:xfrm>
                <a:off x="5157849" y="4212402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1" name="Freeform 1569"/>
              <p:cNvSpPr>
                <a:spLocks/>
              </p:cNvSpPr>
              <p:nvPr/>
            </p:nvSpPr>
            <p:spPr bwMode="auto">
              <a:xfrm>
                <a:off x="5157849" y="4212402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2" name="Freeform 1570"/>
              <p:cNvSpPr>
                <a:spLocks/>
              </p:cNvSpPr>
              <p:nvPr/>
            </p:nvSpPr>
            <p:spPr bwMode="auto">
              <a:xfrm>
                <a:off x="5157849" y="4212402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3" name="Freeform 1571"/>
              <p:cNvSpPr>
                <a:spLocks/>
              </p:cNvSpPr>
              <p:nvPr/>
            </p:nvSpPr>
            <p:spPr bwMode="auto">
              <a:xfrm>
                <a:off x="5157849" y="4212402"/>
                <a:ext cx="141290" cy="177802"/>
              </a:xfrm>
              <a:custGeom>
                <a:avLst/>
                <a:gdLst/>
                <a:ahLst/>
                <a:cxnLst>
                  <a:cxn ang="0">
                    <a:pos x="75" y="20"/>
                  </a:cxn>
                  <a:cxn ang="0">
                    <a:pos x="69" y="0"/>
                  </a:cxn>
                  <a:cxn ang="0">
                    <a:pos x="62" y="13"/>
                  </a:cxn>
                  <a:cxn ang="0">
                    <a:pos x="46" y="13"/>
                  </a:cxn>
                  <a:cxn ang="0">
                    <a:pos x="36" y="13"/>
                  </a:cxn>
                  <a:cxn ang="0">
                    <a:pos x="33" y="13"/>
                  </a:cxn>
                  <a:cxn ang="0">
                    <a:pos x="19" y="13"/>
                  </a:cxn>
                  <a:cxn ang="0">
                    <a:pos x="19" y="13"/>
                  </a:cxn>
                  <a:cxn ang="0">
                    <a:pos x="19" y="33"/>
                  </a:cxn>
                  <a:cxn ang="0">
                    <a:pos x="26" y="43"/>
                  </a:cxn>
                  <a:cxn ang="0">
                    <a:pos x="13" y="56"/>
                  </a:cxn>
                  <a:cxn ang="0">
                    <a:pos x="3" y="66"/>
                  </a:cxn>
                  <a:cxn ang="0">
                    <a:pos x="0" y="89"/>
                  </a:cxn>
                  <a:cxn ang="0">
                    <a:pos x="0" y="112"/>
                  </a:cxn>
                  <a:cxn ang="0">
                    <a:pos x="3" y="112"/>
                  </a:cxn>
                  <a:cxn ang="0">
                    <a:pos x="13" y="109"/>
                  </a:cxn>
                  <a:cxn ang="0">
                    <a:pos x="42" y="109"/>
                  </a:cxn>
                  <a:cxn ang="0">
                    <a:pos x="56" y="105"/>
                  </a:cxn>
                  <a:cxn ang="0">
                    <a:pos x="69" y="105"/>
                  </a:cxn>
                  <a:cxn ang="0">
                    <a:pos x="69" y="82"/>
                  </a:cxn>
                  <a:cxn ang="0">
                    <a:pos x="82" y="63"/>
                  </a:cxn>
                  <a:cxn ang="0">
                    <a:pos x="89" y="49"/>
                  </a:cxn>
                  <a:cxn ang="0">
                    <a:pos x="85" y="33"/>
                  </a:cxn>
                  <a:cxn ang="0">
                    <a:pos x="75" y="20"/>
                  </a:cxn>
                </a:cxnLst>
                <a:rect l="0" t="0" r="r" b="b"/>
                <a:pathLst>
                  <a:path w="89" h="112">
                    <a:moveTo>
                      <a:pt x="75" y="20"/>
                    </a:moveTo>
                    <a:lnTo>
                      <a:pt x="69" y="0"/>
                    </a:lnTo>
                    <a:lnTo>
                      <a:pt x="62" y="13"/>
                    </a:lnTo>
                    <a:lnTo>
                      <a:pt x="46" y="13"/>
                    </a:lnTo>
                    <a:lnTo>
                      <a:pt x="36" y="13"/>
                    </a:lnTo>
                    <a:lnTo>
                      <a:pt x="33" y="13"/>
                    </a:lnTo>
                    <a:lnTo>
                      <a:pt x="19" y="13"/>
                    </a:lnTo>
                    <a:lnTo>
                      <a:pt x="19" y="13"/>
                    </a:lnTo>
                    <a:lnTo>
                      <a:pt x="19" y="33"/>
                    </a:lnTo>
                    <a:lnTo>
                      <a:pt x="26" y="43"/>
                    </a:lnTo>
                    <a:lnTo>
                      <a:pt x="13" y="56"/>
                    </a:lnTo>
                    <a:lnTo>
                      <a:pt x="3" y="66"/>
                    </a:lnTo>
                    <a:lnTo>
                      <a:pt x="0" y="89"/>
                    </a:lnTo>
                    <a:lnTo>
                      <a:pt x="0" y="112"/>
                    </a:lnTo>
                    <a:lnTo>
                      <a:pt x="3" y="112"/>
                    </a:lnTo>
                    <a:lnTo>
                      <a:pt x="13" y="109"/>
                    </a:lnTo>
                    <a:lnTo>
                      <a:pt x="42" y="109"/>
                    </a:lnTo>
                    <a:lnTo>
                      <a:pt x="56" y="105"/>
                    </a:lnTo>
                    <a:lnTo>
                      <a:pt x="69" y="105"/>
                    </a:lnTo>
                    <a:lnTo>
                      <a:pt x="69" y="82"/>
                    </a:lnTo>
                    <a:lnTo>
                      <a:pt x="82" y="63"/>
                    </a:lnTo>
                    <a:lnTo>
                      <a:pt x="89" y="49"/>
                    </a:lnTo>
                    <a:lnTo>
                      <a:pt x="85" y="33"/>
                    </a:lnTo>
                    <a:lnTo>
                      <a:pt x="75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4" name="Freeform 1572"/>
              <p:cNvSpPr>
                <a:spLocks/>
              </p:cNvSpPr>
              <p:nvPr/>
            </p:nvSpPr>
            <p:spPr bwMode="auto">
              <a:xfrm>
                <a:off x="4691119" y="4175889"/>
                <a:ext cx="508006" cy="592146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5" name="Freeform 1573"/>
              <p:cNvSpPr>
                <a:spLocks/>
              </p:cNvSpPr>
              <p:nvPr/>
            </p:nvSpPr>
            <p:spPr bwMode="auto">
              <a:xfrm>
                <a:off x="4691119" y="4175889"/>
                <a:ext cx="508006" cy="592146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6" name="Freeform 1574"/>
              <p:cNvSpPr>
                <a:spLocks/>
              </p:cNvSpPr>
              <p:nvPr/>
            </p:nvSpPr>
            <p:spPr bwMode="auto">
              <a:xfrm>
                <a:off x="4691119" y="4175889"/>
                <a:ext cx="508006" cy="592146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7" name="Freeform 1575"/>
              <p:cNvSpPr>
                <a:spLocks/>
              </p:cNvSpPr>
              <p:nvPr/>
            </p:nvSpPr>
            <p:spPr bwMode="auto">
              <a:xfrm>
                <a:off x="4691119" y="4175889"/>
                <a:ext cx="508006" cy="592146"/>
              </a:xfrm>
              <a:custGeom>
                <a:avLst/>
                <a:gdLst/>
                <a:ahLst/>
                <a:cxnLst>
                  <a:cxn ang="0">
                    <a:pos x="87" y="45"/>
                  </a:cxn>
                  <a:cxn ang="0">
                    <a:pos x="87" y="50"/>
                  </a:cxn>
                  <a:cxn ang="0">
                    <a:pos x="87" y="59"/>
                  </a:cxn>
                  <a:cxn ang="0">
                    <a:pos x="94" y="82"/>
                  </a:cxn>
                  <a:cxn ang="0">
                    <a:pos x="85" y="84"/>
                  </a:cxn>
                  <a:cxn ang="0">
                    <a:pos x="83" y="93"/>
                  </a:cxn>
                  <a:cxn ang="0">
                    <a:pos x="82" y="104"/>
                  </a:cxn>
                  <a:cxn ang="0">
                    <a:pos x="89" y="105"/>
                  </a:cxn>
                  <a:cxn ang="0">
                    <a:pos x="84" y="113"/>
                  </a:cxn>
                  <a:cxn ang="0">
                    <a:pos x="78" y="104"/>
                  </a:cxn>
                  <a:cxn ang="0">
                    <a:pos x="73" y="104"/>
                  </a:cxn>
                  <a:cxn ang="0">
                    <a:pos x="66" y="99"/>
                  </a:cxn>
                  <a:cxn ang="0">
                    <a:pos x="60" y="98"/>
                  </a:cxn>
                  <a:cxn ang="0">
                    <a:pos x="51" y="99"/>
                  </a:cxn>
                  <a:cxn ang="0">
                    <a:pos x="50" y="91"/>
                  </a:cxn>
                  <a:cxn ang="0">
                    <a:pos x="49" y="78"/>
                  </a:cxn>
                  <a:cxn ang="0">
                    <a:pos x="42" y="75"/>
                  </a:cxn>
                  <a:cxn ang="0">
                    <a:pos x="37" y="79"/>
                  </a:cxn>
                  <a:cxn ang="0">
                    <a:pos x="26" y="79"/>
                  </a:cxn>
                  <a:cxn ang="0">
                    <a:pos x="23" y="69"/>
                  </a:cxn>
                  <a:cxn ang="0">
                    <a:pos x="4" y="67"/>
                  </a:cxn>
                  <a:cxn ang="0">
                    <a:pos x="0" y="67"/>
                  </a:cxn>
                  <a:cxn ang="0">
                    <a:pos x="2" y="62"/>
                  </a:cxn>
                  <a:cxn ang="0">
                    <a:pos x="7" y="62"/>
                  </a:cxn>
                  <a:cxn ang="0">
                    <a:pos x="12" y="59"/>
                  </a:cxn>
                  <a:cxn ang="0">
                    <a:pos x="16" y="59"/>
                  </a:cxn>
                  <a:cxn ang="0">
                    <a:pos x="21" y="50"/>
                  </a:cxn>
                  <a:cxn ang="0">
                    <a:pos x="25" y="40"/>
                  </a:cxn>
                  <a:cxn ang="0">
                    <a:pos x="30" y="30"/>
                  </a:cxn>
                  <a:cxn ang="0">
                    <a:pos x="30" y="22"/>
                  </a:cxn>
                  <a:cxn ang="0">
                    <a:pos x="33" y="11"/>
                  </a:cxn>
                  <a:cxn ang="0">
                    <a:pos x="37" y="2"/>
                  </a:cxn>
                  <a:cxn ang="0">
                    <a:pos x="47" y="7"/>
                  </a:cxn>
                  <a:cxn ang="0">
                    <a:pos x="54" y="5"/>
                  </a:cxn>
                  <a:cxn ang="0">
                    <a:pos x="61" y="3"/>
                  </a:cxn>
                  <a:cxn ang="0">
                    <a:pos x="67" y="2"/>
                  </a:cxn>
                  <a:cxn ang="0">
                    <a:pos x="87" y="6"/>
                  </a:cxn>
                  <a:cxn ang="0">
                    <a:pos x="92" y="8"/>
                  </a:cxn>
                  <a:cxn ang="0">
                    <a:pos x="95" y="17"/>
                  </a:cxn>
                  <a:cxn ang="0">
                    <a:pos x="94" y="24"/>
                  </a:cxn>
                  <a:cxn ang="0">
                    <a:pos x="90" y="34"/>
                  </a:cxn>
                </a:cxnLst>
                <a:rect l="0" t="0" r="r" b="b"/>
                <a:pathLst>
                  <a:path w="97" h="113">
                    <a:moveTo>
                      <a:pt x="89" y="40"/>
                    </a:moveTo>
                    <a:cubicBezTo>
                      <a:pt x="87" y="45"/>
                      <a:pt x="87" y="45"/>
                      <a:pt x="87" y="45"/>
                    </a:cubicBezTo>
                    <a:cubicBezTo>
                      <a:pt x="85" y="49"/>
                      <a:pt x="85" y="49"/>
                      <a:pt x="85" y="49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9" y="72"/>
                      <a:pt x="88" y="70"/>
                      <a:pt x="94" y="82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85" y="84"/>
                      <a:pt x="85" y="84"/>
                      <a:pt x="85" y="84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3" y="93"/>
                      <a:pt x="83" y="93"/>
                      <a:pt x="83" y="93"/>
                    </a:cubicBezTo>
                    <a:cubicBezTo>
                      <a:pt x="83" y="98"/>
                      <a:pt x="83" y="98"/>
                      <a:pt x="83" y="98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7" y="113"/>
                      <a:pt x="87" y="113"/>
                      <a:pt x="87" y="113"/>
                    </a:cubicBezTo>
                    <a:cubicBezTo>
                      <a:pt x="84" y="113"/>
                      <a:pt x="84" y="113"/>
                      <a:pt x="84" y="113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51" y="98"/>
                      <a:pt x="51" y="98"/>
                      <a:pt x="51" y="98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78"/>
                      <a:pt x="49" y="78"/>
                      <a:pt x="49" y="78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81" y="2"/>
                      <a:pt x="73" y="0"/>
                      <a:pt x="83" y="7"/>
                    </a:cubicBezTo>
                    <a:cubicBezTo>
                      <a:pt x="87" y="6"/>
                      <a:pt x="87" y="6"/>
                      <a:pt x="87" y="6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7"/>
                      <a:pt x="95" y="17"/>
                      <a:pt x="95" y="17"/>
                    </a:cubicBezTo>
                    <a:cubicBezTo>
                      <a:pt x="97" y="19"/>
                      <a:pt x="97" y="19"/>
                      <a:pt x="97" y="19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40"/>
                      <a:pt x="89" y="40"/>
                      <a:pt x="89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8" name="Freeform 1576"/>
              <p:cNvSpPr>
                <a:spLocks/>
              </p:cNvSpPr>
              <p:nvPr/>
            </p:nvSpPr>
            <p:spPr bwMode="auto">
              <a:xfrm>
                <a:off x="4675244" y="4882337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49" name="Freeform 1577"/>
              <p:cNvSpPr>
                <a:spLocks/>
              </p:cNvSpPr>
              <p:nvPr/>
            </p:nvSpPr>
            <p:spPr bwMode="auto">
              <a:xfrm>
                <a:off x="4675244" y="4882337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0" name="Freeform 1578"/>
              <p:cNvSpPr>
                <a:spLocks/>
              </p:cNvSpPr>
              <p:nvPr/>
            </p:nvSpPr>
            <p:spPr bwMode="auto">
              <a:xfrm>
                <a:off x="4675244" y="4882337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1" name="Freeform 1579"/>
              <p:cNvSpPr>
                <a:spLocks/>
              </p:cNvSpPr>
              <p:nvPr/>
            </p:nvSpPr>
            <p:spPr bwMode="auto">
              <a:xfrm>
                <a:off x="4675244" y="4882337"/>
                <a:ext cx="357191" cy="366718"/>
              </a:xfrm>
              <a:custGeom>
                <a:avLst/>
                <a:gdLst/>
                <a:ahLst/>
                <a:cxnLst>
                  <a:cxn ang="0">
                    <a:pos x="40" y="46"/>
                  </a:cxn>
                  <a:cxn ang="0">
                    <a:pos x="41" y="38"/>
                  </a:cxn>
                  <a:cxn ang="0">
                    <a:pos x="41" y="30"/>
                  </a:cxn>
                  <a:cxn ang="0">
                    <a:pos x="46" y="30"/>
                  </a:cxn>
                  <a:cxn ang="0">
                    <a:pos x="46" y="7"/>
                  </a:cxn>
                  <a:cxn ang="0">
                    <a:pos x="53" y="7"/>
                  </a:cxn>
                  <a:cxn ang="0">
                    <a:pos x="58" y="6"/>
                  </a:cxn>
                  <a:cxn ang="0">
                    <a:pos x="60" y="8"/>
                  </a:cxn>
                  <a:cxn ang="0">
                    <a:pos x="64" y="6"/>
                  </a:cxn>
                  <a:cxn ang="0">
                    <a:pos x="68" y="5"/>
                  </a:cxn>
                  <a:cxn ang="0">
                    <a:pos x="62" y="2"/>
                  </a:cxn>
                  <a:cxn ang="0">
                    <a:pos x="59" y="4"/>
                  </a:cxn>
                  <a:cxn ang="0">
                    <a:pos x="52" y="5"/>
                  </a:cxn>
                  <a:cxn ang="0">
                    <a:pos x="44" y="5"/>
                  </a:cxn>
                  <a:cxn ang="0">
                    <a:pos x="38" y="4"/>
                  </a:cxn>
                  <a:cxn ang="0">
                    <a:pos x="34" y="2"/>
                  </a:cxn>
                  <a:cxn ang="0">
                    <a:pos x="33" y="1"/>
                  </a:cxn>
                  <a:cxn ang="0">
                    <a:pos x="10" y="1"/>
                  </a:cxn>
                  <a:cxn ang="0">
                    <a:pos x="6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3" y="11"/>
                  </a:cxn>
                  <a:cxn ang="0">
                    <a:pos x="6" y="20"/>
                  </a:cxn>
                  <a:cxn ang="0">
                    <a:pos x="10" y="26"/>
                  </a:cxn>
                  <a:cxn ang="0">
                    <a:pos x="13" y="34"/>
                  </a:cxn>
                  <a:cxn ang="0">
                    <a:pos x="14" y="35"/>
                  </a:cxn>
                  <a:cxn ang="0">
                    <a:pos x="13" y="35"/>
                  </a:cxn>
                  <a:cxn ang="0">
                    <a:pos x="22" y="68"/>
                  </a:cxn>
                  <a:cxn ang="0">
                    <a:pos x="25" y="65"/>
                  </a:cxn>
                  <a:cxn ang="0">
                    <a:pos x="27" y="69"/>
                  </a:cxn>
                  <a:cxn ang="0">
                    <a:pos x="34" y="70"/>
                  </a:cxn>
                  <a:cxn ang="0">
                    <a:pos x="38" y="68"/>
                  </a:cxn>
                  <a:cxn ang="0">
                    <a:pos x="38" y="57"/>
                  </a:cxn>
                  <a:cxn ang="0">
                    <a:pos x="40" y="51"/>
                  </a:cxn>
                  <a:cxn ang="0">
                    <a:pos x="40" y="46"/>
                  </a:cxn>
                </a:cxnLst>
                <a:rect l="0" t="0" r="r" b="b"/>
                <a:pathLst>
                  <a:path w="68" h="70">
                    <a:moveTo>
                      <a:pt x="40" y="46"/>
                    </a:move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18" y="52"/>
                      <a:pt x="10" y="55"/>
                      <a:pt x="22" y="68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46"/>
                      <a:pt x="40" y="46"/>
                      <a:pt x="40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2" name="Freeform 1580"/>
              <p:cNvSpPr>
                <a:spLocks/>
              </p:cNvSpPr>
              <p:nvPr/>
            </p:nvSpPr>
            <p:spPr bwMode="auto">
              <a:xfrm>
                <a:off x="2520980" y="4656907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3" name="Freeform 1581"/>
              <p:cNvSpPr>
                <a:spLocks/>
              </p:cNvSpPr>
              <p:nvPr/>
            </p:nvSpPr>
            <p:spPr bwMode="auto">
              <a:xfrm>
                <a:off x="2520980" y="4656907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4" name="Freeform 1582"/>
              <p:cNvSpPr>
                <a:spLocks/>
              </p:cNvSpPr>
              <p:nvPr/>
            </p:nvSpPr>
            <p:spPr bwMode="auto">
              <a:xfrm>
                <a:off x="2520980" y="4656907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5" name="Freeform 1583"/>
              <p:cNvSpPr>
                <a:spLocks/>
              </p:cNvSpPr>
              <p:nvPr/>
            </p:nvSpPr>
            <p:spPr bwMode="auto">
              <a:xfrm>
                <a:off x="2520980" y="4656907"/>
                <a:ext cx="328616" cy="409581"/>
              </a:xfrm>
              <a:custGeom>
                <a:avLst/>
                <a:gdLst/>
                <a:ahLst/>
                <a:cxnLst>
                  <a:cxn ang="0">
                    <a:pos x="138" y="202"/>
                  </a:cxn>
                  <a:cxn ang="0">
                    <a:pos x="132" y="225"/>
                  </a:cxn>
                  <a:cxn ang="0">
                    <a:pos x="132" y="238"/>
                  </a:cxn>
                  <a:cxn ang="0">
                    <a:pos x="125" y="238"/>
                  </a:cxn>
                  <a:cxn ang="0">
                    <a:pos x="109" y="238"/>
                  </a:cxn>
                  <a:cxn ang="0">
                    <a:pos x="102" y="251"/>
                  </a:cxn>
                  <a:cxn ang="0">
                    <a:pos x="92" y="238"/>
                  </a:cxn>
                  <a:cxn ang="0">
                    <a:pos x="76" y="238"/>
                  </a:cxn>
                  <a:cxn ang="0">
                    <a:pos x="72" y="231"/>
                  </a:cxn>
                  <a:cxn ang="0">
                    <a:pos x="59" y="258"/>
                  </a:cxn>
                  <a:cxn ang="0">
                    <a:pos x="46" y="251"/>
                  </a:cxn>
                  <a:cxn ang="0">
                    <a:pos x="39" y="231"/>
                  </a:cxn>
                  <a:cxn ang="0">
                    <a:pos x="33" y="215"/>
                  </a:cxn>
                  <a:cxn ang="0">
                    <a:pos x="26" y="202"/>
                  </a:cxn>
                  <a:cxn ang="0">
                    <a:pos x="26" y="185"/>
                  </a:cxn>
                  <a:cxn ang="0">
                    <a:pos x="20" y="172"/>
                  </a:cxn>
                  <a:cxn ang="0">
                    <a:pos x="13" y="156"/>
                  </a:cxn>
                  <a:cxn ang="0">
                    <a:pos x="10" y="149"/>
                  </a:cxn>
                  <a:cxn ang="0">
                    <a:pos x="10" y="142"/>
                  </a:cxn>
                  <a:cxn ang="0">
                    <a:pos x="20" y="123"/>
                  </a:cxn>
                  <a:cxn ang="0">
                    <a:pos x="10" y="123"/>
                  </a:cxn>
                  <a:cxn ang="0">
                    <a:pos x="10" y="90"/>
                  </a:cxn>
                  <a:cxn ang="0">
                    <a:pos x="13" y="80"/>
                  </a:cxn>
                  <a:cxn ang="0">
                    <a:pos x="13" y="53"/>
                  </a:cxn>
                  <a:cxn ang="0">
                    <a:pos x="20" y="50"/>
                  </a:cxn>
                  <a:cxn ang="0">
                    <a:pos x="6" y="33"/>
                  </a:cxn>
                  <a:cxn ang="0">
                    <a:pos x="0" y="20"/>
                  </a:cxn>
                  <a:cxn ang="0">
                    <a:pos x="20" y="20"/>
                  </a:cxn>
                  <a:cxn ang="0">
                    <a:pos x="26" y="14"/>
                  </a:cxn>
                  <a:cxn ang="0">
                    <a:pos x="43" y="7"/>
                  </a:cxn>
                  <a:cxn ang="0">
                    <a:pos x="56" y="0"/>
                  </a:cxn>
                  <a:cxn ang="0">
                    <a:pos x="72" y="0"/>
                  </a:cxn>
                  <a:cxn ang="0">
                    <a:pos x="72" y="33"/>
                  </a:cxn>
                  <a:cxn ang="0">
                    <a:pos x="85" y="47"/>
                  </a:cxn>
                  <a:cxn ang="0">
                    <a:pos x="92" y="50"/>
                  </a:cxn>
                  <a:cxn ang="0">
                    <a:pos x="112" y="57"/>
                  </a:cxn>
                  <a:cxn ang="0">
                    <a:pos x="132" y="73"/>
                  </a:cxn>
                  <a:cxn ang="0">
                    <a:pos x="148" y="73"/>
                  </a:cxn>
                  <a:cxn ang="0">
                    <a:pos x="155" y="83"/>
                  </a:cxn>
                  <a:cxn ang="0">
                    <a:pos x="155" y="99"/>
                  </a:cxn>
                  <a:cxn ang="0">
                    <a:pos x="151" y="99"/>
                  </a:cxn>
                  <a:cxn ang="0">
                    <a:pos x="158" y="109"/>
                  </a:cxn>
                  <a:cxn ang="0">
                    <a:pos x="165" y="123"/>
                  </a:cxn>
                  <a:cxn ang="0">
                    <a:pos x="174" y="126"/>
                  </a:cxn>
                  <a:cxn ang="0">
                    <a:pos x="191" y="126"/>
                  </a:cxn>
                  <a:cxn ang="0">
                    <a:pos x="194" y="142"/>
                  </a:cxn>
                  <a:cxn ang="0">
                    <a:pos x="204" y="156"/>
                  </a:cxn>
                  <a:cxn ang="0">
                    <a:pos x="207" y="162"/>
                  </a:cxn>
                  <a:cxn ang="0">
                    <a:pos x="204" y="179"/>
                  </a:cxn>
                  <a:cxn ang="0">
                    <a:pos x="201" y="192"/>
                  </a:cxn>
                  <a:cxn ang="0">
                    <a:pos x="204" y="202"/>
                  </a:cxn>
                  <a:cxn ang="0">
                    <a:pos x="201" y="202"/>
                  </a:cxn>
                  <a:cxn ang="0">
                    <a:pos x="201" y="195"/>
                  </a:cxn>
                  <a:cxn ang="0">
                    <a:pos x="184" y="185"/>
                  </a:cxn>
                  <a:cxn ang="0">
                    <a:pos x="165" y="189"/>
                  </a:cxn>
                  <a:cxn ang="0">
                    <a:pos x="141" y="192"/>
                  </a:cxn>
                  <a:cxn ang="0">
                    <a:pos x="138" y="202"/>
                  </a:cxn>
                </a:cxnLst>
                <a:rect l="0" t="0" r="r" b="b"/>
                <a:pathLst>
                  <a:path w="207" h="258">
                    <a:moveTo>
                      <a:pt x="138" y="202"/>
                    </a:moveTo>
                    <a:lnTo>
                      <a:pt x="132" y="225"/>
                    </a:lnTo>
                    <a:lnTo>
                      <a:pt x="132" y="238"/>
                    </a:lnTo>
                    <a:lnTo>
                      <a:pt x="125" y="238"/>
                    </a:lnTo>
                    <a:lnTo>
                      <a:pt x="109" y="238"/>
                    </a:lnTo>
                    <a:lnTo>
                      <a:pt x="102" y="251"/>
                    </a:lnTo>
                    <a:lnTo>
                      <a:pt x="92" y="238"/>
                    </a:lnTo>
                    <a:lnTo>
                      <a:pt x="76" y="238"/>
                    </a:lnTo>
                    <a:lnTo>
                      <a:pt x="72" y="231"/>
                    </a:lnTo>
                    <a:lnTo>
                      <a:pt x="59" y="258"/>
                    </a:lnTo>
                    <a:lnTo>
                      <a:pt x="46" y="251"/>
                    </a:lnTo>
                    <a:lnTo>
                      <a:pt x="39" y="231"/>
                    </a:lnTo>
                    <a:lnTo>
                      <a:pt x="33" y="215"/>
                    </a:lnTo>
                    <a:lnTo>
                      <a:pt x="26" y="202"/>
                    </a:lnTo>
                    <a:lnTo>
                      <a:pt x="26" y="185"/>
                    </a:lnTo>
                    <a:lnTo>
                      <a:pt x="20" y="172"/>
                    </a:lnTo>
                    <a:lnTo>
                      <a:pt x="13" y="156"/>
                    </a:lnTo>
                    <a:lnTo>
                      <a:pt x="10" y="149"/>
                    </a:lnTo>
                    <a:lnTo>
                      <a:pt x="10" y="142"/>
                    </a:lnTo>
                    <a:lnTo>
                      <a:pt x="20" y="123"/>
                    </a:lnTo>
                    <a:lnTo>
                      <a:pt x="10" y="123"/>
                    </a:lnTo>
                    <a:lnTo>
                      <a:pt x="10" y="90"/>
                    </a:lnTo>
                    <a:lnTo>
                      <a:pt x="13" y="80"/>
                    </a:lnTo>
                    <a:lnTo>
                      <a:pt x="13" y="53"/>
                    </a:lnTo>
                    <a:lnTo>
                      <a:pt x="20" y="50"/>
                    </a:lnTo>
                    <a:lnTo>
                      <a:pt x="6" y="33"/>
                    </a:lnTo>
                    <a:lnTo>
                      <a:pt x="0" y="20"/>
                    </a:lnTo>
                    <a:lnTo>
                      <a:pt x="20" y="20"/>
                    </a:lnTo>
                    <a:lnTo>
                      <a:pt x="26" y="14"/>
                    </a:lnTo>
                    <a:lnTo>
                      <a:pt x="43" y="7"/>
                    </a:lnTo>
                    <a:lnTo>
                      <a:pt x="56" y="0"/>
                    </a:lnTo>
                    <a:lnTo>
                      <a:pt x="72" y="0"/>
                    </a:lnTo>
                    <a:lnTo>
                      <a:pt x="72" y="33"/>
                    </a:lnTo>
                    <a:lnTo>
                      <a:pt x="85" y="47"/>
                    </a:lnTo>
                    <a:lnTo>
                      <a:pt x="92" y="50"/>
                    </a:lnTo>
                    <a:lnTo>
                      <a:pt x="112" y="57"/>
                    </a:lnTo>
                    <a:lnTo>
                      <a:pt x="132" y="73"/>
                    </a:lnTo>
                    <a:lnTo>
                      <a:pt x="148" y="73"/>
                    </a:lnTo>
                    <a:lnTo>
                      <a:pt x="155" y="83"/>
                    </a:lnTo>
                    <a:lnTo>
                      <a:pt x="155" y="99"/>
                    </a:lnTo>
                    <a:lnTo>
                      <a:pt x="151" y="99"/>
                    </a:lnTo>
                    <a:lnTo>
                      <a:pt x="158" y="109"/>
                    </a:lnTo>
                    <a:lnTo>
                      <a:pt x="165" y="123"/>
                    </a:lnTo>
                    <a:lnTo>
                      <a:pt x="174" y="126"/>
                    </a:lnTo>
                    <a:lnTo>
                      <a:pt x="191" y="126"/>
                    </a:lnTo>
                    <a:lnTo>
                      <a:pt x="194" y="142"/>
                    </a:lnTo>
                    <a:lnTo>
                      <a:pt x="204" y="156"/>
                    </a:lnTo>
                    <a:lnTo>
                      <a:pt x="207" y="162"/>
                    </a:lnTo>
                    <a:lnTo>
                      <a:pt x="204" y="179"/>
                    </a:lnTo>
                    <a:lnTo>
                      <a:pt x="201" y="192"/>
                    </a:lnTo>
                    <a:lnTo>
                      <a:pt x="204" y="202"/>
                    </a:lnTo>
                    <a:lnTo>
                      <a:pt x="201" y="202"/>
                    </a:lnTo>
                    <a:lnTo>
                      <a:pt x="201" y="195"/>
                    </a:lnTo>
                    <a:lnTo>
                      <a:pt x="184" y="185"/>
                    </a:lnTo>
                    <a:lnTo>
                      <a:pt x="165" y="189"/>
                    </a:lnTo>
                    <a:lnTo>
                      <a:pt x="141" y="192"/>
                    </a:lnTo>
                    <a:lnTo>
                      <a:pt x="138" y="20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6" name="Freeform 1584"/>
              <p:cNvSpPr>
                <a:spLocks/>
              </p:cNvSpPr>
              <p:nvPr/>
            </p:nvSpPr>
            <p:spPr bwMode="auto">
              <a:xfrm>
                <a:off x="4891146" y="4909324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7" name="Freeform 1585"/>
              <p:cNvSpPr>
                <a:spLocks/>
              </p:cNvSpPr>
              <p:nvPr/>
            </p:nvSpPr>
            <p:spPr bwMode="auto">
              <a:xfrm>
                <a:off x="4891146" y="4909324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8" name="Freeform 1586"/>
              <p:cNvSpPr>
                <a:spLocks/>
              </p:cNvSpPr>
              <p:nvPr/>
            </p:nvSpPr>
            <p:spPr bwMode="auto">
              <a:xfrm>
                <a:off x="4891146" y="4909324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59" name="Freeform 1587"/>
              <p:cNvSpPr>
                <a:spLocks/>
              </p:cNvSpPr>
              <p:nvPr/>
            </p:nvSpPr>
            <p:spPr bwMode="auto">
              <a:xfrm>
                <a:off x="4891146" y="4909324"/>
                <a:ext cx="239715" cy="277816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0" y="109"/>
                  </a:cxn>
                  <a:cxn ang="0">
                    <a:pos x="0" y="79"/>
                  </a:cxn>
                  <a:cxn ang="0">
                    <a:pos x="16" y="79"/>
                  </a:cxn>
                  <a:cxn ang="0">
                    <a:pos x="16" y="6"/>
                  </a:cxn>
                  <a:cxn ang="0">
                    <a:pos x="39" y="6"/>
                  </a:cxn>
                  <a:cxn ang="0">
                    <a:pos x="56" y="3"/>
                  </a:cxn>
                  <a:cxn ang="0">
                    <a:pos x="65" y="10"/>
                  </a:cxn>
                  <a:cxn ang="0">
                    <a:pos x="79" y="3"/>
                  </a:cxn>
                  <a:cxn ang="0">
                    <a:pos x="89" y="0"/>
                  </a:cxn>
                  <a:cxn ang="0">
                    <a:pos x="98" y="20"/>
                  </a:cxn>
                  <a:cxn ang="0">
                    <a:pos x="108" y="36"/>
                  </a:cxn>
                  <a:cxn ang="0">
                    <a:pos x="122" y="46"/>
                  </a:cxn>
                  <a:cxn ang="0">
                    <a:pos x="122" y="53"/>
                  </a:cxn>
                  <a:cxn ang="0">
                    <a:pos x="128" y="53"/>
                  </a:cxn>
                  <a:cxn ang="0">
                    <a:pos x="135" y="72"/>
                  </a:cxn>
                  <a:cxn ang="0">
                    <a:pos x="148" y="79"/>
                  </a:cxn>
                  <a:cxn ang="0">
                    <a:pos x="151" y="82"/>
                  </a:cxn>
                  <a:cxn ang="0">
                    <a:pos x="128" y="99"/>
                  </a:cxn>
                  <a:cxn ang="0">
                    <a:pos x="115" y="112"/>
                  </a:cxn>
                  <a:cxn ang="0">
                    <a:pos x="102" y="132"/>
                  </a:cxn>
                  <a:cxn ang="0">
                    <a:pos x="92" y="138"/>
                  </a:cxn>
                  <a:cxn ang="0">
                    <a:pos x="82" y="152"/>
                  </a:cxn>
                  <a:cxn ang="0">
                    <a:pos x="59" y="148"/>
                  </a:cxn>
                  <a:cxn ang="0">
                    <a:pos x="46" y="148"/>
                  </a:cxn>
                  <a:cxn ang="0">
                    <a:pos x="39" y="155"/>
                  </a:cxn>
                  <a:cxn ang="0">
                    <a:pos x="29" y="171"/>
                  </a:cxn>
                  <a:cxn ang="0">
                    <a:pos x="13" y="175"/>
                  </a:cxn>
                  <a:cxn ang="0">
                    <a:pos x="6" y="171"/>
                  </a:cxn>
                  <a:cxn ang="0">
                    <a:pos x="13" y="152"/>
                  </a:cxn>
                  <a:cxn ang="0">
                    <a:pos x="0" y="135"/>
                  </a:cxn>
                </a:cxnLst>
                <a:rect l="0" t="0" r="r" b="b"/>
                <a:pathLst>
                  <a:path w="151" h="175">
                    <a:moveTo>
                      <a:pt x="0" y="135"/>
                    </a:moveTo>
                    <a:lnTo>
                      <a:pt x="0" y="109"/>
                    </a:lnTo>
                    <a:lnTo>
                      <a:pt x="0" y="79"/>
                    </a:lnTo>
                    <a:lnTo>
                      <a:pt x="16" y="79"/>
                    </a:lnTo>
                    <a:lnTo>
                      <a:pt x="16" y="6"/>
                    </a:lnTo>
                    <a:lnTo>
                      <a:pt x="39" y="6"/>
                    </a:lnTo>
                    <a:lnTo>
                      <a:pt x="56" y="3"/>
                    </a:lnTo>
                    <a:lnTo>
                      <a:pt x="65" y="10"/>
                    </a:lnTo>
                    <a:lnTo>
                      <a:pt x="79" y="3"/>
                    </a:lnTo>
                    <a:lnTo>
                      <a:pt x="89" y="0"/>
                    </a:lnTo>
                    <a:lnTo>
                      <a:pt x="98" y="20"/>
                    </a:lnTo>
                    <a:lnTo>
                      <a:pt x="108" y="36"/>
                    </a:lnTo>
                    <a:lnTo>
                      <a:pt x="122" y="46"/>
                    </a:lnTo>
                    <a:lnTo>
                      <a:pt x="122" y="53"/>
                    </a:lnTo>
                    <a:lnTo>
                      <a:pt x="128" y="53"/>
                    </a:lnTo>
                    <a:lnTo>
                      <a:pt x="135" y="72"/>
                    </a:lnTo>
                    <a:lnTo>
                      <a:pt x="148" y="79"/>
                    </a:lnTo>
                    <a:lnTo>
                      <a:pt x="151" y="82"/>
                    </a:lnTo>
                    <a:lnTo>
                      <a:pt x="128" y="99"/>
                    </a:lnTo>
                    <a:lnTo>
                      <a:pt x="115" y="112"/>
                    </a:lnTo>
                    <a:lnTo>
                      <a:pt x="102" y="132"/>
                    </a:lnTo>
                    <a:lnTo>
                      <a:pt x="92" y="138"/>
                    </a:lnTo>
                    <a:lnTo>
                      <a:pt x="82" y="152"/>
                    </a:lnTo>
                    <a:lnTo>
                      <a:pt x="59" y="148"/>
                    </a:lnTo>
                    <a:lnTo>
                      <a:pt x="46" y="148"/>
                    </a:lnTo>
                    <a:lnTo>
                      <a:pt x="39" y="155"/>
                    </a:lnTo>
                    <a:lnTo>
                      <a:pt x="29" y="171"/>
                    </a:lnTo>
                    <a:lnTo>
                      <a:pt x="13" y="175"/>
                    </a:lnTo>
                    <a:lnTo>
                      <a:pt x="6" y="171"/>
                    </a:lnTo>
                    <a:lnTo>
                      <a:pt x="13" y="152"/>
                    </a:lnTo>
                    <a:lnTo>
                      <a:pt x="0" y="13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0" name="Freeform 1588"/>
              <p:cNvSpPr>
                <a:spLocks/>
              </p:cNvSpPr>
              <p:nvPr/>
            </p:nvSpPr>
            <p:spPr bwMode="auto">
              <a:xfrm>
                <a:off x="5062598" y="5244291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1" name="Freeform 1589"/>
              <p:cNvSpPr>
                <a:spLocks/>
              </p:cNvSpPr>
              <p:nvPr/>
            </p:nvSpPr>
            <p:spPr bwMode="auto">
              <a:xfrm>
                <a:off x="5062598" y="5244291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2" name="Freeform 1590"/>
              <p:cNvSpPr>
                <a:spLocks/>
              </p:cNvSpPr>
              <p:nvPr/>
            </p:nvSpPr>
            <p:spPr bwMode="auto">
              <a:xfrm>
                <a:off x="5062598" y="5244291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3" name="Freeform 1591"/>
              <p:cNvSpPr>
                <a:spLocks/>
              </p:cNvSpPr>
              <p:nvPr/>
            </p:nvSpPr>
            <p:spPr bwMode="auto">
              <a:xfrm>
                <a:off x="5062598" y="5244291"/>
                <a:ext cx="58738" cy="5715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0"/>
                  </a:cxn>
                  <a:cxn ang="0">
                    <a:pos x="14" y="36"/>
                  </a:cxn>
                  <a:cxn ang="0">
                    <a:pos x="20" y="33"/>
                  </a:cxn>
                  <a:cxn ang="0">
                    <a:pos x="37" y="17"/>
                  </a:cxn>
                  <a:cxn ang="0">
                    <a:pos x="37" y="7"/>
                  </a:cxn>
                  <a:cxn ang="0">
                    <a:pos x="23" y="0"/>
                  </a:cxn>
                  <a:cxn ang="0">
                    <a:pos x="14" y="0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0" y="20"/>
                    </a:lnTo>
                    <a:lnTo>
                      <a:pt x="14" y="36"/>
                    </a:lnTo>
                    <a:lnTo>
                      <a:pt x="20" y="33"/>
                    </a:lnTo>
                    <a:lnTo>
                      <a:pt x="37" y="17"/>
                    </a:lnTo>
                    <a:lnTo>
                      <a:pt x="37" y="7"/>
                    </a:lnTo>
                    <a:lnTo>
                      <a:pt x="23" y="0"/>
                    </a:lnTo>
                    <a:lnTo>
                      <a:pt x="14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4" name="Freeform 1592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5" name="Freeform 1593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6" name="Freeform 1594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7" name="Freeform 1595"/>
              <p:cNvSpPr>
                <a:spLocks/>
              </p:cNvSpPr>
              <p:nvPr/>
            </p:nvSpPr>
            <p:spPr bwMode="auto">
              <a:xfrm>
                <a:off x="5497577" y="4725172"/>
                <a:ext cx="203203" cy="419106"/>
              </a:xfrm>
              <a:custGeom>
                <a:avLst/>
                <a:gdLst/>
                <a:ahLst/>
                <a:cxnLst>
                  <a:cxn ang="0">
                    <a:pos x="14" y="22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7" y="30"/>
                  </a:cxn>
                  <a:cxn ang="0">
                    <a:pos x="5" y="34"/>
                  </a:cxn>
                  <a:cxn ang="0">
                    <a:pos x="7" y="41"/>
                  </a:cxn>
                  <a:cxn ang="0">
                    <a:pos x="7" y="47"/>
                  </a:cxn>
                  <a:cxn ang="0">
                    <a:pos x="4" y="51"/>
                  </a:cxn>
                  <a:cxn ang="0">
                    <a:pos x="1" y="56"/>
                  </a:cxn>
                  <a:cxn ang="0">
                    <a:pos x="0" y="64"/>
                  </a:cxn>
                  <a:cxn ang="0">
                    <a:pos x="1" y="70"/>
                  </a:cxn>
                  <a:cxn ang="0">
                    <a:pos x="3" y="77"/>
                  </a:cxn>
                  <a:cxn ang="0">
                    <a:pos x="9" y="80"/>
                  </a:cxn>
                  <a:cxn ang="0">
                    <a:pos x="14" y="79"/>
                  </a:cxn>
                  <a:cxn ang="0">
                    <a:pos x="18" y="76"/>
                  </a:cxn>
                  <a:cxn ang="0">
                    <a:pos x="28" y="49"/>
                  </a:cxn>
                  <a:cxn ang="0">
                    <a:pos x="29" y="43"/>
                  </a:cxn>
                  <a:cxn ang="0">
                    <a:pos x="31" y="38"/>
                  </a:cxn>
                  <a:cxn ang="0">
                    <a:pos x="33" y="32"/>
                  </a:cxn>
                  <a:cxn ang="0">
                    <a:pos x="35" y="28"/>
                  </a:cxn>
                  <a:cxn ang="0">
                    <a:pos x="35" y="20"/>
                  </a:cxn>
                  <a:cxn ang="0">
                    <a:pos x="38" y="22"/>
                  </a:cxn>
                  <a:cxn ang="0">
                    <a:pos x="39" y="19"/>
                  </a:cxn>
                  <a:cxn ang="0">
                    <a:pos x="38" y="11"/>
                  </a:cxn>
                  <a:cxn ang="0">
                    <a:pos x="35" y="4"/>
                  </a:cxn>
                  <a:cxn ang="0">
                    <a:pos x="35" y="0"/>
                  </a:cxn>
                  <a:cxn ang="0">
                    <a:pos x="33" y="0"/>
                  </a:cxn>
                  <a:cxn ang="0">
                    <a:pos x="31" y="2"/>
                  </a:cxn>
                  <a:cxn ang="0">
                    <a:pos x="30" y="7"/>
                  </a:cxn>
                  <a:cxn ang="0">
                    <a:pos x="28" y="8"/>
                  </a:cxn>
                  <a:cxn ang="0">
                    <a:pos x="28" y="10"/>
                  </a:cxn>
                  <a:cxn ang="0">
                    <a:pos x="26" y="8"/>
                  </a:cxn>
                  <a:cxn ang="0">
                    <a:pos x="27" y="12"/>
                  </a:cxn>
                  <a:cxn ang="0">
                    <a:pos x="26" y="14"/>
                  </a:cxn>
                  <a:cxn ang="0">
                    <a:pos x="26" y="15"/>
                  </a:cxn>
                  <a:cxn ang="0">
                    <a:pos x="23" y="16"/>
                  </a:cxn>
                  <a:cxn ang="0">
                    <a:pos x="23" y="15"/>
                  </a:cxn>
                  <a:cxn ang="0">
                    <a:pos x="21" y="19"/>
                  </a:cxn>
                  <a:cxn ang="0">
                    <a:pos x="21" y="20"/>
                  </a:cxn>
                  <a:cxn ang="0">
                    <a:pos x="20" y="19"/>
                  </a:cxn>
                  <a:cxn ang="0">
                    <a:pos x="18" y="22"/>
                  </a:cxn>
                  <a:cxn ang="0">
                    <a:pos x="14" y="22"/>
                  </a:cxn>
                </a:cxnLst>
                <a:rect l="0" t="0" r="r" b="b"/>
                <a:pathLst>
                  <a:path w="39" h="80">
                    <a:moveTo>
                      <a:pt x="14" y="22"/>
                    </a:move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23" y="63"/>
                      <a:pt x="21" y="62"/>
                      <a:pt x="28" y="49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2"/>
                      <a:pt x="14" y="22"/>
                      <a:pt x="14" y="2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8" name="Freeform 1596"/>
              <p:cNvSpPr>
                <a:spLocks/>
              </p:cNvSpPr>
              <p:nvPr/>
            </p:nvSpPr>
            <p:spPr bwMode="auto">
              <a:xfrm>
                <a:off x="5230874" y="4636270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69" name="Freeform 1597"/>
              <p:cNvSpPr>
                <a:spLocks/>
              </p:cNvSpPr>
              <p:nvPr/>
            </p:nvSpPr>
            <p:spPr bwMode="auto">
              <a:xfrm>
                <a:off x="5230874" y="4636270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0" name="Freeform 1598"/>
              <p:cNvSpPr>
                <a:spLocks/>
              </p:cNvSpPr>
              <p:nvPr/>
            </p:nvSpPr>
            <p:spPr bwMode="auto">
              <a:xfrm>
                <a:off x="5230874" y="4636270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1" name="Freeform 1599"/>
              <p:cNvSpPr>
                <a:spLocks/>
              </p:cNvSpPr>
              <p:nvPr/>
            </p:nvSpPr>
            <p:spPr bwMode="auto">
              <a:xfrm>
                <a:off x="5230874" y="4636270"/>
                <a:ext cx="84138" cy="246066"/>
              </a:xfrm>
              <a:custGeom>
                <a:avLst/>
                <a:gdLst/>
                <a:ahLst/>
                <a:cxnLst>
                  <a:cxn ang="0">
                    <a:pos x="29" y="109"/>
                  </a:cxn>
                  <a:cxn ang="0">
                    <a:pos x="23" y="129"/>
                  </a:cxn>
                  <a:cxn ang="0">
                    <a:pos x="29" y="145"/>
                  </a:cxn>
                  <a:cxn ang="0">
                    <a:pos x="39" y="155"/>
                  </a:cxn>
                  <a:cxn ang="0">
                    <a:pos x="39" y="145"/>
                  </a:cxn>
                  <a:cxn ang="0">
                    <a:pos x="43" y="139"/>
                  </a:cxn>
                  <a:cxn ang="0">
                    <a:pos x="49" y="122"/>
                  </a:cxn>
                  <a:cxn ang="0">
                    <a:pos x="53" y="109"/>
                  </a:cxn>
                  <a:cxn ang="0">
                    <a:pos x="43" y="96"/>
                  </a:cxn>
                  <a:cxn ang="0">
                    <a:pos x="29" y="83"/>
                  </a:cxn>
                  <a:cxn ang="0">
                    <a:pos x="29" y="63"/>
                  </a:cxn>
                  <a:cxn ang="0">
                    <a:pos x="29" y="50"/>
                  </a:cxn>
                  <a:cxn ang="0">
                    <a:pos x="39" y="46"/>
                  </a:cxn>
                  <a:cxn ang="0">
                    <a:pos x="36" y="33"/>
                  </a:cxn>
                  <a:cxn ang="0">
                    <a:pos x="29" y="10"/>
                  </a:cxn>
                  <a:cxn ang="0">
                    <a:pos x="20" y="3"/>
                  </a:cxn>
                  <a:cxn ang="0">
                    <a:pos x="6" y="0"/>
                  </a:cxn>
                  <a:cxn ang="0">
                    <a:pos x="6" y="10"/>
                  </a:cxn>
                  <a:cxn ang="0">
                    <a:pos x="16" y="23"/>
                  </a:cxn>
                  <a:cxn ang="0">
                    <a:pos x="13" y="33"/>
                  </a:cxn>
                  <a:cxn ang="0">
                    <a:pos x="10" y="46"/>
                  </a:cxn>
                  <a:cxn ang="0">
                    <a:pos x="10" y="66"/>
                  </a:cxn>
                  <a:cxn ang="0">
                    <a:pos x="0" y="86"/>
                  </a:cxn>
                  <a:cxn ang="0">
                    <a:pos x="6" y="96"/>
                  </a:cxn>
                  <a:cxn ang="0">
                    <a:pos x="13" y="99"/>
                  </a:cxn>
                  <a:cxn ang="0">
                    <a:pos x="23" y="106"/>
                  </a:cxn>
                  <a:cxn ang="0">
                    <a:pos x="29" y="109"/>
                  </a:cxn>
                </a:cxnLst>
                <a:rect l="0" t="0" r="r" b="b"/>
                <a:pathLst>
                  <a:path w="53" h="155">
                    <a:moveTo>
                      <a:pt x="29" y="109"/>
                    </a:moveTo>
                    <a:lnTo>
                      <a:pt x="23" y="129"/>
                    </a:lnTo>
                    <a:lnTo>
                      <a:pt x="29" y="145"/>
                    </a:lnTo>
                    <a:lnTo>
                      <a:pt x="39" y="155"/>
                    </a:lnTo>
                    <a:lnTo>
                      <a:pt x="39" y="145"/>
                    </a:lnTo>
                    <a:lnTo>
                      <a:pt x="43" y="139"/>
                    </a:lnTo>
                    <a:lnTo>
                      <a:pt x="49" y="122"/>
                    </a:lnTo>
                    <a:lnTo>
                      <a:pt x="53" y="109"/>
                    </a:lnTo>
                    <a:lnTo>
                      <a:pt x="43" y="96"/>
                    </a:lnTo>
                    <a:lnTo>
                      <a:pt x="29" y="83"/>
                    </a:lnTo>
                    <a:lnTo>
                      <a:pt x="29" y="63"/>
                    </a:lnTo>
                    <a:lnTo>
                      <a:pt x="29" y="50"/>
                    </a:lnTo>
                    <a:lnTo>
                      <a:pt x="39" y="46"/>
                    </a:lnTo>
                    <a:lnTo>
                      <a:pt x="36" y="33"/>
                    </a:lnTo>
                    <a:lnTo>
                      <a:pt x="29" y="10"/>
                    </a:lnTo>
                    <a:lnTo>
                      <a:pt x="20" y="3"/>
                    </a:lnTo>
                    <a:lnTo>
                      <a:pt x="6" y="0"/>
                    </a:lnTo>
                    <a:lnTo>
                      <a:pt x="6" y="10"/>
                    </a:lnTo>
                    <a:lnTo>
                      <a:pt x="16" y="23"/>
                    </a:lnTo>
                    <a:lnTo>
                      <a:pt x="13" y="33"/>
                    </a:lnTo>
                    <a:lnTo>
                      <a:pt x="10" y="46"/>
                    </a:lnTo>
                    <a:lnTo>
                      <a:pt x="10" y="66"/>
                    </a:lnTo>
                    <a:lnTo>
                      <a:pt x="0" y="86"/>
                    </a:lnTo>
                    <a:lnTo>
                      <a:pt x="6" y="96"/>
                    </a:lnTo>
                    <a:lnTo>
                      <a:pt x="13" y="99"/>
                    </a:lnTo>
                    <a:lnTo>
                      <a:pt x="23" y="106"/>
                    </a:lnTo>
                    <a:lnTo>
                      <a:pt x="29" y="10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2" name="Freeform 1600"/>
              <p:cNvSpPr>
                <a:spLocks/>
              </p:cNvSpPr>
              <p:nvPr/>
            </p:nvSpPr>
            <p:spPr bwMode="auto">
              <a:xfrm>
                <a:off x="5167374" y="4672782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3" name="Freeform 1601"/>
              <p:cNvSpPr>
                <a:spLocks/>
              </p:cNvSpPr>
              <p:nvPr/>
            </p:nvSpPr>
            <p:spPr bwMode="auto">
              <a:xfrm>
                <a:off x="5167374" y="4672782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4" name="Freeform 1602"/>
              <p:cNvSpPr>
                <a:spLocks/>
              </p:cNvSpPr>
              <p:nvPr/>
            </p:nvSpPr>
            <p:spPr bwMode="auto">
              <a:xfrm>
                <a:off x="5167374" y="4672782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5" name="Freeform 1603"/>
              <p:cNvSpPr>
                <a:spLocks/>
              </p:cNvSpPr>
              <p:nvPr/>
            </p:nvSpPr>
            <p:spPr bwMode="auto">
              <a:xfrm>
                <a:off x="5167374" y="4672782"/>
                <a:ext cx="282578" cy="514358"/>
              </a:xfrm>
              <a:custGeom>
                <a:avLst/>
                <a:gdLst/>
                <a:ahLst/>
                <a:cxnLst>
                  <a:cxn ang="0">
                    <a:pos x="22" y="61"/>
                  </a:cxn>
                  <a:cxn ang="0">
                    <a:pos x="22" y="55"/>
                  </a:cxn>
                  <a:cxn ang="0">
                    <a:pos x="24" y="55"/>
                  </a:cxn>
                  <a:cxn ang="0">
                    <a:pos x="28" y="50"/>
                  </a:cxn>
                  <a:cxn ang="0">
                    <a:pos x="32" y="45"/>
                  </a:cxn>
                  <a:cxn ang="0">
                    <a:pos x="37" y="42"/>
                  </a:cxn>
                  <a:cxn ang="0">
                    <a:pos x="42" y="40"/>
                  </a:cxn>
                  <a:cxn ang="0">
                    <a:pos x="48" y="36"/>
                  </a:cxn>
                  <a:cxn ang="0">
                    <a:pos x="52" y="29"/>
                  </a:cxn>
                  <a:cxn ang="0">
                    <a:pos x="54" y="23"/>
                  </a:cxn>
                  <a:cxn ang="0">
                    <a:pos x="52" y="24"/>
                  </a:cxn>
                  <a:cxn ang="0">
                    <a:pos x="52" y="0"/>
                  </a:cxn>
                  <a:cxn ang="0">
                    <a:pos x="47" y="3"/>
                  </a:cxn>
                  <a:cxn ang="0">
                    <a:pos x="42" y="6"/>
                  </a:cxn>
                  <a:cxn ang="0">
                    <a:pos x="39" y="6"/>
                  </a:cxn>
                  <a:cxn ang="0">
                    <a:pos x="35" y="7"/>
                  </a:cxn>
                  <a:cxn ang="0">
                    <a:pos x="30" y="7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22" y="12"/>
                  </a:cxn>
                  <a:cxn ang="0">
                    <a:pos x="22" y="17"/>
                  </a:cxn>
                  <a:cxn ang="0">
                    <a:pos x="26" y="22"/>
                  </a:cxn>
                  <a:cxn ang="0">
                    <a:pos x="28" y="25"/>
                  </a:cxn>
                  <a:cxn ang="0">
                    <a:pos x="28" y="30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24" y="40"/>
                  </a:cxn>
                  <a:cxn ang="0">
                    <a:pos x="22" y="36"/>
                  </a:cxn>
                  <a:cxn ang="0">
                    <a:pos x="20" y="32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17" y="23"/>
                  </a:cxn>
                  <a:cxn ang="0">
                    <a:pos x="14" y="21"/>
                  </a:cxn>
                  <a:cxn ang="0">
                    <a:pos x="12" y="23"/>
                  </a:cxn>
                  <a:cxn ang="0">
                    <a:pos x="7" y="24"/>
                  </a:cxn>
                  <a:cxn ang="0">
                    <a:pos x="4" y="26"/>
                  </a:cxn>
                  <a:cxn ang="0">
                    <a:pos x="0" y="27"/>
                  </a:cxn>
                  <a:cxn ang="0">
                    <a:pos x="1" y="31"/>
                  </a:cxn>
                  <a:cxn ang="0">
                    <a:pos x="1" y="33"/>
                  </a:cxn>
                  <a:cxn ang="0">
                    <a:pos x="3" y="33"/>
                  </a:cxn>
                  <a:cxn ang="0">
                    <a:pos x="8" y="36"/>
                  </a:cxn>
                  <a:cxn ang="0">
                    <a:pos x="12" y="38"/>
                  </a:cxn>
                  <a:cxn ang="0">
                    <a:pos x="12" y="44"/>
                  </a:cxn>
                  <a:cxn ang="0">
                    <a:pos x="12" y="50"/>
                  </a:cxn>
                  <a:cxn ang="0">
                    <a:pos x="12" y="55"/>
                  </a:cxn>
                  <a:cxn ang="0">
                    <a:pos x="11" y="60"/>
                  </a:cxn>
                  <a:cxn ang="0">
                    <a:pos x="10" y="65"/>
                  </a:cxn>
                  <a:cxn ang="0">
                    <a:pos x="6" y="68"/>
                  </a:cxn>
                  <a:cxn ang="0">
                    <a:pos x="3" y="71"/>
                  </a:cxn>
                  <a:cxn ang="0">
                    <a:pos x="6" y="98"/>
                  </a:cxn>
                  <a:cxn ang="0">
                    <a:pos x="10" y="98"/>
                  </a:cxn>
                  <a:cxn ang="0">
                    <a:pos x="10" y="94"/>
                  </a:cxn>
                  <a:cxn ang="0">
                    <a:pos x="8" y="92"/>
                  </a:cxn>
                  <a:cxn ang="0">
                    <a:pos x="14" y="88"/>
                  </a:cxn>
                  <a:cxn ang="0">
                    <a:pos x="19" y="85"/>
                  </a:cxn>
                  <a:cxn ang="0">
                    <a:pos x="24" y="82"/>
                  </a:cxn>
                  <a:cxn ang="0">
                    <a:pos x="24" y="74"/>
                  </a:cxn>
                  <a:cxn ang="0">
                    <a:pos x="24" y="69"/>
                  </a:cxn>
                  <a:cxn ang="0">
                    <a:pos x="24" y="71"/>
                  </a:cxn>
                  <a:cxn ang="0">
                    <a:pos x="22" y="66"/>
                  </a:cxn>
                  <a:cxn ang="0">
                    <a:pos x="22" y="61"/>
                  </a:cxn>
                </a:cxnLst>
                <a:rect l="0" t="0" r="r" b="b"/>
                <a:pathLst>
                  <a:path w="54" h="98">
                    <a:moveTo>
                      <a:pt x="22" y="61"/>
                    </a:moveTo>
                    <a:cubicBezTo>
                      <a:pt x="22" y="55"/>
                      <a:pt x="22" y="55"/>
                      <a:pt x="22" y="5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8" y="82"/>
                      <a:pt x="3" y="88"/>
                      <a:pt x="6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1"/>
                      <a:pt x="22" y="61"/>
                      <a:pt x="22" y="6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6" name="Freeform 1604"/>
              <p:cNvSpPr>
                <a:spLocks/>
              </p:cNvSpPr>
              <p:nvPr/>
            </p:nvSpPr>
            <p:spPr bwMode="auto">
              <a:xfrm>
                <a:off x="4786369" y="5039501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70"/>
                  </a:cxn>
                  <a:cxn ang="0">
                    <a:pos x="56" y="126"/>
                  </a:cxn>
                  <a:cxn ang="0">
                    <a:pos x="16" y="129"/>
                  </a:cxn>
                  <a:cxn ang="0">
                    <a:pos x="0" y="126"/>
                  </a:cxn>
                  <a:cxn ang="0">
                    <a:pos x="13" y="162"/>
                  </a:cxn>
                  <a:cxn ang="0">
                    <a:pos x="29" y="19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52" y="251"/>
                  </a:cxn>
                  <a:cxn ang="0">
                    <a:pos x="85" y="235"/>
                  </a:cxn>
                  <a:cxn ang="0">
                    <a:pos x="145" y="231"/>
                  </a:cxn>
                  <a:cxn ang="0">
                    <a:pos x="171" y="218"/>
                  </a:cxn>
                  <a:cxn ang="0">
                    <a:pos x="201" y="195"/>
                  </a:cxn>
                  <a:cxn ang="0">
                    <a:pos x="224" y="172"/>
                  </a:cxn>
                  <a:cxn ang="0">
                    <a:pos x="244" y="149"/>
                  </a:cxn>
                  <a:cxn ang="0">
                    <a:pos x="263" y="109"/>
                  </a:cxn>
                  <a:cxn ang="0">
                    <a:pos x="263" y="93"/>
                  </a:cxn>
                  <a:cxn ang="0">
                    <a:pos x="240" y="96"/>
                  </a:cxn>
                  <a:cxn ang="0">
                    <a:pos x="250" y="70"/>
                  </a:cxn>
                  <a:cxn ang="0">
                    <a:pos x="257" y="33"/>
                  </a:cxn>
                  <a:cxn ang="0">
                    <a:pos x="250" y="4"/>
                  </a:cxn>
                  <a:cxn ang="0">
                    <a:pos x="217" y="0"/>
                  </a:cxn>
                  <a:cxn ang="0">
                    <a:pos x="181" y="30"/>
                  </a:cxn>
                  <a:cxn ang="0">
                    <a:pos x="158" y="56"/>
                  </a:cxn>
                  <a:cxn ang="0">
                    <a:pos x="125" y="66"/>
                  </a:cxn>
                  <a:cxn ang="0">
                    <a:pos x="102" y="73"/>
                  </a:cxn>
                  <a:cxn ang="0">
                    <a:pos x="75" y="93"/>
                  </a:cxn>
                  <a:cxn ang="0">
                    <a:pos x="75" y="70"/>
                  </a:cxn>
                  <a:cxn ang="0">
                    <a:pos x="191" y="132"/>
                  </a:cxn>
                  <a:cxn ang="0">
                    <a:pos x="188" y="165"/>
                  </a:cxn>
                  <a:cxn ang="0">
                    <a:pos x="207" y="149"/>
                  </a:cxn>
                  <a:cxn ang="0">
                    <a:pos x="197" y="129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lnTo>
                      <a:pt x="191" y="132"/>
                    </a:lnTo>
                    <a:lnTo>
                      <a:pt x="174" y="152"/>
                    </a:lnTo>
                    <a:lnTo>
                      <a:pt x="188" y="165"/>
                    </a:lnTo>
                    <a:lnTo>
                      <a:pt x="194" y="162"/>
                    </a:lnTo>
                    <a:lnTo>
                      <a:pt x="207" y="149"/>
                    </a:lnTo>
                    <a:lnTo>
                      <a:pt x="211" y="136"/>
                    </a:lnTo>
                    <a:lnTo>
                      <a:pt x="197" y="129"/>
                    </a:lnTo>
                    <a:lnTo>
                      <a:pt x="191" y="132"/>
                    </a:lnTo>
                    <a:lnTo>
                      <a:pt x="62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7" name="Freeform 1605"/>
              <p:cNvSpPr>
                <a:spLocks/>
              </p:cNvSpPr>
              <p:nvPr/>
            </p:nvSpPr>
            <p:spPr bwMode="auto">
              <a:xfrm>
                <a:off x="4786369" y="5039501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70"/>
                  </a:cxn>
                  <a:cxn ang="0">
                    <a:pos x="56" y="126"/>
                  </a:cxn>
                  <a:cxn ang="0">
                    <a:pos x="16" y="129"/>
                  </a:cxn>
                  <a:cxn ang="0">
                    <a:pos x="0" y="126"/>
                  </a:cxn>
                  <a:cxn ang="0">
                    <a:pos x="13" y="162"/>
                  </a:cxn>
                  <a:cxn ang="0">
                    <a:pos x="29" y="19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52" y="251"/>
                  </a:cxn>
                  <a:cxn ang="0">
                    <a:pos x="85" y="235"/>
                  </a:cxn>
                  <a:cxn ang="0">
                    <a:pos x="145" y="231"/>
                  </a:cxn>
                  <a:cxn ang="0">
                    <a:pos x="171" y="218"/>
                  </a:cxn>
                  <a:cxn ang="0">
                    <a:pos x="201" y="195"/>
                  </a:cxn>
                  <a:cxn ang="0">
                    <a:pos x="224" y="172"/>
                  </a:cxn>
                  <a:cxn ang="0">
                    <a:pos x="244" y="149"/>
                  </a:cxn>
                  <a:cxn ang="0">
                    <a:pos x="263" y="109"/>
                  </a:cxn>
                  <a:cxn ang="0">
                    <a:pos x="263" y="93"/>
                  </a:cxn>
                  <a:cxn ang="0">
                    <a:pos x="240" y="96"/>
                  </a:cxn>
                  <a:cxn ang="0">
                    <a:pos x="250" y="70"/>
                  </a:cxn>
                  <a:cxn ang="0">
                    <a:pos x="257" y="33"/>
                  </a:cxn>
                  <a:cxn ang="0">
                    <a:pos x="250" y="4"/>
                  </a:cxn>
                  <a:cxn ang="0">
                    <a:pos x="217" y="0"/>
                  </a:cxn>
                  <a:cxn ang="0">
                    <a:pos x="181" y="30"/>
                  </a:cxn>
                  <a:cxn ang="0">
                    <a:pos x="158" y="56"/>
                  </a:cxn>
                  <a:cxn ang="0">
                    <a:pos x="125" y="66"/>
                  </a:cxn>
                  <a:cxn ang="0">
                    <a:pos x="102" y="73"/>
                  </a:cxn>
                  <a:cxn ang="0">
                    <a:pos x="75" y="93"/>
                  </a:cxn>
                  <a:cxn ang="0">
                    <a:pos x="75" y="70"/>
                  </a:cxn>
                  <a:cxn ang="0">
                    <a:pos x="191" y="132"/>
                  </a:cxn>
                  <a:cxn ang="0">
                    <a:pos x="188" y="165"/>
                  </a:cxn>
                  <a:cxn ang="0">
                    <a:pos x="207" y="149"/>
                  </a:cxn>
                  <a:cxn ang="0">
                    <a:pos x="197" y="129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lnTo>
                      <a:pt x="191" y="132"/>
                    </a:lnTo>
                    <a:lnTo>
                      <a:pt x="174" y="152"/>
                    </a:lnTo>
                    <a:lnTo>
                      <a:pt x="188" y="165"/>
                    </a:lnTo>
                    <a:lnTo>
                      <a:pt x="194" y="162"/>
                    </a:lnTo>
                    <a:lnTo>
                      <a:pt x="207" y="149"/>
                    </a:lnTo>
                    <a:lnTo>
                      <a:pt x="211" y="136"/>
                    </a:lnTo>
                    <a:lnTo>
                      <a:pt x="197" y="129"/>
                    </a:lnTo>
                    <a:lnTo>
                      <a:pt x="191" y="132"/>
                    </a:lnTo>
                    <a:lnTo>
                      <a:pt x="62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8" name="Freeform 1606"/>
              <p:cNvSpPr>
                <a:spLocks/>
              </p:cNvSpPr>
              <p:nvPr/>
            </p:nvSpPr>
            <p:spPr bwMode="auto">
              <a:xfrm>
                <a:off x="4786369" y="5039501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79" name="Freeform 1607"/>
              <p:cNvSpPr>
                <a:spLocks/>
              </p:cNvSpPr>
              <p:nvPr/>
            </p:nvSpPr>
            <p:spPr bwMode="auto">
              <a:xfrm>
                <a:off x="4786369" y="5039501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0" name="Freeform 1608"/>
              <p:cNvSpPr>
                <a:spLocks/>
              </p:cNvSpPr>
              <p:nvPr/>
            </p:nvSpPr>
            <p:spPr bwMode="auto">
              <a:xfrm>
                <a:off x="4786369" y="5039501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1" name="Freeform 1609"/>
              <p:cNvSpPr>
                <a:spLocks/>
              </p:cNvSpPr>
              <p:nvPr/>
            </p:nvSpPr>
            <p:spPr bwMode="auto">
              <a:xfrm>
                <a:off x="4786369" y="5039501"/>
                <a:ext cx="433393" cy="398469"/>
              </a:xfrm>
              <a:custGeom>
                <a:avLst/>
                <a:gdLst/>
                <a:ahLst/>
                <a:cxnLst>
                  <a:cxn ang="0">
                    <a:pos x="62" y="50"/>
                  </a:cxn>
                  <a:cxn ang="0">
                    <a:pos x="62" y="70"/>
                  </a:cxn>
                  <a:cxn ang="0">
                    <a:pos x="56" y="89"/>
                  </a:cxn>
                  <a:cxn ang="0">
                    <a:pos x="56" y="126"/>
                  </a:cxn>
                  <a:cxn ang="0">
                    <a:pos x="43" y="132"/>
                  </a:cxn>
                  <a:cxn ang="0">
                    <a:pos x="16" y="129"/>
                  </a:cxn>
                  <a:cxn ang="0">
                    <a:pos x="10" y="116"/>
                  </a:cxn>
                  <a:cxn ang="0">
                    <a:pos x="0" y="126"/>
                  </a:cxn>
                  <a:cxn ang="0">
                    <a:pos x="6" y="142"/>
                  </a:cxn>
                  <a:cxn ang="0">
                    <a:pos x="13" y="162"/>
                  </a:cxn>
                  <a:cxn ang="0">
                    <a:pos x="19" y="182"/>
                  </a:cxn>
                  <a:cxn ang="0">
                    <a:pos x="29" y="198"/>
                  </a:cxn>
                  <a:cxn ang="0">
                    <a:pos x="19" y="208"/>
                  </a:cxn>
                  <a:cxn ang="0">
                    <a:pos x="23" y="218"/>
                  </a:cxn>
                  <a:cxn ang="0">
                    <a:pos x="29" y="238"/>
                  </a:cxn>
                  <a:cxn ang="0">
                    <a:pos x="29" y="238"/>
                  </a:cxn>
                  <a:cxn ang="0">
                    <a:pos x="43" y="241"/>
                  </a:cxn>
                  <a:cxn ang="0">
                    <a:pos x="52" y="251"/>
                  </a:cxn>
                  <a:cxn ang="0">
                    <a:pos x="72" y="241"/>
                  </a:cxn>
                  <a:cxn ang="0">
                    <a:pos x="85" y="235"/>
                  </a:cxn>
                  <a:cxn ang="0">
                    <a:pos x="122" y="235"/>
                  </a:cxn>
                  <a:cxn ang="0">
                    <a:pos x="145" y="231"/>
                  </a:cxn>
                  <a:cxn ang="0">
                    <a:pos x="155" y="228"/>
                  </a:cxn>
                  <a:cxn ang="0">
                    <a:pos x="171" y="218"/>
                  </a:cxn>
                  <a:cxn ang="0">
                    <a:pos x="191" y="208"/>
                  </a:cxn>
                  <a:cxn ang="0">
                    <a:pos x="201" y="195"/>
                  </a:cxn>
                  <a:cxn ang="0">
                    <a:pos x="211" y="185"/>
                  </a:cxn>
                  <a:cxn ang="0">
                    <a:pos x="224" y="172"/>
                  </a:cxn>
                  <a:cxn ang="0">
                    <a:pos x="234" y="162"/>
                  </a:cxn>
                  <a:cxn ang="0">
                    <a:pos x="244" y="149"/>
                  </a:cxn>
                  <a:cxn ang="0">
                    <a:pos x="257" y="132"/>
                  </a:cxn>
                  <a:cxn ang="0">
                    <a:pos x="263" y="109"/>
                  </a:cxn>
                  <a:cxn ang="0">
                    <a:pos x="273" y="93"/>
                  </a:cxn>
                  <a:cxn ang="0">
                    <a:pos x="263" y="93"/>
                  </a:cxn>
                  <a:cxn ang="0">
                    <a:pos x="257" y="99"/>
                  </a:cxn>
                  <a:cxn ang="0">
                    <a:pos x="240" y="96"/>
                  </a:cxn>
                  <a:cxn ang="0">
                    <a:pos x="244" y="80"/>
                  </a:cxn>
                  <a:cxn ang="0">
                    <a:pos x="250" y="70"/>
                  </a:cxn>
                  <a:cxn ang="0">
                    <a:pos x="257" y="73"/>
                  </a:cxn>
                  <a:cxn ang="0">
                    <a:pos x="257" y="33"/>
                  </a:cxn>
                  <a:cxn ang="0">
                    <a:pos x="253" y="17"/>
                  </a:cxn>
                  <a:cxn ang="0">
                    <a:pos x="250" y="4"/>
                  </a:cxn>
                  <a:cxn ang="0">
                    <a:pos x="237" y="4"/>
                  </a:cxn>
                  <a:cxn ang="0">
                    <a:pos x="217" y="0"/>
                  </a:cxn>
                  <a:cxn ang="0">
                    <a:pos x="194" y="17"/>
                  </a:cxn>
                  <a:cxn ang="0">
                    <a:pos x="181" y="30"/>
                  </a:cxn>
                  <a:cxn ang="0">
                    <a:pos x="168" y="50"/>
                  </a:cxn>
                  <a:cxn ang="0">
                    <a:pos x="158" y="56"/>
                  </a:cxn>
                  <a:cxn ang="0">
                    <a:pos x="148" y="70"/>
                  </a:cxn>
                  <a:cxn ang="0">
                    <a:pos x="125" y="66"/>
                  </a:cxn>
                  <a:cxn ang="0">
                    <a:pos x="108" y="63"/>
                  </a:cxn>
                  <a:cxn ang="0">
                    <a:pos x="102" y="73"/>
                  </a:cxn>
                  <a:cxn ang="0">
                    <a:pos x="95" y="89"/>
                  </a:cxn>
                  <a:cxn ang="0">
                    <a:pos x="75" y="93"/>
                  </a:cxn>
                  <a:cxn ang="0">
                    <a:pos x="72" y="89"/>
                  </a:cxn>
                  <a:cxn ang="0">
                    <a:pos x="75" y="70"/>
                  </a:cxn>
                  <a:cxn ang="0">
                    <a:pos x="62" y="50"/>
                  </a:cxn>
                </a:cxnLst>
                <a:rect l="0" t="0" r="r" b="b"/>
                <a:pathLst>
                  <a:path w="273" h="251">
                    <a:moveTo>
                      <a:pt x="62" y="50"/>
                    </a:moveTo>
                    <a:lnTo>
                      <a:pt x="62" y="70"/>
                    </a:lnTo>
                    <a:lnTo>
                      <a:pt x="56" y="89"/>
                    </a:lnTo>
                    <a:lnTo>
                      <a:pt x="56" y="126"/>
                    </a:lnTo>
                    <a:lnTo>
                      <a:pt x="43" y="132"/>
                    </a:lnTo>
                    <a:lnTo>
                      <a:pt x="16" y="129"/>
                    </a:lnTo>
                    <a:lnTo>
                      <a:pt x="10" y="116"/>
                    </a:lnTo>
                    <a:lnTo>
                      <a:pt x="0" y="126"/>
                    </a:lnTo>
                    <a:lnTo>
                      <a:pt x="6" y="142"/>
                    </a:lnTo>
                    <a:lnTo>
                      <a:pt x="13" y="162"/>
                    </a:lnTo>
                    <a:lnTo>
                      <a:pt x="19" y="182"/>
                    </a:lnTo>
                    <a:lnTo>
                      <a:pt x="29" y="198"/>
                    </a:lnTo>
                    <a:lnTo>
                      <a:pt x="19" y="208"/>
                    </a:lnTo>
                    <a:lnTo>
                      <a:pt x="23" y="218"/>
                    </a:lnTo>
                    <a:lnTo>
                      <a:pt x="29" y="238"/>
                    </a:lnTo>
                    <a:lnTo>
                      <a:pt x="29" y="238"/>
                    </a:lnTo>
                    <a:lnTo>
                      <a:pt x="43" y="241"/>
                    </a:lnTo>
                    <a:lnTo>
                      <a:pt x="52" y="251"/>
                    </a:lnTo>
                    <a:lnTo>
                      <a:pt x="72" y="241"/>
                    </a:lnTo>
                    <a:lnTo>
                      <a:pt x="85" y="235"/>
                    </a:lnTo>
                    <a:lnTo>
                      <a:pt x="122" y="235"/>
                    </a:lnTo>
                    <a:lnTo>
                      <a:pt x="145" y="231"/>
                    </a:lnTo>
                    <a:lnTo>
                      <a:pt x="155" y="228"/>
                    </a:lnTo>
                    <a:lnTo>
                      <a:pt x="171" y="218"/>
                    </a:lnTo>
                    <a:lnTo>
                      <a:pt x="191" y="208"/>
                    </a:lnTo>
                    <a:lnTo>
                      <a:pt x="201" y="195"/>
                    </a:lnTo>
                    <a:lnTo>
                      <a:pt x="211" y="185"/>
                    </a:lnTo>
                    <a:lnTo>
                      <a:pt x="224" y="172"/>
                    </a:lnTo>
                    <a:lnTo>
                      <a:pt x="234" y="162"/>
                    </a:lnTo>
                    <a:lnTo>
                      <a:pt x="244" y="149"/>
                    </a:lnTo>
                    <a:lnTo>
                      <a:pt x="257" y="132"/>
                    </a:lnTo>
                    <a:lnTo>
                      <a:pt x="263" y="109"/>
                    </a:lnTo>
                    <a:lnTo>
                      <a:pt x="273" y="93"/>
                    </a:lnTo>
                    <a:lnTo>
                      <a:pt x="263" y="93"/>
                    </a:lnTo>
                    <a:lnTo>
                      <a:pt x="257" y="99"/>
                    </a:lnTo>
                    <a:lnTo>
                      <a:pt x="240" y="96"/>
                    </a:lnTo>
                    <a:lnTo>
                      <a:pt x="244" y="80"/>
                    </a:lnTo>
                    <a:lnTo>
                      <a:pt x="250" y="70"/>
                    </a:lnTo>
                    <a:lnTo>
                      <a:pt x="257" y="73"/>
                    </a:lnTo>
                    <a:lnTo>
                      <a:pt x="257" y="33"/>
                    </a:lnTo>
                    <a:lnTo>
                      <a:pt x="253" y="17"/>
                    </a:lnTo>
                    <a:lnTo>
                      <a:pt x="250" y="4"/>
                    </a:lnTo>
                    <a:lnTo>
                      <a:pt x="237" y="4"/>
                    </a:lnTo>
                    <a:lnTo>
                      <a:pt x="217" y="0"/>
                    </a:lnTo>
                    <a:lnTo>
                      <a:pt x="194" y="17"/>
                    </a:lnTo>
                    <a:lnTo>
                      <a:pt x="181" y="30"/>
                    </a:lnTo>
                    <a:lnTo>
                      <a:pt x="168" y="50"/>
                    </a:lnTo>
                    <a:lnTo>
                      <a:pt x="158" y="56"/>
                    </a:lnTo>
                    <a:lnTo>
                      <a:pt x="148" y="70"/>
                    </a:lnTo>
                    <a:lnTo>
                      <a:pt x="125" y="66"/>
                    </a:lnTo>
                    <a:lnTo>
                      <a:pt x="108" y="63"/>
                    </a:lnTo>
                    <a:lnTo>
                      <a:pt x="102" y="73"/>
                    </a:lnTo>
                    <a:lnTo>
                      <a:pt x="95" y="89"/>
                    </a:lnTo>
                    <a:lnTo>
                      <a:pt x="75" y="93"/>
                    </a:lnTo>
                    <a:lnTo>
                      <a:pt x="72" y="89"/>
                    </a:lnTo>
                    <a:lnTo>
                      <a:pt x="75" y="70"/>
                    </a:lnTo>
                    <a:lnTo>
                      <a:pt x="62" y="5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2" name="Freeform 1610"/>
              <p:cNvSpPr>
                <a:spLocks/>
              </p:cNvSpPr>
              <p:nvPr/>
            </p:nvSpPr>
            <p:spPr bwMode="auto">
              <a:xfrm>
                <a:off x="4943534" y="4599757"/>
                <a:ext cx="319090" cy="314330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3" name="Freeform 1611"/>
              <p:cNvSpPr>
                <a:spLocks/>
              </p:cNvSpPr>
              <p:nvPr/>
            </p:nvSpPr>
            <p:spPr bwMode="auto">
              <a:xfrm>
                <a:off x="4943534" y="4599757"/>
                <a:ext cx="319090" cy="314330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4" name="Freeform 1613"/>
              <p:cNvSpPr>
                <a:spLocks/>
              </p:cNvSpPr>
              <p:nvPr/>
            </p:nvSpPr>
            <p:spPr bwMode="auto">
              <a:xfrm>
                <a:off x="4943534" y="4599759"/>
                <a:ext cx="319091" cy="314330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5" name="Freeform 1614"/>
              <p:cNvSpPr>
                <a:spLocks/>
              </p:cNvSpPr>
              <p:nvPr/>
            </p:nvSpPr>
            <p:spPr bwMode="auto">
              <a:xfrm>
                <a:off x="4943534" y="4599759"/>
                <a:ext cx="319091" cy="314330"/>
              </a:xfrm>
              <a:custGeom>
                <a:avLst/>
                <a:gdLst/>
                <a:ahLst/>
                <a:cxnLst>
                  <a:cxn ang="0">
                    <a:pos x="11" y="28"/>
                  </a:cxn>
                  <a:cxn ang="0">
                    <a:pos x="5" y="29"/>
                  </a:cxn>
                  <a:cxn ang="0">
                    <a:pos x="1" y="29"/>
                  </a:cxn>
                  <a:cxn ang="0">
                    <a:pos x="0" y="34"/>
                  </a:cxn>
                  <a:cxn ang="0">
                    <a:pos x="0" y="49"/>
                  </a:cxn>
                  <a:cxn ang="0">
                    <a:pos x="5" y="53"/>
                  </a:cxn>
                  <a:cxn ang="0">
                    <a:pos x="7" y="57"/>
                  </a:cxn>
                  <a:cxn ang="0">
                    <a:pos x="11" y="56"/>
                  </a:cxn>
                  <a:cxn ang="0">
                    <a:pos x="16" y="59"/>
                  </a:cxn>
                  <a:cxn ang="0">
                    <a:pos x="24" y="60"/>
                  </a:cxn>
                  <a:cxn ang="0">
                    <a:pos x="29" y="55"/>
                  </a:cxn>
                  <a:cxn ang="0">
                    <a:pos x="33" y="50"/>
                  </a:cxn>
                  <a:cxn ang="0">
                    <a:pos x="36" y="47"/>
                  </a:cxn>
                  <a:cxn ang="0">
                    <a:pos x="39" y="46"/>
                  </a:cxn>
                  <a:cxn ang="0">
                    <a:pos x="43" y="45"/>
                  </a:cxn>
                  <a:cxn ang="0">
                    <a:pos x="43" y="42"/>
                  </a:cxn>
                  <a:cxn ang="0">
                    <a:pos x="47" y="40"/>
                  </a:cxn>
                  <a:cxn ang="0">
                    <a:pos x="50" y="39"/>
                  </a:cxn>
                  <a:cxn ang="0">
                    <a:pos x="54" y="37"/>
                  </a:cxn>
                  <a:cxn ang="0">
                    <a:pos x="57" y="35"/>
                  </a:cxn>
                  <a:cxn ang="0">
                    <a:pos x="55" y="33"/>
                  </a:cxn>
                  <a:cxn ang="0">
                    <a:pos x="59" y="27"/>
                  </a:cxn>
                  <a:cxn ang="0">
                    <a:pos x="59" y="21"/>
                  </a:cxn>
                  <a:cxn ang="0">
                    <a:pos x="59" y="17"/>
                  </a:cxn>
                  <a:cxn ang="0">
                    <a:pos x="61" y="14"/>
                  </a:cxn>
                  <a:cxn ang="0">
                    <a:pos x="57" y="10"/>
                  </a:cxn>
                  <a:cxn ang="0">
                    <a:pos x="57" y="7"/>
                  </a:cxn>
                  <a:cxn ang="0">
                    <a:pos x="37" y="3"/>
                  </a:cxn>
                  <a:cxn ang="0">
                    <a:pos x="33" y="7"/>
                  </a:cxn>
                  <a:cxn ang="0">
                    <a:pos x="35" y="12"/>
                  </a:cxn>
                  <a:cxn ang="0">
                    <a:pos x="35" y="17"/>
                  </a:cxn>
                  <a:cxn ang="0">
                    <a:pos x="33" y="23"/>
                  </a:cxn>
                  <a:cxn ang="0">
                    <a:pos x="39" y="26"/>
                  </a:cxn>
                  <a:cxn ang="0">
                    <a:pos x="40" y="24"/>
                  </a:cxn>
                  <a:cxn ang="0">
                    <a:pos x="39" y="32"/>
                  </a:cxn>
                  <a:cxn ang="0">
                    <a:pos x="36" y="32"/>
                  </a:cxn>
                  <a:cxn ang="0">
                    <a:pos x="31" y="26"/>
                  </a:cxn>
                  <a:cxn ang="0">
                    <a:pos x="29" y="23"/>
                  </a:cxn>
                  <a:cxn ang="0">
                    <a:pos x="26" y="21"/>
                  </a:cxn>
                  <a:cxn ang="0">
                    <a:pos x="25" y="23"/>
                  </a:cxn>
                  <a:cxn ang="0">
                    <a:pos x="17" y="21"/>
                  </a:cxn>
                  <a:cxn ang="0">
                    <a:pos x="17" y="18"/>
                  </a:cxn>
                  <a:cxn ang="0">
                    <a:pos x="13" y="20"/>
                  </a:cxn>
                  <a:cxn ang="0">
                    <a:pos x="11" y="17"/>
                  </a:cxn>
                  <a:cxn ang="0">
                    <a:pos x="11" y="28"/>
                  </a:cxn>
                </a:cxnLst>
                <a:rect l="0" t="0" r="r" b="b"/>
                <a:pathLst>
                  <a:path w="61" h="60">
                    <a:moveTo>
                      <a:pt x="11" y="28"/>
                    </a:moveTo>
                    <a:cubicBezTo>
                      <a:pt x="5" y="29"/>
                      <a:pt x="5" y="29"/>
                      <a:pt x="5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50" y="39"/>
                      <a:pt x="50" y="39"/>
                      <a:pt x="50" y="39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38" y="0"/>
                      <a:pt x="53" y="1"/>
                      <a:pt x="37" y="3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28"/>
                      <a:pt x="11" y="28"/>
                      <a:pt x="11" y="28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6" name="Freeform 1615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7" name="Freeform 1616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8" name="Freeform 1617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89" name="Freeform 1618"/>
              <p:cNvSpPr>
                <a:spLocks/>
              </p:cNvSpPr>
              <p:nvPr/>
            </p:nvSpPr>
            <p:spPr bwMode="auto">
              <a:xfrm>
                <a:off x="5032434" y="4841062"/>
                <a:ext cx="198440" cy="204792"/>
              </a:xfrm>
              <a:custGeom>
                <a:avLst/>
                <a:gdLst/>
                <a:ahLst/>
                <a:cxnLst>
                  <a:cxn ang="0">
                    <a:pos x="62" y="125"/>
                  </a:cxn>
                  <a:cxn ang="0">
                    <a:pos x="59" y="122"/>
                  </a:cxn>
                  <a:cxn ang="0">
                    <a:pos x="46" y="112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33" y="89"/>
                  </a:cxn>
                  <a:cxn ang="0">
                    <a:pos x="19" y="79"/>
                  </a:cxn>
                  <a:cxn ang="0">
                    <a:pos x="9" y="59"/>
                  </a:cxn>
                  <a:cxn ang="0">
                    <a:pos x="0" y="43"/>
                  </a:cxn>
                  <a:cxn ang="0">
                    <a:pos x="26" y="46"/>
                  </a:cxn>
                  <a:cxn ang="0">
                    <a:pos x="39" y="30"/>
                  </a:cxn>
                  <a:cxn ang="0">
                    <a:pos x="56" y="16"/>
                  </a:cxn>
                  <a:cxn ang="0">
                    <a:pos x="62" y="7"/>
                  </a:cxn>
                  <a:cxn ang="0">
                    <a:pos x="72" y="3"/>
                  </a:cxn>
                  <a:cxn ang="0">
                    <a:pos x="85" y="0"/>
                  </a:cxn>
                  <a:cxn ang="0">
                    <a:pos x="85" y="7"/>
                  </a:cxn>
                  <a:cxn ang="0">
                    <a:pos x="92" y="7"/>
                  </a:cxn>
                  <a:cxn ang="0">
                    <a:pos x="112" y="16"/>
                  </a:cxn>
                  <a:cxn ang="0">
                    <a:pos x="125" y="23"/>
                  </a:cxn>
                  <a:cxn ang="0">
                    <a:pos x="125" y="43"/>
                  </a:cxn>
                  <a:cxn ang="0">
                    <a:pos x="125" y="59"/>
                  </a:cxn>
                  <a:cxn ang="0">
                    <a:pos x="125" y="79"/>
                  </a:cxn>
                  <a:cxn ang="0">
                    <a:pos x="118" y="96"/>
                  </a:cxn>
                  <a:cxn ang="0">
                    <a:pos x="115" y="109"/>
                  </a:cxn>
                  <a:cxn ang="0">
                    <a:pos x="105" y="119"/>
                  </a:cxn>
                  <a:cxn ang="0">
                    <a:pos x="92" y="129"/>
                  </a:cxn>
                  <a:cxn ang="0">
                    <a:pos x="79" y="129"/>
                  </a:cxn>
                  <a:cxn ang="0">
                    <a:pos x="62" y="125"/>
                  </a:cxn>
                </a:cxnLst>
                <a:rect l="0" t="0" r="r" b="b"/>
                <a:pathLst>
                  <a:path w="125" h="129">
                    <a:moveTo>
                      <a:pt x="62" y="125"/>
                    </a:moveTo>
                    <a:lnTo>
                      <a:pt x="59" y="122"/>
                    </a:lnTo>
                    <a:lnTo>
                      <a:pt x="46" y="112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33" y="89"/>
                    </a:lnTo>
                    <a:lnTo>
                      <a:pt x="19" y="79"/>
                    </a:lnTo>
                    <a:lnTo>
                      <a:pt x="9" y="59"/>
                    </a:lnTo>
                    <a:lnTo>
                      <a:pt x="0" y="43"/>
                    </a:lnTo>
                    <a:lnTo>
                      <a:pt x="26" y="46"/>
                    </a:lnTo>
                    <a:lnTo>
                      <a:pt x="39" y="30"/>
                    </a:lnTo>
                    <a:lnTo>
                      <a:pt x="56" y="16"/>
                    </a:lnTo>
                    <a:lnTo>
                      <a:pt x="62" y="7"/>
                    </a:lnTo>
                    <a:lnTo>
                      <a:pt x="72" y="3"/>
                    </a:lnTo>
                    <a:lnTo>
                      <a:pt x="85" y="0"/>
                    </a:lnTo>
                    <a:lnTo>
                      <a:pt x="85" y="7"/>
                    </a:lnTo>
                    <a:lnTo>
                      <a:pt x="92" y="7"/>
                    </a:lnTo>
                    <a:lnTo>
                      <a:pt x="112" y="16"/>
                    </a:lnTo>
                    <a:lnTo>
                      <a:pt x="125" y="23"/>
                    </a:lnTo>
                    <a:lnTo>
                      <a:pt x="125" y="43"/>
                    </a:lnTo>
                    <a:lnTo>
                      <a:pt x="125" y="59"/>
                    </a:lnTo>
                    <a:lnTo>
                      <a:pt x="125" y="79"/>
                    </a:lnTo>
                    <a:lnTo>
                      <a:pt x="118" y="96"/>
                    </a:lnTo>
                    <a:lnTo>
                      <a:pt x="115" y="109"/>
                    </a:lnTo>
                    <a:lnTo>
                      <a:pt x="105" y="119"/>
                    </a:lnTo>
                    <a:lnTo>
                      <a:pt x="92" y="129"/>
                    </a:lnTo>
                    <a:lnTo>
                      <a:pt x="79" y="129"/>
                    </a:lnTo>
                    <a:lnTo>
                      <a:pt x="62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0" name="Freeform 1619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1" name="Freeform 1620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2" name="Freeform 1621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3" name="Freeform 1622"/>
              <p:cNvSpPr>
                <a:spLocks/>
              </p:cNvSpPr>
              <p:nvPr/>
            </p:nvSpPr>
            <p:spPr bwMode="auto">
              <a:xfrm>
                <a:off x="4675244" y="4531494"/>
                <a:ext cx="325441" cy="377831"/>
              </a:xfrm>
              <a:custGeom>
                <a:avLst/>
                <a:gdLst/>
                <a:ahLst/>
                <a:cxnLst>
                  <a:cxn ang="0">
                    <a:pos x="62" y="42"/>
                  </a:cxn>
                  <a:cxn ang="0">
                    <a:pos x="56" y="43"/>
                  </a:cxn>
                  <a:cxn ang="0">
                    <a:pos x="52" y="43"/>
                  </a:cxn>
                  <a:cxn ang="0">
                    <a:pos x="51" y="47"/>
                  </a:cxn>
                  <a:cxn ang="0">
                    <a:pos x="51" y="62"/>
                  </a:cxn>
                  <a:cxn ang="0">
                    <a:pos x="56" y="67"/>
                  </a:cxn>
                  <a:cxn ang="0">
                    <a:pos x="58" y="71"/>
                  </a:cxn>
                  <a:cxn ang="0">
                    <a:pos x="51" y="72"/>
                  </a:cxn>
                  <a:cxn ang="0">
                    <a:pos x="44" y="72"/>
                  </a:cxn>
                  <a:cxn ang="0">
                    <a:pos x="38" y="71"/>
                  </a:cxn>
                  <a:cxn ang="0">
                    <a:pos x="34" y="70"/>
                  </a:cxn>
                  <a:cxn ang="0">
                    <a:pos x="33" y="68"/>
                  </a:cxn>
                  <a:cxn ang="0">
                    <a:pos x="10" y="68"/>
                  </a:cxn>
                  <a:cxn ang="0">
                    <a:pos x="6" y="67"/>
                  </a:cxn>
                  <a:cxn ang="0">
                    <a:pos x="0" y="68"/>
                  </a:cxn>
                  <a:cxn ang="0">
                    <a:pos x="11" y="35"/>
                  </a:cxn>
                  <a:cxn ang="0">
                    <a:pos x="10" y="27"/>
                  </a:cxn>
                  <a:cxn ang="0">
                    <a:pos x="8" y="23"/>
                  </a:cxn>
                  <a:cxn ang="0">
                    <a:pos x="7" y="18"/>
                  </a:cxn>
                  <a:cxn ang="0">
                    <a:pos x="8" y="15"/>
                  </a:cxn>
                  <a:cxn ang="0">
                    <a:pos x="6" y="8"/>
                  </a:cxn>
                  <a:cxn ang="0">
                    <a:pos x="3" y="1"/>
                  </a:cxn>
                  <a:cxn ang="0">
                    <a:pos x="7" y="0"/>
                  </a:cxn>
                  <a:cxn ang="0">
                    <a:pos x="12" y="1"/>
                  </a:cxn>
                  <a:cxn ang="0">
                    <a:pos x="26" y="1"/>
                  </a:cxn>
                  <a:cxn ang="0">
                    <a:pos x="26" y="6"/>
                  </a:cxn>
                  <a:cxn ang="0">
                    <a:pos x="29" y="11"/>
                  </a:cxn>
                  <a:cxn ang="0">
                    <a:pos x="33" y="13"/>
                  </a:cxn>
                  <a:cxn ang="0">
                    <a:pos x="40" y="11"/>
                  </a:cxn>
                  <a:cxn ang="0">
                    <a:pos x="40" y="7"/>
                  </a:cxn>
                  <a:cxn ang="0">
                    <a:pos x="44" y="7"/>
                  </a:cxn>
                  <a:cxn ang="0">
                    <a:pos x="44" y="8"/>
                  </a:cxn>
                  <a:cxn ang="0">
                    <a:pos x="51" y="10"/>
                  </a:cxn>
                  <a:cxn ang="0">
                    <a:pos x="52" y="16"/>
                  </a:cxn>
                  <a:cxn ang="0">
                    <a:pos x="52" y="23"/>
                  </a:cxn>
                  <a:cxn ang="0">
                    <a:pos x="53" y="30"/>
                  </a:cxn>
                  <a:cxn ang="0">
                    <a:pos x="53" y="32"/>
                  </a:cxn>
                  <a:cxn ang="0">
                    <a:pos x="58" y="30"/>
                  </a:cxn>
                  <a:cxn ang="0">
                    <a:pos x="62" y="30"/>
                  </a:cxn>
                  <a:cxn ang="0">
                    <a:pos x="62" y="42"/>
                  </a:cxn>
                </a:cxnLst>
                <a:rect l="0" t="0" r="r" b="b"/>
                <a:pathLst>
                  <a:path w="62" h="72">
                    <a:moveTo>
                      <a:pt x="62" y="42"/>
                    </a:moveTo>
                    <a:cubicBezTo>
                      <a:pt x="56" y="43"/>
                      <a:pt x="56" y="43"/>
                      <a:pt x="56" y="43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8" y="71"/>
                      <a:pt x="38" y="71"/>
                      <a:pt x="38" y="71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56"/>
                      <a:pt x="4" y="45"/>
                      <a:pt x="11" y="35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42"/>
                      <a:pt x="62" y="42"/>
                      <a:pt x="62" y="42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4" name="Freeform 1623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5" name="Freeform 1624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6" name="Freeform 1625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7" name="Freeform 1626"/>
              <p:cNvSpPr>
                <a:spLocks/>
              </p:cNvSpPr>
              <p:nvPr/>
            </p:nvSpPr>
            <p:spPr bwMode="auto">
              <a:xfrm>
                <a:off x="4691119" y="4483868"/>
                <a:ext cx="58738" cy="58738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0" y="17"/>
                  </a:cxn>
                  <a:cxn ang="0">
                    <a:pos x="20" y="0"/>
                  </a:cxn>
                  <a:cxn ang="0">
                    <a:pos x="37" y="4"/>
                  </a:cxn>
                  <a:cxn ang="0">
                    <a:pos x="20" y="10"/>
                  </a:cxn>
                  <a:cxn ang="0">
                    <a:pos x="17" y="37"/>
                  </a:cxn>
                  <a:cxn ang="0">
                    <a:pos x="7" y="37"/>
                  </a:cxn>
                </a:cxnLst>
                <a:rect l="0" t="0" r="r" b="b"/>
                <a:pathLst>
                  <a:path w="37" h="37">
                    <a:moveTo>
                      <a:pt x="7" y="37"/>
                    </a:moveTo>
                    <a:lnTo>
                      <a:pt x="0" y="17"/>
                    </a:lnTo>
                    <a:lnTo>
                      <a:pt x="20" y="0"/>
                    </a:lnTo>
                    <a:lnTo>
                      <a:pt x="37" y="4"/>
                    </a:lnTo>
                    <a:lnTo>
                      <a:pt x="20" y="10"/>
                    </a:lnTo>
                    <a:lnTo>
                      <a:pt x="17" y="37"/>
                    </a:lnTo>
                    <a:lnTo>
                      <a:pt x="7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8" name="Freeform 1627"/>
              <p:cNvSpPr>
                <a:spLocks/>
              </p:cNvSpPr>
              <p:nvPr/>
            </p:nvSpPr>
            <p:spPr bwMode="auto">
              <a:xfrm>
                <a:off x="2395567" y="4180652"/>
                <a:ext cx="1039826" cy="1220806"/>
              </a:xfrm>
              <a:custGeom>
                <a:avLst/>
                <a:gdLst/>
                <a:ahLst/>
                <a:cxnLst>
                  <a:cxn ang="0">
                    <a:pos x="149" y="46"/>
                  </a:cxn>
                  <a:cxn ang="0">
                    <a:pos x="148" y="40"/>
                  </a:cxn>
                  <a:cxn ang="0">
                    <a:pos x="139" y="37"/>
                  </a:cxn>
                  <a:cxn ang="0">
                    <a:pos x="131" y="37"/>
                  </a:cxn>
                  <a:cxn ang="0">
                    <a:pos x="124" y="47"/>
                  </a:cxn>
                  <a:cxn ang="0">
                    <a:pos x="118" y="43"/>
                  </a:cxn>
                  <a:cxn ang="0">
                    <a:pos x="108" y="40"/>
                  </a:cxn>
                  <a:cxn ang="0">
                    <a:pos x="122" y="24"/>
                  </a:cxn>
                  <a:cxn ang="0">
                    <a:pos x="116" y="8"/>
                  </a:cxn>
                  <a:cxn ang="0">
                    <a:pos x="113" y="7"/>
                  </a:cxn>
                  <a:cxn ang="0">
                    <a:pos x="98" y="17"/>
                  </a:cxn>
                  <a:cxn ang="0">
                    <a:pos x="83" y="20"/>
                  </a:cxn>
                  <a:cxn ang="0">
                    <a:pos x="71" y="13"/>
                  </a:cxn>
                  <a:cxn ang="0">
                    <a:pos x="66" y="0"/>
                  </a:cxn>
                  <a:cxn ang="0">
                    <a:pos x="57" y="7"/>
                  </a:cxn>
                  <a:cxn ang="0">
                    <a:pos x="48" y="9"/>
                  </a:cxn>
                  <a:cxn ang="0">
                    <a:pos x="48" y="23"/>
                  </a:cxn>
                  <a:cxn ang="0">
                    <a:pos x="35" y="24"/>
                  </a:cxn>
                  <a:cxn ang="0">
                    <a:pos x="30" y="22"/>
                  </a:cxn>
                  <a:cxn ang="0">
                    <a:pos x="22" y="28"/>
                  </a:cxn>
                  <a:cxn ang="0">
                    <a:pos x="22" y="48"/>
                  </a:cxn>
                  <a:cxn ang="0">
                    <a:pos x="10" y="59"/>
                  </a:cxn>
                  <a:cxn ang="0">
                    <a:pos x="0" y="76"/>
                  </a:cxn>
                  <a:cxn ang="0">
                    <a:pos x="7" y="88"/>
                  </a:cxn>
                  <a:cxn ang="0">
                    <a:pos x="18" y="93"/>
                  </a:cxn>
                  <a:cxn ang="0">
                    <a:pos x="37" y="93"/>
                  </a:cxn>
                  <a:cxn ang="0">
                    <a:pos x="50" y="105"/>
                  </a:cxn>
                  <a:cxn ang="0">
                    <a:pos x="69" y="113"/>
                  </a:cxn>
                  <a:cxn ang="0">
                    <a:pos x="72" y="124"/>
                  </a:cxn>
                  <a:cxn ang="0">
                    <a:pos x="83" y="134"/>
                  </a:cxn>
                  <a:cxn ang="0">
                    <a:pos x="85" y="149"/>
                  </a:cxn>
                  <a:cxn ang="0">
                    <a:pos x="87" y="163"/>
                  </a:cxn>
                  <a:cxn ang="0">
                    <a:pos x="101" y="175"/>
                  </a:cxn>
                  <a:cxn ang="0">
                    <a:pos x="105" y="184"/>
                  </a:cxn>
                  <a:cxn ang="0">
                    <a:pos x="97" y="211"/>
                  </a:cxn>
                  <a:cxn ang="0">
                    <a:pos x="113" y="221"/>
                  </a:cxn>
                  <a:cxn ang="0">
                    <a:pos x="120" y="230"/>
                  </a:cxn>
                  <a:cxn ang="0">
                    <a:pos x="126" y="215"/>
                  </a:cxn>
                  <a:cxn ang="0">
                    <a:pos x="127" y="217"/>
                  </a:cxn>
                  <a:cxn ang="0">
                    <a:pos x="130" y="214"/>
                  </a:cxn>
                  <a:cxn ang="0">
                    <a:pos x="137" y="201"/>
                  </a:cxn>
                  <a:cxn ang="0">
                    <a:pos x="138" y="183"/>
                  </a:cxn>
                  <a:cxn ang="0">
                    <a:pos x="154" y="170"/>
                  </a:cxn>
                  <a:cxn ang="0">
                    <a:pos x="161" y="168"/>
                  </a:cxn>
                  <a:cxn ang="0">
                    <a:pos x="172" y="156"/>
                  </a:cxn>
                  <a:cxn ang="0">
                    <a:pos x="180" y="136"/>
                  </a:cxn>
                  <a:cxn ang="0">
                    <a:pos x="181" y="107"/>
                  </a:cxn>
                  <a:cxn ang="0">
                    <a:pos x="188" y="98"/>
                  </a:cxn>
                  <a:cxn ang="0">
                    <a:pos x="199" y="74"/>
                  </a:cxn>
                  <a:cxn ang="0">
                    <a:pos x="187" y="60"/>
                  </a:cxn>
                  <a:cxn ang="0">
                    <a:pos x="164" y="48"/>
                  </a:cxn>
                  <a:cxn ang="0">
                    <a:pos x="152" y="46"/>
                  </a:cxn>
                </a:cxnLst>
                <a:rect l="0" t="0" r="r" b="b"/>
                <a:pathLst>
                  <a:path w="199" h="233">
                    <a:moveTo>
                      <a:pt x="152" y="46"/>
                    </a:moveTo>
                    <a:cubicBezTo>
                      <a:pt x="151" y="47"/>
                      <a:pt x="151" y="47"/>
                      <a:pt x="151" y="47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3"/>
                      <a:pt x="148" y="43"/>
                      <a:pt x="148" y="43"/>
                    </a:cubicBezTo>
                    <a:cubicBezTo>
                      <a:pt x="148" y="40"/>
                      <a:pt x="148" y="40"/>
                      <a:pt x="148" y="40"/>
                    </a:cubicBezTo>
                    <a:cubicBezTo>
                      <a:pt x="144" y="40"/>
                      <a:pt x="144" y="40"/>
                      <a:pt x="144" y="40"/>
                    </a:cubicBezTo>
                    <a:cubicBezTo>
                      <a:pt x="143" y="39"/>
                      <a:pt x="143" y="39"/>
                      <a:pt x="143" y="39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6"/>
                      <a:pt x="134" y="36"/>
                      <a:pt x="134" y="36"/>
                    </a:cubicBezTo>
                    <a:cubicBezTo>
                      <a:pt x="131" y="37"/>
                      <a:pt x="131" y="37"/>
                      <a:pt x="131" y="37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7" y="41"/>
                      <a:pt x="127" y="41"/>
                      <a:pt x="127" y="41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3" y="43"/>
                      <a:pt x="123" y="43"/>
                      <a:pt x="123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8" y="43"/>
                      <a:pt x="118" y="43"/>
                      <a:pt x="118" y="43"/>
                    </a:cubicBezTo>
                    <a:cubicBezTo>
                      <a:pt x="117" y="37"/>
                      <a:pt x="117" y="37"/>
                      <a:pt x="117" y="37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2" y="38"/>
                      <a:pt x="112" y="38"/>
                      <a:pt x="112" y="38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3" y="7"/>
                      <a:pt x="113" y="7"/>
                      <a:pt x="113" y="7"/>
                    </a:cubicBezTo>
                    <a:cubicBezTo>
                      <a:pt x="109" y="13"/>
                      <a:pt x="109" y="13"/>
                      <a:pt x="109" y="13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5" y="16"/>
                      <a:pt x="95" y="16"/>
                      <a:pt x="95" y="16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8" y="56"/>
                      <a:pt x="18" y="56"/>
                      <a:pt x="18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6" y="85"/>
                      <a:pt x="6" y="85"/>
                      <a:pt x="6" y="85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4" y="91"/>
                      <a:pt x="14" y="91"/>
                      <a:pt x="14" y="91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101"/>
                      <a:pt x="45" y="101"/>
                      <a:pt x="45" y="101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64" y="113"/>
                      <a:pt x="64" y="113"/>
                      <a:pt x="64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0" y="121"/>
                      <a:pt x="70" y="121"/>
                      <a:pt x="70" y="121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5"/>
                      <a:pt x="86" y="155"/>
                      <a:pt x="86" y="155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3" y="174"/>
                      <a:pt x="103" y="174"/>
                      <a:pt x="103" y="174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11" y="192"/>
                      <a:pt x="111" y="192"/>
                      <a:pt x="111" y="192"/>
                    </a:cubicBezTo>
                    <a:cubicBezTo>
                      <a:pt x="105" y="197"/>
                      <a:pt x="100" y="206"/>
                      <a:pt x="95" y="211"/>
                    </a:cubicBezTo>
                    <a:cubicBezTo>
                      <a:pt x="97" y="211"/>
                      <a:pt x="97" y="211"/>
                      <a:pt x="97" y="211"/>
                    </a:cubicBezTo>
                    <a:cubicBezTo>
                      <a:pt x="103" y="216"/>
                      <a:pt x="103" y="216"/>
                      <a:pt x="103" y="216"/>
                    </a:cubicBezTo>
                    <a:cubicBezTo>
                      <a:pt x="104" y="216"/>
                      <a:pt x="104" y="216"/>
                      <a:pt x="104" y="216"/>
                    </a:cubicBezTo>
                    <a:cubicBezTo>
                      <a:pt x="108" y="218"/>
                      <a:pt x="108" y="218"/>
                      <a:pt x="108" y="218"/>
                    </a:cubicBezTo>
                    <a:cubicBezTo>
                      <a:pt x="113" y="221"/>
                      <a:pt x="113" y="221"/>
                      <a:pt x="113" y="221"/>
                    </a:cubicBezTo>
                    <a:cubicBezTo>
                      <a:pt x="118" y="226"/>
                      <a:pt x="118" y="226"/>
                      <a:pt x="118" y="226"/>
                    </a:cubicBezTo>
                    <a:cubicBezTo>
                      <a:pt x="117" y="230"/>
                      <a:pt x="117" y="230"/>
                      <a:pt x="117" y="230"/>
                    </a:cubicBez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20" y="230"/>
                      <a:pt x="120" y="230"/>
                      <a:pt x="120" y="230"/>
                    </a:cubicBezTo>
                    <a:cubicBezTo>
                      <a:pt x="123" y="225"/>
                      <a:pt x="123" y="225"/>
                      <a:pt x="123" y="22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6" y="215"/>
                      <a:pt x="126" y="215"/>
                      <a:pt x="126" y="215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9" y="213"/>
                      <a:pt x="129" y="213"/>
                      <a:pt x="129" y="213"/>
                    </a:cubicBezTo>
                    <a:cubicBezTo>
                      <a:pt x="127" y="217"/>
                      <a:pt x="127" y="217"/>
                      <a:pt x="127" y="217"/>
                    </a:cubicBezTo>
                    <a:cubicBezTo>
                      <a:pt x="125" y="221"/>
                      <a:pt x="125" y="221"/>
                      <a:pt x="125" y="221"/>
                    </a:cubicBezTo>
                    <a:cubicBezTo>
                      <a:pt x="124" y="223"/>
                      <a:pt x="124" y="223"/>
                      <a:pt x="124" y="223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30" y="214"/>
                      <a:pt x="130" y="214"/>
                      <a:pt x="130" y="214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34" y="204"/>
                      <a:pt x="134" y="204"/>
                      <a:pt x="134" y="204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7" y="201"/>
                      <a:pt x="137" y="201"/>
                      <a:pt x="137" y="201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5" y="184"/>
                      <a:pt x="135" y="184"/>
                      <a:pt x="135" y="184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4" y="170"/>
                      <a:pt x="154" y="170"/>
                      <a:pt x="154" y="170"/>
                    </a:cubicBezTo>
                    <a:cubicBezTo>
                      <a:pt x="156" y="168"/>
                      <a:pt x="156" y="168"/>
                      <a:pt x="156" y="168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61" y="168"/>
                      <a:pt x="161" y="168"/>
                      <a:pt x="161" y="168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56"/>
                      <a:pt x="172" y="156"/>
                      <a:pt x="172" y="156"/>
                    </a:cubicBezTo>
                    <a:cubicBezTo>
                      <a:pt x="174" y="152"/>
                      <a:pt x="174" y="152"/>
                      <a:pt x="174" y="152"/>
                    </a:cubicBezTo>
                    <a:cubicBezTo>
                      <a:pt x="178" y="147"/>
                      <a:pt x="178" y="147"/>
                      <a:pt x="178" y="147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80" y="115"/>
                      <a:pt x="180" y="115"/>
                      <a:pt x="180" y="115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1" y="107"/>
                      <a:pt x="181" y="107"/>
                      <a:pt x="181" y="107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2" y="94"/>
                      <a:pt x="192" y="94"/>
                      <a:pt x="192" y="94"/>
                    </a:cubicBezTo>
                    <a:cubicBezTo>
                      <a:pt x="194" y="89"/>
                      <a:pt x="194" y="89"/>
                      <a:pt x="194" y="89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5" y="62"/>
                      <a:pt x="195" y="62"/>
                      <a:pt x="195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55" y="46"/>
                      <a:pt x="155" y="46"/>
                      <a:pt x="155" y="46"/>
                    </a:cubicBezTo>
                    <a:cubicBezTo>
                      <a:pt x="151" y="48"/>
                      <a:pt x="151" y="48"/>
                      <a:pt x="151" y="48"/>
                    </a:cubicBezTo>
                    <a:cubicBezTo>
                      <a:pt x="152" y="46"/>
                      <a:pt x="152" y="46"/>
                      <a:pt x="152" y="46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699" name="Freeform 1628"/>
              <p:cNvSpPr>
                <a:spLocks/>
              </p:cNvSpPr>
              <p:nvPr/>
            </p:nvSpPr>
            <p:spPr bwMode="auto">
              <a:xfrm>
                <a:off x="2395567" y="4180652"/>
                <a:ext cx="1039826" cy="1220806"/>
              </a:xfrm>
              <a:custGeom>
                <a:avLst/>
                <a:gdLst/>
                <a:ahLst/>
                <a:cxnLst>
                  <a:cxn ang="0">
                    <a:pos x="149" y="46"/>
                  </a:cxn>
                  <a:cxn ang="0">
                    <a:pos x="148" y="40"/>
                  </a:cxn>
                  <a:cxn ang="0">
                    <a:pos x="139" y="37"/>
                  </a:cxn>
                  <a:cxn ang="0">
                    <a:pos x="131" y="37"/>
                  </a:cxn>
                  <a:cxn ang="0">
                    <a:pos x="124" y="47"/>
                  </a:cxn>
                  <a:cxn ang="0">
                    <a:pos x="118" y="43"/>
                  </a:cxn>
                  <a:cxn ang="0">
                    <a:pos x="108" y="40"/>
                  </a:cxn>
                  <a:cxn ang="0">
                    <a:pos x="122" y="24"/>
                  </a:cxn>
                  <a:cxn ang="0">
                    <a:pos x="116" y="8"/>
                  </a:cxn>
                  <a:cxn ang="0">
                    <a:pos x="113" y="7"/>
                  </a:cxn>
                  <a:cxn ang="0">
                    <a:pos x="98" y="17"/>
                  </a:cxn>
                  <a:cxn ang="0">
                    <a:pos x="83" y="20"/>
                  </a:cxn>
                  <a:cxn ang="0">
                    <a:pos x="71" y="13"/>
                  </a:cxn>
                  <a:cxn ang="0">
                    <a:pos x="66" y="0"/>
                  </a:cxn>
                  <a:cxn ang="0">
                    <a:pos x="57" y="7"/>
                  </a:cxn>
                  <a:cxn ang="0">
                    <a:pos x="48" y="9"/>
                  </a:cxn>
                  <a:cxn ang="0">
                    <a:pos x="48" y="23"/>
                  </a:cxn>
                  <a:cxn ang="0">
                    <a:pos x="35" y="24"/>
                  </a:cxn>
                  <a:cxn ang="0">
                    <a:pos x="30" y="22"/>
                  </a:cxn>
                  <a:cxn ang="0">
                    <a:pos x="22" y="28"/>
                  </a:cxn>
                  <a:cxn ang="0">
                    <a:pos x="22" y="48"/>
                  </a:cxn>
                  <a:cxn ang="0">
                    <a:pos x="10" y="59"/>
                  </a:cxn>
                  <a:cxn ang="0">
                    <a:pos x="0" y="76"/>
                  </a:cxn>
                  <a:cxn ang="0">
                    <a:pos x="7" y="88"/>
                  </a:cxn>
                  <a:cxn ang="0">
                    <a:pos x="18" y="93"/>
                  </a:cxn>
                  <a:cxn ang="0">
                    <a:pos x="37" y="93"/>
                  </a:cxn>
                  <a:cxn ang="0">
                    <a:pos x="50" y="105"/>
                  </a:cxn>
                  <a:cxn ang="0">
                    <a:pos x="69" y="113"/>
                  </a:cxn>
                  <a:cxn ang="0">
                    <a:pos x="72" y="124"/>
                  </a:cxn>
                  <a:cxn ang="0">
                    <a:pos x="83" y="134"/>
                  </a:cxn>
                  <a:cxn ang="0">
                    <a:pos x="85" y="149"/>
                  </a:cxn>
                  <a:cxn ang="0">
                    <a:pos x="87" y="163"/>
                  </a:cxn>
                  <a:cxn ang="0">
                    <a:pos x="101" y="175"/>
                  </a:cxn>
                  <a:cxn ang="0">
                    <a:pos x="105" y="184"/>
                  </a:cxn>
                  <a:cxn ang="0">
                    <a:pos x="97" y="211"/>
                  </a:cxn>
                  <a:cxn ang="0">
                    <a:pos x="113" y="221"/>
                  </a:cxn>
                  <a:cxn ang="0">
                    <a:pos x="120" y="230"/>
                  </a:cxn>
                  <a:cxn ang="0">
                    <a:pos x="126" y="215"/>
                  </a:cxn>
                  <a:cxn ang="0">
                    <a:pos x="127" y="217"/>
                  </a:cxn>
                  <a:cxn ang="0">
                    <a:pos x="130" y="214"/>
                  </a:cxn>
                  <a:cxn ang="0">
                    <a:pos x="137" y="201"/>
                  </a:cxn>
                  <a:cxn ang="0">
                    <a:pos x="138" y="183"/>
                  </a:cxn>
                  <a:cxn ang="0">
                    <a:pos x="154" y="170"/>
                  </a:cxn>
                  <a:cxn ang="0">
                    <a:pos x="161" y="168"/>
                  </a:cxn>
                  <a:cxn ang="0">
                    <a:pos x="172" y="156"/>
                  </a:cxn>
                  <a:cxn ang="0">
                    <a:pos x="180" y="136"/>
                  </a:cxn>
                  <a:cxn ang="0">
                    <a:pos x="181" y="107"/>
                  </a:cxn>
                  <a:cxn ang="0">
                    <a:pos x="188" y="98"/>
                  </a:cxn>
                  <a:cxn ang="0">
                    <a:pos x="199" y="74"/>
                  </a:cxn>
                  <a:cxn ang="0">
                    <a:pos x="187" y="60"/>
                  </a:cxn>
                  <a:cxn ang="0">
                    <a:pos x="164" y="48"/>
                  </a:cxn>
                  <a:cxn ang="0">
                    <a:pos x="152" y="46"/>
                  </a:cxn>
                </a:cxnLst>
                <a:rect l="0" t="0" r="r" b="b"/>
                <a:pathLst>
                  <a:path w="199" h="233">
                    <a:moveTo>
                      <a:pt x="152" y="46"/>
                    </a:moveTo>
                    <a:cubicBezTo>
                      <a:pt x="151" y="47"/>
                      <a:pt x="151" y="47"/>
                      <a:pt x="151" y="47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3"/>
                      <a:pt x="148" y="43"/>
                      <a:pt x="148" y="43"/>
                    </a:cubicBezTo>
                    <a:cubicBezTo>
                      <a:pt x="148" y="40"/>
                      <a:pt x="148" y="40"/>
                      <a:pt x="148" y="40"/>
                    </a:cubicBezTo>
                    <a:cubicBezTo>
                      <a:pt x="144" y="40"/>
                      <a:pt x="144" y="40"/>
                      <a:pt x="144" y="40"/>
                    </a:cubicBezTo>
                    <a:cubicBezTo>
                      <a:pt x="143" y="39"/>
                      <a:pt x="143" y="39"/>
                      <a:pt x="143" y="39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6"/>
                      <a:pt x="134" y="36"/>
                      <a:pt x="134" y="36"/>
                    </a:cubicBezTo>
                    <a:cubicBezTo>
                      <a:pt x="131" y="37"/>
                      <a:pt x="131" y="37"/>
                      <a:pt x="131" y="37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7" y="41"/>
                      <a:pt x="127" y="41"/>
                      <a:pt x="127" y="41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3" y="43"/>
                      <a:pt x="123" y="43"/>
                      <a:pt x="123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8" y="43"/>
                      <a:pt x="118" y="43"/>
                      <a:pt x="118" y="43"/>
                    </a:cubicBezTo>
                    <a:cubicBezTo>
                      <a:pt x="117" y="37"/>
                      <a:pt x="117" y="37"/>
                      <a:pt x="117" y="37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2" y="38"/>
                      <a:pt x="112" y="38"/>
                      <a:pt x="112" y="38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3" y="7"/>
                      <a:pt x="113" y="7"/>
                      <a:pt x="113" y="7"/>
                    </a:cubicBezTo>
                    <a:cubicBezTo>
                      <a:pt x="109" y="13"/>
                      <a:pt x="109" y="13"/>
                      <a:pt x="109" y="13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5" y="16"/>
                      <a:pt x="95" y="16"/>
                      <a:pt x="95" y="16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8" y="56"/>
                      <a:pt x="18" y="56"/>
                      <a:pt x="18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6" y="85"/>
                      <a:pt x="6" y="85"/>
                      <a:pt x="6" y="85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4" y="91"/>
                      <a:pt x="14" y="91"/>
                      <a:pt x="14" y="91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101"/>
                      <a:pt x="45" y="101"/>
                      <a:pt x="45" y="101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64" y="113"/>
                      <a:pt x="64" y="113"/>
                      <a:pt x="64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0" y="121"/>
                      <a:pt x="70" y="121"/>
                      <a:pt x="70" y="121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5"/>
                      <a:pt x="86" y="155"/>
                      <a:pt x="86" y="155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3" y="174"/>
                      <a:pt x="103" y="174"/>
                      <a:pt x="103" y="174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11" y="192"/>
                      <a:pt x="111" y="192"/>
                      <a:pt x="111" y="192"/>
                    </a:cubicBezTo>
                    <a:cubicBezTo>
                      <a:pt x="105" y="197"/>
                      <a:pt x="100" y="206"/>
                      <a:pt x="95" y="211"/>
                    </a:cubicBezTo>
                    <a:cubicBezTo>
                      <a:pt x="97" y="211"/>
                      <a:pt x="97" y="211"/>
                      <a:pt x="97" y="211"/>
                    </a:cubicBezTo>
                    <a:cubicBezTo>
                      <a:pt x="103" y="216"/>
                      <a:pt x="103" y="216"/>
                      <a:pt x="103" y="216"/>
                    </a:cubicBezTo>
                    <a:cubicBezTo>
                      <a:pt x="104" y="216"/>
                      <a:pt x="104" y="216"/>
                      <a:pt x="104" y="216"/>
                    </a:cubicBezTo>
                    <a:cubicBezTo>
                      <a:pt x="108" y="218"/>
                      <a:pt x="108" y="218"/>
                      <a:pt x="108" y="218"/>
                    </a:cubicBezTo>
                    <a:cubicBezTo>
                      <a:pt x="113" y="221"/>
                      <a:pt x="113" y="221"/>
                      <a:pt x="113" y="221"/>
                    </a:cubicBezTo>
                    <a:cubicBezTo>
                      <a:pt x="118" y="226"/>
                      <a:pt x="118" y="226"/>
                      <a:pt x="118" y="226"/>
                    </a:cubicBezTo>
                    <a:cubicBezTo>
                      <a:pt x="117" y="230"/>
                      <a:pt x="117" y="230"/>
                      <a:pt x="117" y="230"/>
                    </a:cubicBez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20" y="230"/>
                      <a:pt x="120" y="230"/>
                      <a:pt x="120" y="230"/>
                    </a:cubicBezTo>
                    <a:cubicBezTo>
                      <a:pt x="123" y="225"/>
                      <a:pt x="123" y="225"/>
                      <a:pt x="123" y="22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6" y="215"/>
                      <a:pt x="126" y="215"/>
                      <a:pt x="126" y="215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9" y="213"/>
                      <a:pt x="129" y="213"/>
                      <a:pt x="129" y="213"/>
                    </a:cubicBezTo>
                    <a:cubicBezTo>
                      <a:pt x="127" y="217"/>
                      <a:pt x="127" y="217"/>
                      <a:pt x="127" y="217"/>
                    </a:cubicBezTo>
                    <a:cubicBezTo>
                      <a:pt x="125" y="221"/>
                      <a:pt x="125" y="221"/>
                      <a:pt x="125" y="221"/>
                    </a:cubicBezTo>
                    <a:cubicBezTo>
                      <a:pt x="124" y="223"/>
                      <a:pt x="124" y="223"/>
                      <a:pt x="124" y="223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30" y="214"/>
                      <a:pt x="130" y="214"/>
                      <a:pt x="130" y="214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34" y="204"/>
                      <a:pt x="134" y="204"/>
                      <a:pt x="134" y="204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7" y="201"/>
                      <a:pt x="137" y="201"/>
                      <a:pt x="137" y="201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5" y="184"/>
                      <a:pt x="135" y="184"/>
                      <a:pt x="135" y="184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4" y="170"/>
                      <a:pt x="154" y="170"/>
                      <a:pt x="154" y="170"/>
                    </a:cubicBezTo>
                    <a:cubicBezTo>
                      <a:pt x="156" y="168"/>
                      <a:pt x="156" y="168"/>
                      <a:pt x="156" y="168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61" y="168"/>
                      <a:pt x="161" y="168"/>
                      <a:pt x="161" y="168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56"/>
                      <a:pt x="172" y="156"/>
                      <a:pt x="172" y="156"/>
                    </a:cubicBezTo>
                    <a:cubicBezTo>
                      <a:pt x="174" y="152"/>
                      <a:pt x="174" y="152"/>
                      <a:pt x="174" y="152"/>
                    </a:cubicBezTo>
                    <a:cubicBezTo>
                      <a:pt x="178" y="147"/>
                      <a:pt x="178" y="147"/>
                      <a:pt x="178" y="147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80" y="115"/>
                      <a:pt x="180" y="115"/>
                      <a:pt x="180" y="115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1" y="107"/>
                      <a:pt x="181" y="107"/>
                      <a:pt x="181" y="107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2" y="94"/>
                      <a:pt x="192" y="94"/>
                      <a:pt x="192" y="94"/>
                    </a:cubicBezTo>
                    <a:cubicBezTo>
                      <a:pt x="194" y="89"/>
                      <a:pt x="194" y="89"/>
                      <a:pt x="194" y="89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5" y="62"/>
                      <a:pt x="195" y="62"/>
                      <a:pt x="195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55" y="46"/>
                      <a:pt x="155" y="46"/>
                      <a:pt x="155" y="46"/>
                    </a:cubicBezTo>
                    <a:cubicBezTo>
                      <a:pt x="151" y="48"/>
                      <a:pt x="151" y="48"/>
                      <a:pt x="151" y="48"/>
                    </a:cubicBezTo>
                    <a:cubicBezTo>
                      <a:pt x="152" y="46"/>
                      <a:pt x="152" y="46"/>
                      <a:pt x="152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0" name="Freeform 1630"/>
              <p:cNvSpPr>
                <a:spLocks/>
              </p:cNvSpPr>
              <p:nvPr/>
            </p:nvSpPr>
            <p:spPr bwMode="auto">
              <a:xfrm>
                <a:off x="2395567" y="4180652"/>
                <a:ext cx="1039826" cy="1220806"/>
              </a:xfrm>
              <a:custGeom>
                <a:avLst/>
                <a:gdLst/>
                <a:ahLst/>
                <a:cxnLst>
                  <a:cxn ang="0">
                    <a:pos x="149" y="46"/>
                  </a:cxn>
                  <a:cxn ang="0">
                    <a:pos x="148" y="40"/>
                  </a:cxn>
                  <a:cxn ang="0">
                    <a:pos x="139" y="37"/>
                  </a:cxn>
                  <a:cxn ang="0">
                    <a:pos x="131" y="37"/>
                  </a:cxn>
                  <a:cxn ang="0">
                    <a:pos x="124" y="47"/>
                  </a:cxn>
                  <a:cxn ang="0">
                    <a:pos x="118" y="43"/>
                  </a:cxn>
                  <a:cxn ang="0">
                    <a:pos x="108" y="40"/>
                  </a:cxn>
                  <a:cxn ang="0">
                    <a:pos x="122" y="24"/>
                  </a:cxn>
                  <a:cxn ang="0">
                    <a:pos x="116" y="8"/>
                  </a:cxn>
                  <a:cxn ang="0">
                    <a:pos x="113" y="7"/>
                  </a:cxn>
                  <a:cxn ang="0">
                    <a:pos x="98" y="17"/>
                  </a:cxn>
                  <a:cxn ang="0">
                    <a:pos x="83" y="20"/>
                  </a:cxn>
                  <a:cxn ang="0">
                    <a:pos x="71" y="13"/>
                  </a:cxn>
                  <a:cxn ang="0">
                    <a:pos x="66" y="0"/>
                  </a:cxn>
                  <a:cxn ang="0">
                    <a:pos x="57" y="7"/>
                  </a:cxn>
                  <a:cxn ang="0">
                    <a:pos x="48" y="9"/>
                  </a:cxn>
                  <a:cxn ang="0">
                    <a:pos x="48" y="23"/>
                  </a:cxn>
                  <a:cxn ang="0">
                    <a:pos x="35" y="24"/>
                  </a:cxn>
                  <a:cxn ang="0">
                    <a:pos x="30" y="22"/>
                  </a:cxn>
                  <a:cxn ang="0">
                    <a:pos x="22" y="28"/>
                  </a:cxn>
                  <a:cxn ang="0">
                    <a:pos x="22" y="48"/>
                  </a:cxn>
                  <a:cxn ang="0">
                    <a:pos x="10" y="59"/>
                  </a:cxn>
                  <a:cxn ang="0">
                    <a:pos x="0" y="76"/>
                  </a:cxn>
                  <a:cxn ang="0">
                    <a:pos x="7" y="88"/>
                  </a:cxn>
                  <a:cxn ang="0">
                    <a:pos x="18" y="93"/>
                  </a:cxn>
                  <a:cxn ang="0">
                    <a:pos x="37" y="93"/>
                  </a:cxn>
                  <a:cxn ang="0">
                    <a:pos x="50" y="105"/>
                  </a:cxn>
                  <a:cxn ang="0">
                    <a:pos x="69" y="113"/>
                  </a:cxn>
                  <a:cxn ang="0">
                    <a:pos x="72" y="124"/>
                  </a:cxn>
                  <a:cxn ang="0">
                    <a:pos x="83" y="134"/>
                  </a:cxn>
                  <a:cxn ang="0">
                    <a:pos x="85" y="149"/>
                  </a:cxn>
                  <a:cxn ang="0">
                    <a:pos x="87" y="163"/>
                  </a:cxn>
                  <a:cxn ang="0">
                    <a:pos x="101" y="175"/>
                  </a:cxn>
                  <a:cxn ang="0">
                    <a:pos x="105" y="184"/>
                  </a:cxn>
                  <a:cxn ang="0">
                    <a:pos x="97" y="211"/>
                  </a:cxn>
                  <a:cxn ang="0">
                    <a:pos x="113" y="221"/>
                  </a:cxn>
                  <a:cxn ang="0">
                    <a:pos x="120" y="230"/>
                  </a:cxn>
                  <a:cxn ang="0">
                    <a:pos x="126" y="215"/>
                  </a:cxn>
                  <a:cxn ang="0">
                    <a:pos x="127" y="217"/>
                  </a:cxn>
                  <a:cxn ang="0">
                    <a:pos x="130" y="214"/>
                  </a:cxn>
                  <a:cxn ang="0">
                    <a:pos x="137" y="201"/>
                  </a:cxn>
                  <a:cxn ang="0">
                    <a:pos x="138" y="183"/>
                  </a:cxn>
                  <a:cxn ang="0">
                    <a:pos x="154" y="170"/>
                  </a:cxn>
                  <a:cxn ang="0">
                    <a:pos x="161" y="168"/>
                  </a:cxn>
                  <a:cxn ang="0">
                    <a:pos x="172" y="156"/>
                  </a:cxn>
                  <a:cxn ang="0">
                    <a:pos x="180" y="136"/>
                  </a:cxn>
                  <a:cxn ang="0">
                    <a:pos x="181" y="107"/>
                  </a:cxn>
                  <a:cxn ang="0">
                    <a:pos x="188" y="98"/>
                  </a:cxn>
                  <a:cxn ang="0">
                    <a:pos x="199" y="74"/>
                  </a:cxn>
                  <a:cxn ang="0">
                    <a:pos x="187" y="60"/>
                  </a:cxn>
                  <a:cxn ang="0">
                    <a:pos x="164" y="48"/>
                  </a:cxn>
                  <a:cxn ang="0">
                    <a:pos x="152" y="46"/>
                  </a:cxn>
                </a:cxnLst>
                <a:rect l="0" t="0" r="r" b="b"/>
                <a:pathLst>
                  <a:path w="199" h="233">
                    <a:moveTo>
                      <a:pt x="152" y="46"/>
                    </a:moveTo>
                    <a:cubicBezTo>
                      <a:pt x="151" y="47"/>
                      <a:pt x="151" y="47"/>
                      <a:pt x="151" y="47"/>
                    </a:cubicBezTo>
                    <a:cubicBezTo>
                      <a:pt x="148" y="50"/>
                      <a:pt x="148" y="50"/>
                      <a:pt x="148" y="5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43"/>
                      <a:pt x="148" y="43"/>
                      <a:pt x="148" y="43"/>
                    </a:cubicBezTo>
                    <a:cubicBezTo>
                      <a:pt x="148" y="40"/>
                      <a:pt x="148" y="40"/>
                      <a:pt x="148" y="40"/>
                    </a:cubicBezTo>
                    <a:cubicBezTo>
                      <a:pt x="144" y="40"/>
                      <a:pt x="144" y="40"/>
                      <a:pt x="144" y="40"/>
                    </a:cubicBezTo>
                    <a:cubicBezTo>
                      <a:pt x="143" y="39"/>
                      <a:pt x="143" y="39"/>
                      <a:pt x="143" y="39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6"/>
                      <a:pt x="134" y="36"/>
                      <a:pt x="134" y="36"/>
                    </a:cubicBezTo>
                    <a:cubicBezTo>
                      <a:pt x="131" y="37"/>
                      <a:pt x="131" y="37"/>
                      <a:pt x="131" y="37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29" y="41"/>
                      <a:pt x="129" y="41"/>
                      <a:pt x="129" y="41"/>
                    </a:cubicBezTo>
                    <a:cubicBezTo>
                      <a:pt x="127" y="41"/>
                      <a:pt x="127" y="41"/>
                      <a:pt x="127" y="41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3" y="43"/>
                      <a:pt x="123" y="43"/>
                      <a:pt x="123" y="43"/>
                    </a:cubicBezTo>
                    <a:cubicBezTo>
                      <a:pt x="120" y="43"/>
                      <a:pt x="120" y="43"/>
                      <a:pt x="120" y="43"/>
                    </a:cubicBezTo>
                    <a:cubicBezTo>
                      <a:pt x="118" y="43"/>
                      <a:pt x="118" y="43"/>
                      <a:pt x="118" y="43"/>
                    </a:cubicBezTo>
                    <a:cubicBezTo>
                      <a:pt x="117" y="37"/>
                      <a:pt x="117" y="37"/>
                      <a:pt x="117" y="37"/>
                    </a:cubicBezTo>
                    <a:cubicBezTo>
                      <a:pt x="114" y="39"/>
                      <a:pt x="114" y="39"/>
                      <a:pt x="114" y="39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2" y="38"/>
                      <a:pt x="112" y="38"/>
                      <a:pt x="112" y="38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3" y="7"/>
                      <a:pt x="113" y="7"/>
                      <a:pt x="113" y="7"/>
                    </a:cubicBezTo>
                    <a:cubicBezTo>
                      <a:pt x="109" y="13"/>
                      <a:pt x="109" y="13"/>
                      <a:pt x="109" y="13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5" y="16"/>
                      <a:pt x="95" y="16"/>
                      <a:pt x="95" y="16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8" y="56"/>
                      <a:pt x="18" y="56"/>
                      <a:pt x="18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6" y="85"/>
                      <a:pt x="6" y="85"/>
                      <a:pt x="6" y="85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7" y="88"/>
                      <a:pt x="7" y="88"/>
                      <a:pt x="7" y="88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4" y="91"/>
                      <a:pt x="14" y="91"/>
                      <a:pt x="14" y="91"/>
                    </a:cubicBezTo>
                    <a:cubicBezTo>
                      <a:pt x="18" y="88"/>
                      <a:pt x="18" y="88"/>
                      <a:pt x="18" y="88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101"/>
                      <a:pt x="45" y="101"/>
                      <a:pt x="45" y="101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2" y="106"/>
                      <a:pt x="52" y="106"/>
                      <a:pt x="52" y="106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64" y="113"/>
                      <a:pt x="64" y="113"/>
                      <a:pt x="64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0" y="121"/>
                      <a:pt x="70" y="121"/>
                      <a:pt x="70" y="121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6" y="138"/>
                      <a:pt x="86" y="138"/>
                      <a:pt x="86" y="138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5"/>
                      <a:pt x="86" y="155"/>
                      <a:pt x="86" y="155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8" y="165"/>
                      <a:pt x="98" y="165"/>
                      <a:pt x="98" y="165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101" y="175"/>
                      <a:pt x="101" y="175"/>
                      <a:pt x="101" y="175"/>
                    </a:cubicBezTo>
                    <a:cubicBezTo>
                      <a:pt x="103" y="174"/>
                      <a:pt x="103" y="174"/>
                      <a:pt x="103" y="174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11" y="192"/>
                      <a:pt x="111" y="192"/>
                      <a:pt x="111" y="192"/>
                    </a:cubicBezTo>
                    <a:cubicBezTo>
                      <a:pt x="105" y="197"/>
                      <a:pt x="100" y="206"/>
                      <a:pt x="95" y="211"/>
                    </a:cubicBezTo>
                    <a:cubicBezTo>
                      <a:pt x="97" y="211"/>
                      <a:pt x="97" y="211"/>
                      <a:pt x="97" y="211"/>
                    </a:cubicBezTo>
                    <a:cubicBezTo>
                      <a:pt x="103" y="216"/>
                      <a:pt x="103" y="216"/>
                      <a:pt x="103" y="216"/>
                    </a:cubicBezTo>
                    <a:cubicBezTo>
                      <a:pt x="104" y="216"/>
                      <a:pt x="104" y="216"/>
                      <a:pt x="104" y="216"/>
                    </a:cubicBezTo>
                    <a:cubicBezTo>
                      <a:pt x="108" y="218"/>
                      <a:pt x="108" y="218"/>
                      <a:pt x="108" y="218"/>
                    </a:cubicBezTo>
                    <a:cubicBezTo>
                      <a:pt x="113" y="221"/>
                      <a:pt x="113" y="221"/>
                      <a:pt x="113" y="221"/>
                    </a:cubicBezTo>
                    <a:cubicBezTo>
                      <a:pt x="118" y="226"/>
                      <a:pt x="118" y="226"/>
                      <a:pt x="118" y="226"/>
                    </a:cubicBezTo>
                    <a:cubicBezTo>
                      <a:pt x="117" y="230"/>
                      <a:pt x="117" y="230"/>
                      <a:pt x="117" y="230"/>
                    </a:cubicBez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20" y="230"/>
                      <a:pt x="120" y="230"/>
                      <a:pt x="120" y="230"/>
                    </a:cubicBezTo>
                    <a:cubicBezTo>
                      <a:pt x="123" y="225"/>
                      <a:pt x="123" y="225"/>
                      <a:pt x="123" y="22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26" y="215"/>
                      <a:pt x="126" y="215"/>
                      <a:pt x="126" y="215"/>
                    </a:cubicBezTo>
                    <a:cubicBezTo>
                      <a:pt x="126" y="211"/>
                      <a:pt x="126" y="211"/>
                      <a:pt x="126" y="211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9" y="213"/>
                      <a:pt x="129" y="213"/>
                      <a:pt x="129" y="213"/>
                    </a:cubicBezTo>
                    <a:cubicBezTo>
                      <a:pt x="127" y="217"/>
                      <a:pt x="127" y="217"/>
                      <a:pt x="127" y="217"/>
                    </a:cubicBezTo>
                    <a:cubicBezTo>
                      <a:pt x="125" y="221"/>
                      <a:pt x="125" y="221"/>
                      <a:pt x="125" y="221"/>
                    </a:cubicBezTo>
                    <a:cubicBezTo>
                      <a:pt x="124" y="223"/>
                      <a:pt x="124" y="223"/>
                      <a:pt x="124" y="223"/>
                    </a:cubicBezTo>
                    <a:cubicBezTo>
                      <a:pt x="127" y="218"/>
                      <a:pt x="127" y="218"/>
                      <a:pt x="127" y="218"/>
                    </a:cubicBezTo>
                    <a:cubicBezTo>
                      <a:pt x="130" y="214"/>
                      <a:pt x="130" y="214"/>
                      <a:pt x="130" y="214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34" y="204"/>
                      <a:pt x="134" y="204"/>
                      <a:pt x="134" y="204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37" y="201"/>
                      <a:pt x="137" y="201"/>
                      <a:pt x="137" y="201"/>
                    </a:cubicBezTo>
                    <a:cubicBezTo>
                      <a:pt x="137" y="192"/>
                      <a:pt x="137" y="192"/>
                      <a:pt x="137" y="192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5" y="184"/>
                      <a:pt x="135" y="184"/>
                      <a:pt x="135" y="184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42" y="178"/>
                      <a:pt x="142" y="178"/>
                      <a:pt x="142" y="178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3"/>
                      <a:pt x="151" y="173"/>
                      <a:pt x="151" y="173"/>
                    </a:cubicBezTo>
                    <a:cubicBezTo>
                      <a:pt x="154" y="170"/>
                      <a:pt x="154" y="170"/>
                      <a:pt x="154" y="170"/>
                    </a:cubicBezTo>
                    <a:cubicBezTo>
                      <a:pt x="156" y="168"/>
                      <a:pt x="156" y="168"/>
                      <a:pt x="156" y="168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7" y="169"/>
                      <a:pt x="157" y="169"/>
                      <a:pt x="157" y="169"/>
                    </a:cubicBezTo>
                    <a:cubicBezTo>
                      <a:pt x="161" y="168"/>
                      <a:pt x="161" y="168"/>
                      <a:pt x="161" y="168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56"/>
                      <a:pt x="172" y="156"/>
                      <a:pt x="172" y="156"/>
                    </a:cubicBezTo>
                    <a:cubicBezTo>
                      <a:pt x="174" y="152"/>
                      <a:pt x="174" y="152"/>
                      <a:pt x="174" y="152"/>
                    </a:cubicBezTo>
                    <a:cubicBezTo>
                      <a:pt x="178" y="147"/>
                      <a:pt x="178" y="147"/>
                      <a:pt x="178" y="147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6"/>
                      <a:pt x="180" y="136"/>
                      <a:pt x="180" y="136"/>
                    </a:cubicBezTo>
                    <a:cubicBezTo>
                      <a:pt x="180" y="115"/>
                      <a:pt x="180" y="115"/>
                      <a:pt x="180" y="115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1" y="107"/>
                      <a:pt x="181" y="107"/>
                      <a:pt x="181" y="107"/>
                    </a:cubicBezTo>
                    <a:cubicBezTo>
                      <a:pt x="182" y="109"/>
                      <a:pt x="182" y="109"/>
                      <a:pt x="182" y="109"/>
                    </a:cubicBezTo>
                    <a:cubicBezTo>
                      <a:pt x="184" y="105"/>
                      <a:pt x="184" y="105"/>
                      <a:pt x="184" y="105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2" y="94"/>
                      <a:pt x="192" y="94"/>
                      <a:pt x="192" y="94"/>
                    </a:cubicBezTo>
                    <a:cubicBezTo>
                      <a:pt x="194" y="89"/>
                      <a:pt x="194" y="89"/>
                      <a:pt x="194" y="89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199" y="74"/>
                      <a:pt x="199" y="74"/>
                      <a:pt x="199" y="74"/>
                    </a:cubicBezTo>
                    <a:cubicBezTo>
                      <a:pt x="197" y="68"/>
                      <a:pt x="197" y="68"/>
                      <a:pt x="197" y="68"/>
                    </a:cubicBezTo>
                    <a:cubicBezTo>
                      <a:pt x="195" y="62"/>
                      <a:pt x="195" y="62"/>
                      <a:pt x="195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2" y="56"/>
                      <a:pt x="182" y="56"/>
                      <a:pt x="182" y="5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55" y="46"/>
                      <a:pt x="155" y="46"/>
                      <a:pt x="155" y="46"/>
                    </a:cubicBezTo>
                    <a:cubicBezTo>
                      <a:pt x="151" y="48"/>
                      <a:pt x="151" y="48"/>
                      <a:pt x="151" y="48"/>
                    </a:cubicBezTo>
                    <a:cubicBezTo>
                      <a:pt x="152" y="46"/>
                      <a:pt x="152" y="46"/>
                      <a:pt x="152" y="46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1" name="Freeform 1631"/>
              <p:cNvSpPr>
                <a:spLocks/>
              </p:cNvSpPr>
              <p:nvPr/>
            </p:nvSpPr>
            <p:spPr bwMode="auto">
              <a:xfrm>
                <a:off x="4618093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2" name="Freeform 1632"/>
              <p:cNvSpPr>
                <a:spLocks/>
              </p:cNvSpPr>
              <p:nvPr/>
            </p:nvSpPr>
            <p:spPr bwMode="auto">
              <a:xfrm>
                <a:off x="4618093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3" name="Freeform 1633"/>
              <p:cNvSpPr>
                <a:spLocks/>
              </p:cNvSpPr>
              <p:nvPr/>
            </p:nvSpPr>
            <p:spPr bwMode="auto">
              <a:xfrm>
                <a:off x="4618093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4" name="Freeform 1634"/>
              <p:cNvSpPr>
                <a:spLocks/>
              </p:cNvSpPr>
              <p:nvPr/>
            </p:nvSpPr>
            <p:spPr bwMode="auto">
              <a:xfrm>
                <a:off x="4618093" y="4274316"/>
                <a:ext cx="5715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7" y="0"/>
                  </a:cxn>
                  <a:cxn ang="0">
                    <a:pos x="20" y="4"/>
                  </a:cxn>
                  <a:cxn ang="0">
                    <a:pos x="36" y="4"/>
                  </a:cxn>
                  <a:cxn ang="0">
                    <a:pos x="36" y="33"/>
                  </a:cxn>
                  <a:cxn ang="0">
                    <a:pos x="7" y="33"/>
                  </a:cxn>
                </a:cxnLst>
                <a:rect l="0" t="0" r="r" b="b"/>
                <a:pathLst>
                  <a:path w="36" h="33">
                    <a:moveTo>
                      <a:pt x="7" y="33"/>
                    </a:moveTo>
                    <a:lnTo>
                      <a:pt x="0" y="27"/>
                    </a:lnTo>
                    <a:lnTo>
                      <a:pt x="0" y="20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36" y="4"/>
                    </a:lnTo>
                    <a:lnTo>
                      <a:pt x="36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5" name="Freeform 1635"/>
              <p:cNvSpPr>
                <a:spLocks/>
              </p:cNvSpPr>
              <p:nvPr/>
            </p:nvSpPr>
            <p:spPr bwMode="auto">
              <a:xfrm>
                <a:off x="4602218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6" name="Freeform 1636"/>
              <p:cNvSpPr>
                <a:spLocks/>
              </p:cNvSpPr>
              <p:nvPr/>
            </p:nvSpPr>
            <p:spPr bwMode="auto">
              <a:xfrm>
                <a:off x="4602218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7" name="Freeform 1637"/>
              <p:cNvSpPr>
                <a:spLocks/>
              </p:cNvSpPr>
              <p:nvPr/>
            </p:nvSpPr>
            <p:spPr bwMode="auto">
              <a:xfrm>
                <a:off x="4602218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8" name="Freeform 1638"/>
              <p:cNvSpPr>
                <a:spLocks/>
              </p:cNvSpPr>
              <p:nvPr/>
            </p:nvSpPr>
            <p:spPr bwMode="auto">
              <a:xfrm>
                <a:off x="4602218" y="4280666"/>
                <a:ext cx="147640" cy="188915"/>
              </a:xfrm>
              <a:custGeom>
                <a:avLst/>
                <a:gdLst/>
                <a:ahLst/>
                <a:cxnLst>
                  <a:cxn ang="0">
                    <a:pos x="14" y="20"/>
                  </a:cxn>
                  <a:cxn ang="0">
                    <a:pos x="14" y="29"/>
                  </a:cxn>
                  <a:cxn ang="0">
                    <a:pos x="7" y="29"/>
                  </a:cxn>
                  <a:cxn ang="0">
                    <a:pos x="17" y="36"/>
                  </a:cxn>
                  <a:cxn ang="0">
                    <a:pos x="10" y="36"/>
                  </a:cxn>
                  <a:cxn ang="0">
                    <a:pos x="4" y="56"/>
                  </a:cxn>
                  <a:cxn ang="0">
                    <a:pos x="0" y="56"/>
                  </a:cxn>
                  <a:cxn ang="0">
                    <a:pos x="7" y="69"/>
                  </a:cxn>
                  <a:cxn ang="0">
                    <a:pos x="10" y="72"/>
                  </a:cxn>
                  <a:cxn ang="0">
                    <a:pos x="4" y="66"/>
                  </a:cxn>
                  <a:cxn ang="0">
                    <a:pos x="10" y="79"/>
                  </a:cxn>
                  <a:cxn ang="0">
                    <a:pos x="17" y="92"/>
                  </a:cxn>
                  <a:cxn ang="0">
                    <a:pos x="17" y="89"/>
                  </a:cxn>
                  <a:cxn ang="0">
                    <a:pos x="27" y="102"/>
                  </a:cxn>
                  <a:cxn ang="0">
                    <a:pos x="40" y="119"/>
                  </a:cxn>
                  <a:cxn ang="0">
                    <a:pos x="40" y="112"/>
                  </a:cxn>
                  <a:cxn ang="0">
                    <a:pos x="46" y="115"/>
                  </a:cxn>
                  <a:cxn ang="0">
                    <a:pos x="53" y="112"/>
                  </a:cxn>
                  <a:cxn ang="0">
                    <a:pos x="46" y="99"/>
                  </a:cxn>
                  <a:cxn ang="0">
                    <a:pos x="46" y="99"/>
                  </a:cxn>
                  <a:cxn ang="0">
                    <a:pos x="46" y="89"/>
                  </a:cxn>
                  <a:cxn ang="0">
                    <a:pos x="60" y="89"/>
                  </a:cxn>
                  <a:cxn ang="0">
                    <a:pos x="63" y="79"/>
                  </a:cxn>
                  <a:cxn ang="0">
                    <a:pos x="70" y="89"/>
                  </a:cxn>
                  <a:cxn ang="0">
                    <a:pos x="79" y="86"/>
                  </a:cxn>
                  <a:cxn ang="0">
                    <a:pos x="83" y="89"/>
                  </a:cxn>
                  <a:cxn ang="0">
                    <a:pos x="86" y="86"/>
                  </a:cxn>
                  <a:cxn ang="0">
                    <a:pos x="93" y="56"/>
                  </a:cxn>
                  <a:cxn ang="0">
                    <a:pos x="83" y="43"/>
                  </a:cxn>
                  <a:cxn ang="0">
                    <a:pos x="93" y="29"/>
                  </a:cxn>
                  <a:cxn ang="0">
                    <a:pos x="93" y="16"/>
                  </a:cxn>
                  <a:cxn ang="0">
                    <a:pos x="73" y="16"/>
                  </a:cxn>
                  <a:cxn ang="0">
                    <a:pos x="73" y="0"/>
                  </a:cxn>
                  <a:cxn ang="0">
                    <a:pos x="40" y="0"/>
                  </a:cxn>
                  <a:cxn ang="0">
                    <a:pos x="40" y="23"/>
                  </a:cxn>
                  <a:cxn ang="0">
                    <a:pos x="14" y="23"/>
                  </a:cxn>
                  <a:cxn ang="0">
                    <a:pos x="14" y="20"/>
                  </a:cxn>
                </a:cxnLst>
                <a:rect l="0" t="0" r="r" b="b"/>
                <a:pathLst>
                  <a:path w="93" h="119">
                    <a:moveTo>
                      <a:pt x="14" y="20"/>
                    </a:moveTo>
                    <a:lnTo>
                      <a:pt x="14" y="29"/>
                    </a:lnTo>
                    <a:lnTo>
                      <a:pt x="7" y="29"/>
                    </a:lnTo>
                    <a:lnTo>
                      <a:pt x="17" y="36"/>
                    </a:lnTo>
                    <a:lnTo>
                      <a:pt x="10" y="3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7" y="69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10" y="79"/>
                    </a:lnTo>
                    <a:lnTo>
                      <a:pt x="17" y="92"/>
                    </a:lnTo>
                    <a:lnTo>
                      <a:pt x="17" y="89"/>
                    </a:lnTo>
                    <a:lnTo>
                      <a:pt x="27" y="102"/>
                    </a:lnTo>
                    <a:lnTo>
                      <a:pt x="40" y="119"/>
                    </a:lnTo>
                    <a:lnTo>
                      <a:pt x="40" y="112"/>
                    </a:lnTo>
                    <a:lnTo>
                      <a:pt x="46" y="115"/>
                    </a:lnTo>
                    <a:lnTo>
                      <a:pt x="53" y="112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6" y="89"/>
                    </a:lnTo>
                    <a:lnTo>
                      <a:pt x="60" y="89"/>
                    </a:lnTo>
                    <a:lnTo>
                      <a:pt x="63" y="79"/>
                    </a:lnTo>
                    <a:lnTo>
                      <a:pt x="70" y="89"/>
                    </a:lnTo>
                    <a:lnTo>
                      <a:pt x="79" y="86"/>
                    </a:lnTo>
                    <a:lnTo>
                      <a:pt x="83" y="89"/>
                    </a:lnTo>
                    <a:lnTo>
                      <a:pt x="86" y="86"/>
                    </a:lnTo>
                    <a:lnTo>
                      <a:pt x="93" y="56"/>
                    </a:lnTo>
                    <a:lnTo>
                      <a:pt x="83" y="43"/>
                    </a:lnTo>
                    <a:lnTo>
                      <a:pt x="93" y="29"/>
                    </a:lnTo>
                    <a:lnTo>
                      <a:pt x="93" y="16"/>
                    </a:lnTo>
                    <a:lnTo>
                      <a:pt x="73" y="16"/>
                    </a:lnTo>
                    <a:lnTo>
                      <a:pt x="73" y="0"/>
                    </a:lnTo>
                    <a:lnTo>
                      <a:pt x="40" y="0"/>
                    </a:lnTo>
                    <a:lnTo>
                      <a:pt x="40" y="23"/>
                    </a:lnTo>
                    <a:lnTo>
                      <a:pt x="14" y="23"/>
                    </a:lnTo>
                    <a:lnTo>
                      <a:pt x="14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09" name="Freeform 1639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0" name="Freeform 1640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1" name="Freeform 1641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2" name="Freeform 1642"/>
              <p:cNvSpPr>
                <a:spLocks/>
              </p:cNvSpPr>
              <p:nvPr/>
            </p:nvSpPr>
            <p:spPr bwMode="auto">
              <a:xfrm>
                <a:off x="2730533" y="4950601"/>
                <a:ext cx="223840" cy="252416"/>
              </a:xfrm>
              <a:custGeom>
                <a:avLst/>
                <a:gdLst/>
                <a:ahLst/>
                <a:cxnLst>
                  <a:cxn ang="0">
                    <a:pos x="6" y="17"/>
                  </a:cxn>
                  <a:cxn ang="0">
                    <a:pos x="0" y="37"/>
                  </a:cxn>
                  <a:cxn ang="0">
                    <a:pos x="0" y="53"/>
                  </a:cxn>
                  <a:cxn ang="0">
                    <a:pos x="16" y="73"/>
                  </a:cxn>
                  <a:cxn ang="0">
                    <a:pos x="33" y="89"/>
                  </a:cxn>
                  <a:cxn ang="0">
                    <a:pos x="46" y="96"/>
                  </a:cxn>
                  <a:cxn ang="0">
                    <a:pos x="59" y="103"/>
                  </a:cxn>
                  <a:cxn ang="0">
                    <a:pos x="72" y="112"/>
                  </a:cxn>
                  <a:cxn ang="0">
                    <a:pos x="92" y="122"/>
                  </a:cxn>
                  <a:cxn ang="0">
                    <a:pos x="85" y="139"/>
                  </a:cxn>
                  <a:cxn ang="0">
                    <a:pos x="79" y="159"/>
                  </a:cxn>
                  <a:cxn ang="0">
                    <a:pos x="118" y="159"/>
                  </a:cxn>
                  <a:cxn ang="0">
                    <a:pos x="125" y="155"/>
                  </a:cxn>
                  <a:cxn ang="0">
                    <a:pos x="141" y="136"/>
                  </a:cxn>
                  <a:cxn ang="0">
                    <a:pos x="138" y="122"/>
                  </a:cxn>
                  <a:cxn ang="0">
                    <a:pos x="138" y="106"/>
                  </a:cxn>
                  <a:cxn ang="0">
                    <a:pos x="141" y="93"/>
                  </a:cxn>
                  <a:cxn ang="0">
                    <a:pos x="131" y="89"/>
                  </a:cxn>
                  <a:cxn ang="0">
                    <a:pos x="125" y="93"/>
                  </a:cxn>
                  <a:cxn ang="0">
                    <a:pos x="118" y="73"/>
                  </a:cxn>
                  <a:cxn ang="0">
                    <a:pos x="112" y="60"/>
                  </a:cxn>
                  <a:cxn ang="0">
                    <a:pos x="98" y="53"/>
                  </a:cxn>
                  <a:cxn ang="0">
                    <a:pos x="79" y="53"/>
                  </a:cxn>
                  <a:cxn ang="0">
                    <a:pos x="72" y="27"/>
                  </a:cxn>
                  <a:cxn ang="0">
                    <a:pos x="72" y="17"/>
                  </a:cxn>
                  <a:cxn ang="0">
                    <a:pos x="72" y="10"/>
                  </a:cxn>
                  <a:cxn ang="0">
                    <a:pos x="52" y="0"/>
                  </a:cxn>
                  <a:cxn ang="0">
                    <a:pos x="33" y="4"/>
                  </a:cxn>
                  <a:cxn ang="0">
                    <a:pos x="9" y="7"/>
                  </a:cxn>
                  <a:cxn ang="0">
                    <a:pos x="6" y="17"/>
                  </a:cxn>
                </a:cxnLst>
                <a:rect l="0" t="0" r="r" b="b"/>
                <a:pathLst>
                  <a:path w="141" h="159">
                    <a:moveTo>
                      <a:pt x="6" y="17"/>
                    </a:moveTo>
                    <a:lnTo>
                      <a:pt x="0" y="37"/>
                    </a:lnTo>
                    <a:lnTo>
                      <a:pt x="0" y="53"/>
                    </a:lnTo>
                    <a:lnTo>
                      <a:pt x="16" y="73"/>
                    </a:lnTo>
                    <a:lnTo>
                      <a:pt x="33" y="89"/>
                    </a:lnTo>
                    <a:lnTo>
                      <a:pt x="46" y="96"/>
                    </a:lnTo>
                    <a:lnTo>
                      <a:pt x="59" y="103"/>
                    </a:lnTo>
                    <a:lnTo>
                      <a:pt x="72" y="112"/>
                    </a:lnTo>
                    <a:lnTo>
                      <a:pt x="92" y="122"/>
                    </a:lnTo>
                    <a:lnTo>
                      <a:pt x="85" y="139"/>
                    </a:lnTo>
                    <a:lnTo>
                      <a:pt x="79" y="159"/>
                    </a:lnTo>
                    <a:lnTo>
                      <a:pt x="118" y="159"/>
                    </a:lnTo>
                    <a:lnTo>
                      <a:pt x="125" y="155"/>
                    </a:lnTo>
                    <a:lnTo>
                      <a:pt x="141" y="136"/>
                    </a:lnTo>
                    <a:lnTo>
                      <a:pt x="138" y="122"/>
                    </a:lnTo>
                    <a:lnTo>
                      <a:pt x="138" y="106"/>
                    </a:lnTo>
                    <a:lnTo>
                      <a:pt x="141" y="93"/>
                    </a:lnTo>
                    <a:lnTo>
                      <a:pt x="131" y="89"/>
                    </a:lnTo>
                    <a:lnTo>
                      <a:pt x="125" y="93"/>
                    </a:lnTo>
                    <a:lnTo>
                      <a:pt x="118" y="73"/>
                    </a:lnTo>
                    <a:lnTo>
                      <a:pt x="112" y="60"/>
                    </a:lnTo>
                    <a:lnTo>
                      <a:pt x="98" y="53"/>
                    </a:lnTo>
                    <a:lnTo>
                      <a:pt x="79" y="53"/>
                    </a:lnTo>
                    <a:lnTo>
                      <a:pt x="72" y="27"/>
                    </a:lnTo>
                    <a:lnTo>
                      <a:pt x="72" y="17"/>
                    </a:lnTo>
                    <a:lnTo>
                      <a:pt x="72" y="10"/>
                    </a:lnTo>
                    <a:lnTo>
                      <a:pt x="52" y="0"/>
                    </a:lnTo>
                    <a:lnTo>
                      <a:pt x="33" y="4"/>
                    </a:lnTo>
                    <a:lnTo>
                      <a:pt x="9" y="7"/>
                    </a:lnTo>
                    <a:lnTo>
                      <a:pt x="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3" name="Freeform 1643"/>
              <p:cNvSpPr>
                <a:spLocks/>
              </p:cNvSpPr>
              <p:nvPr/>
            </p:nvSpPr>
            <p:spPr bwMode="auto">
              <a:xfrm>
                <a:off x="2886111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4" name="Freeform 1644"/>
              <p:cNvSpPr>
                <a:spLocks/>
              </p:cNvSpPr>
              <p:nvPr/>
            </p:nvSpPr>
            <p:spPr bwMode="auto">
              <a:xfrm>
                <a:off x="2886111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5" name="Freeform 1645"/>
              <p:cNvSpPr>
                <a:spLocks/>
              </p:cNvSpPr>
              <p:nvPr/>
            </p:nvSpPr>
            <p:spPr bwMode="auto">
              <a:xfrm>
                <a:off x="2886111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6" name="Freeform 1646"/>
              <p:cNvSpPr>
                <a:spLocks/>
              </p:cNvSpPr>
              <p:nvPr/>
            </p:nvSpPr>
            <p:spPr bwMode="auto">
              <a:xfrm>
                <a:off x="2886111" y="5291919"/>
                <a:ext cx="127002" cy="146052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19" y="10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19"/>
                  </a:cxn>
                  <a:cxn ang="0">
                    <a:pos x="3" y="24"/>
                  </a:cxn>
                  <a:cxn ang="0">
                    <a:pos x="8" y="27"/>
                  </a:cxn>
                  <a:cxn ang="0">
                    <a:pos x="17" y="28"/>
                  </a:cxn>
                  <a:cxn ang="0">
                    <a:pos x="21" y="27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4" y="14"/>
                  </a:cxn>
                </a:cxnLst>
                <a:rect l="0" t="0" r="r" b="b"/>
                <a:pathLst>
                  <a:path w="24" h="28">
                    <a:moveTo>
                      <a:pt x="24" y="14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"/>
                      <a:pt x="1" y="12"/>
                      <a:pt x="0" y="19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4" y="14"/>
                      <a:pt x="24" y="14"/>
                      <a:pt x="24" y="14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7" name="Freeform 1647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8" name="Freeform 1648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19" name="Freeform 1649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0" name="Freeform 1650"/>
              <p:cNvSpPr>
                <a:spLocks/>
              </p:cNvSpPr>
              <p:nvPr/>
            </p:nvSpPr>
            <p:spPr bwMode="auto">
              <a:xfrm>
                <a:off x="2573368" y="5023627"/>
                <a:ext cx="401643" cy="954102"/>
              </a:xfrm>
              <a:custGeom>
                <a:avLst/>
                <a:gdLst/>
                <a:ahLst/>
                <a:cxnLst>
                  <a:cxn ang="0">
                    <a:pos x="42" y="115"/>
                  </a:cxn>
                  <a:cxn ang="0">
                    <a:pos x="41" y="122"/>
                  </a:cxn>
                  <a:cxn ang="0">
                    <a:pos x="44" y="122"/>
                  </a:cxn>
                  <a:cxn ang="0">
                    <a:pos x="48" y="126"/>
                  </a:cxn>
                  <a:cxn ang="0">
                    <a:pos x="41" y="125"/>
                  </a:cxn>
                  <a:cxn ang="0">
                    <a:pos x="41" y="132"/>
                  </a:cxn>
                  <a:cxn ang="0">
                    <a:pos x="41" y="138"/>
                  </a:cxn>
                  <a:cxn ang="0">
                    <a:pos x="36" y="147"/>
                  </a:cxn>
                  <a:cxn ang="0">
                    <a:pos x="46" y="152"/>
                  </a:cxn>
                  <a:cxn ang="0">
                    <a:pos x="46" y="156"/>
                  </a:cxn>
                  <a:cxn ang="0">
                    <a:pos x="41" y="164"/>
                  </a:cxn>
                  <a:cxn ang="0">
                    <a:pos x="38" y="167"/>
                  </a:cxn>
                  <a:cxn ang="0">
                    <a:pos x="40" y="168"/>
                  </a:cxn>
                  <a:cxn ang="0">
                    <a:pos x="38" y="174"/>
                  </a:cxn>
                  <a:cxn ang="0">
                    <a:pos x="39" y="177"/>
                  </a:cxn>
                  <a:cxn ang="0">
                    <a:pos x="44" y="182"/>
                  </a:cxn>
                  <a:cxn ang="0">
                    <a:pos x="28" y="178"/>
                  </a:cxn>
                  <a:cxn ang="0">
                    <a:pos x="23" y="171"/>
                  </a:cxn>
                  <a:cxn ang="0">
                    <a:pos x="16" y="164"/>
                  </a:cxn>
                  <a:cxn ang="0">
                    <a:pos x="18" y="152"/>
                  </a:cxn>
                  <a:cxn ang="0">
                    <a:pos x="16" y="141"/>
                  </a:cxn>
                  <a:cxn ang="0">
                    <a:pos x="14" y="136"/>
                  </a:cxn>
                  <a:cxn ang="0">
                    <a:pos x="12" y="134"/>
                  </a:cxn>
                  <a:cxn ang="0">
                    <a:pos x="8" y="124"/>
                  </a:cxn>
                  <a:cxn ang="0">
                    <a:pos x="6" y="111"/>
                  </a:cxn>
                  <a:cxn ang="0">
                    <a:pos x="6" y="84"/>
                  </a:cxn>
                  <a:cxn ang="0">
                    <a:pos x="5" y="73"/>
                  </a:cxn>
                  <a:cxn ang="0">
                    <a:pos x="2" y="64"/>
                  </a:cxn>
                  <a:cxn ang="0">
                    <a:pos x="0" y="42"/>
                  </a:cxn>
                  <a:cxn ang="0">
                    <a:pos x="4" y="32"/>
                  </a:cxn>
                  <a:cxn ang="0">
                    <a:pos x="4" y="27"/>
                  </a:cxn>
                  <a:cxn ang="0">
                    <a:pos x="4" y="16"/>
                  </a:cxn>
                  <a:cxn ang="0">
                    <a:pos x="8" y="7"/>
                  </a:cxn>
                  <a:cxn ang="0">
                    <a:pos x="12" y="2"/>
                  </a:cxn>
                  <a:cxn ang="0">
                    <a:pos x="20" y="6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43" y="15"/>
                  </a:cxn>
                  <a:cxn ang="0">
                    <a:pos x="52" y="19"/>
                  </a:cxn>
                  <a:cxn ang="0">
                    <a:pos x="55" y="28"/>
                  </a:cxn>
                  <a:cxn ang="0">
                    <a:pos x="65" y="34"/>
                  </a:cxn>
                  <a:cxn ang="0">
                    <a:pos x="72" y="27"/>
                  </a:cxn>
                  <a:cxn ang="0">
                    <a:pos x="74" y="22"/>
                  </a:cxn>
                  <a:cxn ang="0">
                    <a:pos x="60" y="50"/>
                  </a:cxn>
                  <a:cxn ang="0">
                    <a:pos x="68" y="82"/>
                  </a:cxn>
                  <a:cxn ang="0">
                    <a:pos x="71" y="88"/>
                  </a:cxn>
                  <a:cxn ang="0">
                    <a:pos x="68" y="99"/>
                  </a:cxn>
                  <a:cxn ang="0">
                    <a:pos x="60" y="101"/>
                  </a:cxn>
                  <a:cxn ang="0">
                    <a:pos x="52" y="103"/>
                  </a:cxn>
                  <a:cxn ang="0">
                    <a:pos x="49" y="105"/>
                  </a:cxn>
                  <a:cxn ang="0">
                    <a:pos x="49" y="115"/>
                  </a:cxn>
                </a:cxnLst>
                <a:rect l="0" t="0" r="r" b="b"/>
                <a:pathLst>
                  <a:path w="77" h="182">
                    <a:moveTo>
                      <a:pt x="49" y="115"/>
                    </a:moveTo>
                    <a:cubicBezTo>
                      <a:pt x="42" y="115"/>
                      <a:pt x="42" y="115"/>
                      <a:pt x="42" y="115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1" y="122"/>
                      <a:pt x="41" y="122"/>
                      <a:pt x="41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4" y="122"/>
                      <a:pt x="44" y="122"/>
                      <a:pt x="44" y="122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1" y="138"/>
                      <a:pt x="41" y="138"/>
                      <a:pt x="41" y="138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7"/>
                      <a:pt x="36" y="147"/>
                      <a:pt x="36" y="147"/>
                    </a:cubicBezTo>
                    <a:cubicBezTo>
                      <a:pt x="43" y="151"/>
                      <a:pt x="43" y="151"/>
                      <a:pt x="43" y="151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4" y="155"/>
                      <a:pt x="44" y="155"/>
                      <a:pt x="44" y="155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3" y="159"/>
                      <a:pt x="43" y="159"/>
                      <a:pt x="43" y="159"/>
                    </a:cubicBezTo>
                    <a:cubicBezTo>
                      <a:pt x="41" y="164"/>
                      <a:pt x="41" y="164"/>
                      <a:pt x="41" y="16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40" y="168"/>
                      <a:pt x="40" y="168"/>
                      <a:pt x="40" y="168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8" y="174"/>
                      <a:pt x="38" y="174"/>
                      <a:pt x="38" y="174"/>
                    </a:cubicBezTo>
                    <a:cubicBezTo>
                      <a:pt x="40" y="177"/>
                      <a:pt x="40" y="177"/>
                      <a:pt x="40" y="177"/>
                    </a:cubicBezTo>
                    <a:cubicBezTo>
                      <a:pt x="39" y="177"/>
                      <a:pt x="39" y="177"/>
                      <a:pt x="39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7" y="180"/>
                      <a:pt x="37" y="180"/>
                      <a:pt x="37" y="180"/>
                    </a:cubicBezTo>
                    <a:cubicBezTo>
                      <a:pt x="28" y="178"/>
                      <a:pt x="28" y="178"/>
                      <a:pt x="28" y="178"/>
                    </a:cubicBezTo>
                    <a:cubicBezTo>
                      <a:pt x="25" y="176"/>
                      <a:pt x="25" y="176"/>
                      <a:pt x="25" y="176"/>
                    </a:cubicBezTo>
                    <a:cubicBezTo>
                      <a:pt x="23" y="171"/>
                      <a:pt x="23" y="171"/>
                      <a:pt x="23" y="171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8" y="152"/>
                      <a:pt x="18" y="152"/>
                      <a:pt x="18" y="15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8"/>
                      <a:pt x="16" y="138"/>
                      <a:pt x="16" y="138"/>
                    </a:cubicBezTo>
                    <a:cubicBezTo>
                      <a:pt x="14" y="136"/>
                      <a:pt x="14" y="136"/>
                      <a:pt x="14" y="136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19"/>
                      <a:pt x="8" y="119"/>
                      <a:pt x="8" y="119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6" y="102"/>
                      <a:pt x="8" y="98"/>
                      <a:pt x="3" y="88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3" y="34"/>
                      <a:pt x="53" y="34"/>
                      <a:pt x="53" y="34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1" y="22"/>
                      <a:pt x="71" y="22"/>
                      <a:pt x="71" y="22"/>
                    </a:cubicBezTo>
                    <a:cubicBezTo>
                      <a:pt x="74" y="22"/>
                      <a:pt x="74" y="22"/>
                      <a:pt x="74" y="22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71" y="35"/>
                      <a:pt x="66" y="45"/>
                      <a:pt x="60" y="50"/>
                    </a:cubicBezTo>
                    <a:cubicBezTo>
                      <a:pt x="60" y="59"/>
                      <a:pt x="59" y="69"/>
                      <a:pt x="62" y="7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9" y="93"/>
                      <a:pt x="69" y="93"/>
                      <a:pt x="69" y="93"/>
                    </a:cubicBezTo>
                    <a:cubicBezTo>
                      <a:pt x="68" y="99"/>
                      <a:pt x="68" y="99"/>
                      <a:pt x="68" y="99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0" y="101"/>
                      <a:pt x="60" y="101"/>
                      <a:pt x="60" y="101"/>
                    </a:cubicBezTo>
                    <a:cubicBezTo>
                      <a:pt x="55" y="101"/>
                      <a:pt x="55" y="101"/>
                      <a:pt x="55" y="101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49" y="115"/>
                      <a:pt x="49" y="115"/>
                      <a:pt x="49" y="11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1" name="Freeform 1651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2" name="Freeform 1652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3" name="Freeform 1653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4" name="Freeform 1654"/>
              <p:cNvSpPr>
                <a:spLocks/>
              </p:cNvSpPr>
              <p:nvPr/>
            </p:nvSpPr>
            <p:spPr bwMode="auto">
              <a:xfrm>
                <a:off x="2578131" y="5449083"/>
                <a:ext cx="100013" cy="6826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0" y="0"/>
                  </a:cxn>
                  <a:cxn ang="0">
                    <a:pos x="7" y="23"/>
                  </a:cxn>
                  <a:cxn ang="0">
                    <a:pos x="20" y="39"/>
                  </a:cxn>
                  <a:cxn ang="0">
                    <a:pos x="40" y="43"/>
                  </a:cxn>
                  <a:cxn ang="0">
                    <a:pos x="63" y="43"/>
                  </a:cxn>
                  <a:cxn ang="0">
                    <a:pos x="63" y="36"/>
                  </a:cxn>
                  <a:cxn ang="0">
                    <a:pos x="30" y="26"/>
                  </a:cxn>
                  <a:cxn ang="0">
                    <a:pos x="7" y="6"/>
                  </a:cxn>
                </a:cxnLst>
                <a:rect l="0" t="0" r="r" b="b"/>
                <a:pathLst>
                  <a:path w="63" h="43">
                    <a:moveTo>
                      <a:pt x="7" y="6"/>
                    </a:moveTo>
                    <a:lnTo>
                      <a:pt x="0" y="0"/>
                    </a:lnTo>
                    <a:lnTo>
                      <a:pt x="7" y="23"/>
                    </a:lnTo>
                    <a:lnTo>
                      <a:pt x="20" y="39"/>
                    </a:lnTo>
                    <a:lnTo>
                      <a:pt x="40" y="43"/>
                    </a:lnTo>
                    <a:lnTo>
                      <a:pt x="63" y="43"/>
                    </a:lnTo>
                    <a:lnTo>
                      <a:pt x="63" y="36"/>
                    </a:lnTo>
                    <a:lnTo>
                      <a:pt x="30" y="26"/>
                    </a:lnTo>
                    <a:lnTo>
                      <a:pt x="7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5" name="Freeform 1655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6" name="Freeform 1656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7" name="Freeform 1657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8" name="Freeform 1658"/>
              <p:cNvSpPr>
                <a:spLocks/>
              </p:cNvSpPr>
              <p:nvPr/>
            </p:nvSpPr>
            <p:spPr bwMode="auto">
              <a:xfrm>
                <a:off x="2514631" y="4893450"/>
                <a:ext cx="288928" cy="1127142"/>
              </a:xfrm>
              <a:custGeom>
                <a:avLst/>
                <a:gdLst/>
                <a:ahLst/>
                <a:cxnLst>
                  <a:cxn ang="0">
                    <a:pos x="5" y="104"/>
                  </a:cxn>
                  <a:cxn ang="0">
                    <a:pos x="4" y="115"/>
                  </a:cxn>
                  <a:cxn ang="0">
                    <a:pos x="5" y="122"/>
                  </a:cxn>
                  <a:cxn ang="0">
                    <a:pos x="9" y="133"/>
                  </a:cxn>
                  <a:cxn ang="0">
                    <a:pos x="11" y="143"/>
                  </a:cxn>
                  <a:cxn ang="0">
                    <a:pos x="13" y="143"/>
                  </a:cxn>
                  <a:cxn ang="0">
                    <a:pos x="16" y="142"/>
                  </a:cxn>
                  <a:cxn ang="0">
                    <a:pos x="17" y="147"/>
                  </a:cxn>
                  <a:cxn ang="0">
                    <a:pos x="17" y="149"/>
                  </a:cxn>
                  <a:cxn ang="0">
                    <a:pos x="20" y="161"/>
                  </a:cxn>
                  <a:cxn ang="0">
                    <a:pos x="20" y="166"/>
                  </a:cxn>
                  <a:cxn ang="0">
                    <a:pos x="19" y="171"/>
                  </a:cxn>
                  <a:cxn ang="0">
                    <a:pos x="18" y="172"/>
                  </a:cxn>
                  <a:cxn ang="0">
                    <a:pos x="16" y="171"/>
                  </a:cxn>
                  <a:cxn ang="0">
                    <a:pos x="13" y="169"/>
                  </a:cxn>
                  <a:cxn ang="0">
                    <a:pos x="13" y="173"/>
                  </a:cxn>
                  <a:cxn ang="0">
                    <a:pos x="17" y="174"/>
                  </a:cxn>
                  <a:cxn ang="0">
                    <a:pos x="19" y="178"/>
                  </a:cxn>
                  <a:cxn ang="0">
                    <a:pos x="18" y="180"/>
                  </a:cxn>
                  <a:cxn ang="0">
                    <a:pos x="24" y="181"/>
                  </a:cxn>
                  <a:cxn ang="0">
                    <a:pos x="20" y="182"/>
                  </a:cxn>
                  <a:cxn ang="0">
                    <a:pos x="24" y="194"/>
                  </a:cxn>
                  <a:cxn ang="0">
                    <a:pos x="29" y="198"/>
                  </a:cxn>
                  <a:cxn ang="0">
                    <a:pos x="29" y="200"/>
                  </a:cxn>
                  <a:cxn ang="0">
                    <a:pos x="29" y="201"/>
                  </a:cxn>
                  <a:cxn ang="0">
                    <a:pos x="33" y="205"/>
                  </a:cxn>
                  <a:cxn ang="0">
                    <a:pos x="35" y="209"/>
                  </a:cxn>
                  <a:cxn ang="0">
                    <a:pos x="38" y="211"/>
                  </a:cxn>
                  <a:cxn ang="0">
                    <a:pos x="40" y="212"/>
                  </a:cxn>
                  <a:cxn ang="0">
                    <a:pos x="46" y="208"/>
                  </a:cxn>
                  <a:cxn ang="0">
                    <a:pos x="55" y="207"/>
                  </a:cxn>
                  <a:cxn ang="0">
                    <a:pos x="39" y="203"/>
                  </a:cxn>
                  <a:cxn ang="0">
                    <a:pos x="34" y="197"/>
                  </a:cxn>
                  <a:cxn ang="0">
                    <a:pos x="27" y="189"/>
                  </a:cxn>
                  <a:cxn ang="0">
                    <a:pos x="29" y="178"/>
                  </a:cxn>
                  <a:cxn ang="0">
                    <a:pos x="27" y="166"/>
                  </a:cxn>
                  <a:cxn ang="0">
                    <a:pos x="24" y="162"/>
                  </a:cxn>
                  <a:cxn ang="0">
                    <a:pos x="23" y="159"/>
                  </a:cxn>
                  <a:cxn ang="0">
                    <a:pos x="19" y="149"/>
                  </a:cxn>
                  <a:cxn ang="0">
                    <a:pos x="17" y="137"/>
                  </a:cxn>
                  <a:cxn ang="0">
                    <a:pos x="17" y="109"/>
                  </a:cxn>
                  <a:cxn ang="0">
                    <a:pos x="16" y="98"/>
                  </a:cxn>
                  <a:cxn ang="0">
                    <a:pos x="13" y="89"/>
                  </a:cxn>
                  <a:cxn ang="0">
                    <a:pos x="11" y="68"/>
                  </a:cxn>
                  <a:cxn ang="0">
                    <a:pos x="15" y="58"/>
                  </a:cxn>
                  <a:cxn ang="0">
                    <a:pos x="15" y="52"/>
                  </a:cxn>
                  <a:cxn ang="0">
                    <a:pos x="15" y="41"/>
                  </a:cxn>
                  <a:cxn ang="0">
                    <a:pos x="19" y="32"/>
                  </a:cxn>
                  <a:cxn ang="0">
                    <a:pos x="13" y="26"/>
                  </a:cxn>
                  <a:cxn ang="0">
                    <a:pos x="9" y="16"/>
                  </a:cxn>
                  <a:cxn ang="0">
                    <a:pos x="7" y="7"/>
                  </a:cxn>
                  <a:cxn ang="0">
                    <a:pos x="4" y="0"/>
                  </a:cxn>
                  <a:cxn ang="0">
                    <a:pos x="1" y="4"/>
                  </a:cxn>
                  <a:cxn ang="0">
                    <a:pos x="1" y="12"/>
                  </a:cxn>
                  <a:cxn ang="0">
                    <a:pos x="3" y="27"/>
                  </a:cxn>
                  <a:cxn ang="0">
                    <a:pos x="3" y="77"/>
                  </a:cxn>
                </a:cxnLst>
                <a:rect l="0" t="0" r="r" b="b"/>
                <a:pathLst>
                  <a:path w="55" h="215">
                    <a:moveTo>
                      <a:pt x="3" y="77"/>
                    </a:moveTo>
                    <a:cubicBezTo>
                      <a:pt x="5" y="86"/>
                      <a:pt x="9" y="94"/>
                      <a:pt x="5" y="104"/>
                    </a:cubicBezTo>
                    <a:cubicBezTo>
                      <a:pt x="5" y="110"/>
                      <a:pt x="5" y="110"/>
                      <a:pt x="5" y="110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" y="118"/>
                      <a:pt x="3" y="118"/>
                      <a:pt x="3" y="118"/>
                    </a:cubicBezTo>
                    <a:cubicBezTo>
                      <a:pt x="5" y="122"/>
                      <a:pt x="5" y="122"/>
                      <a:pt x="5" y="122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3" y="143"/>
                      <a:pt x="13" y="143"/>
                      <a:pt x="13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16" y="147"/>
                      <a:pt x="16" y="147"/>
                      <a:pt x="16" y="147"/>
                    </a:cubicBezTo>
                    <a:cubicBezTo>
                      <a:pt x="17" y="149"/>
                      <a:pt x="17" y="149"/>
                      <a:pt x="17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16" y="171"/>
                      <a:pt x="16" y="171"/>
                      <a:pt x="16" y="171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13" y="169"/>
                      <a:pt x="13" y="169"/>
                      <a:pt x="13" y="169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3" y="173"/>
                      <a:pt x="13" y="173"/>
                      <a:pt x="13" y="173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20" y="177"/>
                      <a:pt x="20" y="177"/>
                      <a:pt x="20" y="177"/>
                    </a:cubicBezTo>
                    <a:cubicBezTo>
                      <a:pt x="19" y="178"/>
                      <a:pt x="19" y="178"/>
                      <a:pt x="19" y="178"/>
                    </a:cubicBezTo>
                    <a:cubicBezTo>
                      <a:pt x="20" y="179"/>
                      <a:pt x="20" y="179"/>
                      <a:pt x="20" y="179"/>
                    </a:cubicBezTo>
                    <a:cubicBezTo>
                      <a:pt x="18" y="180"/>
                      <a:pt x="18" y="180"/>
                      <a:pt x="18" y="180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4" y="181"/>
                      <a:pt x="24" y="181"/>
                      <a:pt x="24" y="181"/>
                    </a:cubicBezTo>
                    <a:cubicBezTo>
                      <a:pt x="24" y="182"/>
                      <a:pt x="24" y="182"/>
                      <a:pt x="24" y="182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9" y="181"/>
                      <a:pt x="19" y="181"/>
                      <a:pt x="19" y="181"/>
                    </a:cubicBezTo>
                    <a:cubicBezTo>
                      <a:pt x="21" y="185"/>
                      <a:pt x="24" y="189"/>
                      <a:pt x="24" y="194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9" y="200"/>
                      <a:pt x="29" y="200"/>
                      <a:pt x="29" y="200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9" y="201"/>
                      <a:pt x="29" y="201"/>
                      <a:pt x="29" y="201"/>
                    </a:cubicBezTo>
                    <a:cubicBezTo>
                      <a:pt x="33" y="203"/>
                      <a:pt x="33" y="203"/>
                      <a:pt x="33" y="203"/>
                    </a:cubicBezTo>
                    <a:cubicBezTo>
                      <a:pt x="33" y="205"/>
                      <a:pt x="33" y="205"/>
                      <a:pt x="33" y="205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35" y="209"/>
                      <a:pt x="35" y="209"/>
                      <a:pt x="35" y="209"/>
                    </a:cubicBezTo>
                    <a:cubicBezTo>
                      <a:pt x="37" y="210"/>
                      <a:pt x="37" y="210"/>
                      <a:pt x="37" y="210"/>
                    </a:cubicBezTo>
                    <a:cubicBezTo>
                      <a:pt x="38" y="211"/>
                      <a:pt x="38" y="211"/>
                      <a:pt x="38" y="211"/>
                    </a:cubicBezTo>
                    <a:cubicBezTo>
                      <a:pt x="37" y="211"/>
                      <a:pt x="37" y="211"/>
                      <a:pt x="37" y="211"/>
                    </a:cubicBezTo>
                    <a:cubicBezTo>
                      <a:pt x="40" y="212"/>
                      <a:pt x="40" y="212"/>
                      <a:pt x="40" y="212"/>
                    </a:cubicBezTo>
                    <a:cubicBezTo>
                      <a:pt x="46" y="215"/>
                      <a:pt x="46" y="215"/>
                      <a:pt x="46" y="215"/>
                    </a:cubicBezTo>
                    <a:cubicBezTo>
                      <a:pt x="46" y="208"/>
                      <a:pt x="46" y="208"/>
                      <a:pt x="46" y="208"/>
                    </a:cubicBezTo>
                    <a:cubicBezTo>
                      <a:pt x="51" y="205"/>
                      <a:pt x="51" y="205"/>
                      <a:pt x="51" y="205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36" y="201"/>
                      <a:pt x="36" y="201"/>
                      <a:pt x="36" y="201"/>
                    </a:cubicBezTo>
                    <a:cubicBezTo>
                      <a:pt x="34" y="197"/>
                      <a:pt x="34" y="197"/>
                      <a:pt x="34" y="197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27" y="189"/>
                      <a:pt x="27" y="189"/>
                      <a:pt x="27" y="189"/>
                    </a:cubicBezTo>
                    <a:cubicBezTo>
                      <a:pt x="29" y="186"/>
                      <a:pt x="29" y="186"/>
                      <a:pt x="29" y="186"/>
                    </a:cubicBezTo>
                    <a:cubicBezTo>
                      <a:pt x="29" y="178"/>
                      <a:pt x="29" y="178"/>
                      <a:pt x="29" y="178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7" y="166"/>
                      <a:pt x="27" y="166"/>
                      <a:pt x="27" y="166"/>
                    </a:cubicBezTo>
                    <a:cubicBezTo>
                      <a:pt x="27" y="163"/>
                      <a:pt x="27" y="163"/>
                      <a:pt x="27" y="163"/>
                    </a:cubicBezTo>
                    <a:cubicBezTo>
                      <a:pt x="24" y="162"/>
                      <a:pt x="24" y="162"/>
                      <a:pt x="24" y="162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19" y="149"/>
                      <a:pt x="19" y="149"/>
                      <a:pt x="19" y="149"/>
                    </a:cubicBezTo>
                    <a:cubicBezTo>
                      <a:pt x="19" y="144"/>
                      <a:pt x="19" y="144"/>
                      <a:pt x="19" y="144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6" y="127"/>
                      <a:pt x="19" y="123"/>
                      <a:pt x="13" y="114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5" y="31"/>
                      <a:pt x="15" y="31"/>
                      <a:pt x="15" y="3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4" y="48"/>
                      <a:pt x="3" y="61"/>
                      <a:pt x="3" y="7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29" name="Freeform 1659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0" name="Freeform 1660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1" name="Freeform 1661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2" name="Freeform 1662"/>
              <p:cNvSpPr>
                <a:spLocks/>
              </p:cNvSpPr>
              <p:nvPr/>
            </p:nvSpPr>
            <p:spPr bwMode="auto">
              <a:xfrm>
                <a:off x="2530506" y="5444321"/>
                <a:ext cx="79375" cy="73026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11" y="8"/>
                  </a:cxn>
                  <a:cxn ang="0">
                    <a:pos x="15" y="13"/>
                  </a:cxn>
                  <a:cxn ang="0">
                    <a:pos x="0" y="12"/>
                  </a:cxn>
                  <a:cxn ang="0">
                    <a:pos x="1" y="12"/>
                  </a:cxn>
                  <a:cxn ang="0">
                    <a:pos x="3" y="11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6" y="8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3" y="1"/>
                  </a:cxn>
                  <a:cxn ang="0">
                    <a:pos x="5" y="0"/>
                  </a:cxn>
                  <a:cxn ang="0">
                    <a:pos x="9" y="1"/>
                  </a:cxn>
                </a:cxnLst>
                <a:rect l="0" t="0" r="r" b="b"/>
                <a:pathLst>
                  <a:path w="15" h="14">
                    <a:moveTo>
                      <a:pt x="9" y="1"/>
                    </a:moveTo>
                    <a:cubicBezTo>
                      <a:pt x="11" y="8"/>
                      <a:pt x="11" y="8"/>
                      <a:pt x="11" y="8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0" y="12"/>
                      <a:pt x="5" y="14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3" name="Freeform 1663"/>
              <p:cNvSpPr>
                <a:spLocks/>
              </p:cNvSpPr>
              <p:nvPr/>
            </p:nvSpPr>
            <p:spPr bwMode="auto">
              <a:xfrm>
                <a:off x="2567018" y="5653875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4" name="Freeform 1664"/>
              <p:cNvSpPr>
                <a:spLocks/>
              </p:cNvSpPr>
              <p:nvPr/>
            </p:nvSpPr>
            <p:spPr bwMode="auto">
              <a:xfrm>
                <a:off x="2567018" y="5653875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5" name="Freeform 1665"/>
              <p:cNvSpPr>
                <a:spLocks/>
              </p:cNvSpPr>
              <p:nvPr/>
            </p:nvSpPr>
            <p:spPr bwMode="auto">
              <a:xfrm>
                <a:off x="2567018" y="5653875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6" name="Freeform 1666"/>
              <p:cNvSpPr>
                <a:spLocks/>
              </p:cNvSpPr>
              <p:nvPr/>
            </p:nvSpPr>
            <p:spPr bwMode="auto">
              <a:xfrm>
                <a:off x="2567018" y="5653875"/>
                <a:ext cx="63500" cy="5238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0" y="3"/>
                  </a:cxn>
                  <a:cxn ang="0">
                    <a:pos x="17" y="33"/>
                  </a:cxn>
                  <a:cxn ang="0">
                    <a:pos x="40" y="33"/>
                  </a:cxn>
                  <a:cxn ang="0">
                    <a:pos x="40" y="23"/>
                  </a:cxn>
                  <a:cxn ang="0">
                    <a:pos x="23" y="9"/>
                  </a:cxn>
                  <a:cxn ang="0">
                    <a:pos x="40" y="9"/>
                  </a:cxn>
                  <a:cxn ang="0">
                    <a:pos x="17" y="0"/>
                  </a:cxn>
                </a:cxnLst>
                <a:rect l="0" t="0" r="r" b="b"/>
                <a:pathLst>
                  <a:path w="40" h="33">
                    <a:moveTo>
                      <a:pt x="17" y="0"/>
                    </a:moveTo>
                    <a:lnTo>
                      <a:pt x="0" y="3"/>
                    </a:lnTo>
                    <a:lnTo>
                      <a:pt x="17" y="33"/>
                    </a:lnTo>
                    <a:lnTo>
                      <a:pt x="40" y="33"/>
                    </a:lnTo>
                    <a:lnTo>
                      <a:pt x="40" y="23"/>
                    </a:lnTo>
                    <a:lnTo>
                      <a:pt x="23" y="9"/>
                    </a:lnTo>
                    <a:lnTo>
                      <a:pt x="40" y="9"/>
                    </a:lnTo>
                    <a:lnTo>
                      <a:pt x="1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7" name="Freeform 1667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8" name="Freeform 1668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39" name="Freeform 1669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0" name="Freeform 1670"/>
              <p:cNvSpPr>
                <a:spLocks/>
              </p:cNvSpPr>
              <p:nvPr/>
            </p:nvSpPr>
            <p:spPr bwMode="auto">
              <a:xfrm>
                <a:off x="2211415" y="4301304"/>
                <a:ext cx="147640" cy="204792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66"/>
                  </a:cxn>
                  <a:cxn ang="0">
                    <a:pos x="0" y="69"/>
                  </a:cxn>
                  <a:cxn ang="0">
                    <a:pos x="14" y="79"/>
                  </a:cxn>
                  <a:cxn ang="0">
                    <a:pos x="17" y="76"/>
                  </a:cxn>
                  <a:cxn ang="0">
                    <a:pos x="17" y="89"/>
                  </a:cxn>
                  <a:cxn ang="0">
                    <a:pos x="7" y="92"/>
                  </a:cxn>
                  <a:cxn ang="0">
                    <a:pos x="14" y="102"/>
                  </a:cxn>
                  <a:cxn ang="0">
                    <a:pos x="7" y="115"/>
                  </a:cxn>
                  <a:cxn ang="0">
                    <a:pos x="14" y="112"/>
                  </a:cxn>
                  <a:cxn ang="0">
                    <a:pos x="30" y="129"/>
                  </a:cxn>
                  <a:cxn ang="0">
                    <a:pos x="40" y="112"/>
                  </a:cxn>
                  <a:cxn ang="0">
                    <a:pos x="46" y="92"/>
                  </a:cxn>
                  <a:cxn ang="0">
                    <a:pos x="60" y="82"/>
                  </a:cxn>
                  <a:cxn ang="0">
                    <a:pos x="79" y="66"/>
                  </a:cxn>
                  <a:cxn ang="0">
                    <a:pos x="93" y="46"/>
                  </a:cxn>
                  <a:cxn ang="0">
                    <a:pos x="93" y="46"/>
                  </a:cxn>
                  <a:cxn ang="0">
                    <a:pos x="86" y="33"/>
                  </a:cxn>
                  <a:cxn ang="0">
                    <a:pos x="93" y="33"/>
                  </a:cxn>
                  <a:cxn ang="0">
                    <a:pos x="73" y="16"/>
                  </a:cxn>
                  <a:cxn ang="0">
                    <a:pos x="60" y="16"/>
                  </a:cxn>
                  <a:cxn ang="0">
                    <a:pos x="46" y="10"/>
                  </a:cxn>
                  <a:cxn ang="0">
                    <a:pos x="33" y="0"/>
                  </a:cxn>
                  <a:cxn ang="0">
                    <a:pos x="27" y="3"/>
                  </a:cxn>
                  <a:cxn ang="0">
                    <a:pos x="14" y="16"/>
                  </a:cxn>
                  <a:cxn ang="0">
                    <a:pos x="7" y="33"/>
                  </a:cxn>
                  <a:cxn ang="0">
                    <a:pos x="7" y="36"/>
                  </a:cxn>
                  <a:cxn ang="0">
                    <a:pos x="0" y="49"/>
                  </a:cxn>
                </a:cxnLst>
                <a:rect l="0" t="0" r="r" b="b"/>
                <a:pathLst>
                  <a:path w="93" h="129">
                    <a:moveTo>
                      <a:pt x="0" y="49"/>
                    </a:moveTo>
                    <a:lnTo>
                      <a:pt x="0" y="66"/>
                    </a:lnTo>
                    <a:lnTo>
                      <a:pt x="0" y="69"/>
                    </a:lnTo>
                    <a:lnTo>
                      <a:pt x="14" y="79"/>
                    </a:lnTo>
                    <a:lnTo>
                      <a:pt x="17" y="76"/>
                    </a:lnTo>
                    <a:lnTo>
                      <a:pt x="17" y="89"/>
                    </a:lnTo>
                    <a:lnTo>
                      <a:pt x="7" y="92"/>
                    </a:lnTo>
                    <a:lnTo>
                      <a:pt x="14" y="102"/>
                    </a:lnTo>
                    <a:lnTo>
                      <a:pt x="7" y="115"/>
                    </a:lnTo>
                    <a:lnTo>
                      <a:pt x="14" y="112"/>
                    </a:lnTo>
                    <a:lnTo>
                      <a:pt x="30" y="129"/>
                    </a:lnTo>
                    <a:lnTo>
                      <a:pt x="40" y="112"/>
                    </a:lnTo>
                    <a:lnTo>
                      <a:pt x="46" y="92"/>
                    </a:lnTo>
                    <a:lnTo>
                      <a:pt x="60" y="82"/>
                    </a:lnTo>
                    <a:lnTo>
                      <a:pt x="79" y="66"/>
                    </a:lnTo>
                    <a:lnTo>
                      <a:pt x="93" y="46"/>
                    </a:lnTo>
                    <a:lnTo>
                      <a:pt x="93" y="46"/>
                    </a:lnTo>
                    <a:lnTo>
                      <a:pt x="86" y="33"/>
                    </a:lnTo>
                    <a:lnTo>
                      <a:pt x="93" y="33"/>
                    </a:lnTo>
                    <a:lnTo>
                      <a:pt x="73" y="16"/>
                    </a:lnTo>
                    <a:lnTo>
                      <a:pt x="60" y="16"/>
                    </a:lnTo>
                    <a:lnTo>
                      <a:pt x="46" y="10"/>
                    </a:lnTo>
                    <a:lnTo>
                      <a:pt x="33" y="0"/>
                    </a:lnTo>
                    <a:lnTo>
                      <a:pt x="27" y="3"/>
                    </a:lnTo>
                    <a:lnTo>
                      <a:pt x="14" y="16"/>
                    </a:lnTo>
                    <a:lnTo>
                      <a:pt x="7" y="33"/>
                    </a:lnTo>
                    <a:lnTo>
                      <a:pt x="7" y="36"/>
                    </a:lnTo>
                    <a:lnTo>
                      <a:pt x="0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1" name="Freeform 1671"/>
              <p:cNvSpPr>
                <a:spLocks/>
              </p:cNvSpPr>
              <p:nvPr/>
            </p:nvSpPr>
            <p:spPr bwMode="auto">
              <a:xfrm>
                <a:off x="2259040" y="4463230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2" name="Freeform 1672"/>
              <p:cNvSpPr>
                <a:spLocks/>
              </p:cNvSpPr>
              <p:nvPr/>
            </p:nvSpPr>
            <p:spPr bwMode="auto">
              <a:xfrm>
                <a:off x="2259040" y="4463230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3" name="Freeform 1673"/>
              <p:cNvSpPr>
                <a:spLocks/>
              </p:cNvSpPr>
              <p:nvPr/>
            </p:nvSpPr>
            <p:spPr bwMode="auto">
              <a:xfrm>
                <a:off x="2259040" y="4463230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4" name="Freeform 1674"/>
              <p:cNvSpPr>
                <a:spLocks/>
              </p:cNvSpPr>
              <p:nvPr/>
            </p:nvSpPr>
            <p:spPr bwMode="auto">
              <a:xfrm>
                <a:off x="2259040" y="4463230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5" name="Freeform 1675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6" name="Freeform 1676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7" name="Freeform 1677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8" name="Freeform 1678"/>
              <p:cNvSpPr>
                <a:spLocks/>
              </p:cNvSpPr>
              <p:nvPr/>
            </p:nvSpPr>
            <p:spPr bwMode="auto">
              <a:xfrm>
                <a:off x="2195539" y="4348929"/>
                <a:ext cx="357191" cy="576271"/>
              </a:xfrm>
              <a:custGeom>
                <a:avLst/>
                <a:gdLst/>
                <a:ahLst/>
                <a:cxnLst>
                  <a:cxn ang="0">
                    <a:pos x="65" y="87"/>
                  </a:cxn>
                  <a:cxn ang="0">
                    <a:pos x="68" y="97"/>
                  </a:cxn>
                  <a:cxn ang="0">
                    <a:pos x="65" y="104"/>
                  </a:cxn>
                  <a:cxn ang="0">
                    <a:pos x="62" y="109"/>
                  </a:cxn>
                  <a:cxn ang="0">
                    <a:pos x="58" y="107"/>
                  </a:cxn>
                  <a:cxn ang="0">
                    <a:pos x="51" y="101"/>
                  </a:cxn>
                  <a:cxn ang="0">
                    <a:pos x="42" y="96"/>
                  </a:cxn>
                  <a:cxn ang="0">
                    <a:pos x="33" y="89"/>
                  </a:cxn>
                  <a:cxn ang="0">
                    <a:pos x="28" y="81"/>
                  </a:cxn>
                  <a:cxn ang="0">
                    <a:pos x="22" y="68"/>
                  </a:cxn>
                  <a:cxn ang="0">
                    <a:pos x="9" y="42"/>
                  </a:cxn>
                  <a:cxn ang="0">
                    <a:pos x="2" y="36"/>
                  </a:cxn>
                  <a:cxn ang="0">
                    <a:pos x="0" y="27"/>
                  </a:cxn>
                  <a:cxn ang="0">
                    <a:pos x="5" y="21"/>
                  </a:cxn>
                  <a:cxn ang="0">
                    <a:pos x="5" y="27"/>
                  </a:cxn>
                  <a:cxn ang="0">
                    <a:pos x="11" y="30"/>
                  </a:cxn>
                  <a:cxn ang="0">
                    <a:pos x="16" y="21"/>
                  </a:cxn>
                  <a:cxn ang="0">
                    <a:pos x="26" y="12"/>
                  </a:cxn>
                  <a:cxn ang="0">
                    <a:pos x="30" y="6"/>
                  </a:cxn>
                  <a:cxn ang="0">
                    <a:pos x="30" y="1"/>
                  </a:cxn>
                  <a:cxn ang="0">
                    <a:pos x="34" y="3"/>
                  </a:cxn>
                  <a:cxn ang="0">
                    <a:pos x="41" y="12"/>
                  </a:cxn>
                  <a:cxn ang="0">
                    <a:pos x="51" y="13"/>
                  </a:cxn>
                  <a:cxn ang="0">
                    <a:pos x="55" y="23"/>
                  </a:cxn>
                  <a:cxn ang="0">
                    <a:pos x="57" y="24"/>
                  </a:cxn>
                  <a:cxn ang="0">
                    <a:pos x="48" y="28"/>
                  </a:cxn>
                  <a:cxn ang="0">
                    <a:pos x="42" y="35"/>
                  </a:cxn>
                  <a:cxn ang="0">
                    <a:pos x="38" y="45"/>
                  </a:cxn>
                  <a:cxn ang="0">
                    <a:pos x="44" y="53"/>
                  </a:cxn>
                  <a:cxn ang="0">
                    <a:pos x="45" y="57"/>
                  </a:cxn>
                  <a:cxn ang="0">
                    <a:pos x="52" y="60"/>
                  </a:cxn>
                  <a:cxn ang="0">
                    <a:pos x="56" y="61"/>
                  </a:cxn>
                  <a:cxn ang="0">
                    <a:pos x="62" y="65"/>
                  </a:cxn>
                  <a:cxn ang="0">
                    <a:pos x="68" y="74"/>
                  </a:cxn>
                  <a:cxn ang="0">
                    <a:pos x="67" y="83"/>
                  </a:cxn>
                </a:cxnLst>
                <a:rect l="0" t="0" r="r" b="b"/>
                <a:pathLst>
                  <a:path w="68" h="110">
                    <a:moveTo>
                      <a:pt x="67" y="83"/>
                    </a:move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7"/>
                      <a:pt x="65" y="107"/>
                      <a:pt x="65" y="107"/>
                    </a:cubicBezTo>
                    <a:cubicBezTo>
                      <a:pt x="62" y="109"/>
                      <a:pt x="62" y="109"/>
                      <a:pt x="62" y="109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58" y="107"/>
                      <a:pt x="58" y="107"/>
                      <a:pt x="58" y="107"/>
                    </a:cubicBezTo>
                    <a:cubicBezTo>
                      <a:pt x="56" y="103"/>
                      <a:pt x="56" y="103"/>
                      <a:pt x="56" y="103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7" y="99"/>
                      <a:pt x="47" y="99"/>
                      <a:pt x="47" y="99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81"/>
                      <a:pt x="28" y="81"/>
                      <a:pt x="28" y="81"/>
                    </a:cubicBezTo>
                    <a:cubicBezTo>
                      <a:pt x="25" y="74"/>
                      <a:pt x="25" y="74"/>
                      <a:pt x="25" y="74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18" y="62"/>
                      <a:pt x="15" y="52"/>
                      <a:pt x="11" y="4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36"/>
                      <a:pt x="2" y="36"/>
                      <a:pt x="2" y="36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2" y="27"/>
                      <a:pt x="52" y="27"/>
                      <a:pt x="52" y="27"/>
                    </a:cubicBezTo>
                    <a:cubicBezTo>
                      <a:pt x="48" y="28"/>
                      <a:pt x="48" y="28"/>
                      <a:pt x="48" y="28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8" y="74"/>
                      <a:pt x="68" y="74"/>
                      <a:pt x="68" y="74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7" y="83"/>
                      <a:pt x="67" y="83"/>
                      <a:pt x="67" y="8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49" name="Freeform 1679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0" name="Freeform 1680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1" name="Freeform 1681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2" name="Freeform 1682"/>
              <p:cNvSpPr>
                <a:spLocks/>
              </p:cNvSpPr>
              <p:nvPr/>
            </p:nvSpPr>
            <p:spPr bwMode="auto">
              <a:xfrm>
                <a:off x="7516902" y="3142411"/>
                <a:ext cx="100013" cy="131764"/>
              </a:xfrm>
              <a:custGeom>
                <a:avLst/>
                <a:gdLst/>
                <a:ahLst/>
                <a:cxnLst>
                  <a:cxn ang="0">
                    <a:pos x="36" y="83"/>
                  </a:cxn>
                  <a:cxn ang="0">
                    <a:pos x="36" y="76"/>
                  </a:cxn>
                  <a:cxn ang="0">
                    <a:pos x="30" y="76"/>
                  </a:cxn>
                  <a:cxn ang="0">
                    <a:pos x="23" y="83"/>
                  </a:cxn>
                  <a:cxn ang="0">
                    <a:pos x="23" y="76"/>
                  </a:cxn>
                  <a:cxn ang="0">
                    <a:pos x="23" y="73"/>
                  </a:cxn>
                  <a:cxn ang="0">
                    <a:pos x="16" y="70"/>
                  </a:cxn>
                  <a:cxn ang="0">
                    <a:pos x="16" y="60"/>
                  </a:cxn>
                  <a:cxn ang="0">
                    <a:pos x="16" y="53"/>
                  </a:cxn>
                  <a:cxn ang="0">
                    <a:pos x="3" y="40"/>
                  </a:cxn>
                  <a:cxn ang="0">
                    <a:pos x="0" y="33"/>
                  </a:cxn>
                  <a:cxn ang="0">
                    <a:pos x="3" y="33"/>
                  </a:cxn>
                  <a:cxn ang="0">
                    <a:pos x="10" y="40"/>
                  </a:cxn>
                  <a:cxn ang="0">
                    <a:pos x="10" y="33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7"/>
                  </a:cxn>
                  <a:cxn ang="0">
                    <a:pos x="16" y="0"/>
                  </a:cxn>
                  <a:cxn ang="0">
                    <a:pos x="36" y="20"/>
                  </a:cxn>
                  <a:cxn ang="0">
                    <a:pos x="53" y="40"/>
                  </a:cxn>
                  <a:cxn ang="0">
                    <a:pos x="63" y="63"/>
                  </a:cxn>
                  <a:cxn ang="0">
                    <a:pos x="53" y="70"/>
                  </a:cxn>
                  <a:cxn ang="0">
                    <a:pos x="46" y="73"/>
                  </a:cxn>
                  <a:cxn ang="0">
                    <a:pos x="43" y="70"/>
                  </a:cxn>
                  <a:cxn ang="0">
                    <a:pos x="43" y="73"/>
                  </a:cxn>
                  <a:cxn ang="0">
                    <a:pos x="36" y="73"/>
                  </a:cxn>
                  <a:cxn ang="0">
                    <a:pos x="36" y="76"/>
                  </a:cxn>
                  <a:cxn ang="0">
                    <a:pos x="36" y="83"/>
                  </a:cxn>
                </a:cxnLst>
                <a:rect l="0" t="0" r="r" b="b"/>
                <a:pathLst>
                  <a:path w="63" h="83">
                    <a:moveTo>
                      <a:pt x="36" y="83"/>
                    </a:moveTo>
                    <a:lnTo>
                      <a:pt x="36" y="76"/>
                    </a:lnTo>
                    <a:lnTo>
                      <a:pt x="30" y="76"/>
                    </a:lnTo>
                    <a:lnTo>
                      <a:pt x="23" y="83"/>
                    </a:lnTo>
                    <a:lnTo>
                      <a:pt x="23" y="76"/>
                    </a:lnTo>
                    <a:lnTo>
                      <a:pt x="23" y="73"/>
                    </a:lnTo>
                    <a:lnTo>
                      <a:pt x="16" y="70"/>
                    </a:lnTo>
                    <a:lnTo>
                      <a:pt x="16" y="60"/>
                    </a:lnTo>
                    <a:lnTo>
                      <a:pt x="16" y="53"/>
                    </a:lnTo>
                    <a:lnTo>
                      <a:pt x="3" y="40"/>
                    </a:lnTo>
                    <a:lnTo>
                      <a:pt x="0" y="33"/>
                    </a:lnTo>
                    <a:lnTo>
                      <a:pt x="3" y="33"/>
                    </a:lnTo>
                    <a:lnTo>
                      <a:pt x="10" y="40"/>
                    </a:lnTo>
                    <a:lnTo>
                      <a:pt x="10" y="33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7"/>
                    </a:lnTo>
                    <a:lnTo>
                      <a:pt x="16" y="0"/>
                    </a:lnTo>
                    <a:lnTo>
                      <a:pt x="36" y="20"/>
                    </a:lnTo>
                    <a:lnTo>
                      <a:pt x="53" y="40"/>
                    </a:lnTo>
                    <a:lnTo>
                      <a:pt x="63" y="63"/>
                    </a:lnTo>
                    <a:lnTo>
                      <a:pt x="53" y="70"/>
                    </a:lnTo>
                    <a:lnTo>
                      <a:pt x="46" y="73"/>
                    </a:lnTo>
                    <a:lnTo>
                      <a:pt x="43" y="70"/>
                    </a:lnTo>
                    <a:lnTo>
                      <a:pt x="43" y="73"/>
                    </a:lnTo>
                    <a:lnTo>
                      <a:pt x="36" y="73"/>
                    </a:lnTo>
                    <a:lnTo>
                      <a:pt x="36" y="76"/>
                    </a:lnTo>
                    <a:lnTo>
                      <a:pt x="36" y="8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3" name="Freeform 1683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7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4" name="Freeform 1684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7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5" name="Freeform 1685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7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6" name="Freeform 1686"/>
              <p:cNvSpPr>
                <a:spLocks/>
              </p:cNvSpPr>
              <p:nvPr/>
            </p:nvSpPr>
            <p:spPr bwMode="auto">
              <a:xfrm>
                <a:off x="7667717" y="3059860"/>
                <a:ext cx="230190" cy="246067"/>
              </a:xfrm>
              <a:custGeom>
                <a:avLst/>
                <a:gdLst/>
                <a:ahLst/>
                <a:cxnLst>
                  <a:cxn ang="0">
                    <a:pos x="136" y="115"/>
                  </a:cxn>
                  <a:cxn ang="0">
                    <a:pos x="129" y="112"/>
                  </a:cxn>
                  <a:cxn ang="0">
                    <a:pos x="129" y="122"/>
                  </a:cxn>
                  <a:cxn ang="0">
                    <a:pos x="122" y="125"/>
                  </a:cxn>
                  <a:cxn ang="0">
                    <a:pos x="122" y="132"/>
                  </a:cxn>
                  <a:cxn ang="0">
                    <a:pos x="119" y="122"/>
                  </a:cxn>
                  <a:cxn ang="0">
                    <a:pos x="113" y="132"/>
                  </a:cxn>
                  <a:cxn ang="0">
                    <a:pos x="96" y="132"/>
                  </a:cxn>
                  <a:cxn ang="0">
                    <a:pos x="93" y="125"/>
                  </a:cxn>
                  <a:cxn ang="0">
                    <a:pos x="89" y="125"/>
                  </a:cxn>
                  <a:cxn ang="0">
                    <a:pos x="89" y="132"/>
                  </a:cxn>
                  <a:cxn ang="0">
                    <a:pos x="93" y="138"/>
                  </a:cxn>
                  <a:cxn ang="0">
                    <a:pos x="86" y="145"/>
                  </a:cxn>
                  <a:cxn ang="0">
                    <a:pos x="86" y="155"/>
                  </a:cxn>
                  <a:cxn ang="0">
                    <a:pos x="66" y="141"/>
                  </a:cxn>
                  <a:cxn ang="0">
                    <a:pos x="66" y="132"/>
                  </a:cxn>
                  <a:cxn ang="0">
                    <a:pos x="50" y="132"/>
                  </a:cxn>
                  <a:cxn ang="0">
                    <a:pos x="24" y="138"/>
                  </a:cxn>
                  <a:cxn ang="0">
                    <a:pos x="20" y="145"/>
                  </a:cxn>
                  <a:cxn ang="0">
                    <a:pos x="0" y="141"/>
                  </a:cxn>
                  <a:cxn ang="0">
                    <a:pos x="4" y="135"/>
                  </a:cxn>
                  <a:cxn ang="0">
                    <a:pos x="14" y="125"/>
                  </a:cxn>
                  <a:cxn ang="0">
                    <a:pos x="24" y="112"/>
                  </a:cxn>
                  <a:cxn ang="0">
                    <a:pos x="60" y="112"/>
                  </a:cxn>
                  <a:cxn ang="0">
                    <a:pos x="73" y="108"/>
                  </a:cxn>
                  <a:cxn ang="0">
                    <a:pos x="66" y="99"/>
                  </a:cxn>
                  <a:cxn ang="0">
                    <a:pos x="66" y="82"/>
                  </a:cxn>
                  <a:cxn ang="0">
                    <a:pos x="73" y="79"/>
                  </a:cxn>
                  <a:cxn ang="0">
                    <a:pos x="73" y="82"/>
                  </a:cxn>
                  <a:cxn ang="0">
                    <a:pos x="76" y="92"/>
                  </a:cxn>
                  <a:cxn ang="0">
                    <a:pos x="86" y="79"/>
                  </a:cxn>
                  <a:cxn ang="0">
                    <a:pos x="93" y="72"/>
                  </a:cxn>
                  <a:cxn ang="0">
                    <a:pos x="96" y="59"/>
                  </a:cxn>
                  <a:cxn ang="0">
                    <a:pos x="96" y="42"/>
                  </a:cxn>
                  <a:cxn ang="0">
                    <a:pos x="89" y="29"/>
                  </a:cxn>
                  <a:cxn ang="0">
                    <a:pos x="83" y="9"/>
                  </a:cxn>
                  <a:cxn ang="0">
                    <a:pos x="86" y="3"/>
                  </a:cxn>
                  <a:cxn ang="0">
                    <a:pos x="93" y="6"/>
                  </a:cxn>
                  <a:cxn ang="0">
                    <a:pos x="96" y="6"/>
                  </a:cxn>
                  <a:cxn ang="0">
                    <a:pos x="93" y="3"/>
                  </a:cxn>
                  <a:cxn ang="0">
                    <a:pos x="89" y="3"/>
                  </a:cxn>
                  <a:cxn ang="0">
                    <a:pos x="89" y="0"/>
                  </a:cxn>
                  <a:cxn ang="0">
                    <a:pos x="96" y="0"/>
                  </a:cxn>
                  <a:cxn ang="0">
                    <a:pos x="109" y="19"/>
                  </a:cxn>
                  <a:cxn ang="0">
                    <a:pos x="129" y="36"/>
                  </a:cxn>
                  <a:cxn ang="0">
                    <a:pos x="129" y="59"/>
                  </a:cxn>
                  <a:cxn ang="0">
                    <a:pos x="122" y="66"/>
                  </a:cxn>
                  <a:cxn ang="0">
                    <a:pos x="136" y="92"/>
                  </a:cxn>
                  <a:cxn ang="0">
                    <a:pos x="145" y="108"/>
                  </a:cxn>
                  <a:cxn ang="0">
                    <a:pos x="139" y="125"/>
                  </a:cxn>
                  <a:cxn ang="0">
                    <a:pos x="136" y="115"/>
                  </a:cxn>
                </a:cxnLst>
                <a:rect l="0" t="0" r="r" b="b"/>
                <a:pathLst>
                  <a:path w="145" h="155">
                    <a:moveTo>
                      <a:pt x="136" y="115"/>
                    </a:moveTo>
                    <a:lnTo>
                      <a:pt x="129" y="112"/>
                    </a:lnTo>
                    <a:lnTo>
                      <a:pt x="129" y="122"/>
                    </a:lnTo>
                    <a:lnTo>
                      <a:pt x="122" y="125"/>
                    </a:lnTo>
                    <a:lnTo>
                      <a:pt x="122" y="132"/>
                    </a:lnTo>
                    <a:lnTo>
                      <a:pt x="119" y="122"/>
                    </a:lnTo>
                    <a:lnTo>
                      <a:pt x="113" y="132"/>
                    </a:lnTo>
                    <a:lnTo>
                      <a:pt x="96" y="132"/>
                    </a:lnTo>
                    <a:lnTo>
                      <a:pt x="93" y="125"/>
                    </a:lnTo>
                    <a:lnTo>
                      <a:pt x="89" y="125"/>
                    </a:lnTo>
                    <a:lnTo>
                      <a:pt x="89" y="132"/>
                    </a:lnTo>
                    <a:lnTo>
                      <a:pt x="93" y="138"/>
                    </a:lnTo>
                    <a:lnTo>
                      <a:pt x="86" y="145"/>
                    </a:lnTo>
                    <a:lnTo>
                      <a:pt x="86" y="155"/>
                    </a:lnTo>
                    <a:lnTo>
                      <a:pt x="66" y="141"/>
                    </a:lnTo>
                    <a:lnTo>
                      <a:pt x="66" y="132"/>
                    </a:lnTo>
                    <a:lnTo>
                      <a:pt x="50" y="132"/>
                    </a:lnTo>
                    <a:lnTo>
                      <a:pt x="24" y="138"/>
                    </a:lnTo>
                    <a:lnTo>
                      <a:pt x="20" y="145"/>
                    </a:lnTo>
                    <a:lnTo>
                      <a:pt x="0" y="141"/>
                    </a:lnTo>
                    <a:lnTo>
                      <a:pt x="4" y="135"/>
                    </a:lnTo>
                    <a:lnTo>
                      <a:pt x="14" y="125"/>
                    </a:lnTo>
                    <a:lnTo>
                      <a:pt x="24" y="112"/>
                    </a:lnTo>
                    <a:lnTo>
                      <a:pt x="60" y="112"/>
                    </a:lnTo>
                    <a:lnTo>
                      <a:pt x="73" y="108"/>
                    </a:lnTo>
                    <a:lnTo>
                      <a:pt x="66" y="99"/>
                    </a:lnTo>
                    <a:lnTo>
                      <a:pt x="66" y="82"/>
                    </a:lnTo>
                    <a:lnTo>
                      <a:pt x="73" y="79"/>
                    </a:lnTo>
                    <a:lnTo>
                      <a:pt x="73" y="82"/>
                    </a:lnTo>
                    <a:lnTo>
                      <a:pt x="76" y="92"/>
                    </a:lnTo>
                    <a:lnTo>
                      <a:pt x="86" y="79"/>
                    </a:lnTo>
                    <a:lnTo>
                      <a:pt x="93" y="72"/>
                    </a:lnTo>
                    <a:lnTo>
                      <a:pt x="96" y="59"/>
                    </a:lnTo>
                    <a:lnTo>
                      <a:pt x="96" y="42"/>
                    </a:lnTo>
                    <a:lnTo>
                      <a:pt x="89" y="29"/>
                    </a:lnTo>
                    <a:lnTo>
                      <a:pt x="83" y="9"/>
                    </a:lnTo>
                    <a:lnTo>
                      <a:pt x="86" y="3"/>
                    </a:lnTo>
                    <a:lnTo>
                      <a:pt x="93" y="6"/>
                    </a:lnTo>
                    <a:lnTo>
                      <a:pt x="96" y="6"/>
                    </a:lnTo>
                    <a:lnTo>
                      <a:pt x="93" y="3"/>
                    </a:lnTo>
                    <a:lnTo>
                      <a:pt x="89" y="3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9" y="19"/>
                    </a:lnTo>
                    <a:lnTo>
                      <a:pt x="129" y="36"/>
                    </a:lnTo>
                    <a:lnTo>
                      <a:pt x="129" y="59"/>
                    </a:lnTo>
                    <a:lnTo>
                      <a:pt x="122" y="66"/>
                    </a:lnTo>
                    <a:lnTo>
                      <a:pt x="136" y="92"/>
                    </a:lnTo>
                    <a:lnTo>
                      <a:pt x="145" y="108"/>
                    </a:lnTo>
                    <a:lnTo>
                      <a:pt x="139" y="125"/>
                    </a:lnTo>
                    <a:lnTo>
                      <a:pt x="136" y="11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7" name="Freeform 1687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8" name="Freeform 1688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59" name="Freeform 1689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0" name="Freeform 1690"/>
              <p:cNvSpPr>
                <a:spLocks/>
              </p:cNvSpPr>
              <p:nvPr/>
            </p:nvSpPr>
            <p:spPr bwMode="auto">
              <a:xfrm>
                <a:off x="7751855" y="2928096"/>
                <a:ext cx="125415" cy="125414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43" y="23"/>
                  </a:cxn>
                  <a:cxn ang="0">
                    <a:pos x="23" y="13"/>
                  </a:cxn>
                  <a:cxn ang="0">
                    <a:pos x="0" y="0"/>
                  </a:cxn>
                  <a:cxn ang="0">
                    <a:pos x="3" y="10"/>
                  </a:cxn>
                  <a:cxn ang="0">
                    <a:pos x="10" y="23"/>
                  </a:cxn>
                  <a:cxn ang="0">
                    <a:pos x="17" y="43"/>
                  </a:cxn>
                  <a:cxn ang="0">
                    <a:pos x="7" y="43"/>
                  </a:cxn>
                  <a:cxn ang="0">
                    <a:pos x="3" y="46"/>
                  </a:cxn>
                  <a:cxn ang="0">
                    <a:pos x="7" y="56"/>
                  </a:cxn>
                  <a:cxn ang="0">
                    <a:pos x="7" y="66"/>
                  </a:cxn>
                  <a:cxn ang="0">
                    <a:pos x="20" y="79"/>
                  </a:cxn>
                  <a:cxn ang="0">
                    <a:pos x="23" y="79"/>
                  </a:cxn>
                  <a:cxn ang="0">
                    <a:pos x="30" y="76"/>
                  </a:cxn>
                  <a:cxn ang="0">
                    <a:pos x="13" y="63"/>
                  </a:cxn>
                  <a:cxn ang="0">
                    <a:pos x="20" y="59"/>
                  </a:cxn>
                  <a:cxn ang="0">
                    <a:pos x="30" y="59"/>
                  </a:cxn>
                  <a:cxn ang="0">
                    <a:pos x="56" y="69"/>
                  </a:cxn>
                  <a:cxn ang="0">
                    <a:pos x="56" y="63"/>
                  </a:cxn>
                  <a:cxn ang="0">
                    <a:pos x="63" y="50"/>
                  </a:cxn>
                  <a:cxn ang="0">
                    <a:pos x="79" y="43"/>
                  </a:cxn>
                  <a:cxn ang="0">
                    <a:pos x="73" y="36"/>
                  </a:cxn>
                  <a:cxn ang="0">
                    <a:pos x="63" y="23"/>
                  </a:cxn>
                  <a:cxn ang="0">
                    <a:pos x="60" y="30"/>
                  </a:cxn>
                </a:cxnLst>
                <a:rect l="0" t="0" r="r" b="b"/>
                <a:pathLst>
                  <a:path w="79" h="79">
                    <a:moveTo>
                      <a:pt x="60" y="30"/>
                    </a:moveTo>
                    <a:lnTo>
                      <a:pt x="43" y="23"/>
                    </a:lnTo>
                    <a:lnTo>
                      <a:pt x="23" y="13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10" y="23"/>
                    </a:lnTo>
                    <a:lnTo>
                      <a:pt x="17" y="43"/>
                    </a:lnTo>
                    <a:lnTo>
                      <a:pt x="7" y="43"/>
                    </a:lnTo>
                    <a:lnTo>
                      <a:pt x="3" y="46"/>
                    </a:lnTo>
                    <a:lnTo>
                      <a:pt x="7" y="56"/>
                    </a:lnTo>
                    <a:lnTo>
                      <a:pt x="7" y="66"/>
                    </a:lnTo>
                    <a:lnTo>
                      <a:pt x="20" y="79"/>
                    </a:lnTo>
                    <a:lnTo>
                      <a:pt x="23" y="79"/>
                    </a:lnTo>
                    <a:lnTo>
                      <a:pt x="30" y="76"/>
                    </a:lnTo>
                    <a:lnTo>
                      <a:pt x="13" y="63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56" y="69"/>
                    </a:lnTo>
                    <a:lnTo>
                      <a:pt x="56" y="63"/>
                    </a:lnTo>
                    <a:lnTo>
                      <a:pt x="63" y="50"/>
                    </a:lnTo>
                    <a:lnTo>
                      <a:pt x="79" y="43"/>
                    </a:lnTo>
                    <a:lnTo>
                      <a:pt x="73" y="36"/>
                    </a:lnTo>
                    <a:lnTo>
                      <a:pt x="63" y="23"/>
                    </a:lnTo>
                    <a:lnTo>
                      <a:pt x="6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1" name="Freeform 1691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2" name="Freeform 1692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3" name="Freeform 1693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4" name="Freeform 1694"/>
              <p:cNvSpPr>
                <a:spLocks/>
              </p:cNvSpPr>
              <p:nvPr/>
            </p:nvSpPr>
            <p:spPr bwMode="auto">
              <a:xfrm>
                <a:off x="7647079" y="3290051"/>
                <a:ext cx="68263" cy="88901"/>
              </a:xfrm>
              <a:custGeom>
                <a:avLst/>
                <a:gdLst/>
                <a:ahLst/>
                <a:cxnLst>
                  <a:cxn ang="0">
                    <a:pos x="43" y="16"/>
                  </a:cxn>
                  <a:cxn ang="0">
                    <a:pos x="43" y="46"/>
                  </a:cxn>
                  <a:cxn ang="0">
                    <a:pos x="33" y="56"/>
                  </a:cxn>
                  <a:cxn ang="0">
                    <a:pos x="27" y="43"/>
                  </a:cxn>
                  <a:cxn ang="0">
                    <a:pos x="33" y="49"/>
                  </a:cxn>
                  <a:cxn ang="0">
                    <a:pos x="27" y="46"/>
                  </a:cxn>
                  <a:cxn ang="0">
                    <a:pos x="20" y="33"/>
                  </a:cxn>
                  <a:cxn ang="0">
                    <a:pos x="20" y="26"/>
                  </a:cxn>
                  <a:cxn ang="0">
                    <a:pos x="10" y="16"/>
                  </a:cxn>
                  <a:cxn ang="0">
                    <a:pos x="17" y="26"/>
                  </a:cxn>
                  <a:cxn ang="0">
                    <a:pos x="10" y="26"/>
                  </a:cxn>
                  <a:cxn ang="0">
                    <a:pos x="7" y="1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17" y="0"/>
                  </a:cxn>
                  <a:cxn ang="0">
                    <a:pos x="27" y="6"/>
                  </a:cxn>
                  <a:cxn ang="0">
                    <a:pos x="33" y="10"/>
                  </a:cxn>
                  <a:cxn ang="0">
                    <a:pos x="43" y="16"/>
                  </a:cxn>
                </a:cxnLst>
                <a:rect l="0" t="0" r="r" b="b"/>
                <a:pathLst>
                  <a:path w="43" h="56">
                    <a:moveTo>
                      <a:pt x="43" y="16"/>
                    </a:moveTo>
                    <a:lnTo>
                      <a:pt x="43" y="46"/>
                    </a:lnTo>
                    <a:lnTo>
                      <a:pt x="33" y="56"/>
                    </a:lnTo>
                    <a:lnTo>
                      <a:pt x="27" y="43"/>
                    </a:lnTo>
                    <a:lnTo>
                      <a:pt x="33" y="49"/>
                    </a:lnTo>
                    <a:lnTo>
                      <a:pt x="27" y="46"/>
                    </a:lnTo>
                    <a:lnTo>
                      <a:pt x="20" y="33"/>
                    </a:lnTo>
                    <a:lnTo>
                      <a:pt x="20" y="26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0" y="2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6"/>
                    </a:lnTo>
                    <a:lnTo>
                      <a:pt x="33" y="10"/>
                    </a:lnTo>
                    <a:lnTo>
                      <a:pt x="4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5" name="Freeform 1695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6" name="Freeform 1696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7" name="Freeform 1697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8" name="Freeform 1698"/>
              <p:cNvSpPr>
                <a:spLocks/>
              </p:cNvSpPr>
              <p:nvPr/>
            </p:nvSpPr>
            <p:spPr bwMode="auto">
              <a:xfrm>
                <a:off x="7710579" y="3278938"/>
                <a:ext cx="61913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20" y="17"/>
                  </a:cxn>
                  <a:cxn ang="0">
                    <a:pos x="16" y="33"/>
                  </a:cxn>
                  <a:cxn ang="0">
                    <a:pos x="10" y="23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3" y="0"/>
                  </a:cxn>
                  <a:cxn ang="0">
                    <a:pos x="39" y="7"/>
                  </a:cxn>
                  <a:cxn ang="0">
                    <a:pos x="33" y="17"/>
                  </a:cxn>
                </a:cxnLst>
                <a:rect l="0" t="0" r="r" b="b"/>
                <a:pathLst>
                  <a:path w="39" h="33">
                    <a:moveTo>
                      <a:pt x="33" y="17"/>
                    </a:moveTo>
                    <a:lnTo>
                      <a:pt x="20" y="17"/>
                    </a:lnTo>
                    <a:lnTo>
                      <a:pt x="16" y="33"/>
                    </a:lnTo>
                    <a:lnTo>
                      <a:pt x="10" y="23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9" y="7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69" name="Freeform 1699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0" name="Freeform 1700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1" name="Freeform 1701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2" name="Freeform 1702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3" name="Freeform 1703"/>
              <p:cNvSpPr>
                <a:spLocks/>
              </p:cNvSpPr>
              <p:nvPr/>
            </p:nvSpPr>
            <p:spPr bwMode="auto">
              <a:xfrm>
                <a:off x="7667717" y="3331326"/>
                <a:ext cx="6350" cy="158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4" name="Line 1704"/>
              <p:cNvSpPr>
                <a:spLocks noChangeShapeType="1"/>
              </p:cNvSpPr>
              <p:nvPr/>
            </p:nvSpPr>
            <p:spPr bwMode="auto">
              <a:xfrm flipH="1">
                <a:off x="7667717" y="3331326"/>
                <a:ext cx="6350" cy="1588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5" name="Freeform 1705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6" name="Freeform 1706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7" name="Freeform 1707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8" name="Freeform 1708"/>
              <p:cNvSpPr>
                <a:spLocks/>
              </p:cNvSpPr>
              <p:nvPr/>
            </p:nvSpPr>
            <p:spPr bwMode="auto">
              <a:xfrm>
                <a:off x="7423239" y="3007472"/>
                <a:ext cx="119063" cy="157164"/>
              </a:xfrm>
              <a:custGeom>
                <a:avLst/>
                <a:gdLst/>
                <a:ahLst/>
                <a:cxnLst>
                  <a:cxn ang="0">
                    <a:pos x="19" y="6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6"/>
                  </a:cxn>
                  <a:cxn ang="0">
                    <a:pos x="19" y="29"/>
                  </a:cxn>
                  <a:cxn ang="0">
                    <a:pos x="26" y="23"/>
                  </a:cxn>
                  <a:cxn ang="0">
                    <a:pos x="42" y="29"/>
                  </a:cxn>
                  <a:cxn ang="0">
                    <a:pos x="36" y="19"/>
                  </a:cxn>
                  <a:cxn ang="0">
                    <a:pos x="42" y="19"/>
                  </a:cxn>
                  <a:cxn ang="0">
                    <a:pos x="56" y="9"/>
                  </a:cxn>
                  <a:cxn ang="0">
                    <a:pos x="56" y="0"/>
                  </a:cxn>
                  <a:cxn ang="0">
                    <a:pos x="72" y="9"/>
                  </a:cxn>
                  <a:cxn ang="0">
                    <a:pos x="72" y="13"/>
                  </a:cxn>
                  <a:cxn ang="0">
                    <a:pos x="65" y="23"/>
                  </a:cxn>
                  <a:cxn ang="0">
                    <a:pos x="72" y="42"/>
                  </a:cxn>
                  <a:cxn ang="0">
                    <a:pos x="65" y="52"/>
                  </a:cxn>
                  <a:cxn ang="0">
                    <a:pos x="56" y="62"/>
                  </a:cxn>
                  <a:cxn ang="0">
                    <a:pos x="59" y="75"/>
                  </a:cxn>
                  <a:cxn ang="0">
                    <a:pos x="75" y="85"/>
                  </a:cxn>
                  <a:cxn ang="0">
                    <a:pos x="69" y="89"/>
                  </a:cxn>
                  <a:cxn ang="0">
                    <a:pos x="59" y="95"/>
                  </a:cxn>
                  <a:cxn ang="0">
                    <a:pos x="59" y="99"/>
                  </a:cxn>
                  <a:cxn ang="0">
                    <a:pos x="39" y="95"/>
                  </a:cxn>
                  <a:cxn ang="0">
                    <a:pos x="36" y="99"/>
                  </a:cxn>
                  <a:cxn ang="0">
                    <a:pos x="29" y="95"/>
                  </a:cxn>
                  <a:cxn ang="0">
                    <a:pos x="19" y="92"/>
                  </a:cxn>
                  <a:cxn ang="0">
                    <a:pos x="26" y="79"/>
                  </a:cxn>
                  <a:cxn ang="0">
                    <a:pos x="29" y="79"/>
                  </a:cxn>
                  <a:cxn ang="0">
                    <a:pos x="19" y="75"/>
                  </a:cxn>
                  <a:cxn ang="0">
                    <a:pos x="19" y="66"/>
                  </a:cxn>
                </a:cxnLst>
                <a:rect l="0" t="0" r="r" b="b"/>
                <a:pathLst>
                  <a:path w="75" h="99">
                    <a:moveTo>
                      <a:pt x="19" y="66"/>
                    </a:moveTo>
                    <a:lnTo>
                      <a:pt x="6" y="62"/>
                    </a:lnTo>
                    <a:lnTo>
                      <a:pt x="0" y="56"/>
                    </a:lnTo>
                    <a:lnTo>
                      <a:pt x="6" y="46"/>
                    </a:lnTo>
                    <a:lnTo>
                      <a:pt x="19" y="29"/>
                    </a:lnTo>
                    <a:lnTo>
                      <a:pt x="26" y="23"/>
                    </a:lnTo>
                    <a:lnTo>
                      <a:pt x="42" y="29"/>
                    </a:lnTo>
                    <a:lnTo>
                      <a:pt x="36" y="19"/>
                    </a:lnTo>
                    <a:lnTo>
                      <a:pt x="42" y="19"/>
                    </a:lnTo>
                    <a:lnTo>
                      <a:pt x="56" y="9"/>
                    </a:lnTo>
                    <a:lnTo>
                      <a:pt x="56" y="0"/>
                    </a:lnTo>
                    <a:lnTo>
                      <a:pt x="72" y="9"/>
                    </a:lnTo>
                    <a:lnTo>
                      <a:pt x="72" y="13"/>
                    </a:lnTo>
                    <a:lnTo>
                      <a:pt x="65" y="23"/>
                    </a:lnTo>
                    <a:lnTo>
                      <a:pt x="72" y="42"/>
                    </a:lnTo>
                    <a:lnTo>
                      <a:pt x="65" y="52"/>
                    </a:lnTo>
                    <a:lnTo>
                      <a:pt x="56" y="62"/>
                    </a:lnTo>
                    <a:lnTo>
                      <a:pt x="59" y="75"/>
                    </a:lnTo>
                    <a:lnTo>
                      <a:pt x="75" y="85"/>
                    </a:lnTo>
                    <a:lnTo>
                      <a:pt x="69" y="89"/>
                    </a:lnTo>
                    <a:lnTo>
                      <a:pt x="59" y="95"/>
                    </a:lnTo>
                    <a:lnTo>
                      <a:pt x="59" y="99"/>
                    </a:lnTo>
                    <a:lnTo>
                      <a:pt x="39" y="95"/>
                    </a:lnTo>
                    <a:lnTo>
                      <a:pt x="36" y="99"/>
                    </a:lnTo>
                    <a:lnTo>
                      <a:pt x="29" y="95"/>
                    </a:lnTo>
                    <a:lnTo>
                      <a:pt x="19" y="92"/>
                    </a:lnTo>
                    <a:lnTo>
                      <a:pt x="26" y="79"/>
                    </a:lnTo>
                    <a:lnTo>
                      <a:pt x="29" y="79"/>
                    </a:lnTo>
                    <a:lnTo>
                      <a:pt x="19" y="75"/>
                    </a:lnTo>
                    <a:lnTo>
                      <a:pt x="19" y="6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79" name="Freeform 1709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0" name="Freeform 1710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1" name="Freeform 1711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2" name="Freeform 1712"/>
              <p:cNvSpPr>
                <a:spLocks/>
              </p:cNvSpPr>
              <p:nvPr/>
            </p:nvSpPr>
            <p:spPr bwMode="auto">
              <a:xfrm>
                <a:off x="5691255" y="3536118"/>
                <a:ext cx="134940" cy="104776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13" y="40"/>
                  </a:cxn>
                  <a:cxn ang="0">
                    <a:pos x="16" y="59"/>
                  </a:cxn>
                  <a:cxn ang="0">
                    <a:pos x="43" y="63"/>
                  </a:cxn>
                  <a:cxn ang="0">
                    <a:pos x="69" y="66"/>
                  </a:cxn>
                  <a:cxn ang="0">
                    <a:pos x="69" y="63"/>
                  </a:cxn>
                  <a:cxn ang="0">
                    <a:pos x="76" y="40"/>
                  </a:cxn>
                  <a:cxn ang="0">
                    <a:pos x="82" y="36"/>
                  </a:cxn>
                  <a:cxn ang="0">
                    <a:pos x="79" y="20"/>
                  </a:cxn>
                  <a:cxn ang="0">
                    <a:pos x="82" y="23"/>
                  </a:cxn>
                  <a:cxn ang="0">
                    <a:pos x="85" y="20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62" y="20"/>
                  </a:cxn>
                  <a:cxn ang="0">
                    <a:pos x="49" y="36"/>
                  </a:cxn>
                  <a:cxn ang="0">
                    <a:pos x="13" y="36"/>
                  </a:cxn>
                  <a:cxn ang="0">
                    <a:pos x="10" y="30"/>
                  </a:cxn>
                  <a:cxn ang="0">
                    <a:pos x="3" y="26"/>
                  </a:cxn>
                </a:cxnLst>
                <a:rect l="0" t="0" r="r" b="b"/>
                <a:pathLst>
                  <a:path w="85" h="66">
                    <a:moveTo>
                      <a:pt x="3" y="26"/>
                    </a:moveTo>
                    <a:lnTo>
                      <a:pt x="0" y="26"/>
                    </a:lnTo>
                    <a:lnTo>
                      <a:pt x="0" y="33"/>
                    </a:lnTo>
                    <a:lnTo>
                      <a:pt x="13" y="40"/>
                    </a:lnTo>
                    <a:lnTo>
                      <a:pt x="16" y="59"/>
                    </a:lnTo>
                    <a:lnTo>
                      <a:pt x="43" y="63"/>
                    </a:lnTo>
                    <a:lnTo>
                      <a:pt x="69" y="66"/>
                    </a:lnTo>
                    <a:lnTo>
                      <a:pt x="69" y="63"/>
                    </a:lnTo>
                    <a:lnTo>
                      <a:pt x="76" y="40"/>
                    </a:lnTo>
                    <a:lnTo>
                      <a:pt x="82" y="36"/>
                    </a:lnTo>
                    <a:lnTo>
                      <a:pt x="79" y="20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2" y="3"/>
                    </a:lnTo>
                    <a:lnTo>
                      <a:pt x="79" y="0"/>
                    </a:lnTo>
                    <a:lnTo>
                      <a:pt x="62" y="20"/>
                    </a:lnTo>
                    <a:lnTo>
                      <a:pt x="49" y="36"/>
                    </a:lnTo>
                    <a:lnTo>
                      <a:pt x="13" y="36"/>
                    </a:lnTo>
                    <a:lnTo>
                      <a:pt x="10" y="30"/>
                    </a:lnTo>
                    <a:lnTo>
                      <a:pt x="3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3" name="Freeform 1713"/>
              <p:cNvSpPr>
                <a:spLocks/>
              </p:cNvSpPr>
              <p:nvPr/>
            </p:nvSpPr>
            <p:spPr bwMode="auto">
              <a:xfrm>
                <a:off x="6423101" y="3399589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4" name="Freeform 1714"/>
              <p:cNvSpPr>
                <a:spLocks/>
              </p:cNvSpPr>
              <p:nvPr/>
            </p:nvSpPr>
            <p:spPr bwMode="auto">
              <a:xfrm>
                <a:off x="6423101" y="3399589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5" name="Freeform 1715"/>
              <p:cNvSpPr>
                <a:spLocks/>
              </p:cNvSpPr>
              <p:nvPr/>
            </p:nvSpPr>
            <p:spPr bwMode="auto">
              <a:xfrm>
                <a:off x="6423101" y="3399589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6" name="Freeform 1716"/>
              <p:cNvSpPr>
                <a:spLocks/>
              </p:cNvSpPr>
              <p:nvPr/>
            </p:nvSpPr>
            <p:spPr bwMode="auto">
              <a:xfrm>
                <a:off x="6423101" y="3399589"/>
                <a:ext cx="220665" cy="120651"/>
              </a:xfrm>
              <a:custGeom>
                <a:avLst/>
                <a:gdLst/>
                <a:ahLst/>
                <a:cxnLst>
                  <a:cxn ang="0">
                    <a:pos x="76" y="56"/>
                  </a:cxn>
                  <a:cxn ang="0">
                    <a:pos x="59" y="53"/>
                  </a:cxn>
                  <a:cxn ang="0">
                    <a:pos x="40" y="53"/>
                  </a:cxn>
                  <a:cxn ang="0">
                    <a:pos x="20" y="40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7" y="3"/>
                  </a:cxn>
                  <a:cxn ang="0">
                    <a:pos x="17" y="0"/>
                  </a:cxn>
                  <a:cxn ang="0">
                    <a:pos x="30" y="7"/>
                  </a:cxn>
                  <a:cxn ang="0">
                    <a:pos x="53" y="20"/>
                  </a:cxn>
                  <a:cxn ang="0">
                    <a:pos x="59" y="20"/>
                  </a:cxn>
                  <a:cxn ang="0">
                    <a:pos x="63" y="23"/>
                  </a:cxn>
                  <a:cxn ang="0">
                    <a:pos x="79" y="33"/>
                  </a:cxn>
                  <a:cxn ang="0">
                    <a:pos x="79" y="36"/>
                  </a:cxn>
                  <a:cxn ang="0">
                    <a:pos x="96" y="43"/>
                  </a:cxn>
                  <a:cxn ang="0">
                    <a:pos x="112" y="50"/>
                  </a:cxn>
                  <a:cxn ang="0">
                    <a:pos x="132" y="50"/>
                  </a:cxn>
                  <a:cxn ang="0">
                    <a:pos x="139" y="76"/>
                  </a:cxn>
                  <a:cxn ang="0">
                    <a:pos x="119" y="76"/>
                  </a:cxn>
                  <a:cxn ang="0">
                    <a:pos x="96" y="73"/>
                  </a:cxn>
                  <a:cxn ang="0">
                    <a:pos x="86" y="69"/>
                  </a:cxn>
                  <a:cxn ang="0">
                    <a:pos x="76" y="56"/>
                  </a:cxn>
                </a:cxnLst>
                <a:rect l="0" t="0" r="r" b="b"/>
                <a:pathLst>
                  <a:path w="139" h="76">
                    <a:moveTo>
                      <a:pt x="76" y="56"/>
                    </a:moveTo>
                    <a:lnTo>
                      <a:pt x="59" y="53"/>
                    </a:lnTo>
                    <a:lnTo>
                      <a:pt x="40" y="53"/>
                    </a:lnTo>
                    <a:lnTo>
                      <a:pt x="20" y="40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7" y="3"/>
                    </a:lnTo>
                    <a:lnTo>
                      <a:pt x="17" y="0"/>
                    </a:lnTo>
                    <a:lnTo>
                      <a:pt x="30" y="7"/>
                    </a:lnTo>
                    <a:lnTo>
                      <a:pt x="53" y="20"/>
                    </a:lnTo>
                    <a:lnTo>
                      <a:pt x="59" y="20"/>
                    </a:lnTo>
                    <a:lnTo>
                      <a:pt x="63" y="23"/>
                    </a:lnTo>
                    <a:lnTo>
                      <a:pt x="79" y="33"/>
                    </a:lnTo>
                    <a:lnTo>
                      <a:pt x="79" y="36"/>
                    </a:lnTo>
                    <a:lnTo>
                      <a:pt x="96" y="43"/>
                    </a:lnTo>
                    <a:lnTo>
                      <a:pt x="112" y="50"/>
                    </a:lnTo>
                    <a:lnTo>
                      <a:pt x="132" y="50"/>
                    </a:lnTo>
                    <a:lnTo>
                      <a:pt x="139" y="76"/>
                    </a:lnTo>
                    <a:lnTo>
                      <a:pt x="119" y="76"/>
                    </a:lnTo>
                    <a:lnTo>
                      <a:pt x="96" y="73"/>
                    </a:lnTo>
                    <a:lnTo>
                      <a:pt x="86" y="69"/>
                    </a:lnTo>
                    <a:lnTo>
                      <a:pt x="76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7" name="Freeform 1717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8" name="Freeform 1718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89" name="Freeform 1719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0" name="Freeform 1720"/>
              <p:cNvSpPr>
                <a:spLocks/>
              </p:cNvSpPr>
              <p:nvPr/>
            </p:nvSpPr>
            <p:spPr bwMode="auto">
              <a:xfrm>
                <a:off x="5894458" y="3153524"/>
                <a:ext cx="334966" cy="28893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0" y="29"/>
                  </a:cxn>
                  <a:cxn ang="0">
                    <a:pos x="2" y="34"/>
                  </a:cxn>
                  <a:cxn ang="0">
                    <a:pos x="3" y="39"/>
                  </a:cxn>
                  <a:cxn ang="0">
                    <a:pos x="8" y="40"/>
                  </a:cxn>
                  <a:cxn ang="0">
                    <a:pos x="10" y="43"/>
                  </a:cxn>
                  <a:cxn ang="0">
                    <a:pos x="5" y="50"/>
                  </a:cxn>
                  <a:cxn ang="0">
                    <a:pos x="32" y="50"/>
                  </a:cxn>
                  <a:cxn ang="0">
                    <a:pos x="32" y="47"/>
                  </a:cxn>
                  <a:cxn ang="0">
                    <a:pos x="33" y="43"/>
                  </a:cxn>
                  <a:cxn ang="0">
                    <a:pos x="37" y="40"/>
                  </a:cxn>
                  <a:cxn ang="0">
                    <a:pos x="38" y="39"/>
                  </a:cxn>
                  <a:cxn ang="0">
                    <a:pos x="43" y="39"/>
                  </a:cxn>
                  <a:cxn ang="0">
                    <a:pos x="43" y="33"/>
                  </a:cxn>
                  <a:cxn ang="0">
                    <a:pos x="47" y="29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50" y="23"/>
                  </a:cxn>
                  <a:cxn ang="0">
                    <a:pos x="51" y="18"/>
                  </a:cxn>
                  <a:cxn ang="0">
                    <a:pos x="49" y="14"/>
                  </a:cxn>
                  <a:cxn ang="0">
                    <a:pos x="51" y="10"/>
                  </a:cxn>
                  <a:cxn ang="0">
                    <a:pos x="57" y="9"/>
                  </a:cxn>
                  <a:cxn ang="0">
                    <a:pos x="63" y="7"/>
                  </a:cxn>
                  <a:cxn ang="0">
                    <a:pos x="62" y="6"/>
                  </a:cxn>
                  <a:cxn ang="0">
                    <a:pos x="64" y="6"/>
                  </a:cxn>
                  <a:cxn ang="0">
                    <a:pos x="54" y="6"/>
                  </a:cxn>
                  <a:cxn ang="0">
                    <a:pos x="49" y="10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37" y="6"/>
                  </a:cxn>
                  <a:cxn ang="0">
                    <a:pos x="36" y="6"/>
                  </a:cxn>
                  <a:cxn ang="0">
                    <a:pos x="33" y="7"/>
                  </a:cxn>
                  <a:cxn ang="0">
                    <a:pos x="31" y="7"/>
                  </a:cxn>
                  <a:cxn ang="0">
                    <a:pos x="29" y="6"/>
                  </a:cxn>
                  <a:cxn ang="0">
                    <a:pos x="14" y="13"/>
                  </a:cxn>
                  <a:cxn ang="0">
                    <a:pos x="10" y="14"/>
                  </a:cxn>
                  <a:cxn ang="0">
                    <a:pos x="8" y="18"/>
                  </a:cxn>
                  <a:cxn ang="0">
                    <a:pos x="6" y="17"/>
                  </a:cxn>
                  <a:cxn ang="0">
                    <a:pos x="0" y="16"/>
                  </a:cxn>
                  <a:cxn ang="0">
                    <a:pos x="0" y="23"/>
                  </a:cxn>
                </a:cxnLst>
                <a:rect l="0" t="0" r="r" b="b"/>
                <a:pathLst>
                  <a:path w="64" h="55">
                    <a:moveTo>
                      <a:pt x="0" y="23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5" y="50"/>
                      <a:pt x="5" y="50"/>
                      <a:pt x="5" y="50"/>
                    </a:cubicBezTo>
                    <a:cubicBezTo>
                      <a:pt x="20" y="55"/>
                      <a:pt x="18" y="53"/>
                      <a:pt x="32" y="50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43" y="39"/>
                      <a:pt x="43" y="39"/>
                      <a:pt x="43" y="39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0" y="6"/>
                      <a:pt x="17" y="2"/>
                      <a:pt x="14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0" y="23"/>
                      <a:pt x="0" y="2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1" name="Freeform 1721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6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2" name="Freeform 1722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6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3" name="Freeform 1723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6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4" name="Freeform 1724"/>
              <p:cNvSpPr>
                <a:spLocks/>
              </p:cNvSpPr>
              <p:nvPr/>
            </p:nvSpPr>
            <p:spPr bwMode="auto">
              <a:xfrm>
                <a:off x="6183387" y="2691554"/>
                <a:ext cx="1358916" cy="1022366"/>
              </a:xfrm>
              <a:custGeom>
                <a:avLst/>
                <a:gdLst/>
                <a:ahLst/>
                <a:cxnLst>
                  <a:cxn ang="0">
                    <a:pos x="102" y="148"/>
                  </a:cxn>
                  <a:cxn ang="0">
                    <a:pos x="81" y="150"/>
                  </a:cxn>
                  <a:cxn ang="0">
                    <a:pos x="65" y="141"/>
                  </a:cxn>
                  <a:cxn ang="0">
                    <a:pos x="45" y="133"/>
                  </a:cxn>
                  <a:cxn ang="0">
                    <a:pos x="38" y="119"/>
                  </a:cxn>
                  <a:cxn ang="0">
                    <a:pos x="38" y="104"/>
                  </a:cxn>
                  <a:cxn ang="0">
                    <a:pos x="17" y="101"/>
                  </a:cxn>
                  <a:cxn ang="0">
                    <a:pos x="8" y="88"/>
                  </a:cxn>
                  <a:cxn ang="0">
                    <a:pos x="11" y="75"/>
                  </a:cxn>
                  <a:cxn ang="0">
                    <a:pos x="25" y="62"/>
                  </a:cxn>
                  <a:cxn ang="0">
                    <a:pos x="19" y="49"/>
                  </a:cxn>
                  <a:cxn ang="0">
                    <a:pos x="27" y="35"/>
                  </a:cxn>
                  <a:cxn ang="0">
                    <a:pos x="41" y="24"/>
                  </a:cxn>
                  <a:cxn ang="0">
                    <a:pos x="57" y="32"/>
                  </a:cxn>
                  <a:cxn ang="0">
                    <a:pos x="105" y="62"/>
                  </a:cxn>
                  <a:cxn ang="0">
                    <a:pos x="139" y="68"/>
                  </a:cxn>
                  <a:cxn ang="0">
                    <a:pos x="160" y="63"/>
                  </a:cxn>
                  <a:cxn ang="0">
                    <a:pos x="171" y="50"/>
                  </a:cxn>
                  <a:cxn ang="0">
                    <a:pos x="195" y="38"/>
                  </a:cxn>
                  <a:cxn ang="0">
                    <a:pos x="174" y="32"/>
                  </a:cxn>
                  <a:cxn ang="0">
                    <a:pos x="177" y="22"/>
                  </a:cxn>
                  <a:cxn ang="0">
                    <a:pos x="173" y="3"/>
                  </a:cxn>
                  <a:cxn ang="0">
                    <a:pos x="204" y="7"/>
                  </a:cxn>
                  <a:cxn ang="0">
                    <a:pos x="232" y="24"/>
                  </a:cxn>
                  <a:cxn ang="0">
                    <a:pos x="258" y="34"/>
                  </a:cxn>
                  <a:cxn ang="0">
                    <a:pos x="256" y="55"/>
                  </a:cxn>
                  <a:cxn ang="0">
                    <a:pos x="254" y="63"/>
                  </a:cxn>
                  <a:cxn ang="0">
                    <a:pos x="243" y="69"/>
                  </a:cxn>
                  <a:cxn ang="0">
                    <a:pos x="229" y="83"/>
                  </a:cxn>
                  <a:cxn ang="0">
                    <a:pos x="223" y="73"/>
                  </a:cxn>
                  <a:cxn ang="0">
                    <a:pos x="209" y="83"/>
                  </a:cxn>
                  <a:cxn ang="0">
                    <a:pos x="227" y="91"/>
                  </a:cxn>
                  <a:cxn ang="0">
                    <a:pos x="230" y="98"/>
                  </a:cxn>
                  <a:cxn ang="0">
                    <a:pos x="238" y="117"/>
                  </a:cxn>
                  <a:cxn ang="0">
                    <a:pos x="248" y="131"/>
                  </a:cxn>
                  <a:cxn ang="0">
                    <a:pos x="250" y="141"/>
                  </a:cxn>
                  <a:cxn ang="0">
                    <a:pos x="250" y="147"/>
                  </a:cxn>
                  <a:cxn ang="0">
                    <a:pos x="246" y="158"/>
                  </a:cxn>
                  <a:cxn ang="0">
                    <a:pos x="246" y="165"/>
                  </a:cxn>
                  <a:cxn ang="0">
                    <a:pos x="242" y="170"/>
                  </a:cxn>
                  <a:cxn ang="0">
                    <a:pos x="234" y="177"/>
                  </a:cxn>
                  <a:cxn ang="0">
                    <a:pos x="224" y="182"/>
                  </a:cxn>
                  <a:cxn ang="0">
                    <a:pos x="220" y="184"/>
                  </a:cxn>
                  <a:cxn ang="0">
                    <a:pos x="214" y="185"/>
                  </a:cxn>
                  <a:cxn ang="0">
                    <a:pos x="204" y="189"/>
                  </a:cxn>
                  <a:cxn ang="0">
                    <a:pos x="200" y="187"/>
                  </a:cxn>
                  <a:cxn ang="0">
                    <a:pos x="187" y="185"/>
                  </a:cxn>
                  <a:cxn ang="0">
                    <a:pos x="173" y="180"/>
                  </a:cxn>
                  <a:cxn ang="0">
                    <a:pos x="167" y="182"/>
                  </a:cxn>
                  <a:cxn ang="0">
                    <a:pos x="159" y="188"/>
                  </a:cxn>
                  <a:cxn ang="0">
                    <a:pos x="148" y="183"/>
                  </a:cxn>
                  <a:cxn ang="0">
                    <a:pos x="138" y="170"/>
                  </a:cxn>
                  <a:cxn ang="0">
                    <a:pos x="139" y="152"/>
                  </a:cxn>
                  <a:cxn ang="0">
                    <a:pos x="127" y="143"/>
                  </a:cxn>
                  <a:cxn ang="0">
                    <a:pos x="116" y="141"/>
                  </a:cxn>
                </a:cxnLst>
                <a:rect l="0" t="0" r="r" b="b"/>
                <a:pathLst>
                  <a:path w="260" h="195">
                    <a:moveTo>
                      <a:pt x="116" y="141"/>
                    </a:move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08" y="148"/>
                      <a:pt x="108" y="148"/>
                      <a:pt x="108" y="148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1" y="153"/>
                      <a:pt x="91" y="153"/>
                      <a:pt x="91" y="153"/>
                    </a:cubicBezTo>
                    <a:cubicBezTo>
                      <a:pt x="89" y="148"/>
                      <a:pt x="89" y="148"/>
                      <a:pt x="89" y="148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76" y="148"/>
                      <a:pt x="76" y="148"/>
                      <a:pt x="76" y="148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65" y="143"/>
                      <a:pt x="65" y="143"/>
                      <a:pt x="65" y="143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2" y="135"/>
                      <a:pt x="52" y="135"/>
                      <a:pt x="52" y="135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5" y="133"/>
                      <a:pt x="45" y="133"/>
                      <a:pt x="45" y="133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7" y="128"/>
                      <a:pt x="37" y="128"/>
                      <a:pt x="37" y="128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5" y="116"/>
                      <a:pt x="35" y="116"/>
                      <a:pt x="35" y="116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7" y="112"/>
                      <a:pt x="37" y="112"/>
                      <a:pt x="37" y="112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4"/>
                      <a:pt x="38" y="104"/>
                      <a:pt x="38" y="104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9" y="102"/>
                      <a:pt x="19" y="102"/>
                      <a:pt x="19" y="102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7" y="29"/>
                      <a:pt x="37" y="29"/>
                      <a:pt x="37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7" y="46"/>
                      <a:pt x="67" y="46"/>
                      <a:pt x="67" y="46"/>
                    </a:cubicBezTo>
                    <a:cubicBezTo>
                      <a:pt x="84" y="51"/>
                      <a:pt x="88" y="47"/>
                      <a:pt x="99" y="62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33" y="66"/>
                      <a:pt x="133" y="66"/>
                      <a:pt x="133" y="66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5" y="66"/>
                      <a:pt x="145" y="66"/>
                      <a:pt x="145" y="66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66" y="53"/>
                      <a:pt x="166" y="53"/>
                      <a:pt x="166" y="53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6" y="48"/>
                      <a:pt x="176" y="48"/>
                      <a:pt x="176" y="48"/>
                    </a:cubicBezTo>
                    <a:cubicBezTo>
                      <a:pt x="180" y="45"/>
                      <a:pt x="180" y="45"/>
                      <a:pt x="180" y="45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86" y="38"/>
                      <a:pt x="186" y="38"/>
                      <a:pt x="186" y="38"/>
                    </a:cubicBezTo>
                    <a:cubicBezTo>
                      <a:pt x="195" y="38"/>
                      <a:pt x="195" y="38"/>
                      <a:pt x="195" y="38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80" y="33"/>
                      <a:pt x="180" y="33"/>
                      <a:pt x="180" y="33"/>
                    </a:cubicBezTo>
                    <a:cubicBezTo>
                      <a:pt x="178" y="32"/>
                      <a:pt x="178" y="32"/>
                      <a:pt x="178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5"/>
                      <a:pt x="171" y="25"/>
                      <a:pt x="171" y="25"/>
                    </a:cubicBezTo>
                    <a:cubicBezTo>
                      <a:pt x="170" y="20"/>
                      <a:pt x="170" y="20"/>
                      <a:pt x="170" y="20"/>
                    </a:cubicBezTo>
                    <a:cubicBezTo>
                      <a:pt x="177" y="22"/>
                      <a:pt x="177" y="22"/>
                      <a:pt x="177" y="22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3" y="3"/>
                      <a:pt x="173" y="3"/>
                      <a:pt x="173" y="3"/>
                    </a:cubicBezTo>
                    <a:cubicBezTo>
                      <a:pt x="177" y="1"/>
                      <a:pt x="177" y="1"/>
                      <a:pt x="177" y="1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9" y="4"/>
                      <a:pt x="199" y="4"/>
                      <a:pt x="199" y="4"/>
                    </a:cubicBezTo>
                    <a:cubicBezTo>
                      <a:pt x="204" y="7"/>
                      <a:pt x="204" y="7"/>
                      <a:pt x="204" y="7"/>
                    </a:cubicBezTo>
                    <a:cubicBezTo>
                      <a:pt x="209" y="12"/>
                      <a:pt x="209" y="12"/>
                      <a:pt x="209" y="12"/>
                    </a:cubicBezTo>
                    <a:cubicBezTo>
                      <a:pt x="213" y="15"/>
                      <a:pt x="213" y="15"/>
                      <a:pt x="213" y="15"/>
                    </a:cubicBezTo>
                    <a:cubicBezTo>
                      <a:pt x="218" y="20"/>
                      <a:pt x="218" y="20"/>
                      <a:pt x="218" y="20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32" y="24"/>
                      <a:pt x="232" y="24"/>
                      <a:pt x="232" y="24"/>
                    </a:cubicBezTo>
                    <a:cubicBezTo>
                      <a:pt x="236" y="26"/>
                      <a:pt x="236" y="26"/>
                      <a:pt x="236" y="26"/>
                    </a:cubicBezTo>
                    <a:cubicBezTo>
                      <a:pt x="242" y="33"/>
                      <a:pt x="242" y="33"/>
                      <a:pt x="242" y="33"/>
                    </a:cubicBezTo>
                    <a:cubicBezTo>
                      <a:pt x="248" y="32"/>
                      <a:pt x="248" y="32"/>
                      <a:pt x="248" y="32"/>
                    </a:cubicBezTo>
                    <a:cubicBezTo>
                      <a:pt x="256" y="28"/>
                      <a:pt x="256" y="28"/>
                      <a:pt x="256" y="28"/>
                    </a:cubicBezTo>
                    <a:cubicBezTo>
                      <a:pt x="258" y="34"/>
                      <a:pt x="258" y="34"/>
                      <a:pt x="258" y="34"/>
                    </a:cubicBezTo>
                    <a:cubicBezTo>
                      <a:pt x="260" y="40"/>
                      <a:pt x="260" y="40"/>
                      <a:pt x="260" y="40"/>
                    </a:cubicBezTo>
                    <a:cubicBezTo>
                      <a:pt x="260" y="49"/>
                      <a:pt x="260" y="49"/>
                      <a:pt x="260" y="49"/>
                    </a:cubicBezTo>
                    <a:cubicBezTo>
                      <a:pt x="254" y="48"/>
                      <a:pt x="254" y="48"/>
                      <a:pt x="254" y="48"/>
                    </a:cubicBezTo>
                    <a:cubicBezTo>
                      <a:pt x="253" y="50"/>
                      <a:pt x="253" y="50"/>
                      <a:pt x="253" y="50"/>
                    </a:cubicBezTo>
                    <a:cubicBezTo>
                      <a:pt x="256" y="55"/>
                      <a:pt x="256" y="55"/>
                      <a:pt x="256" y="55"/>
                    </a:cubicBezTo>
                    <a:cubicBezTo>
                      <a:pt x="260" y="61"/>
                      <a:pt x="260" y="61"/>
                      <a:pt x="260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3"/>
                      <a:pt x="260" y="63"/>
                    </a:cubicBezTo>
                    <a:cubicBezTo>
                      <a:pt x="254" y="61"/>
                      <a:pt x="254" y="61"/>
                      <a:pt x="254" y="61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0" y="66"/>
                      <a:pt x="250" y="66"/>
                      <a:pt x="250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50" y="69"/>
                      <a:pt x="250" y="69"/>
                      <a:pt x="250" y="69"/>
                    </a:cubicBezTo>
                    <a:cubicBezTo>
                      <a:pt x="246" y="68"/>
                      <a:pt x="246" y="68"/>
                      <a:pt x="246" y="68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40" y="74"/>
                      <a:pt x="240" y="74"/>
                      <a:pt x="240" y="74"/>
                    </a:cubicBezTo>
                    <a:cubicBezTo>
                      <a:pt x="238" y="78"/>
                      <a:pt x="238" y="78"/>
                      <a:pt x="238" y="78"/>
                    </a:cubicBezTo>
                    <a:cubicBezTo>
                      <a:pt x="235" y="79"/>
                      <a:pt x="235" y="79"/>
                      <a:pt x="235" y="79"/>
                    </a:cubicBezTo>
                    <a:cubicBezTo>
                      <a:pt x="232" y="81"/>
                      <a:pt x="232" y="81"/>
                      <a:pt x="232" y="81"/>
                    </a:cubicBezTo>
                    <a:cubicBezTo>
                      <a:pt x="229" y="83"/>
                      <a:pt x="229" y="83"/>
                      <a:pt x="229" y="83"/>
                    </a:cubicBezTo>
                    <a:cubicBezTo>
                      <a:pt x="225" y="83"/>
                      <a:pt x="225" y="83"/>
                      <a:pt x="225" y="83"/>
                    </a:cubicBezTo>
                    <a:cubicBezTo>
                      <a:pt x="227" y="82"/>
                      <a:pt x="227" y="82"/>
                      <a:pt x="227" y="82"/>
                    </a:cubicBezTo>
                    <a:cubicBezTo>
                      <a:pt x="225" y="79"/>
                      <a:pt x="225" y="79"/>
                      <a:pt x="225" y="79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18" y="78"/>
                      <a:pt x="218" y="78"/>
                      <a:pt x="218" y="78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212" y="83"/>
                      <a:pt x="212" y="83"/>
                      <a:pt x="212" y="83"/>
                    </a:cubicBezTo>
                    <a:cubicBezTo>
                      <a:pt x="209" y="83"/>
                      <a:pt x="209" y="83"/>
                      <a:pt x="209" y="83"/>
                    </a:cubicBezTo>
                    <a:cubicBezTo>
                      <a:pt x="210" y="88"/>
                      <a:pt x="210" y="88"/>
                      <a:pt x="210" y="88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4" y="94"/>
                      <a:pt x="224" y="94"/>
                      <a:pt x="224" y="94"/>
                    </a:cubicBezTo>
                    <a:cubicBezTo>
                      <a:pt x="227" y="91"/>
                      <a:pt x="227" y="91"/>
                      <a:pt x="227" y="91"/>
                    </a:cubicBezTo>
                    <a:cubicBezTo>
                      <a:pt x="234" y="93"/>
                      <a:pt x="234" y="93"/>
                      <a:pt x="234" y="93"/>
                    </a:cubicBezTo>
                    <a:cubicBezTo>
                      <a:pt x="236" y="94"/>
                      <a:pt x="236" y="94"/>
                      <a:pt x="236" y="94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0" y="98"/>
                      <a:pt x="230" y="98"/>
                      <a:pt x="230" y="98"/>
                    </a:cubicBezTo>
                    <a:cubicBezTo>
                      <a:pt x="229" y="101"/>
                      <a:pt x="229" y="101"/>
                      <a:pt x="229" y="101"/>
                    </a:cubicBezTo>
                    <a:cubicBezTo>
                      <a:pt x="228" y="102"/>
                      <a:pt x="228" y="102"/>
                      <a:pt x="228" y="102"/>
                    </a:cubicBez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34" y="113"/>
                      <a:pt x="234" y="113"/>
                      <a:pt x="234" y="113"/>
                    </a:cubicBezTo>
                    <a:cubicBezTo>
                      <a:pt x="238" y="117"/>
                      <a:pt x="238" y="117"/>
                      <a:pt x="238" y="117"/>
                    </a:cubicBezTo>
                    <a:cubicBezTo>
                      <a:pt x="241" y="123"/>
                      <a:pt x="241" y="123"/>
                      <a:pt x="241" y="123"/>
                    </a:cubicBezTo>
                    <a:cubicBezTo>
                      <a:pt x="246" y="127"/>
                      <a:pt x="246" y="127"/>
                      <a:pt x="246" y="127"/>
                    </a:cubicBezTo>
                    <a:cubicBezTo>
                      <a:pt x="239" y="125"/>
                      <a:pt x="239" y="125"/>
                      <a:pt x="239" y="125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8" y="131"/>
                      <a:pt x="248" y="131"/>
                      <a:pt x="248" y="131"/>
                    </a:cubicBezTo>
                    <a:cubicBezTo>
                      <a:pt x="243" y="135"/>
                      <a:pt x="243" y="135"/>
                      <a:pt x="243" y="135"/>
                    </a:cubicBezTo>
                    <a:cubicBezTo>
                      <a:pt x="242" y="136"/>
                      <a:pt x="242" y="136"/>
                      <a:pt x="242" y="136"/>
                    </a:cubicBezTo>
                    <a:cubicBezTo>
                      <a:pt x="248" y="136"/>
                      <a:pt x="248" y="136"/>
                      <a:pt x="248" y="136"/>
                    </a:cubicBezTo>
                    <a:cubicBezTo>
                      <a:pt x="250" y="138"/>
                      <a:pt x="250" y="138"/>
                      <a:pt x="250" y="138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1"/>
                      <a:pt x="250" y="141"/>
                      <a:pt x="250" y="141"/>
                    </a:cubicBezTo>
                    <a:cubicBezTo>
                      <a:pt x="250" y="143"/>
                      <a:pt x="250" y="143"/>
                      <a:pt x="250" y="143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50" y="147"/>
                      <a:pt x="250" y="147"/>
                      <a:pt x="250" y="147"/>
                    </a:cubicBezTo>
                    <a:cubicBezTo>
                      <a:pt x="246" y="148"/>
                      <a:pt x="246" y="148"/>
                      <a:pt x="246" y="148"/>
                    </a:cubicBezTo>
                    <a:cubicBezTo>
                      <a:pt x="248" y="151"/>
                      <a:pt x="248" y="151"/>
                      <a:pt x="248" y="151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46" y="160"/>
                      <a:pt x="246" y="160"/>
                      <a:pt x="246" y="160"/>
                    </a:cubicBezTo>
                    <a:cubicBezTo>
                      <a:pt x="243" y="160"/>
                      <a:pt x="243" y="160"/>
                      <a:pt x="243" y="160"/>
                    </a:cubicBezTo>
                    <a:cubicBezTo>
                      <a:pt x="246" y="161"/>
                      <a:pt x="246" y="161"/>
                      <a:pt x="246" y="161"/>
                    </a:cubicBezTo>
                    <a:cubicBezTo>
                      <a:pt x="246" y="165"/>
                      <a:pt x="246" y="165"/>
                      <a:pt x="246" y="165"/>
                    </a:cubicBezTo>
                    <a:cubicBezTo>
                      <a:pt x="244" y="164"/>
                      <a:pt x="244" y="164"/>
                      <a:pt x="244" y="164"/>
                    </a:cubicBezTo>
                    <a:cubicBezTo>
                      <a:pt x="244" y="166"/>
                      <a:pt x="244" y="166"/>
                      <a:pt x="244" y="166"/>
                    </a:cubicBezTo>
                    <a:cubicBezTo>
                      <a:pt x="243" y="167"/>
                      <a:pt x="243" y="167"/>
                      <a:pt x="243" y="167"/>
                    </a:cubicBezTo>
                    <a:cubicBezTo>
                      <a:pt x="242" y="167"/>
                      <a:pt x="242" y="167"/>
                      <a:pt x="242" y="167"/>
                    </a:cubicBezTo>
                    <a:cubicBezTo>
                      <a:pt x="242" y="170"/>
                      <a:pt x="242" y="170"/>
                      <a:pt x="242" y="170"/>
                    </a:cubicBezTo>
                    <a:cubicBezTo>
                      <a:pt x="240" y="170"/>
                      <a:pt x="240" y="170"/>
                      <a:pt x="240" y="170"/>
                    </a:cubicBez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2"/>
                      <a:pt x="239" y="172"/>
                      <a:pt x="239" y="172"/>
                    </a:cubicBezTo>
                    <a:cubicBezTo>
                      <a:pt x="238" y="174"/>
                      <a:pt x="238" y="174"/>
                      <a:pt x="238" y="174"/>
                    </a:cubicBezTo>
                    <a:cubicBezTo>
                      <a:pt x="234" y="177"/>
                      <a:pt x="234" y="177"/>
                      <a:pt x="234" y="177"/>
                    </a:cubicBezTo>
                    <a:cubicBezTo>
                      <a:pt x="232" y="179"/>
                      <a:pt x="232" y="179"/>
                      <a:pt x="232" y="179"/>
                    </a:cubicBezTo>
                    <a:cubicBezTo>
                      <a:pt x="229" y="179"/>
                      <a:pt x="229" y="179"/>
                      <a:pt x="229" y="179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5" y="180"/>
                      <a:pt x="225" y="180"/>
                      <a:pt x="225" y="180"/>
                    </a:cubicBezTo>
                    <a:cubicBezTo>
                      <a:pt x="224" y="182"/>
                      <a:pt x="224" y="182"/>
                      <a:pt x="224" y="182"/>
                    </a:cubicBezTo>
                    <a:cubicBezTo>
                      <a:pt x="223" y="183"/>
                      <a:pt x="223" y="183"/>
                      <a:pt x="223" y="183"/>
                    </a:cubicBezTo>
                    <a:cubicBezTo>
                      <a:pt x="222" y="182"/>
                      <a:pt x="222" y="182"/>
                      <a:pt x="222" y="182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18" y="179"/>
                      <a:pt x="218" y="179"/>
                      <a:pt x="218" y="179"/>
                    </a:cubicBezTo>
                    <a:cubicBezTo>
                      <a:pt x="220" y="184"/>
                      <a:pt x="220" y="184"/>
                      <a:pt x="220" y="184"/>
                    </a:cubicBezTo>
                    <a:cubicBezTo>
                      <a:pt x="218" y="183"/>
                      <a:pt x="218" y="183"/>
                      <a:pt x="218" y="183"/>
                    </a:cubicBezTo>
                    <a:cubicBezTo>
                      <a:pt x="218" y="185"/>
                      <a:pt x="218" y="185"/>
                      <a:pt x="218" y="185"/>
                    </a:cubicBezTo>
                    <a:cubicBezTo>
                      <a:pt x="218" y="184"/>
                      <a:pt x="218" y="184"/>
                      <a:pt x="218" y="184"/>
                    </a:cubicBezTo>
                    <a:cubicBezTo>
                      <a:pt x="216" y="186"/>
                      <a:pt x="216" y="186"/>
                      <a:pt x="216" y="186"/>
                    </a:cubicBezTo>
                    <a:cubicBezTo>
                      <a:pt x="214" y="185"/>
                      <a:pt x="214" y="185"/>
                      <a:pt x="214" y="185"/>
                    </a:cubicBezTo>
                    <a:cubicBezTo>
                      <a:pt x="213" y="186"/>
                      <a:pt x="213" y="186"/>
                      <a:pt x="213" y="186"/>
                    </a:cubicBezTo>
                    <a:cubicBezTo>
                      <a:pt x="212" y="186"/>
                      <a:pt x="212" y="186"/>
                      <a:pt x="212" y="186"/>
                    </a:cubicBezTo>
                    <a:cubicBezTo>
                      <a:pt x="209" y="187"/>
                      <a:pt x="209" y="187"/>
                      <a:pt x="209" y="187"/>
                    </a:cubicBez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4" y="189"/>
                      <a:pt x="204" y="189"/>
                      <a:pt x="204" y="189"/>
                    </a:cubicBezTo>
                    <a:cubicBezTo>
                      <a:pt x="204" y="192"/>
                      <a:pt x="204" y="192"/>
                      <a:pt x="204" y="192"/>
                    </a:cubicBezTo>
                    <a:cubicBezTo>
                      <a:pt x="206" y="195"/>
                      <a:pt x="206" y="195"/>
                      <a:pt x="206" y="195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88"/>
                      <a:pt x="202" y="188"/>
                      <a:pt x="202" y="18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7" y="187"/>
                      <a:pt x="197" y="187"/>
                      <a:pt x="197" y="187"/>
                    </a:cubicBezTo>
                    <a:cubicBezTo>
                      <a:pt x="195" y="186"/>
                      <a:pt x="195" y="186"/>
                      <a:pt x="195" y="186"/>
                    </a:cubicBezTo>
                    <a:cubicBezTo>
                      <a:pt x="194" y="187"/>
                      <a:pt x="194" y="187"/>
                      <a:pt x="194" y="187"/>
                    </a:cubicBezTo>
                    <a:cubicBezTo>
                      <a:pt x="193" y="187"/>
                      <a:pt x="193" y="187"/>
                      <a:pt x="193" y="187"/>
                    </a:cubicBezTo>
                    <a:cubicBezTo>
                      <a:pt x="187" y="185"/>
                      <a:pt x="187" y="185"/>
                      <a:pt x="187" y="185"/>
                    </a:cubicBezTo>
                    <a:cubicBezTo>
                      <a:pt x="185" y="184"/>
                      <a:pt x="185" y="184"/>
                      <a:pt x="185" y="184"/>
                    </a:cubicBezTo>
                    <a:cubicBezTo>
                      <a:pt x="184" y="179"/>
                      <a:pt x="184" y="179"/>
                      <a:pt x="184" y="179"/>
                    </a:cubicBezTo>
                    <a:cubicBezTo>
                      <a:pt x="178" y="177"/>
                      <a:pt x="178" y="177"/>
                      <a:pt x="178" y="177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173" y="180"/>
                      <a:pt x="173" y="180"/>
                      <a:pt x="173" y="180"/>
                    </a:cubicBezTo>
                    <a:cubicBezTo>
                      <a:pt x="171" y="180"/>
                      <a:pt x="171" y="180"/>
                      <a:pt x="171" y="180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69" y="180"/>
                      <a:pt x="169" y="180"/>
                      <a:pt x="169" y="180"/>
                    </a:cubicBezTo>
                    <a:cubicBezTo>
                      <a:pt x="168" y="180"/>
                      <a:pt x="168" y="180"/>
                      <a:pt x="168" y="180"/>
                    </a:cubicBezTo>
                    <a:cubicBezTo>
                      <a:pt x="167" y="182"/>
                      <a:pt x="167" y="182"/>
                      <a:pt x="167" y="182"/>
                    </a:cubicBezTo>
                    <a:cubicBezTo>
                      <a:pt x="164" y="180"/>
                      <a:pt x="164" y="180"/>
                      <a:pt x="164" y="180"/>
                    </a:cubicBezTo>
                    <a:cubicBezTo>
                      <a:pt x="163" y="183"/>
                      <a:pt x="163" y="183"/>
                      <a:pt x="163" y="183"/>
                    </a:cubicBezTo>
                    <a:cubicBezTo>
                      <a:pt x="160" y="183"/>
                      <a:pt x="160" y="183"/>
                      <a:pt x="160" y="183"/>
                    </a:cubicBezTo>
                    <a:cubicBezTo>
                      <a:pt x="162" y="189"/>
                      <a:pt x="162" y="189"/>
                      <a:pt x="162" y="189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58" y="187"/>
                      <a:pt x="158" y="187"/>
                      <a:pt x="158" y="187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3" y="188"/>
                      <a:pt x="153" y="188"/>
                      <a:pt x="153" y="188"/>
                    </a:cubicBezTo>
                    <a:cubicBezTo>
                      <a:pt x="151" y="185"/>
                      <a:pt x="151" y="185"/>
                      <a:pt x="151" y="185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77"/>
                      <a:pt x="145" y="177"/>
                      <a:pt x="145" y="177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8" y="170"/>
                      <a:pt x="138" y="170"/>
                      <a:pt x="138" y="170"/>
                    </a:cubicBezTo>
                    <a:cubicBezTo>
                      <a:pt x="138" y="168"/>
                      <a:pt x="138" y="168"/>
                      <a:pt x="138" y="168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7" y="151"/>
                      <a:pt x="137" y="151"/>
                      <a:pt x="137" y="151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27" y="146"/>
                      <a:pt x="127" y="146"/>
                      <a:pt x="127" y="146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25" y="143"/>
                      <a:pt x="125" y="143"/>
                      <a:pt x="125" y="143"/>
                    </a:cubicBez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16" y="141"/>
                      <a:pt x="116" y="141"/>
                      <a:pt x="116" y="14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5" name="Freeform 1725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6" name="Freeform 1726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7" name="Freeform 1727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8" name="Freeform 1728"/>
              <p:cNvSpPr>
                <a:spLocks/>
              </p:cNvSpPr>
              <p:nvPr/>
            </p:nvSpPr>
            <p:spPr bwMode="auto">
              <a:xfrm>
                <a:off x="5454715" y="3105898"/>
                <a:ext cx="544518" cy="455619"/>
              </a:xfrm>
              <a:custGeom>
                <a:avLst/>
                <a:gdLst/>
                <a:ahLst/>
                <a:cxnLst>
                  <a:cxn ang="0">
                    <a:pos x="40" y="119"/>
                  </a:cxn>
                  <a:cxn ang="0">
                    <a:pos x="43" y="89"/>
                  </a:cxn>
                  <a:cxn ang="0">
                    <a:pos x="33" y="73"/>
                  </a:cxn>
                  <a:cxn ang="0">
                    <a:pos x="7" y="37"/>
                  </a:cxn>
                  <a:cxn ang="0">
                    <a:pos x="0" y="4"/>
                  </a:cxn>
                  <a:cxn ang="0">
                    <a:pos x="10" y="4"/>
                  </a:cxn>
                  <a:cxn ang="0">
                    <a:pos x="43" y="10"/>
                  </a:cxn>
                  <a:cxn ang="0">
                    <a:pos x="63" y="10"/>
                  </a:cxn>
                  <a:cxn ang="0">
                    <a:pos x="73" y="27"/>
                  </a:cxn>
                  <a:cxn ang="0">
                    <a:pos x="103" y="50"/>
                  </a:cxn>
                  <a:cxn ang="0">
                    <a:pos x="132" y="63"/>
                  </a:cxn>
                  <a:cxn ang="0">
                    <a:pos x="159" y="56"/>
                  </a:cxn>
                  <a:cxn ang="0">
                    <a:pos x="165" y="46"/>
                  </a:cxn>
                  <a:cxn ang="0">
                    <a:pos x="192" y="30"/>
                  </a:cxn>
                  <a:cxn ang="0">
                    <a:pos x="234" y="40"/>
                  </a:cxn>
                  <a:cxn ang="0">
                    <a:pos x="261" y="60"/>
                  </a:cxn>
                  <a:cxn ang="0">
                    <a:pos x="277" y="79"/>
                  </a:cxn>
                  <a:cxn ang="0">
                    <a:pos x="277" y="106"/>
                  </a:cxn>
                  <a:cxn ang="0">
                    <a:pos x="284" y="122"/>
                  </a:cxn>
                  <a:cxn ang="0">
                    <a:pos x="284" y="142"/>
                  </a:cxn>
                  <a:cxn ang="0">
                    <a:pos x="304" y="162"/>
                  </a:cxn>
                  <a:cxn ang="0">
                    <a:pos x="294" y="195"/>
                  </a:cxn>
                  <a:cxn ang="0">
                    <a:pos x="320" y="221"/>
                  </a:cxn>
                  <a:cxn ang="0">
                    <a:pos x="337" y="248"/>
                  </a:cxn>
                  <a:cxn ang="0">
                    <a:pos x="343" y="258"/>
                  </a:cxn>
                  <a:cxn ang="0">
                    <a:pos x="323" y="274"/>
                  </a:cxn>
                  <a:cxn ang="0">
                    <a:pos x="304" y="284"/>
                  </a:cxn>
                  <a:cxn ang="0">
                    <a:pos x="264" y="278"/>
                  </a:cxn>
                  <a:cxn ang="0">
                    <a:pos x="241" y="261"/>
                  </a:cxn>
                  <a:cxn ang="0">
                    <a:pos x="218" y="254"/>
                  </a:cxn>
                  <a:cxn ang="0">
                    <a:pos x="185" y="254"/>
                  </a:cxn>
                  <a:cxn ang="0">
                    <a:pos x="152" y="235"/>
                  </a:cxn>
                  <a:cxn ang="0">
                    <a:pos x="132" y="212"/>
                  </a:cxn>
                  <a:cxn ang="0">
                    <a:pos x="109" y="188"/>
                  </a:cxn>
                  <a:cxn ang="0">
                    <a:pos x="103" y="179"/>
                  </a:cxn>
                  <a:cxn ang="0">
                    <a:pos x="96" y="192"/>
                  </a:cxn>
                  <a:cxn ang="0">
                    <a:pos x="86" y="172"/>
                  </a:cxn>
                  <a:cxn ang="0">
                    <a:pos x="80" y="155"/>
                  </a:cxn>
                  <a:cxn ang="0">
                    <a:pos x="60" y="142"/>
                  </a:cxn>
                </a:cxnLst>
                <a:rect l="0" t="0" r="r" b="b"/>
                <a:pathLst>
                  <a:path w="343" h="287">
                    <a:moveTo>
                      <a:pt x="47" y="129"/>
                    </a:moveTo>
                    <a:lnTo>
                      <a:pt x="40" y="119"/>
                    </a:lnTo>
                    <a:lnTo>
                      <a:pt x="33" y="106"/>
                    </a:lnTo>
                    <a:lnTo>
                      <a:pt x="43" y="89"/>
                    </a:lnTo>
                    <a:lnTo>
                      <a:pt x="43" y="76"/>
                    </a:lnTo>
                    <a:lnTo>
                      <a:pt x="33" y="73"/>
                    </a:lnTo>
                    <a:lnTo>
                      <a:pt x="14" y="46"/>
                    </a:lnTo>
                    <a:lnTo>
                      <a:pt x="7" y="37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27" y="13"/>
                    </a:lnTo>
                    <a:lnTo>
                      <a:pt x="43" y="10"/>
                    </a:lnTo>
                    <a:lnTo>
                      <a:pt x="57" y="0"/>
                    </a:lnTo>
                    <a:lnTo>
                      <a:pt x="63" y="10"/>
                    </a:lnTo>
                    <a:lnTo>
                      <a:pt x="60" y="13"/>
                    </a:lnTo>
                    <a:lnTo>
                      <a:pt x="73" y="27"/>
                    </a:lnTo>
                    <a:lnTo>
                      <a:pt x="86" y="40"/>
                    </a:lnTo>
                    <a:lnTo>
                      <a:pt x="103" y="50"/>
                    </a:lnTo>
                    <a:lnTo>
                      <a:pt x="119" y="56"/>
                    </a:lnTo>
                    <a:lnTo>
                      <a:pt x="132" y="63"/>
                    </a:lnTo>
                    <a:lnTo>
                      <a:pt x="145" y="60"/>
                    </a:lnTo>
                    <a:lnTo>
                      <a:pt x="159" y="56"/>
                    </a:lnTo>
                    <a:lnTo>
                      <a:pt x="159" y="46"/>
                    </a:lnTo>
                    <a:lnTo>
                      <a:pt x="165" y="46"/>
                    </a:lnTo>
                    <a:lnTo>
                      <a:pt x="172" y="30"/>
                    </a:lnTo>
                    <a:lnTo>
                      <a:pt x="192" y="30"/>
                    </a:lnTo>
                    <a:lnTo>
                      <a:pt x="211" y="27"/>
                    </a:lnTo>
                    <a:lnTo>
                      <a:pt x="234" y="40"/>
                    </a:lnTo>
                    <a:lnTo>
                      <a:pt x="251" y="46"/>
                    </a:lnTo>
                    <a:lnTo>
                      <a:pt x="261" y="60"/>
                    </a:lnTo>
                    <a:lnTo>
                      <a:pt x="277" y="60"/>
                    </a:lnTo>
                    <a:lnTo>
                      <a:pt x="277" y="79"/>
                    </a:lnTo>
                    <a:lnTo>
                      <a:pt x="277" y="103"/>
                    </a:lnTo>
                    <a:lnTo>
                      <a:pt x="277" y="106"/>
                    </a:lnTo>
                    <a:lnTo>
                      <a:pt x="277" y="112"/>
                    </a:lnTo>
                    <a:lnTo>
                      <a:pt x="284" y="122"/>
                    </a:lnTo>
                    <a:lnTo>
                      <a:pt x="277" y="126"/>
                    </a:lnTo>
                    <a:lnTo>
                      <a:pt x="284" y="142"/>
                    </a:lnTo>
                    <a:lnTo>
                      <a:pt x="287" y="159"/>
                    </a:lnTo>
                    <a:lnTo>
                      <a:pt x="304" y="162"/>
                    </a:lnTo>
                    <a:lnTo>
                      <a:pt x="310" y="169"/>
                    </a:lnTo>
                    <a:lnTo>
                      <a:pt x="294" y="195"/>
                    </a:lnTo>
                    <a:lnTo>
                      <a:pt x="310" y="205"/>
                    </a:lnTo>
                    <a:lnTo>
                      <a:pt x="320" y="221"/>
                    </a:lnTo>
                    <a:lnTo>
                      <a:pt x="330" y="225"/>
                    </a:lnTo>
                    <a:lnTo>
                      <a:pt x="337" y="248"/>
                    </a:lnTo>
                    <a:lnTo>
                      <a:pt x="343" y="251"/>
                    </a:lnTo>
                    <a:lnTo>
                      <a:pt x="343" y="258"/>
                    </a:lnTo>
                    <a:lnTo>
                      <a:pt x="327" y="268"/>
                    </a:lnTo>
                    <a:lnTo>
                      <a:pt x="323" y="274"/>
                    </a:lnTo>
                    <a:lnTo>
                      <a:pt x="320" y="287"/>
                    </a:lnTo>
                    <a:lnTo>
                      <a:pt x="304" y="284"/>
                    </a:lnTo>
                    <a:lnTo>
                      <a:pt x="284" y="281"/>
                    </a:lnTo>
                    <a:lnTo>
                      <a:pt x="264" y="278"/>
                    </a:lnTo>
                    <a:lnTo>
                      <a:pt x="251" y="278"/>
                    </a:lnTo>
                    <a:lnTo>
                      <a:pt x="241" y="261"/>
                    </a:lnTo>
                    <a:lnTo>
                      <a:pt x="234" y="248"/>
                    </a:lnTo>
                    <a:lnTo>
                      <a:pt x="218" y="254"/>
                    </a:lnTo>
                    <a:lnTo>
                      <a:pt x="211" y="258"/>
                    </a:lnTo>
                    <a:lnTo>
                      <a:pt x="185" y="254"/>
                    </a:lnTo>
                    <a:lnTo>
                      <a:pt x="165" y="245"/>
                    </a:lnTo>
                    <a:lnTo>
                      <a:pt x="152" y="235"/>
                    </a:lnTo>
                    <a:lnTo>
                      <a:pt x="142" y="221"/>
                    </a:lnTo>
                    <a:lnTo>
                      <a:pt x="132" y="212"/>
                    </a:lnTo>
                    <a:lnTo>
                      <a:pt x="119" y="188"/>
                    </a:lnTo>
                    <a:lnTo>
                      <a:pt x="109" y="188"/>
                    </a:lnTo>
                    <a:lnTo>
                      <a:pt x="103" y="185"/>
                    </a:lnTo>
                    <a:lnTo>
                      <a:pt x="103" y="179"/>
                    </a:lnTo>
                    <a:lnTo>
                      <a:pt x="99" y="192"/>
                    </a:lnTo>
                    <a:lnTo>
                      <a:pt x="96" y="192"/>
                    </a:lnTo>
                    <a:lnTo>
                      <a:pt x="93" y="185"/>
                    </a:lnTo>
                    <a:lnTo>
                      <a:pt x="86" y="172"/>
                    </a:lnTo>
                    <a:lnTo>
                      <a:pt x="80" y="172"/>
                    </a:lnTo>
                    <a:lnTo>
                      <a:pt x="80" y="155"/>
                    </a:lnTo>
                    <a:lnTo>
                      <a:pt x="73" y="146"/>
                    </a:lnTo>
                    <a:lnTo>
                      <a:pt x="60" y="142"/>
                    </a:lnTo>
                    <a:lnTo>
                      <a:pt x="47" y="1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799" name="Freeform 1729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0" name="Freeform 1730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1" name="Freeform 1731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2" name="Freeform 1732"/>
              <p:cNvSpPr>
                <a:spLocks/>
              </p:cNvSpPr>
              <p:nvPr/>
            </p:nvSpPr>
            <p:spPr bwMode="auto">
              <a:xfrm>
                <a:off x="5351527" y="3178925"/>
                <a:ext cx="250828" cy="263530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98" y="60"/>
                  </a:cxn>
                  <a:cxn ang="0">
                    <a:pos x="105" y="43"/>
                  </a:cxn>
                  <a:cxn ang="0">
                    <a:pos x="105" y="30"/>
                  </a:cxn>
                  <a:cxn ang="0">
                    <a:pos x="98" y="30"/>
                  </a:cxn>
                  <a:cxn ang="0">
                    <a:pos x="79" y="0"/>
                  </a:cxn>
                  <a:cxn ang="0">
                    <a:pos x="72" y="4"/>
                  </a:cxn>
                  <a:cxn ang="0">
                    <a:pos x="69" y="0"/>
                  </a:cxn>
                  <a:cxn ang="0">
                    <a:pos x="46" y="0"/>
                  </a:cxn>
                  <a:cxn ang="0">
                    <a:pos x="46" y="4"/>
                  </a:cxn>
                  <a:cxn ang="0">
                    <a:pos x="29" y="20"/>
                  </a:cxn>
                  <a:cxn ang="0">
                    <a:pos x="29" y="57"/>
                  </a:cxn>
                  <a:cxn ang="0">
                    <a:pos x="13" y="66"/>
                  </a:cxn>
                  <a:cxn ang="0">
                    <a:pos x="0" y="80"/>
                  </a:cxn>
                  <a:cxn ang="0">
                    <a:pos x="9" y="100"/>
                  </a:cxn>
                  <a:cxn ang="0">
                    <a:pos x="23" y="109"/>
                  </a:cxn>
                  <a:cxn ang="0">
                    <a:pos x="36" y="116"/>
                  </a:cxn>
                  <a:cxn ang="0">
                    <a:pos x="52" y="123"/>
                  </a:cxn>
                  <a:cxn ang="0">
                    <a:pos x="69" y="129"/>
                  </a:cxn>
                  <a:cxn ang="0">
                    <a:pos x="72" y="139"/>
                  </a:cxn>
                  <a:cxn ang="0">
                    <a:pos x="79" y="139"/>
                  </a:cxn>
                  <a:cxn ang="0">
                    <a:pos x="79" y="152"/>
                  </a:cxn>
                  <a:cxn ang="0">
                    <a:pos x="98" y="159"/>
                  </a:cxn>
                  <a:cxn ang="0">
                    <a:pos x="112" y="156"/>
                  </a:cxn>
                  <a:cxn ang="0">
                    <a:pos x="131" y="166"/>
                  </a:cxn>
                  <a:cxn ang="0">
                    <a:pos x="138" y="146"/>
                  </a:cxn>
                  <a:cxn ang="0">
                    <a:pos x="158" y="146"/>
                  </a:cxn>
                  <a:cxn ang="0">
                    <a:pos x="158" y="139"/>
                  </a:cxn>
                  <a:cxn ang="0">
                    <a:pos x="148" y="126"/>
                  </a:cxn>
                  <a:cxn ang="0">
                    <a:pos x="145" y="126"/>
                  </a:cxn>
                  <a:cxn ang="0">
                    <a:pos x="145" y="109"/>
                  </a:cxn>
                  <a:cxn ang="0">
                    <a:pos x="138" y="100"/>
                  </a:cxn>
                  <a:cxn ang="0">
                    <a:pos x="125" y="96"/>
                  </a:cxn>
                  <a:cxn ang="0">
                    <a:pos x="112" y="83"/>
                  </a:cxn>
                  <a:cxn ang="0">
                    <a:pos x="102" y="73"/>
                  </a:cxn>
                </a:cxnLst>
                <a:rect l="0" t="0" r="r" b="b"/>
                <a:pathLst>
                  <a:path w="158" h="166">
                    <a:moveTo>
                      <a:pt x="102" y="73"/>
                    </a:moveTo>
                    <a:lnTo>
                      <a:pt x="98" y="60"/>
                    </a:lnTo>
                    <a:lnTo>
                      <a:pt x="105" y="43"/>
                    </a:lnTo>
                    <a:lnTo>
                      <a:pt x="105" y="30"/>
                    </a:lnTo>
                    <a:lnTo>
                      <a:pt x="98" y="30"/>
                    </a:lnTo>
                    <a:lnTo>
                      <a:pt x="79" y="0"/>
                    </a:lnTo>
                    <a:lnTo>
                      <a:pt x="72" y="4"/>
                    </a:lnTo>
                    <a:lnTo>
                      <a:pt x="69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29" y="20"/>
                    </a:lnTo>
                    <a:lnTo>
                      <a:pt x="29" y="57"/>
                    </a:lnTo>
                    <a:lnTo>
                      <a:pt x="13" y="66"/>
                    </a:lnTo>
                    <a:lnTo>
                      <a:pt x="0" y="80"/>
                    </a:lnTo>
                    <a:lnTo>
                      <a:pt x="9" y="100"/>
                    </a:lnTo>
                    <a:lnTo>
                      <a:pt x="23" y="109"/>
                    </a:lnTo>
                    <a:lnTo>
                      <a:pt x="36" y="116"/>
                    </a:lnTo>
                    <a:lnTo>
                      <a:pt x="52" y="123"/>
                    </a:lnTo>
                    <a:lnTo>
                      <a:pt x="69" y="129"/>
                    </a:lnTo>
                    <a:lnTo>
                      <a:pt x="72" y="139"/>
                    </a:lnTo>
                    <a:lnTo>
                      <a:pt x="79" y="139"/>
                    </a:lnTo>
                    <a:lnTo>
                      <a:pt x="79" y="152"/>
                    </a:lnTo>
                    <a:lnTo>
                      <a:pt x="98" y="159"/>
                    </a:lnTo>
                    <a:lnTo>
                      <a:pt x="112" y="156"/>
                    </a:lnTo>
                    <a:lnTo>
                      <a:pt x="131" y="166"/>
                    </a:lnTo>
                    <a:lnTo>
                      <a:pt x="138" y="146"/>
                    </a:lnTo>
                    <a:lnTo>
                      <a:pt x="158" y="146"/>
                    </a:lnTo>
                    <a:lnTo>
                      <a:pt x="158" y="139"/>
                    </a:lnTo>
                    <a:lnTo>
                      <a:pt x="148" y="126"/>
                    </a:lnTo>
                    <a:lnTo>
                      <a:pt x="145" y="126"/>
                    </a:lnTo>
                    <a:lnTo>
                      <a:pt x="145" y="109"/>
                    </a:lnTo>
                    <a:lnTo>
                      <a:pt x="138" y="100"/>
                    </a:lnTo>
                    <a:lnTo>
                      <a:pt x="125" y="96"/>
                    </a:lnTo>
                    <a:lnTo>
                      <a:pt x="112" y="83"/>
                    </a:lnTo>
                    <a:lnTo>
                      <a:pt x="102" y="7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3" name="Freeform 1733"/>
              <p:cNvSpPr>
                <a:spLocks/>
              </p:cNvSpPr>
              <p:nvPr/>
            </p:nvSpPr>
            <p:spPr bwMode="auto">
              <a:xfrm>
                <a:off x="5559491" y="3410703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4" name="Freeform 1734"/>
              <p:cNvSpPr>
                <a:spLocks/>
              </p:cNvSpPr>
              <p:nvPr/>
            </p:nvSpPr>
            <p:spPr bwMode="auto">
              <a:xfrm>
                <a:off x="5559491" y="3410703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5" name="Freeform 1735"/>
              <p:cNvSpPr>
                <a:spLocks/>
              </p:cNvSpPr>
              <p:nvPr/>
            </p:nvSpPr>
            <p:spPr bwMode="auto">
              <a:xfrm>
                <a:off x="5559491" y="3410703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6" name="Freeform 1736"/>
              <p:cNvSpPr>
                <a:spLocks/>
              </p:cNvSpPr>
              <p:nvPr/>
            </p:nvSpPr>
            <p:spPr bwMode="auto">
              <a:xfrm>
                <a:off x="5559491" y="3410703"/>
                <a:ext cx="63500" cy="52388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27" y="10"/>
                  </a:cxn>
                  <a:cxn ang="0">
                    <a:pos x="30" y="16"/>
                  </a:cxn>
                  <a:cxn ang="0">
                    <a:pos x="40" y="33"/>
                  </a:cxn>
                  <a:cxn ang="0">
                    <a:pos x="27" y="29"/>
                  </a:cxn>
                  <a:cxn ang="0">
                    <a:pos x="20" y="20"/>
                  </a:cxn>
                  <a:cxn ang="0">
                    <a:pos x="0" y="20"/>
                  </a:cxn>
                  <a:cxn ang="0">
                    <a:pos x="10" y="0"/>
                  </a:cxn>
                  <a:cxn ang="0">
                    <a:pos x="27" y="0"/>
                  </a:cxn>
                  <a:cxn ang="0">
                    <a:pos x="37" y="10"/>
                  </a:cxn>
                </a:cxnLst>
                <a:rect l="0" t="0" r="r" b="b"/>
                <a:pathLst>
                  <a:path w="40" h="33">
                    <a:moveTo>
                      <a:pt x="37" y="10"/>
                    </a:moveTo>
                    <a:lnTo>
                      <a:pt x="27" y="10"/>
                    </a:lnTo>
                    <a:lnTo>
                      <a:pt x="30" y="16"/>
                    </a:lnTo>
                    <a:lnTo>
                      <a:pt x="40" y="33"/>
                    </a:lnTo>
                    <a:lnTo>
                      <a:pt x="27" y="29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7" y="0"/>
                    </a:lnTo>
                    <a:lnTo>
                      <a:pt x="37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7" name="Freeform 1737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8" name="Freeform 1738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09" name="Freeform 1739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0" name="Freeform 1740"/>
              <p:cNvSpPr>
                <a:spLocks/>
              </p:cNvSpPr>
              <p:nvPr/>
            </p:nvSpPr>
            <p:spPr bwMode="auto">
              <a:xfrm>
                <a:off x="5251512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1" name="Freeform 1741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2" name="Freeform 1742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3" name="Freeform 1743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4" name="Freeform 1744"/>
              <p:cNvSpPr>
                <a:spLocks/>
              </p:cNvSpPr>
              <p:nvPr/>
            </p:nvSpPr>
            <p:spPr bwMode="auto">
              <a:xfrm>
                <a:off x="5930970" y="3185275"/>
                <a:ext cx="387355" cy="414344"/>
              </a:xfrm>
              <a:custGeom>
                <a:avLst/>
                <a:gdLst/>
                <a:ahLst/>
                <a:cxnLst>
                  <a:cxn ang="0">
                    <a:pos x="32" y="72"/>
                  </a:cxn>
                  <a:cxn ang="0">
                    <a:pos x="37" y="78"/>
                  </a:cxn>
                  <a:cxn ang="0">
                    <a:pos x="43" y="78"/>
                  </a:cxn>
                  <a:cxn ang="0">
                    <a:pos x="47" y="77"/>
                  </a:cxn>
                  <a:cxn ang="0">
                    <a:pos x="54" y="76"/>
                  </a:cxn>
                  <a:cxn ang="0">
                    <a:pos x="49" y="68"/>
                  </a:cxn>
                  <a:cxn ang="0">
                    <a:pos x="44" y="61"/>
                  </a:cxn>
                  <a:cxn ang="0">
                    <a:pos x="54" y="55"/>
                  </a:cxn>
                  <a:cxn ang="0">
                    <a:pos x="60" y="45"/>
                  </a:cxn>
                  <a:cxn ang="0">
                    <a:pos x="65" y="37"/>
                  </a:cxn>
                  <a:cxn ang="0">
                    <a:pos x="67" y="29"/>
                  </a:cxn>
                  <a:cxn ang="0">
                    <a:pos x="63" y="26"/>
                  </a:cxn>
                  <a:cxn ang="0">
                    <a:pos x="59" y="22"/>
                  </a:cxn>
                  <a:cxn ang="0">
                    <a:pos x="57" y="17"/>
                  </a:cxn>
                  <a:cxn ang="0">
                    <a:pos x="65" y="16"/>
                  </a:cxn>
                  <a:cxn ang="0">
                    <a:pos x="74" y="9"/>
                  </a:cxn>
                  <a:cxn ang="0">
                    <a:pos x="65" y="6"/>
                  </a:cxn>
                  <a:cxn ang="0">
                    <a:pos x="57" y="0"/>
                  </a:cxn>
                  <a:cxn ang="0">
                    <a:pos x="45" y="4"/>
                  </a:cxn>
                  <a:cxn ang="0">
                    <a:pos x="45" y="12"/>
                  </a:cxn>
                  <a:cxn ang="0">
                    <a:pos x="43" y="19"/>
                  </a:cxn>
                  <a:cxn ang="0">
                    <a:pos x="42" y="22"/>
                  </a:cxn>
                  <a:cxn ang="0">
                    <a:pos x="37" y="32"/>
                  </a:cxn>
                  <a:cxn ang="0">
                    <a:pos x="31" y="34"/>
                  </a:cxn>
                  <a:cxn ang="0">
                    <a:pos x="26" y="40"/>
                  </a:cxn>
                  <a:cxn ang="0">
                    <a:pos x="0" y="44"/>
                  </a:cxn>
                  <a:cxn ang="0">
                    <a:pos x="6" y="51"/>
                  </a:cxn>
                  <a:cxn ang="0">
                    <a:pos x="12" y="59"/>
                  </a:cxn>
                  <a:cxn ang="0">
                    <a:pos x="13" y="62"/>
                  </a:cxn>
                  <a:cxn ang="0">
                    <a:pos x="8" y="67"/>
                  </a:cxn>
                  <a:cxn ang="0">
                    <a:pos x="12" y="71"/>
                  </a:cxn>
                  <a:cxn ang="0">
                    <a:pos x="25" y="70"/>
                  </a:cxn>
                </a:cxnLst>
                <a:rect l="0" t="0" r="r" b="b"/>
                <a:pathLst>
                  <a:path w="74" h="79">
                    <a:moveTo>
                      <a:pt x="30" y="69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3" y="78"/>
                      <a:pt x="43" y="78"/>
                      <a:pt x="43" y="78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49" y="68"/>
                      <a:pt x="49" y="68"/>
                      <a:pt x="49" y="68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7" y="29"/>
                      <a:pt x="67" y="29"/>
                      <a:pt x="67" y="29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13" y="47"/>
                      <a:pt x="12" y="49"/>
                      <a:pt x="0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2" y="71"/>
                      <a:pt x="12" y="71"/>
                      <a:pt x="12" y="71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69"/>
                      <a:pt x="30" y="69"/>
                      <a:pt x="30" y="6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5" name="Freeform 1745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6" name="Freeform 1746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7" name="Freeform 1747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8" name="Freeform 1748"/>
              <p:cNvSpPr>
                <a:spLocks/>
              </p:cNvSpPr>
              <p:nvPr/>
            </p:nvSpPr>
            <p:spPr bwMode="auto">
              <a:xfrm>
                <a:off x="5454715" y="2629641"/>
                <a:ext cx="942986" cy="430219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11" y="46"/>
                  </a:cxn>
                  <a:cxn ang="0">
                    <a:pos x="0" y="37"/>
                  </a:cxn>
                  <a:cxn ang="0">
                    <a:pos x="2" y="25"/>
                  </a:cxn>
                  <a:cxn ang="0">
                    <a:pos x="8" y="25"/>
                  </a:cxn>
                  <a:cxn ang="0">
                    <a:pos x="15" y="19"/>
                  </a:cxn>
                  <a:cxn ang="0">
                    <a:pos x="27" y="22"/>
                  </a:cxn>
                  <a:cxn ang="0">
                    <a:pos x="40" y="24"/>
                  </a:cxn>
                  <a:cxn ang="0">
                    <a:pos x="57" y="26"/>
                  </a:cxn>
                  <a:cxn ang="0">
                    <a:pos x="54" y="19"/>
                  </a:cxn>
                  <a:cxn ang="0">
                    <a:pos x="59" y="11"/>
                  </a:cxn>
                  <a:cxn ang="0">
                    <a:pos x="60" y="9"/>
                  </a:cxn>
                  <a:cxn ang="0">
                    <a:pos x="71" y="5"/>
                  </a:cxn>
                  <a:cxn ang="0">
                    <a:pos x="82" y="3"/>
                  </a:cxn>
                  <a:cxn ang="0">
                    <a:pos x="91" y="0"/>
                  </a:cxn>
                  <a:cxn ang="0">
                    <a:pos x="121" y="5"/>
                  </a:cxn>
                  <a:cxn ang="0">
                    <a:pos x="121" y="9"/>
                  </a:cxn>
                  <a:cxn ang="0">
                    <a:pos x="134" y="17"/>
                  </a:cxn>
                  <a:cxn ang="0">
                    <a:pos x="145" y="26"/>
                  </a:cxn>
                  <a:cxn ang="0">
                    <a:pos x="150" y="25"/>
                  </a:cxn>
                  <a:cxn ang="0">
                    <a:pos x="162" y="29"/>
                  </a:cxn>
                  <a:cxn ang="0">
                    <a:pos x="174" y="31"/>
                  </a:cxn>
                  <a:cxn ang="0">
                    <a:pos x="177" y="41"/>
                  </a:cxn>
                  <a:cxn ang="0">
                    <a:pos x="177" y="49"/>
                  </a:cxn>
                  <a:cxn ang="0">
                    <a:pos x="166" y="48"/>
                  </a:cxn>
                  <a:cxn ang="0">
                    <a:pos x="167" y="58"/>
                  </a:cxn>
                  <a:cxn ang="0">
                    <a:pos x="162" y="60"/>
                  </a:cxn>
                  <a:cxn ang="0">
                    <a:pos x="160" y="63"/>
                  </a:cxn>
                  <a:cxn ang="0">
                    <a:pos x="164" y="72"/>
                  </a:cxn>
                  <a:cxn ang="0">
                    <a:pos x="164" y="75"/>
                  </a:cxn>
                  <a:cxn ang="0">
                    <a:pos x="150" y="71"/>
                  </a:cxn>
                  <a:cxn ang="0">
                    <a:pos x="138" y="72"/>
                  </a:cxn>
                  <a:cxn ang="0">
                    <a:pos x="131" y="75"/>
                  </a:cxn>
                  <a:cxn ang="0">
                    <a:pos x="121" y="73"/>
                  </a:cxn>
                  <a:cxn ang="0">
                    <a:pos x="114" y="79"/>
                  </a:cxn>
                  <a:cxn ang="0">
                    <a:pos x="105" y="80"/>
                  </a:cxn>
                  <a:cxn ang="0">
                    <a:pos x="100" y="73"/>
                  </a:cxn>
                  <a:cxn ang="0">
                    <a:pos x="86" y="69"/>
                  </a:cxn>
                  <a:cxn ang="0">
                    <a:pos x="76" y="67"/>
                  </a:cxn>
                  <a:cxn ang="0">
                    <a:pos x="64" y="59"/>
                  </a:cxn>
                  <a:cxn ang="0">
                    <a:pos x="52" y="58"/>
                  </a:cxn>
                  <a:cxn ang="0">
                    <a:pos x="48" y="65"/>
                  </a:cxn>
                  <a:cxn ang="0">
                    <a:pos x="52" y="76"/>
                  </a:cxn>
                  <a:cxn ang="0">
                    <a:pos x="48" y="80"/>
                  </a:cxn>
                  <a:cxn ang="0">
                    <a:pos x="42" y="73"/>
                  </a:cxn>
                  <a:cxn ang="0">
                    <a:pos x="27" y="63"/>
                  </a:cxn>
                  <a:cxn ang="0">
                    <a:pos x="28" y="59"/>
                  </a:cxn>
                  <a:cxn ang="0">
                    <a:pos x="32" y="57"/>
                  </a:cxn>
                  <a:cxn ang="0">
                    <a:pos x="25" y="50"/>
                  </a:cxn>
                </a:cxnLst>
                <a:rect l="0" t="0" r="r" b="b"/>
                <a:pathLst>
                  <a:path w="180" h="82">
                    <a:moveTo>
                      <a:pt x="25" y="50"/>
                    </a:moveTo>
                    <a:cubicBezTo>
                      <a:pt x="22" y="49"/>
                      <a:pt x="22" y="49"/>
                      <a:pt x="22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111" y="8"/>
                      <a:pt x="104" y="12"/>
                      <a:pt x="121" y="5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34" y="17"/>
                      <a:pt x="134" y="17"/>
                      <a:pt x="134" y="17"/>
                    </a:cubicBezTo>
                    <a:cubicBezTo>
                      <a:pt x="140" y="22"/>
                      <a:pt x="140" y="22"/>
                      <a:pt x="140" y="22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46" y="24"/>
                      <a:pt x="146" y="24"/>
                      <a:pt x="146" y="24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7" y="33"/>
                      <a:pt x="167" y="33"/>
                      <a:pt x="167" y="33"/>
                    </a:cubicBezTo>
                    <a:cubicBezTo>
                      <a:pt x="174" y="31"/>
                      <a:pt x="174" y="31"/>
                      <a:pt x="174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77" y="41"/>
                      <a:pt x="177" y="41"/>
                      <a:pt x="177" y="41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7" y="49"/>
                      <a:pt x="177" y="49"/>
                      <a:pt x="177" y="49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7" y="58"/>
                      <a:pt x="167" y="58"/>
                      <a:pt x="167" y="58"/>
                    </a:cubicBezTo>
                    <a:cubicBezTo>
                      <a:pt x="169" y="60"/>
                      <a:pt x="169" y="60"/>
                      <a:pt x="169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57" y="61"/>
                      <a:pt x="157" y="61"/>
                      <a:pt x="157" y="61"/>
                    </a:cubicBezTo>
                    <a:cubicBezTo>
                      <a:pt x="160" y="63"/>
                      <a:pt x="160" y="63"/>
                      <a:pt x="160" y="63"/>
                    </a:cubicBezTo>
                    <a:cubicBezTo>
                      <a:pt x="162" y="67"/>
                      <a:pt x="162" y="67"/>
                      <a:pt x="162" y="67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4" y="73"/>
                      <a:pt x="164" y="73"/>
                      <a:pt x="164" y="73"/>
                    </a:cubicBezTo>
                    <a:cubicBezTo>
                      <a:pt x="164" y="75"/>
                      <a:pt x="164" y="75"/>
                      <a:pt x="164" y="75"/>
                    </a:cubicBezTo>
                    <a:cubicBezTo>
                      <a:pt x="157" y="70"/>
                      <a:pt x="157" y="70"/>
                      <a:pt x="157" y="70"/>
                    </a:cubicBezTo>
                    <a:cubicBezTo>
                      <a:pt x="150" y="71"/>
                      <a:pt x="150" y="71"/>
                      <a:pt x="150" y="71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38" y="72"/>
                      <a:pt x="138" y="72"/>
                      <a:pt x="138" y="72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27" y="75"/>
                      <a:pt x="127" y="75"/>
                      <a:pt x="127" y="75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18" y="76"/>
                      <a:pt x="118" y="76"/>
                      <a:pt x="118" y="76"/>
                    </a:cubicBezTo>
                    <a:cubicBezTo>
                      <a:pt x="114" y="79"/>
                      <a:pt x="114" y="79"/>
                      <a:pt x="114" y="7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1" y="77"/>
                      <a:pt x="101" y="77"/>
                      <a:pt x="101" y="77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1" y="62"/>
                      <a:pt x="71" y="62"/>
                      <a:pt x="71" y="62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2" y="58"/>
                      <a:pt x="52" y="58"/>
                      <a:pt x="52" y="5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5"/>
                      <a:pt x="48" y="65"/>
                      <a:pt x="48" y="65"/>
                    </a:cubicBezTo>
                    <a:cubicBezTo>
                      <a:pt x="50" y="71"/>
                      <a:pt x="50" y="71"/>
                      <a:pt x="50" y="71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48" y="80"/>
                      <a:pt x="48" y="80"/>
                      <a:pt x="48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28" y="73"/>
                      <a:pt x="29" y="72"/>
                      <a:pt x="22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2" y="57"/>
                      <a:pt x="32" y="57"/>
                      <a:pt x="32" y="57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25" y="50"/>
                      <a:pt x="25" y="50"/>
                      <a:pt x="25" y="5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19" name="Freeform 1749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0" name="Freeform 1750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1" name="Freeform 1751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2" name="Freeform 1752"/>
              <p:cNvSpPr>
                <a:spLocks/>
              </p:cNvSpPr>
              <p:nvPr/>
            </p:nvSpPr>
            <p:spPr bwMode="auto">
              <a:xfrm>
                <a:off x="5308663" y="2975722"/>
                <a:ext cx="204790" cy="84138"/>
              </a:xfrm>
              <a:custGeom>
                <a:avLst/>
                <a:gdLst/>
                <a:ahLst/>
                <a:cxnLst>
                  <a:cxn ang="0">
                    <a:pos x="27" y="16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17" y="0"/>
                  </a:cxn>
                  <a:cxn ang="0">
                    <a:pos x="36" y="3"/>
                  </a:cxn>
                  <a:cxn ang="0">
                    <a:pos x="63" y="10"/>
                  </a:cxn>
                  <a:cxn ang="0">
                    <a:pos x="83" y="20"/>
                  </a:cxn>
                  <a:cxn ang="0">
                    <a:pos x="106" y="33"/>
                  </a:cxn>
                  <a:cxn ang="0">
                    <a:pos x="129" y="39"/>
                  </a:cxn>
                  <a:cxn ang="0">
                    <a:pos x="125" y="53"/>
                  </a:cxn>
                  <a:cxn ang="0">
                    <a:pos x="109" y="49"/>
                  </a:cxn>
                  <a:cxn ang="0">
                    <a:pos x="43" y="49"/>
                  </a:cxn>
                  <a:cxn ang="0">
                    <a:pos x="43" y="33"/>
                  </a:cxn>
                  <a:cxn ang="0">
                    <a:pos x="27" y="16"/>
                  </a:cxn>
                </a:cxnLst>
                <a:rect l="0" t="0" r="r" b="b"/>
                <a:pathLst>
                  <a:path w="129" h="53">
                    <a:moveTo>
                      <a:pt x="27" y="1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17" y="0"/>
                    </a:lnTo>
                    <a:lnTo>
                      <a:pt x="36" y="3"/>
                    </a:lnTo>
                    <a:lnTo>
                      <a:pt x="63" y="10"/>
                    </a:lnTo>
                    <a:lnTo>
                      <a:pt x="83" y="20"/>
                    </a:lnTo>
                    <a:lnTo>
                      <a:pt x="106" y="33"/>
                    </a:lnTo>
                    <a:lnTo>
                      <a:pt x="129" y="39"/>
                    </a:lnTo>
                    <a:lnTo>
                      <a:pt x="125" y="53"/>
                    </a:lnTo>
                    <a:lnTo>
                      <a:pt x="109" y="49"/>
                    </a:lnTo>
                    <a:lnTo>
                      <a:pt x="43" y="49"/>
                    </a:lnTo>
                    <a:lnTo>
                      <a:pt x="43" y="33"/>
                    </a:lnTo>
                    <a:lnTo>
                      <a:pt x="27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3" name="Freeform 1753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4" name="Freeform 1754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5" name="Freeform 1755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6" name="Freeform 1756"/>
              <p:cNvSpPr>
                <a:spLocks/>
              </p:cNvSpPr>
              <p:nvPr/>
            </p:nvSpPr>
            <p:spPr bwMode="auto">
              <a:xfrm>
                <a:off x="6072260" y="2991597"/>
                <a:ext cx="246065" cy="130176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37" y="36"/>
                  </a:cxn>
                  <a:cxn ang="0">
                    <a:pos x="14" y="33"/>
                  </a:cxn>
                  <a:cxn ang="0">
                    <a:pos x="0" y="19"/>
                  </a:cxn>
                  <a:cxn ang="0">
                    <a:pos x="14" y="13"/>
                  </a:cxn>
                  <a:cxn ang="0">
                    <a:pos x="30" y="16"/>
                  </a:cxn>
                  <a:cxn ang="0">
                    <a:pos x="43" y="16"/>
                  </a:cxn>
                  <a:cxn ang="0">
                    <a:pos x="53" y="3"/>
                  </a:cxn>
                  <a:cxn ang="0">
                    <a:pos x="70" y="6"/>
                  </a:cxn>
                  <a:cxn ang="0">
                    <a:pos x="93" y="6"/>
                  </a:cxn>
                  <a:cxn ang="0">
                    <a:pos x="109" y="3"/>
                  </a:cxn>
                  <a:cxn ang="0">
                    <a:pos x="132" y="0"/>
                  </a:cxn>
                  <a:cxn ang="0">
                    <a:pos x="152" y="16"/>
                  </a:cxn>
                  <a:cxn ang="0">
                    <a:pos x="155" y="23"/>
                  </a:cxn>
                  <a:cxn ang="0">
                    <a:pos x="139" y="33"/>
                  </a:cxn>
                  <a:cxn ang="0">
                    <a:pos x="132" y="46"/>
                  </a:cxn>
                  <a:cxn ang="0">
                    <a:pos x="112" y="49"/>
                  </a:cxn>
                  <a:cxn ang="0">
                    <a:pos x="106" y="59"/>
                  </a:cxn>
                  <a:cxn ang="0">
                    <a:pos x="86" y="59"/>
                  </a:cxn>
                  <a:cxn ang="0">
                    <a:pos x="76" y="66"/>
                  </a:cxn>
                  <a:cxn ang="0">
                    <a:pos x="70" y="82"/>
                  </a:cxn>
                  <a:cxn ang="0">
                    <a:pos x="40" y="76"/>
                  </a:cxn>
                  <a:cxn ang="0">
                    <a:pos x="14" y="72"/>
                  </a:cxn>
                  <a:cxn ang="0">
                    <a:pos x="14" y="59"/>
                  </a:cxn>
                  <a:cxn ang="0">
                    <a:pos x="33" y="56"/>
                  </a:cxn>
                  <a:cxn ang="0">
                    <a:pos x="53" y="49"/>
                  </a:cxn>
                </a:cxnLst>
                <a:rect l="0" t="0" r="r" b="b"/>
                <a:pathLst>
                  <a:path w="155" h="82">
                    <a:moveTo>
                      <a:pt x="53" y="49"/>
                    </a:moveTo>
                    <a:lnTo>
                      <a:pt x="37" y="36"/>
                    </a:lnTo>
                    <a:lnTo>
                      <a:pt x="14" y="33"/>
                    </a:lnTo>
                    <a:lnTo>
                      <a:pt x="0" y="19"/>
                    </a:lnTo>
                    <a:lnTo>
                      <a:pt x="14" y="13"/>
                    </a:lnTo>
                    <a:lnTo>
                      <a:pt x="30" y="16"/>
                    </a:lnTo>
                    <a:lnTo>
                      <a:pt x="43" y="16"/>
                    </a:lnTo>
                    <a:lnTo>
                      <a:pt x="53" y="3"/>
                    </a:lnTo>
                    <a:lnTo>
                      <a:pt x="70" y="6"/>
                    </a:lnTo>
                    <a:lnTo>
                      <a:pt x="93" y="6"/>
                    </a:lnTo>
                    <a:lnTo>
                      <a:pt x="109" y="3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55" y="23"/>
                    </a:lnTo>
                    <a:lnTo>
                      <a:pt x="139" y="33"/>
                    </a:lnTo>
                    <a:lnTo>
                      <a:pt x="132" y="46"/>
                    </a:lnTo>
                    <a:lnTo>
                      <a:pt x="112" y="49"/>
                    </a:lnTo>
                    <a:lnTo>
                      <a:pt x="106" y="59"/>
                    </a:lnTo>
                    <a:lnTo>
                      <a:pt x="86" y="59"/>
                    </a:lnTo>
                    <a:lnTo>
                      <a:pt x="76" y="66"/>
                    </a:lnTo>
                    <a:lnTo>
                      <a:pt x="70" y="82"/>
                    </a:lnTo>
                    <a:lnTo>
                      <a:pt x="40" y="76"/>
                    </a:lnTo>
                    <a:lnTo>
                      <a:pt x="14" y="72"/>
                    </a:lnTo>
                    <a:lnTo>
                      <a:pt x="14" y="59"/>
                    </a:lnTo>
                    <a:lnTo>
                      <a:pt x="33" y="56"/>
                    </a:lnTo>
                    <a:lnTo>
                      <a:pt x="53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7" name="Freeform 1757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8" name="Freeform 1758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29" name="Freeform 1759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0" name="Freeform 1760"/>
              <p:cNvSpPr>
                <a:spLocks/>
              </p:cNvSpPr>
              <p:nvPr/>
            </p:nvSpPr>
            <p:spPr bwMode="auto">
              <a:xfrm>
                <a:off x="6413576" y="2729655"/>
                <a:ext cx="788996" cy="319093"/>
              </a:xfrm>
              <a:custGeom>
                <a:avLst/>
                <a:gdLst/>
                <a:ahLst/>
                <a:cxnLst>
                  <a:cxn ang="0">
                    <a:pos x="88" y="59"/>
                  </a:cxn>
                  <a:cxn ang="0">
                    <a:pos x="81" y="56"/>
                  </a:cxn>
                  <a:cxn ang="0">
                    <a:pos x="61" y="54"/>
                  </a:cxn>
                  <a:cxn ang="0">
                    <a:pos x="22" y="39"/>
                  </a:cxn>
                  <a:cxn ang="0">
                    <a:pos x="19" y="3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11" y="10"/>
                  </a:cxn>
                  <a:cxn ang="0">
                    <a:pos x="25" y="9"/>
                  </a:cxn>
                  <a:cxn ang="0">
                    <a:pos x="32" y="12"/>
                  </a:cxn>
                  <a:cxn ang="0">
                    <a:pos x="43" y="10"/>
                  </a:cxn>
                  <a:cxn ang="0">
                    <a:pos x="40" y="0"/>
                  </a:cxn>
                  <a:cxn ang="0">
                    <a:pos x="55" y="3"/>
                  </a:cxn>
                  <a:cxn ang="0">
                    <a:pos x="66" y="11"/>
                  </a:cxn>
                  <a:cxn ang="0">
                    <a:pos x="80" y="10"/>
                  </a:cxn>
                  <a:cxn ang="0">
                    <a:pos x="88" y="14"/>
                  </a:cxn>
                  <a:cxn ang="0">
                    <a:pos x="103" y="16"/>
                  </a:cxn>
                  <a:cxn ang="0">
                    <a:pos x="113" y="10"/>
                  </a:cxn>
                  <a:cxn ang="0">
                    <a:pos x="126" y="12"/>
                  </a:cxn>
                  <a:cxn ang="0">
                    <a:pos x="127" y="22"/>
                  </a:cxn>
                  <a:cxn ang="0">
                    <a:pos x="130" y="24"/>
                  </a:cxn>
                  <a:cxn ang="0">
                    <a:pos x="137" y="26"/>
                  </a:cxn>
                  <a:cxn ang="0">
                    <a:pos x="150" y="29"/>
                  </a:cxn>
                  <a:cxn ang="0">
                    <a:pos x="143" y="31"/>
                  </a:cxn>
                  <a:cxn ang="0">
                    <a:pos x="137" y="38"/>
                  </a:cxn>
                  <a:cxn ang="0">
                    <a:pos x="127" y="42"/>
                  </a:cxn>
                  <a:cxn ang="0">
                    <a:pos x="122" y="46"/>
                  </a:cxn>
                  <a:cxn ang="0">
                    <a:pos x="121" y="52"/>
                  </a:cxn>
                  <a:cxn ang="0">
                    <a:pos x="111" y="57"/>
                  </a:cxn>
                  <a:cxn ang="0">
                    <a:pos x="101" y="59"/>
                  </a:cxn>
                  <a:cxn ang="0">
                    <a:pos x="95" y="60"/>
                  </a:cxn>
                </a:cxnLst>
                <a:rect l="0" t="0" r="r" b="b"/>
                <a:pathLst>
                  <a:path w="151" h="61">
                    <a:moveTo>
                      <a:pt x="95" y="60"/>
                    </a:moveTo>
                    <a:cubicBezTo>
                      <a:pt x="88" y="59"/>
                      <a:pt x="88" y="59"/>
                      <a:pt x="88" y="59"/>
                    </a:cubicBezTo>
                    <a:cubicBezTo>
                      <a:pt x="83" y="58"/>
                      <a:pt x="83" y="58"/>
                      <a:pt x="83" y="58"/>
                    </a:cubicBezTo>
                    <a:cubicBezTo>
                      <a:pt x="81" y="56"/>
                      <a:pt x="81" y="56"/>
                      <a:pt x="81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42" y="40"/>
                      <a:pt x="41" y="44"/>
                      <a:pt x="22" y="39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98" y="16"/>
                      <a:pt x="98" y="16"/>
                      <a:pt x="98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6" y="12"/>
                      <a:pt x="126" y="12"/>
                      <a:pt x="126" y="12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30" y="24"/>
                      <a:pt x="130" y="24"/>
                      <a:pt x="130" y="24"/>
                    </a:cubicBezTo>
                    <a:cubicBezTo>
                      <a:pt x="135" y="24"/>
                      <a:pt x="135" y="24"/>
                      <a:pt x="135" y="24"/>
                    </a:cubicBezTo>
                    <a:cubicBezTo>
                      <a:pt x="137" y="26"/>
                      <a:pt x="137" y="26"/>
                      <a:pt x="137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50" y="29"/>
                      <a:pt x="150" y="29"/>
                      <a:pt x="150" y="29"/>
                    </a:cubicBezTo>
                    <a:cubicBezTo>
                      <a:pt x="151" y="31"/>
                      <a:pt x="151" y="31"/>
                      <a:pt x="151" y="31"/>
                    </a:cubicBezTo>
                    <a:cubicBezTo>
                      <a:pt x="143" y="31"/>
                      <a:pt x="143" y="31"/>
                      <a:pt x="143" y="31"/>
                    </a:cubicBezTo>
                    <a:cubicBezTo>
                      <a:pt x="137" y="34"/>
                      <a:pt x="137" y="34"/>
                      <a:pt x="137" y="34"/>
                    </a:cubicBezTo>
                    <a:cubicBezTo>
                      <a:pt x="137" y="38"/>
                      <a:pt x="137" y="38"/>
                      <a:pt x="137" y="38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27" y="42"/>
                      <a:pt x="127" y="42"/>
                      <a:pt x="127" y="42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2" y="46"/>
                      <a:pt x="122" y="46"/>
                      <a:pt x="122" y="46"/>
                    </a:cubicBezTo>
                    <a:cubicBezTo>
                      <a:pt x="125" y="49"/>
                      <a:pt x="125" y="49"/>
                      <a:pt x="125" y="49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1" y="57"/>
                      <a:pt x="111" y="57"/>
                      <a:pt x="111" y="57"/>
                    </a:cubicBezTo>
                    <a:cubicBezTo>
                      <a:pt x="105" y="57"/>
                      <a:pt x="105" y="57"/>
                      <a:pt x="105" y="57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5" y="60"/>
                      <a:pt x="95" y="60"/>
                      <a:pt x="95" y="6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1" name="Freeform 1761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2" name="Freeform 1762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3" name="Freeform 1763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4" name="Freeform 1764"/>
              <p:cNvSpPr>
                <a:spLocks/>
              </p:cNvSpPr>
              <p:nvPr/>
            </p:nvSpPr>
            <p:spPr bwMode="auto">
              <a:xfrm>
                <a:off x="6026222" y="3043985"/>
                <a:ext cx="203203" cy="157164"/>
              </a:xfrm>
              <a:custGeom>
                <a:avLst/>
                <a:gdLst/>
                <a:ahLst/>
                <a:cxnLst>
                  <a:cxn ang="0">
                    <a:pos x="112" y="89"/>
                  </a:cxn>
                  <a:cxn ang="0">
                    <a:pos x="95" y="89"/>
                  </a:cxn>
                  <a:cxn ang="0">
                    <a:pos x="82" y="99"/>
                  </a:cxn>
                  <a:cxn ang="0">
                    <a:pos x="72" y="72"/>
                  </a:cxn>
                  <a:cxn ang="0">
                    <a:pos x="69" y="72"/>
                  </a:cxn>
                  <a:cxn ang="0">
                    <a:pos x="62" y="66"/>
                  </a:cxn>
                  <a:cxn ang="0">
                    <a:pos x="56" y="69"/>
                  </a:cxn>
                  <a:cxn ang="0">
                    <a:pos x="56" y="79"/>
                  </a:cxn>
                  <a:cxn ang="0">
                    <a:pos x="43" y="89"/>
                  </a:cxn>
                  <a:cxn ang="0">
                    <a:pos x="36" y="89"/>
                  </a:cxn>
                  <a:cxn ang="0">
                    <a:pos x="29" y="92"/>
                  </a:cxn>
                  <a:cxn ang="0">
                    <a:pos x="23" y="92"/>
                  </a:cxn>
                  <a:cxn ang="0">
                    <a:pos x="16" y="89"/>
                  </a:cxn>
                  <a:cxn ang="0">
                    <a:pos x="16" y="76"/>
                  </a:cxn>
                  <a:cxn ang="0">
                    <a:pos x="23" y="62"/>
                  </a:cxn>
                  <a:cxn ang="0">
                    <a:pos x="16" y="52"/>
                  </a:cxn>
                  <a:cxn ang="0">
                    <a:pos x="6" y="46"/>
                  </a:cxn>
                  <a:cxn ang="0">
                    <a:pos x="0" y="39"/>
                  </a:cxn>
                  <a:cxn ang="0">
                    <a:pos x="16" y="23"/>
                  </a:cxn>
                  <a:cxn ang="0">
                    <a:pos x="33" y="10"/>
                  </a:cxn>
                  <a:cxn ang="0">
                    <a:pos x="43" y="0"/>
                  </a:cxn>
                  <a:cxn ang="0">
                    <a:pos x="66" y="3"/>
                  </a:cxn>
                  <a:cxn ang="0">
                    <a:pos x="82" y="13"/>
                  </a:cxn>
                  <a:cxn ang="0">
                    <a:pos x="62" y="19"/>
                  </a:cxn>
                  <a:cxn ang="0">
                    <a:pos x="43" y="23"/>
                  </a:cxn>
                  <a:cxn ang="0">
                    <a:pos x="43" y="39"/>
                  </a:cxn>
                  <a:cxn ang="0">
                    <a:pos x="69" y="43"/>
                  </a:cxn>
                  <a:cxn ang="0">
                    <a:pos x="95" y="46"/>
                  </a:cxn>
                  <a:cxn ang="0">
                    <a:pos x="108" y="62"/>
                  </a:cxn>
                  <a:cxn ang="0">
                    <a:pos x="122" y="66"/>
                  </a:cxn>
                  <a:cxn ang="0">
                    <a:pos x="128" y="89"/>
                  </a:cxn>
                  <a:cxn ang="0">
                    <a:pos x="112" y="89"/>
                  </a:cxn>
                </a:cxnLst>
                <a:rect l="0" t="0" r="r" b="b"/>
                <a:pathLst>
                  <a:path w="128" h="99">
                    <a:moveTo>
                      <a:pt x="112" y="89"/>
                    </a:moveTo>
                    <a:lnTo>
                      <a:pt x="95" y="89"/>
                    </a:lnTo>
                    <a:lnTo>
                      <a:pt x="82" y="99"/>
                    </a:lnTo>
                    <a:lnTo>
                      <a:pt x="72" y="72"/>
                    </a:lnTo>
                    <a:lnTo>
                      <a:pt x="69" y="72"/>
                    </a:lnTo>
                    <a:lnTo>
                      <a:pt x="62" y="66"/>
                    </a:lnTo>
                    <a:lnTo>
                      <a:pt x="56" y="69"/>
                    </a:lnTo>
                    <a:lnTo>
                      <a:pt x="56" y="79"/>
                    </a:lnTo>
                    <a:lnTo>
                      <a:pt x="43" y="89"/>
                    </a:lnTo>
                    <a:lnTo>
                      <a:pt x="36" y="89"/>
                    </a:lnTo>
                    <a:lnTo>
                      <a:pt x="29" y="92"/>
                    </a:lnTo>
                    <a:lnTo>
                      <a:pt x="23" y="92"/>
                    </a:lnTo>
                    <a:lnTo>
                      <a:pt x="16" y="89"/>
                    </a:lnTo>
                    <a:lnTo>
                      <a:pt x="16" y="76"/>
                    </a:lnTo>
                    <a:lnTo>
                      <a:pt x="23" y="62"/>
                    </a:lnTo>
                    <a:lnTo>
                      <a:pt x="16" y="52"/>
                    </a:lnTo>
                    <a:lnTo>
                      <a:pt x="6" y="46"/>
                    </a:lnTo>
                    <a:lnTo>
                      <a:pt x="0" y="39"/>
                    </a:lnTo>
                    <a:lnTo>
                      <a:pt x="16" y="23"/>
                    </a:lnTo>
                    <a:lnTo>
                      <a:pt x="33" y="10"/>
                    </a:lnTo>
                    <a:lnTo>
                      <a:pt x="43" y="0"/>
                    </a:lnTo>
                    <a:lnTo>
                      <a:pt x="66" y="3"/>
                    </a:lnTo>
                    <a:lnTo>
                      <a:pt x="82" y="13"/>
                    </a:lnTo>
                    <a:lnTo>
                      <a:pt x="62" y="19"/>
                    </a:lnTo>
                    <a:lnTo>
                      <a:pt x="43" y="23"/>
                    </a:lnTo>
                    <a:lnTo>
                      <a:pt x="43" y="39"/>
                    </a:lnTo>
                    <a:lnTo>
                      <a:pt x="69" y="43"/>
                    </a:lnTo>
                    <a:lnTo>
                      <a:pt x="95" y="46"/>
                    </a:lnTo>
                    <a:lnTo>
                      <a:pt x="108" y="62"/>
                    </a:lnTo>
                    <a:lnTo>
                      <a:pt x="122" y="66"/>
                    </a:lnTo>
                    <a:lnTo>
                      <a:pt x="128" y="89"/>
                    </a:lnTo>
                    <a:lnTo>
                      <a:pt x="112" y="8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5" name="Freeform 1765"/>
              <p:cNvSpPr>
                <a:spLocks/>
              </p:cNvSpPr>
              <p:nvPr/>
            </p:nvSpPr>
            <p:spPr bwMode="auto">
              <a:xfrm>
                <a:off x="5707130" y="2916983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6" name="Freeform 1766"/>
              <p:cNvSpPr>
                <a:spLocks/>
              </p:cNvSpPr>
              <p:nvPr/>
            </p:nvSpPr>
            <p:spPr bwMode="auto">
              <a:xfrm>
                <a:off x="5707130" y="2916983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7" name="Freeform 1767"/>
              <p:cNvSpPr>
                <a:spLocks/>
              </p:cNvSpPr>
              <p:nvPr/>
            </p:nvSpPr>
            <p:spPr bwMode="auto">
              <a:xfrm>
                <a:off x="5707130" y="2916983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8" name="Freeform 1768"/>
              <p:cNvSpPr>
                <a:spLocks/>
              </p:cNvSpPr>
              <p:nvPr/>
            </p:nvSpPr>
            <p:spPr bwMode="auto">
              <a:xfrm>
                <a:off x="5707130" y="2916983"/>
                <a:ext cx="392118" cy="268291"/>
              </a:xfrm>
              <a:custGeom>
                <a:avLst/>
                <a:gdLst/>
                <a:ahLst/>
                <a:cxnLst>
                  <a:cxn ang="0">
                    <a:pos x="174" y="142"/>
                  </a:cxn>
                  <a:cxn ang="0">
                    <a:pos x="145" y="126"/>
                  </a:cxn>
                  <a:cxn ang="0">
                    <a:pos x="122" y="109"/>
                  </a:cxn>
                  <a:cxn ang="0">
                    <a:pos x="105" y="99"/>
                  </a:cxn>
                  <a:cxn ang="0">
                    <a:pos x="85" y="96"/>
                  </a:cxn>
                  <a:cxn ang="0">
                    <a:pos x="75" y="70"/>
                  </a:cxn>
                  <a:cxn ang="0">
                    <a:pos x="52" y="57"/>
                  </a:cxn>
                  <a:cxn ang="0">
                    <a:pos x="39" y="70"/>
                  </a:cxn>
                  <a:cxn ang="0">
                    <a:pos x="33" y="76"/>
                  </a:cxn>
                  <a:cxn ang="0">
                    <a:pos x="36" y="86"/>
                  </a:cxn>
                  <a:cxn ang="0">
                    <a:pos x="13" y="83"/>
                  </a:cxn>
                  <a:cxn ang="0">
                    <a:pos x="13" y="66"/>
                  </a:cxn>
                  <a:cxn ang="0">
                    <a:pos x="6" y="50"/>
                  </a:cxn>
                  <a:cxn ang="0">
                    <a:pos x="0" y="30"/>
                  </a:cxn>
                  <a:cxn ang="0">
                    <a:pos x="0" y="14"/>
                  </a:cxn>
                  <a:cxn ang="0">
                    <a:pos x="13" y="7"/>
                  </a:cxn>
                  <a:cxn ang="0">
                    <a:pos x="36" y="0"/>
                  </a:cxn>
                  <a:cxn ang="0">
                    <a:pos x="52" y="10"/>
                  </a:cxn>
                  <a:cxn ang="0">
                    <a:pos x="75" y="20"/>
                  </a:cxn>
                  <a:cxn ang="0">
                    <a:pos x="92" y="37"/>
                  </a:cxn>
                  <a:cxn ang="0">
                    <a:pos x="105" y="37"/>
                  </a:cxn>
                  <a:cxn ang="0">
                    <a:pos x="125" y="43"/>
                  </a:cxn>
                  <a:cxn ang="0">
                    <a:pos x="158" y="43"/>
                  </a:cxn>
                  <a:cxn ang="0">
                    <a:pos x="171" y="57"/>
                  </a:cxn>
                  <a:cxn ang="0">
                    <a:pos x="174" y="70"/>
                  </a:cxn>
                  <a:cxn ang="0">
                    <a:pos x="191" y="80"/>
                  </a:cxn>
                  <a:cxn ang="0">
                    <a:pos x="204" y="86"/>
                  </a:cxn>
                  <a:cxn ang="0">
                    <a:pos x="217" y="76"/>
                  </a:cxn>
                  <a:cxn ang="0">
                    <a:pos x="230" y="66"/>
                  </a:cxn>
                  <a:cxn ang="0">
                    <a:pos x="247" y="80"/>
                  </a:cxn>
                  <a:cxn ang="0">
                    <a:pos x="230" y="90"/>
                  </a:cxn>
                  <a:cxn ang="0">
                    <a:pos x="217" y="106"/>
                  </a:cxn>
                  <a:cxn ang="0">
                    <a:pos x="201" y="119"/>
                  </a:cxn>
                  <a:cxn ang="0">
                    <a:pos x="204" y="126"/>
                  </a:cxn>
                  <a:cxn ang="0">
                    <a:pos x="217" y="132"/>
                  </a:cxn>
                  <a:cxn ang="0">
                    <a:pos x="224" y="142"/>
                  </a:cxn>
                  <a:cxn ang="0">
                    <a:pos x="217" y="156"/>
                  </a:cxn>
                  <a:cxn ang="0">
                    <a:pos x="214" y="169"/>
                  </a:cxn>
                  <a:cxn ang="0">
                    <a:pos x="201" y="165"/>
                  </a:cxn>
                  <a:cxn ang="0">
                    <a:pos x="184" y="165"/>
                  </a:cxn>
                  <a:cxn ang="0">
                    <a:pos x="174" y="142"/>
                  </a:cxn>
                </a:cxnLst>
                <a:rect l="0" t="0" r="r" b="b"/>
                <a:pathLst>
                  <a:path w="247" h="169">
                    <a:moveTo>
                      <a:pt x="174" y="142"/>
                    </a:moveTo>
                    <a:lnTo>
                      <a:pt x="145" y="126"/>
                    </a:lnTo>
                    <a:lnTo>
                      <a:pt x="122" y="109"/>
                    </a:lnTo>
                    <a:lnTo>
                      <a:pt x="105" y="99"/>
                    </a:lnTo>
                    <a:lnTo>
                      <a:pt x="85" y="96"/>
                    </a:lnTo>
                    <a:lnTo>
                      <a:pt x="75" y="70"/>
                    </a:lnTo>
                    <a:lnTo>
                      <a:pt x="52" y="57"/>
                    </a:lnTo>
                    <a:lnTo>
                      <a:pt x="39" y="70"/>
                    </a:lnTo>
                    <a:lnTo>
                      <a:pt x="33" y="76"/>
                    </a:lnTo>
                    <a:lnTo>
                      <a:pt x="36" y="86"/>
                    </a:lnTo>
                    <a:lnTo>
                      <a:pt x="13" y="83"/>
                    </a:lnTo>
                    <a:lnTo>
                      <a:pt x="13" y="66"/>
                    </a:lnTo>
                    <a:lnTo>
                      <a:pt x="6" y="50"/>
                    </a:lnTo>
                    <a:lnTo>
                      <a:pt x="0" y="30"/>
                    </a:lnTo>
                    <a:lnTo>
                      <a:pt x="0" y="14"/>
                    </a:lnTo>
                    <a:lnTo>
                      <a:pt x="13" y="7"/>
                    </a:lnTo>
                    <a:lnTo>
                      <a:pt x="36" y="0"/>
                    </a:lnTo>
                    <a:lnTo>
                      <a:pt x="52" y="10"/>
                    </a:lnTo>
                    <a:lnTo>
                      <a:pt x="75" y="20"/>
                    </a:lnTo>
                    <a:lnTo>
                      <a:pt x="92" y="37"/>
                    </a:lnTo>
                    <a:lnTo>
                      <a:pt x="105" y="37"/>
                    </a:lnTo>
                    <a:lnTo>
                      <a:pt x="125" y="43"/>
                    </a:lnTo>
                    <a:lnTo>
                      <a:pt x="158" y="43"/>
                    </a:lnTo>
                    <a:lnTo>
                      <a:pt x="171" y="57"/>
                    </a:lnTo>
                    <a:lnTo>
                      <a:pt x="174" y="70"/>
                    </a:lnTo>
                    <a:lnTo>
                      <a:pt x="191" y="80"/>
                    </a:lnTo>
                    <a:lnTo>
                      <a:pt x="204" y="86"/>
                    </a:lnTo>
                    <a:lnTo>
                      <a:pt x="217" y="76"/>
                    </a:lnTo>
                    <a:lnTo>
                      <a:pt x="230" y="66"/>
                    </a:lnTo>
                    <a:lnTo>
                      <a:pt x="247" y="80"/>
                    </a:lnTo>
                    <a:lnTo>
                      <a:pt x="230" y="90"/>
                    </a:lnTo>
                    <a:lnTo>
                      <a:pt x="217" y="106"/>
                    </a:lnTo>
                    <a:lnTo>
                      <a:pt x="201" y="119"/>
                    </a:lnTo>
                    <a:lnTo>
                      <a:pt x="204" y="126"/>
                    </a:lnTo>
                    <a:lnTo>
                      <a:pt x="217" y="132"/>
                    </a:lnTo>
                    <a:lnTo>
                      <a:pt x="224" y="142"/>
                    </a:lnTo>
                    <a:lnTo>
                      <a:pt x="217" y="156"/>
                    </a:lnTo>
                    <a:lnTo>
                      <a:pt x="214" y="169"/>
                    </a:lnTo>
                    <a:lnTo>
                      <a:pt x="201" y="165"/>
                    </a:lnTo>
                    <a:lnTo>
                      <a:pt x="184" y="165"/>
                    </a:lnTo>
                    <a:lnTo>
                      <a:pt x="174" y="14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39" name="Freeform 1769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7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0" name="Freeform 1770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7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1" name="Freeform 1771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7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2" name="Freeform 1772"/>
              <p:cNvSpPr>
                <a:spLocks/>
              </p:cNvSpPr>
              <p:nvPr/>
            </p:nvSpPr>
            <p:spPr bwMode="auto">
              <a:xfrm>
                <a:off x="5634105" y="3007472"/>
                <a:ext cx="365130" cy="246067"/>
              </a:xfrm>
              <a:custGeom>
                <a:avLst/>
                <a:gdLst/>
                <a:ahLst/>
                <a:cxnLst>
                  <a:cxn ang="0">
                    <a:pos x="217" y="122"/>
                  </a:cxn>
                  <a:cxn ang="0">
                    <a:pos x="214" y="135"/>
                  </a:cxn>
                  <a:cxn ang="0">
                    <a:pos x="197" y="141"/>
                  </a:cxn>
                  <a:cxn ang="0">
                    <a:pos x="191" y="155"/>
                  </a:cxn>
                  <a:cxn ang="0">
                    <a:pos x="184" y="148"/>
                  </a:cxn>
                  <a:cxn ang="0">
                    <a:pos x="168" y="145"/>
                  </a:cxn>
                  <a:cxn ang="0">
                    <a:pos x="164" y="125"/>
                  </a:cxn>
                  <a:cxn ang="0">
                    <a:pos x="148" y="125"/>
                  </a:cxn>
                  <a:cxn ang="0">
                    <a:pos x="135" y="112"/>
                  </a:cxn>
                  <a:cxn ang="0">
                    <a:pos x="121" y="105"/>
                  </a:cxn>
                  <a:cxn ang="0">
                    <a:pos x="98" y="92"/>
                  </a:cxn>
                  <a:cxn ang="0">
                    <a:pos x="79" y="95"/>
                  </a:cxn>
                  <a:cxn ang="0">
                    <a:pos x="59" y="95"/>
                  </a:cxn>
                  <a:cxn ang="0">
                    <a:pos x="49" y="112"/>
                  </a:cxn>
                  <a:cxn ang="0">
                    <a:pos x="46" y="112"/>
                  </a:cxn>
                  <a:cxn ang="0">
                    <a:pos x="39" y="92"/>
                  </a:cxn>
                  <a:cxn ang="0">
                    <a:pos x="36" y="75"/>
                  </a:cxn>
                  <a:cxn ang="0">
                    <a:pos x="26" y="72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26" y="56"/>
                  </a:cxn>
                  <a:cxn ang="0">
                    <a:pos x="23" y="59"/>
                  </a:cxn>
                  <a:cxn ang="0">
                    <a:pos x="19" y="59"/>
                  </a:cxn>
                  <a:cxn ang="0">
                    <a:pos x="13" y="42"/>
                  </a:cxn>
                  <a:cxn ang="0">
                    <a:pos x="19" y="39"/>
                  </a:cxn>
                  <a:cxn ang="0">
                    <a:pos x="26" y="42"/>
                  </a:cxn>
                  <a:cxn ang="0">
                    <a:pos x="32" y="46"/>
                  </a:cxn>
                  <a:cxn ang="0">
                    <a:pos x="39" y="46"/>
                  </a:cxn>
                  <a:cxn ang="0">
                    <a:pos x="39" y="33"/>
                  </a:cxn>
                  <a:cxn ang="0">
                    <a:pos x="26" y="19"/>
                  </a:cxn>
                  <a:cxn ang="0">
                    <a:pos x="13" y="19"/>
                  </a:cxn>
                  <a:cxn ang="0">
                    <a:pos x="13" y="33"/>
                  </a:cxn>
                  <a:cxn ang="0">
                    <a:pos x="3" y="16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42" y="23"/>
                  </a:cxn>
                  <a:cxn ang="0">
                    <a:pos x="59" y="26"/>
                  </a:cxn>
                  <a:cxn ang="0">
                    <a:pos x="82" y="29"/>
                  </a:cxn>
                  <a:cxn ang="0">
                    <a:pos x="79" y="19"/>
                  </a:cxn>
                  <a:cxn ang="0">
                    <a:pos x="85" y="16"/>
                  </a:cxn>
                  <a:cxn ang="0">
                    <a:pos x="98" y="0"/>
                  </a:cxn>
                  <a:cxn ang="0">
                    <a:pos x="121" y="16"/>
                  </a:cxn>
                  <a:cxn ang="0">
                    <a:pos x="131" y="39"/>
                  </a:cxn>
                  <a:cxn ang="0">
                    <a:pos x="151" y="46"/>
                  </a:cxn>
                  <a:cxn ang="0">
                    <a:pos x="168" y="52"/>
                  </a:cxn>
                  <a:cxn ang="0">
                    <a:pos x="191" y="72"/>
                  </a:cxn>
                  <a:cxn ang="0">
                    <a:pos x="220" y="85"/>
                  </a:cxn>
                  <a:cxn ang="0">
                    <a:pos x="230" y="108"/>
                  </a:cxn>
                  <a:cxn ang="0">
                    <a:pos x="224" y="112"/>
                  </a:cxn>
                  <a:cxn ang="0">
                    <a:pos x="217" y="122"/>
                  </a:cxn>
                </a:cxnLst>
                <a:rect l="0" t="0" r="r" b="b"/>
                <a:pathLst>
                  <a:path w="230" h="155">
                    <a:moveTo>
                      <a:pt x="217" y="122"/>
                    </a:moveTo>
                    <a:lnTo>
                      <a:pt x="214" y="135"/>
                    </a:lnTo>
                    <a:lnTo>
                      <a:pt x="197" y="141"/>
                    </a:lnTo>
                    <a:lnTo>
                      <a:pt x="191" y="155"/>
                    </a:lnTo>
                    <a:lnTo>
                      <a:pt x="184" y="148"/>
                    </a:lnTo>
                    <a:lnTo>
                      <a:pt x="168" y="145"/>
                    </a:lnTo>
                    <a:lnTo>
                      <a:pt x="164" y="125"/>
                    </a:lnTo>
                    <a:lnTo>
                      <a:pt x="148" y="125"/>
                    </a:lnTo>
                    <a:lnTo>
                      <a:pt x="135" y="112"/>
                    </a:lnTo>
                    <a:lnTo>
                      <a:pt x="121" y="105"/>
                    </a:lnTo>
                    <a:lnTo>
                      <a:pt x="98" y="92"/>
                    </a:lnTo>
                    <a:lnTo>
                      <a:pt x="79" y="95"/>
                    </a:lnTo>
                    <a:lnTo>
                      <a:pt x="59" y="95"/>
                    </a:lnTo>
                    <a:lnTo>
                      <a:pt x="49" y="112"/>
                    </a:lnTo>
                    <a:lnTo>
                      <a:pt x="46" y="112"/>
                    </a:lnTo>
                    <a:lnTo>
                      <a:pt x="39" y="92"/>
                    </a:lnTo>
                    <a:lnTo>
                      <a:pt x="36" y="75"/>
                    </a:ln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26" y="56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3" y="42"/>
                    </a:lnTo>
                    <a:lnTo>
                      <a:pt x="19" y="39"/>
                    </a:lnTo>
                    <a:lnTo>
                      <a:pt x="26" y="42"/>
                    </a:lnTo>
                    <a:lnTo>
                      <a:pt x="32" y="46"/>
                    </a:lnTo>
                    <a:lnTo>
                      <a:pt x="39" y="46"/>
                    </a:lnTo>
                    <a:lnTo>
                      <a:pt x="39" y="33"/>
                    </a:lnTo>
                    <a:lnTo>
                      <a:pt x="26" y="19"/>
                    </a:lnTo>
                    <a:lnTo>
                      <a:pt x="13" y="19"/>
                    </a:lnTo>
                    <a:lnTo>
                      <a:pt x="13" y="33"/>
                    </a:lnTo>
                    <a:lnTo>
                      <a:pt x="3" y="16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42" y="23"/>
                    </a:lnTo>
                    <a:lnTo>
                      <a:pt x="59" y="26"/>
                    </a:lnTo>
                    <a:lnTo>
                      <a:pt x="82" y="29"/>
                    </a:lnTo>
                    <a:lnTo>
                      <a:pt x="79" y="19"/>
                    </a:lnTo>
                    <a:lnTo>
                      <a:pt x="85" y="16"/>
                    </a:lnTo>
                    <a:lnTo>
                      <a:pt x="98" y="0"/>
                    </a:lnTo>
                    <a:lnTo>
                      <a:pt x="121" y="16"/>
                    </a:lnTo>
                    <a:lnTo>
                      <a:pt x="131" y="39"/>
                    </a:lnTo>
                    <a:lnTo>
                      <a:pt x="151" y="46"/>
                    </a:lnTo>
                    <a:lnTo>
                      <a:pt x="168" y="52"/>
                    </a:lnTo>
                    <a:lnTo>
                      <a:pt x="191" y="72"/>
                    </a:lnTo>
                    <a:lnTo>
                      <a:pt x="220" y="85"/>
                    </a:lnTo>
                    <a:lnTo>
                      <a:pt x="230" y="108"/>
                    </a:lnTo>
                    <a:lnTo>
                      <a:pt x="224" y="112"/>
                    </a:lnTo>
                    <a:lnTo>
                      <a:pt x="217" y="12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3" name="Freeform 1773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4" name="Freeform 1774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5" name="Freeform 1775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6" name="Freeform 1776"/>
              <p:cNvSpPr>
                <a:spLocks/>
              </p:cNvSpPr>
              <p:nvPr/>
            </p:nvSpPr>
            <p:spPr bwMode="auto">
              <a:xfrm>
                <a:off x="5262626" y="3178925"/>
                <a:ext cx="155577" cy="152402"/>
              </a:xfrm>
              <a:custGeom>
                <a:avLst/>
                <a:gdLst/>
                <a:ahLst/>
                <a:cxnLst>
                  <a:cxn ang="0">
                    <a:pos x="59" y="10"/>
                  </a:cxn>
                  <a:cxn ang="0">
                    <a:pos x="39" y="10"/>
                  </a:cxn>
                  <a:cxn ang="0">
                    <a:pos x="16" y="14"/>
                  </a:cxn>
                  <a:cxn ang="0">
                    <a:pos x="9" y="14"/>
                  </a:cxn>
                  <a:cxn ang="0">
                    <a:pos x="9" y="24"/>
                  </a:cxn>
                  <a:cxn ang="0">
                    <a:pos x="0" y="30"/>
                  </a:cxn>
                  <a:cxn ang="0">
                    <a:pos x="3" y="53"/>
                  </a:cxn>
                  <a:cxn ang="0">
                    <a:pos x="16" y="57"/>
                  </a:cxn>
                  <a:cxn ang="0">
                    <a:pos x="9" y="66"/>
                  </a:cxn>
                  <a:cxn ang="0">
                    <a:pos x="0" y="80"/>
                  </a:cxn>
                  <a:cxn ang="0">
                    <a:pos x="3" y="90"/>
                  </a:cxn>
                  <a:cxn ang="0">
                    <a:pos x="23" y="96"/>
                  </a:cxn>
                  <a:cxn ang="0">
                    <a:pos x="39" y="90"/>
                  </a:cxn>
                  <a:cxn ang="0">
                    <a:pos x="52" y="80"/>
                  </a:cxn>
                  <a:cxn ang="0">
                    <a:pos x="65" y="66"/>
                  </a:cxn>
                  <a:cxn ang="0">
                    <a:pos x="82" y="57"/>
                  </a:cxn>
                  <a:cxn ang="0">
                    <a:pos x="82" y="20"/>
                  </a:cxn>
                  <a:cxn ang="0">
                    <a:pos x="98" y="4"/>
                  </a:cxn>
                  <a:cxn ang="0">
                    <a:pos x="92" y="0"/>
                  </a:cxn>
                  <a:cxn ang="0">
                    <a:pos x="75" y="4"/>
                  </a:cxn>
                  <a:cxn ang="0">
                    <a:pos x="59" y="10"/>
                  </a:cxn>
                </a:cxnLst>
                <a:rect l="0" t="0" r="r" b="b"/>
                <a:pathLst>
                  <a:path w="98" h="96">
                    <a:moveTo>
                      <a:pt x="59" y="10"/>
                    </a:moveTo>
                    <a:lnTo>
                      <a:pt x="39" y="10"/>
                    </a:lnTo>
                    <a:lnTo>
                      <a:pt x="16" y="14"/>
                    </a:lnTo>
                    <a:lnTo>
                      <a:pt x="9" y="14"/>
                    </a:lnTo>
                    <a:lnTo>
                      <a:pt x="9" y="24"/>
                    </a:lnTo>
                    <a:lnTo>
                      <a:pt x="0" y="30"/>
                    </a:lnTo>
                    <a:lnTo>
                      <a:pt x="3" y="53"/>
                    </a:lnTo>
                    <a:lnTo>
                      <a:pt x="16" y="57"/>
                    </a:lnTo>
                    <a:lnTo>
                      <a:pt x="9" y="66"/>
                    </a:lnTo>
                    <a:lnTo>
                      <a:pt x="0" y="80"/>
                    </a:lnTo>
                    <a:lnTo>
                      <a:pt x="3" y="90"/>
                    </a:lnTo>
                    <a:lnTo>
                      <a:pt x="23" y="96"/>
                    </a:lnTo>
                    <a:lnTo>
                      <a:pt x="39" y="90"/>
                    </a:lnTo>
                    <a:lnTo>
                      <a:pt x="52" y="80"/>
                    </a:lnTo>
                    <a:lnTo>
                      <a:pt x="65" y="66"/>
                    </a:lnTo>
                    <a:lnTo>
                      <a:pt x="82" y="57"/>
                    </a:lnTo>
                    <a:lnTo>
                      <a:pt x="82" y="20"/>
                    </a:lnTo>
                    <a:lnTo>
                      <a:pt x="98" y="4"/>
                    </a:lnTo>
                    <a:lnTo>
                      <a:pt x="92" y="0"/>
                    </a:lnTo>
                    <a:lnTo>
                      <a:pt x="75" y="4"/>
                    </a:lnTo>
                    <a:lnTo>
                      <a:pt x="5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7" name="Freeform 1777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8" name="Freeform 1778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49" name="Freeform 1779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0" name="Freeform 1780"/>
              <p:cNvSpPr>
                <a:spLocks/>
              </p:cNvSpPr>
              <p:nvPr/>
            </p:nvSpPr>
            <p:spPr bwMode="auto">
              <a:xfrm>
                <a:off x="4868920" y="3028110"/>
                <a:ext cx="52388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10" y="3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3" y="0"/>
                  </a:cxn>
                  <a:cxn ang="0">
                    <a:pos x="27" y="3"/>
                  </a:cxn>
                  <a:cxn ang="0">
                    <a:pos x="33" y="3"/>
                  </a:cxn>
                  <a:cxn ang="0">
                    <a:pos x="33" y="6"/>
                  </a:cxn>
                  <a:cxn ang="0">
                    <a:pos x="33" y="20"/>
                  </a:cxn>
                  <a:cxn ang="0">
                    <a:pos x="7" y="33"/>
                  </a:cxn>
                </a:cxnLst>
                <a:rect l="0" t="0" r="r" b="b"/>
                <a:pathLst>
                  <a:path w="33" h="33">
                    <a:moveTo>
                      <a:pt x="7" y="33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3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33" y="20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1" name="Freeform 1781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2" name="Freeform 1782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3" name="Freeform 1783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4" name="Freeform 1784"/>
              <p:cNvSpPr>
                <a:spLocks/>
              </p:cNvSpPr>
              <p:nvPr/>
            </p:nvSpPr>
            <p:spPr bwMode="auto">
              <a:xfrm>
                <a:off x="4905434" y="2969372"/>
                <a:ext cx="147640" cy="84138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4" y="0"/>
                  </a:cxn>
                  <a:cxn ang="0">
                    <a:pos x="0" y="10"/>
                  </a:cxn>
                  <a:cxn ang="0">
                    <a:pos x="7" y="20"/>
                  </a:cxn>
                  <a:cxn ang="0">
                    <a:pos x="4" y="33"/>
                  </a:cxn>
                  <a:cxn ang="0">
                    <a:pos x="7" y="40"/>
                  </a:cxn>
                  <a:cxn ang="0">
                    <a:pos x="10" y="43"/>
                  </a:cxn>
                  <a:cxn ang="0">
                    <a:pos x="10" y="53"/>
                  </a:cxn>
                  <a:cxn ang="0">
                    <a:pos x="56" y="53"/>
                  </a:cxn>
                  <a:cxn ang="0">
                    <a:pos x="60" y="53"/>
                  </a:cxn>
                  <a:cxn ang="0">
                    <a:pos x="66" y="47"/>
                  </a:cxn>
                  <a:cxn ang="0">
                    <a:pos x="66" y="43"/>
                  </a:cxn>
                  <a:cxn ang="0">
                    <a:pos x="89" y="43"/>
                  </a:cxn>
                  <a:cxn ang="0">
                    <a:pos x="80" y="33"/>
                  </a:cxn>
                  <a:cxn ang="0">
                    <a:pos x="86" y="30"/>
                  </a:cxn>
                  <a:cxn ang="0">
                    <a:pos x="89" y="14"/>
                  </a:cxn>
                  <a:cxn ang="0">
                    <a:pos x="93" y="4"/>
                  </a:cxn>
                  <a:cxn ang="0">
                    <a:pos x="66" y="4"/>
                  </a:cxn>
                  <a:cxn ang="0">
                    <a:pos x="40" y="10"/>
                  </a:cxn>
                  <a:cxn ang="0">
                    <a:pos x="27" y="4"/>
                  </a:cxn>
                  <a:cxn ang="0">
                    <a:pos x="7" y="4"/>
                  </a:cxn>
                </a:cxnLst>
                <a:rect l="0" t="0" r="r" b="b"/>
                <a:pathLst>
                  <a:path w="93" h="53">
                    <a:moveTo>
                      <a:pt x="7" y="4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7" y="20"/>
                    </a:lnTo>
                    <a:lnTo>
                      <a:pt x="4" y="33"/>
                    </a:lnTo>
                    <a:lnTo>
                      <a:pt x="7" y="40"/>
                    </a:lnTo>
                    <a:lnTo>
                      <a:pt x="10" y="43"/>
                    </a:lnTo>
                    <a:lnTo>
                      <a:pt x="10" y="53"/>
                    </a:lnTo>
                    <a:lnTo>
                      <a:pt x="56" y="53"/>
                    </a:lnTo>
                    <a:lnTo>
                      <a:pt x="60" y="53"/>
                    </a:lnTo>
                    <a:lnTo>
                      <a:pt x="66" y="47"/>
                    </a:lnTo>
                    <a:lnTo>
                      <a:pt x="66" y="43"/>
                    </a:lnTo>
                    <a:lnTo>
                      <a:pt x="89" y="43"/>
                    </a:lnTo>
                    <a:lnTo>
                      <a:pt x="80" y="33"/>
                    </a:lnTo>
                    <a:lnTo>
                      <a:pt x="86" y="30"/>
                    </a:lnTo>
                    <a:lnTo>
                      <a:pt x="89" y="14"/>
                    </a:lnTo>
                    <a:lnTo>
                      <a:pt x="93" y="4"/>
                    </a:lnTo>
                    <a:lnTo>
                      <a:pt x="66" y="4"/>
                    </a:lnTo>
                    <a:lnTo>
                      <a:pt x="40" y="10"/>
                    </a:lnTo>
                    <a:lnTo>
                      <a:pt x="27" y="4"/>
                    </a:lnTo>
                    <a:lnTo>
                      <a:pt x="7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5" name="Freeform 1785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6" name="Freeform 1786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7" name="Freeform 1787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8" name="Freeform 1788"/>
              <p:cNvSpPr>
                <a:spLocks/>
              </p:cNvSpPr>
              <p:nvPr/>
            </p:nvSpPr>
            <p:spPr bwMode="auto">
              <a:xfrm>
                <a:off x="4832408" y="3021760"/>
                <a:ext cx="63500" cy="8413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" y="33"/>
                  </a:cxn>
                  <a:cxn ang="0">
                    <a:pos x="27" y="53"/>
                  </a:cxn>
                  <a:cxn ang="0">
                    <a:pos x="30" y="50"/>
                  </a:cxn>
                  <a:cxn ang="0">
                    <a:pos x="40" y="33"/>
                  </a:cxn>
                  <a:cxn ang="0">
                    <a:pos x="30" y="10"/>
                  </a:cxn>
                  <a:cxn ang="0">
                    <a:pos x="20" y="4"/>
                  </a:cxn>
                  <a:cxn ang="0">
                    <a:pos x="7" y="0"/>
                  </a:cxn>
                  <a:cxn ang="0">
                    <a:pos x="0" y="10"/>
                  </a:cxn>
                </a:cxnLst>
                <a:rect l="0" t="0" r="r" b="b"/>
                <a:pathLst>
                  <a:path w="40" h="53">
                    <a:moveTo>
                      <a:pt x="0" y="10"/>
                    </a:moveTo>
                    <a:lnTo>
                      <a:pt x="7" y="33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40" y="33"/>
                    </a:lnTo>
                    <a:lnTo>
                      <a:pt x="30" y="10"/>
                    </a:lnTo>
                    <a:lnTo>
                      <a:pt x="20" y="4"/>
                    </a:lnTo>
                    <a:lnTo>
                      <a:pt x="7" y="0"/>
                    </a:lnTo>
                    <a:lnTo>
                      <a:pt x="0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59" name="Freeform 1789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0" name="Freeform 1790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1" name="Freeform 1791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2" name="Freeform 1792"/>
              <p:cNvSpPr>
                <a:spLocks/>
              </p:cNvSpPr>
              <p:nvPr/>
            </p:nvSpPr>
            <p:spPr bwMode="auto">
              <a:xfrm>
                <a:off x="5413440" y="3053510"/>
                <a:ext cx="109538" cy="7302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0" y="0"/>
                  </a:cxn>
                  <a:cxn ang="0">
                    <a:pos x="13" y="0"/>
                  </a:cxn>
                  <a:cxn ang="0">
                    <a:pos x="18" y="0"/>
                  </a:cxn>
                  <a:cxn ang="0">
                    <a:pos x="18" y="6"/>
                  </a:cxn>
                  <a:cxn ang="0">
                    <a:pos x="19" y="6"/>
                  </a:cxn>
                  <a:cxn ang="0">
                    <a:pos x="18" y="8"/>
                  </a:cxn>
                  <a:cxn ang="0">
                    <a:pos x="21" y="14"/>
                  </a:cxn>
                  <a:cxn ang="0">
                    <a:pos x="17" y="14"/>
                  </a:cxn>
                  <a:cxn ang="0">
                    <a:pos x="2" y="1"/>
                  </a:cxn>
                </a:cxnLst>
                <a:rect l="0" t="0" r="r" b="b"/>
                <a:pathLst>
                  <a:path w="21" h="14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6" y="7"/>
                      <a:pt x="9" y="12"/>
                      <a:pt x="2" y="1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3" name="Freeform 1793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4" name="Freeform 1794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5" name="Freeform 1795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6" name="Freeform 1796"/>
              <p:cNvSpPr>
                <a:spLocks/>
              </p:cNvSpPr>
              <p:nvPr/>
            </p:nvSpPr>
            <p:spPr bwMode="auto">
              <a:xfrm>
                <a:off x="5507102" y="3037635"/>
                <a:ext cx="95250" cy="111126"/>
              </a:xfrm>
              <a:custGeom>
                <a:avLst/>
                <a:gdLst/>
                <a:ahLst/>
                <a:cxnLst>
                  <a:cxn ang="0">
                    <a:pos x="7" y="56"/>
                  </a:cxn>
                  <a:cxn ang="0">
                    <a:pos x="0" y="37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27" y="4"/>
                  </a:cxn>
                  <a:cxn ang="0">
                    <a:pos x="37" y="20"/>
                  </a:cxn>
                  <a:cxn ang="0">
                    <a:pos x="60" y="30"/>
                  </a:cxn>
                  <a:cxn ang="0">
                    <a:pos x="47" y="33"/>
                  </a:cxn>
                  <a:cxn ang="0">
                    <a:pos x="43" y="56"/>
                  </a:cxn>
                  <a:cxn ang="0">
                    <a:pos x="40" y="70"/>
                  </a:cxn>
                  <a:cxn ang="0">
                    <a:pos x="27" y="56"/>
                  </a:cxn>
                  <a:cxn ang="0">
                    <a:pos x="30" y="56"/>
                  </a:cxn>
                  <a:cxn ang="0">
                    <a:pos x="20" y="43"/>
                  </a:cxn>
                  <a:cxn ang="0">
                    <a:pos x="7" y="56"/>
                  </a:cxn>
                </a:cxnLst>
                <a:rect l="0" t="0" r="r" b="b"/>
                <a:pathLst>
                  <a:path w="60" h="70">
                    <a:moveTo>
                      <a:pt x="7" y="56"/>
                    </a:moveTo>
                    <a:lnTo>
                      <a:pt x="0" y="37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27" y="4"/>
                    </a:lnTo>
                    <a:lnTo>
                      <a:pt x="37" y="20"/>
                    </a:lnTo>
                    <a:lnTo>
                      <a:pt x="60" y="30"/>
                    </a:lnTo>
                    <a:lnTo>
                      <a:pt x="47" y="33"/>
                    </a:lnTo>
                    <a:lnTo>
                      <a:pt x="43" y="56"/>
                    </a:lnTo>
                    <a:lnTo>
                      <a:pt x="40" y="70"/>
                    </a:lnTo>
                    <a:lnTo>
                      <a:pt x="27" y="56"/>
                    </a:lnTo>
                    <a:lnTo>
                      <a:pt x="30" y="56"/>
                    </a:lnTo>
                    <a:lnTo>
                      <a:pt x="20" y="43"/>
                    </a:lnTo>
                    <a:lnTo>
                      <a:pt x="7" y="5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7" name="Freeform 1797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8" name="Freeform 1798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69" name="Freeform 1799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0" name="Freeform 1800"/>
              <p:cNvSpPr>
                <a:spLocks/>
              </p:cNvSpPr>
              <p:nvPr/>
            </p:nvSpPr>
            <p:spPr bwMode="auto">
              <a:xfrm>
                <a:off x="5037198" y="3142411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33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36" y="33"/>
                    </a:lnTo>
                    <a:lnTo>
                      <a:pt x="0" y="0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1" name="Freeform 1801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  <a:cxn ang="0">
                    <a:pos x="86" y="56"/>
                  </a:cxn>
                  <a:cxn ang="0">
                    <a:pos x="86" y="56"/>
                  </a:cxn>
                  <a:cxn ang="0">
                    <a:pos x="86" y="59"/>
                  </a:cxn>
                  <a:cxn ang="0">
                    <a:pos x="86" y="56"/>
                  </a:cxn>
                  <a:cxn ang="0">
                    <a:pos x="99" y="6"/>
                  </a:cxn>
                  <a:cxn ang="0">
                    <a:pos x="89" y="102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lnTo>
                      <a:pt x="86" y="56"/>
                    </a:lnTo>
                    <a:lnTo>
                      <a:pt x="86" y="56"/>
                    </a:lnTo>
                    <a:lnTo>
                      <a:pt x="86" y="59"/>
                    </a:lnTo>
                    <a:lnTo>
                      <a:pt x="86" y="56"/>
                    </a:lnTo>
                    <a:lnTo>
                      <a:pt x="99" y="6"/>
                    </a:lnTo>
                    <a:lnTo>
                      <a:pt x="89" y="102"/>
                    </a:lnTo>
                    <a:lnTo>
                      <a:pt x="99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2" name="Freeform 1802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  <a:cxn ang="0">
                    <a:pos x="86" y="56"/>
                  </a:cxn>
                  <a:cxn ang="0">
                    <a:pos x="86" y="56"/>
                  </a:cxn>
                  <a:cxn ang="0">
                    <a:pos x="86" y="59"/>
                  </a:cxn>
                  <a:cxn ang="0">
                    <a:pos x="86" y="56"/>
                  </a:cxn>
                  <a:cxn ang="0">
                    <a:pos x="99" y="6"/>
                  </a:cxn>
                  <a:cxn ang="0">
                    <a:pos x="89" y="102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lnTo>
                      <a:pt x="86" y="56"/>
                    </a:lnTo>
                    <a:lnTo>
                      <a:pt x="86" y="56"/>
                    </a:lnTo>
                    <a:lnTo>
                      <a:pt x="86" y="59"/>
                    </a:lnTo>
                    <a:lnTo>
                      <a:pt x="86" y="56"/>
                    </a:lnTo>
                    <a:lnTo>
                      <a:pt x="99" y="6"/>
                    </a:lnTo>
                    <a:lnTo>
                      <a:pt x="89" y="102"/>
                    </a:lnTo>
                    <a:lnTo>
                      <a:pt x="99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3" name="Freeform 1803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4" name="Freeform 1804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5" name="Freeform 1805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6" name="Freeform 1806"/>
              <p:cNvSpPr>
                <a:spLocks/>
              </p:cNvSpPr>
              <p:nvPr/>
            </p:nvSpPr>
            <p:spPr bwMode="auto">
              <a:xfrm>
                <a:off x="4529191" y="2886821"/>
                <a:ext cx="282578" cy="271466"/>
              </a:xfrm>
              <a:custGeom>
                <a:avLst/>
                <a:gdLst/>
                <a:ahLst/>
                <a:cxnLst>
                  <a:cxn ang="0">
                    <a:pos x="99" y="6"/>
                  </a:cxn>
                  <a:cxn ang="0">
                    <a:pos x="79" y="0"/>
                  </a:cxn>
                  <a:cxn ang="0">
                    <a:pos x="53" y="0"/>
                  </a:cxn>
                  <a:cxn ang="0">
                    <a:pos x="46" y="3"/>
                  </a:cxn>
                  <a:cxn ang="0">
                    <a:pos x="46" y="10"/>
                  </a:cxn>
                  <a:cxn ang="0">
                    <a:pos x="33" y="10"/>
                  </a:cxn>
                  <a:cxn ang="0">
                    <a:pos x="33" y="19"/>
                  </a:cxn>
                  <a:cxn ang="0">
                    <a:pos x="20" y="10"/>
                  </a:cxn>
                  <a:cxn ang="0">
                    <a:pos x="10" y="19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0" y="33"/>
                  </a:cxn>
                  <a:cxn ang="0">
                    <a:pos x="0" y="49"/>
                  </a:cxn>
                  <a:cxn ang="0">
                    <a:pos x="10" y="52"/>
                  </a:cxn>
                  <a:cxn ang="0">
                    <a:pos x="10" y="59"/>
                  </a:cxn>
                  <a:cxn ang="0">
                    <a:pos x="23" y="49"/>
                  </a:cxn>
                  <a:cxn ang="0">
                    <a:pos x="46" y="56"/>
                  </a:cxn>
                  <a:cxn ang="0">
                    <a:pos x="53" y="72"/>
                  </a:cxn>
                  <a:cxn ang="0">
                    <a:pos x="69" y="89"/>
                  </a:cxn>
                  <a:cxn ang="0">
                    <a:pos x="86" y="102"/>
                  </a:cxn>
                  <a:cxn ang="0">
                    <a:pos x="86" y="102"/>
                  </a:cxn>
                  <a:cxn ang="0">
                    <a:pos x="89" y="102"/>
                  </a:cxn>
                  <a:cxn ang="0">
                    <a:pos x="99" y="105"/>
                  </a:cxn>
                  <a:cxn ang="0">
                    <a:pos x="119" y="118"/>
                  </a:cxn>
                  <a:cxn ang="0">
                    <a:pos x="125" y="125"/>
                  </a:cxn>
                  <a:cxn ang="0">
                    <a:pos x="135" y="132"/>
                  </a:cxn>
                  <a:cxn ang="0">
                    <a:pos x="145" y="151"/>
                  </a:cxn>
                  <a:cxn ang="0">
                    <a:pos x="139" y="168"/>
                  </a:cxn>
                  <a:cxn ang="0">
                    <a:pos x="145" y="171"/>
                  </a:cxn>
                  <a:cxn ang="0">
                    <a:pos x="152" y="161"/>
                  </a:cxn>
                  <a:cxn ang="0">
                    <a:pos x="162" y="151"/>
                  </a:cxn>
                  <a:cxn ang="0">
                    <a:pos x="162" y="151"/>
                  </a:cxn>
                  <a:cxn ang="0">
                    <a:pos x="152" y="138"/>
                  </a:cxn>
                  <a:cxn ang="0">
                    <a:pos x="158" y="125"/>
                  </a:cxn>
                  <a:cxn ang="0">
                    <a:pos x="165" y="128"/>
                  </a:cxn>
                  <a:cxn ang="0">
                    <a:pos x="178" y="138"/>
                  </a:cxn>
                  <a:cxn ang="0">
                    <a:pos x="178" y="128"/>
                  </a:cxn>
                  <a:cxn ang="0">
                    <a:pos x="162" y="118"/>
                  </a:cxn>
                  <a:cxn ang="0">
                    <a:pos x="139" y="105"/>
                  </a:cxn>
                  <a:cxn ang="0">
                    <a:pos x="145" y="102"/>
                  </a:cxn>
                  <a:cxn ang="0">
                    <a:pos x="139" y="95"/>
                  </a:cxn>
                  <a:cxn ang="0">
                    <a:pos x="119" y="92"/>
                  </a:cxn>
                  <a:cxn ang="0">
                    <a:pos x="112" y="76"/>
                  </a:cxn>
                  <a:cxn ang="0">
                    <a:pos x="99" y="66"/>
                  </a:cxn>
                  <a:cxn ang="0">
                    <a:pos x="86" y="56"/>
                  </a:cxn>
                  <a:cxn ang="0">
                    <a:pos x="86" y="39"/>
                  </a:cxn>
                  <a:cxn ang="0">
                    <a:pos x="79" y="29"/>
                  </a:cxn>
                  <a:cxn ang="0">
                    <a:pos x="92" y="23"/>
                  </a:cxn>
                  <a:cxn ang="0">
                    <a:pos x="99" y="26"/>
                  </a:cxn>
                  <a:cxn ang="0">
                    <a:pos x="99" y="10"/>
                  </a:cxn>
                  <a:cxn ang="0">
                    <a:pos x="99" y="6"/>
                  </a:cxn>
                </a:cxnLst>
                <a:rect l="0" t="0" r="r" b="b"/>
                <a:pathLst>
                  <a:path w="178" h="171">
                    <a:moveTo>
                      <a:pt x="99" y="6"/>
                    </a:moveTo>
                    <a:lnTo>
                      <a:pt x="79" y="0"/>
                    </a:lnTo>
                    <a:lnTo>
                      <a:pt x="53" y="0"/>
                    </a:lnTo>
                    <a:lnTo>
                      <a:pt x="46" y="3"/>
                    </a:lnTo>
                    <a:lnTo>
                      <a:pt x="46" y="10"/>
                    </a:lnTo>
                    <a:lnTo>
                      <a:pt x="33" y="10"/>
                    </a:lnTo>
                    <a:lnTo>
                      <a:pt x="33" y="19"/>
                    </a:lnTo>
                    <a:lnTo>
                      <a:pt x="20" y="10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0" y="33"/>
                    </a:lnTo>
                    <a:lnTo>
                      <a:pt x="0" y="49"/>
                    </a:lnTo>
                    <a:lnTo>
                      <a:pt x="10" y="52"/>
                    </a:lnTo>
                    <a:lnTo>
                      <a:pt x="10" y="59"/>
                    </a:lnTo>
                    <a:lnTo>
                      <a:pt x="23" y="49"/>
                    </a:lnTo>
                    <a:lnTo>
                      <a:pt x="46" y="56"/>
                    </a:lnTo>
                    <a:lnTo>
                      <a:pt x="53" y="72"/>
                    </a:lnTo>
                    <a:lnTo>
                      <a:pt x="69" y="89"/>
                    </a:lnTo>
                    <a:lnTo>
                      <a:pt x="86" y="102"/>
                    </a:lnTo>
                    <a:lnTo>
                      <a:pt x="86" y="102"/>
                    </a:lnTo>
                    <a:lnTo>
                      <a:pt x="89" y="102"/>
                    </a:lnTo>
                    <a:lnTo>
                      <a:pt x="99" y="105"/>
                    </a:lnTo>
                    <a:lnTo>
                      <a:pt x="119" y="118"/>
                    </a:lnTo>
                    <a:lnTo>
                      <a:pt x="125" y="125"/>
                    </a:lnTo>
                    <a:lnTo>
                      <a:pt x="135" y="132"/>
                    </a:lnTo>
                    <a:lnTo>
                      <a:pt x="145" y="151"/>
                    </a:lnTo>
                    <a:lnTo>
                      <a:pt x="139" y="168"/>
                    </a:lnTo>
                    <a:lnTo>
                      <a:pt x="145" y="171"/>
                    </a:lnTo>
                    <a:lnTo>
                      <a:pt x="152" y="161"/>
                    </a:lnTo>
                    <a:lnTo>
                      <a:pt x="162" y="151"/>
                    </a:lnTo>
                    <a:lnTo>
                      <a:pt x="162" y="151"/>
                    </a:lnTo>
                    <a:lnTo>
                      <a:pt x="152" y="138"/>
                    </a:lnTo>
                    <a:lnTo>
                      <a:pt x="158" y="125"/>
                    </a:lnTo>
                    <a:lnTo>
                      <a:pt x="165" y="128"/>
                    </a:lnTo>
                    <a:lnTo>
                      <a:pt x="178" y="138"/>
                    </a:lnTo>
                    <a:lnTo>
                      <a:pt x="178" y="128"/>
                    </a:lnTo>
                    <a:lnTo>
                      <a:pt x="162" y="118"/>
                    </a:lnTo>
                    <a:lnTo>
                      <a:pt x="139" y="105"/>
                    </a:lnTo>
                    <a:lnTo>
                      <a:pt x="145" y="102"/>
                    </a:lnTo>
                    <a:lnTo>
                      <a:pt x="139" y="95"/>
                    </a:lnTo>
                    <a:lnTo>
                      <a:pt x="119" y="92"/>
                    </a:lnTo>
                    <a:lnTo>
                      <a:pt x="112" y="76"/>
                    </a:lnTo>
                    <a:lnTo>
                      <a:pt x="99" y="66"/>
                    </a:lnTo>
                    <a:lnTo>
                      <a:pt x="86" y="56"/>
                    </a:lnTo>
                    <a:lnTo>
                      <a:pt x="86" y="39"/>
                    </a:lnTo>
                    <a:lnTo>
                      <a:pt x="79" y="29"/>
                    </a:lnTo>
                    <a:lnTo>
                      <a:pt x="92" y="23"/>
                    </a:lnTo>
                    <a:lnTo>
                      <a:pt x="99" y="26"/>
                    </a:lnTo>
                    <a:lnTo>
                      <a:pt x="99" y="10"/>
                    </a:lnTo>
                    <a:lnTo>
                      <a:pt x="99" y="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7" name="Freeform 1807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8" name="Freeform 1808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79" name="Freeform 1809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0" name="Freeform 1810"/>
              <p:cNvSpPr>
                <a:spLocks/>
              </p:cNvSpPr>
              <p:nvPr/>
            </p:nvSpPr>
            <p:spPr bwMode="auto">
              <a:xfrm>
                <a:off x="5010209" y="3037635"/>
                <a:ext cx="466730" cy="188915"/>
              </a:xfrm>
              <a:custGeom>
                <a:avLst/>
                <a:gdLst/>
                <a:ahLst/>
                <a:cxnLst>
                  <a:cxn ang="0">
                    <a:pos x="218" y="99"/>
                  </a:cxn>
                  <a:cxn ang="0">
                    <a:pos x="195" y="99"/>
                  </a:cxn>
                  <a:cxn ang="0">
                    <a:pos x="172" y="106"/>
                  </a:cxn>
                  <a:cxn ang="0">
                    <a:pos x="165" y="106"/>
                  </a:cxn>
                  <a:cxn ang="0">
                    <a:pos x="165" y="116"/>
                  </a:cxn>
                  <a:cxn ang="0">
                    <a:pos x="155" y="119"/>
                  </a:cxn>
                  <a:cxn ang="0">
                    <a:pos x="155" y="99"/>
                  </a:cxn>
                  <a:cxn ang="0">
                    <a:pos x="149" y="106"/>
                  </a:cxn>
                  <a:cxn ang="0">
                    <a:pos x="139" y="106"/>
                  </a:cxn>
                  <a:cxn ang="0">
                    <a:pos x="129" y="106"/>
                  </a:cxn>
                  <a:cxn ang="0">
                    <a:pos x="112" y="116"/>
                  </a:cxn>
                  <a:cxn ang="0">
                    <a:pos x="103" y="109"/>
                  </a:cxn>
                  <a:cxn ang="0">
                    <a:pos x="73" y="99"/>
                  </a:cxn>
                  <a:cxn ang="0">
                    <a:pos x="73" y="106"/>
                  </a:cxn>
                  <a:cxn ang="0">
                    <a:pos x="63" y="116"/>
                  </a:cxn>
                  <a:cxn ang="0">
                    <a:pos x="50" y="106"/>
                  </a:cxn>
                  <a:cxn ang="0">
                    <a:pos x="43" y="106"/>
                  </a:cxn>
                  <a:cxn ang="0">
                    <a:pos x="23" y="106"/>
                  </a:cxn>
                  <a:cxn ang="0">
                    <a:pos x="37" y="99"/>
                  </a:cxn>
                  <a:cxn ang="0">
                    <a:pos x="23" y="96"/>
                  </a:cxn>
                  <a:cxn ang="0">
                    <a:pos x="23" y="93"/>
                  </a:cxn>
                  <a:cxn ang="0">
                    <a:pos x="17" y="86"/>
                  </a:cxn>
                  <a:cxn ang="0">
                    <a:pos x="17" y="80"/>
                  </a:cxn>
                  <a:cxn ang="0">
                    <a:pos x="7" y="73"/>
                  </a:cxn>
                  <a:cxn ang="0">
                    <a:pos x="4" y="66"/>
                  </a:cxn>
                  <a:cxn ang="0">
                    <a:pos x="7" y="70"/>
                  </a:cxn>
                  <a:cxn ang="0">
                    <a:pos x="14" y="70"/>
                  </a:cxn>
                  <a:cxn ang="0">
                    <a:pos x="10" y="63"/>
                  </a:cxn>
                  <a:cxn ang="0">
                    <a:pos x="10" y="47"/>
                  </a:cxn>
                  <a:cxn ang="0">
                    <a:pos x="0" y="47"/>
                  </a:cxn>
                  <a:cxn ang="0">
                    <a:pos x="0" y="33"/>
                  </a:cxn>
                  <a:cxn ang="0">
                    <a:pos x="17" y="33"/>
                  </a:cxn>
                  <a:cxn ang="0">
                    <a:pos x="20" y="30"/>
                  </a:cxn>
                  <a:cxn ang="0">
                    <a:pos x="43" y="30"/>
                  </a:cxn>
                  <a:cxn ang="0">
                    <a:pos x="53" y="23"/>
                  </a:cxn>
                  <a:cxn ang="0">
                    <a:pos x="50" y="23"/>
                  </a:cxn>
                  <a:cxn ang="0">
                    <a:pos x="40" y="17"/>
                  </a:cxn>
                  <a:cxn ang="0">
                    <a:pos x="70" y="20"/>
                  </a:cxn>
                  <a:cxn ang="0">
                    <a:pos x="93" y="4"/>
                  </a:cxn>
                  <a:cxn ang="0">
                    <a:pos x="106" y="0"/>
                  </a:cxn>
                  <a:cxn ang="0">
                    <a:pos x="129" y="0"/>
                  </a:cxn>
                  <a:cxn ang="0">
                    <a:pos x="139" y="4"/>
                  </a:cxn>
                  <a:cxn ang="0">
                    <a:pos x="145" y="10"/>
                  </a:cxn>
                  <a:cxn ang="0">
                    <a:pos x="165" y="17"/>
                  </a:cxn>
                  <a:cxn ang="0">
                    <a:pos x="188" y="20"/>
                  </a:cxn>
                  <a:cxn ang="0">
                    <a:pos x="208" y="20"/>
                  </a:cxn>
                  <a:cxn ang="0">
                    <a:pos x="228" y="7"/>
                  </a:cxn>
                  <a:cxn ang="0">
                    <a:pos x="248" y="7"/>
                  </a:cxn>
                  <a:cxn ang="0">
                    <a:pos x="257" y="17"/>
                  </a:cxn>
                  <a:cxn ang="0">
                    <a:pos x="264" y="27"/>
                  </a:cxn>
                  <a:cxn ang="0">
                    <a:pos x="271" y="37"/>
                  </a:cxn>
                  <a:cxn ang="0">
                    <a:pos x="284" y="43"/>
                  </a:cxn>
                  <a:cxn ang="0">
                    <a:pos x="277" y="47"/>
                  </a:cxn>
                  <a:cxn ang="0">
                    <a:pos x="280" y="60"/>
                  </a:cxn>
                  <a:cxn ang="0">
                    <a:pos x="284" y="80"/>
                  </a:cxn>
                  <a:cxn ang="0">
                    <a:pos x="294" y="93"/>
                  </a:cxn>
                  <a:cxn ang="0">
                    <a:pos x="284" y="96"/>
                  </a:cxn>
                  <a:cxn ang="0">
                    <a:pos x="280" y="93"/>
                  </a:cxn>
                  <a:cxn ang="0">
                    <a:pos x="261" y="93"/>
                  </a:cxn>
                  <a:cxn ang="0">
                    <a:pos x="257" y="96"/>
                  </a:cxn>
                  <a:cxn ang="0">
                    <a:pos x="248" y="93"/>
                  </a:cxn>
                  <a:cxn ang="0">
                    <a:pos x="234" y="96"/>
                  </a:cxn>
                  <a:cxn ang="0">
                    <a:pos x="218" y="99"/>
                  </a:cxn>
                </a:cxnLst>
                <a:rect l="0" t="0" r="r" b="b"/>
                <a:pathLst>
                  <a:path w="294" h="119">
                    <a:moveTo>
                      <a:pt x="218" y="99"/>
                    </a:moveTo>
                    <a:lnTo>
                      <a:pt x="195" y="99"/>
                    </a:lnTo>
                    <a:lnTo>
                      <a:pt x="172" y="106"/>
                    </a:lnTo>
                    <a:lnTo>
                      <a:pt x="165" y="106"/>
                    </a:lnTo>
                    <a:lnTo>
                      <a:pt x="165" y="116"/>
                    </a:lnTo>
                    <a:lnTo>
                      <a:pt x="155" y="119"/>
                    </a:lnTo>
                    <a:lnTo>
                      <a:pt x="155" y="99"/>
                    </a:lnTo>
                    <a:lnTo>
                      <a:pt x="149" y="106"/>
                    </a:lnTo>
                    <a:lnTo>
                      <a:pt x="139" y="106"/>
                    </a:lnTo>
                    <a:lnTo>
                      <a:pt x="129" y="106"/>
                    </a:lnTo>
                    <a:lnTo>
                      <a:pt x="112" y="116"/>
                    </a:lnTo>
                    <a:lnTo>
                      <a:pt x="103" y="109"/>
                    </a:lnTo>
                    <a:lnTo>
                      <a:pt x="73" y="99"/>
                    </a:lnTo>
                    <a:lnTo>
                      <a:pt x="73" y="106"/>
                    </a:lnTo>
                    <a:lnTo>
                      <a:pt x="63" y="116"/>
                    </a:lnTo>
                    <a:lnTo>
                      <a:pt x="50" y="106"/>
                    </a:lnTo>
                    <a:lnTo>
                      <a:pt x="43" y="106"/>
                    </a:lnTo>
                    <a:lnTo>
                      <a:pt x="23" y="106"/>
                    </a:lnTo>
                    <a:lnTo>
                      <a:pt x="37" y="99"/>
                    </a:lnTo>
                    <a:lnTo>
                      <a:pt x="23" y="96"/>
                    </a:lnTo>
                    <a:lnTo>
                      <a:pt x="23" y="93"/>
                    </a:lnTo>
                    <a:lnTo>
                      <a:pt x="17" y="86"/>
                    </a:lnTo>
                    <a:lnTo>
                      <a:pt x="17" y="80"/>
                    </a:lnTo>
                    <a:lnTo>
                      <a:pt x="7" y="73"/>
                    </a:lnTo>
                    <a:lnTo>
                      <a:pt x="4" y="66"/>
                    </a:lnTo>
                    <a:lnTo>
                      <a:pt x="7" y="70"/>
                    </a:lnTo>
                    <a:lnTo>
                      <a:pt x="14" y="70"/>
                    </a:lnTo>
                    <a:lnTo>
                      <a:pt x="10" y="63"/>
                    </a:lnTo>
                    <a:lnTo>
                      <a:pt x="10" y="47"/>
                    </a:lnTo>
                    <a:lnTo>
                      <a:pt x="0" y="47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43" y="30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0" y="17"/>
                    </a:lnTo>
                    <a:lnTo>
                      <a:pt x="70" y="20"/>
                    </a:lnTo>
                    <a:lnTo>
                      <a:pt x="93" y="4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39" y="4"/>
                    </a:lnTo>
                    <a:lnTo>
                      <a:pt x="145" y="10"/>
                    </a:lnTo>
                    <a:lnTo>
                      <a:pt x="165" y="17"/>
                    </a:lnTo>
                    <a:lnTo>
                      <a:pt x="188" y="20"/>
                    </a:lnTo>
                    <a:lnTo>
                      <a:pt x="208" y="20"/>
                    </a:lnTo>
                    <a:lnTo>
                      <a:pt x="228" y="7"/>
                    </a:lnTo>
                    <a:lnTo>
                      <a:pt x="248" y="7"/>
                    </a:lnTo>
                    <a:lnTo>
                      <a:pt x="257" y="17"/>
                    </a:lnTo>
                    <a:lnTo>
                      <a:pt x="264" y="27"/>
                    </a:lnTo>
                    <a:lnTo>
                      <a:pt x="271" y="37"/>
                    </a:lnTo>
                    <a:lnTo>
                      <a:pt x="284" y="43"/>
                    </a:lnTo>
                    <a:lnTo>
                      <a:pt x="277" y="47"/>
                    </a:lnTo>
                    <a:lnTo>
                      <a:pt x="280" y="60"/>
                    </a:lnTo>
                    <a:lnTo>
                      <a:pt x="284" y="80"/>
                    </a:lnTo>
                    <a:lnTo>
                      <a:pt x="294" y="93"/>
                    </a:lnTo>
                    <a:lnTo>
                      <a:pt x="284" y="96"/>
                    </a:lnTo>
                    <a:lnTo>
                      <a:pt x="280" y="93"/>
                    </a:lnTo>
                    <a:lnTo>
                      <a:pt x="261" y="93"/>
                    </a:lnTo>
                    <a:lnTo>
                      <a:pt x="257" y="96"/>
                    </a:lnTo>
                    <a:lnTo>
                      <a:pt x="248" y="93"/>
                    </a:lnTo>
                    <a:lnTo>
                      <a:pt x="234" y="96"/>
                    </a:lnTo>
                    <a:lnTo>
                      <a:pt x="218" y="9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1" name="Freeform 1811"/>
              <p:cNvSpPr>
                <a:spLocks/>
              </p:cNvSpPr>
              <p:nvPr/>
            </p:nvSpPr>
            <p:spPr bwMode="auto">
              <a:xfrm>
                <a:off x="5000684" y="3037635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2" name="Freeform 1812"/>
              <p:cNvSpPr>
                <a:spLocks/>
              </p:cNvSpPr>
              <p:nvPr/>
            </p:nvSpPr>
            <p:spPr bwMode="auto">
              <a:xfrm>
                <a:off x="5000684" y="3037635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3" name="Freeform 1814"/>
              <p:cNvSpPr>
                <a:spLocks/>
              </p:cNvSpPr>
              <p:nvPr/>
            </p:nvSpPr>
            <p:spPr bwMode="auto">
              <a:xfrm>
                <a:off x="5000684" y="3037634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4" name="Freeform 1815"/>
              <p:cNvSpPr>
                <a:spLocks/>
              </p:cNvSpPr>
              <p:nvPr/>
            </p:nvSpPr>
            <p:spPr bwMode="auto">
              <a:xfrm>
                <a:off x="5000684" y="3037634"/>
                <a:ext cx="77788" cy="523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4"/>
                  </a:cxn>
                  <a:cxn ang="0">
                    <a:pos x="3" y="10"/>
                  </a:cxn>
                  <a:cxn ang="0">
                    <a:pos x="0" y="20"/>
                  </a:cxn>
                  <a:cxn ang="0">
                    <a:pos x="10" y="23"/>
                  </a:cxn>
                  <a:cxn ang="0">
                    <a:pos x="3" y="33"/>
                  </a:cxn>
                  <a:cxn ang="0">
                    <a:pos x="20" y="20"/>
                  </a:cxn>
                  <a:cxn ang="0">
                    <a:pos x="49" y="17"/>
                  </a:cxn>
                  <a:cxn ang="0">
                    <a:pos x="39" y="10"/>
                  </a:cxn>
                  <a:cxn ang="0">
                    <a:pos x="26" y="0"/>
                  </a:cxn>
                  <a:cxn ang="0">
                    <a:pos x="3" y="0"/>
                  </a:cxn>
                </a:cxnLst>
                <a:rect l="0" t="0" r="r" b="b"/>
                <a:pathLst>
                  <a:path w="49" h="33">
                    <a:moveTo>
                      <a:pt x="3" y="0"/>
                    </a:moveTo>
                    <a:lnTo>
                      <a:pt x="3" y="4"/>
                    </a:lnTo>
                    <a:lnTo>
                      <a:pt x="3" y="10"/>
                    </a:lnTo>
                    <a:lnTo>
                      <a:pt x="0" y="20"/>
                    </a:lnTo>
                    <a:lnTo>
                      <a:pt x="10" y="23"/>
                    </a:lnTo>
                    <a:lnTo>
                      <a:pt x="3" y="33"/>
                    </a:lnTo>
                    <a:lnTo>
                      <a:pt x="20" y="20"/>
                    </a:lnTo>
                    <a:lnTo>
                      <a:pt x="49" y="17"/>
                    </a:lnTo>
                    <a:lnTo>
                      <a:pt x="39" y="10"/>
                    </a:lnTo>
                    <a:lnTo>
                      <a:pt x="26" y="0"/>
                    </a:lnTo>
                    <a:lnTo>
                      <a:pt x="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5" name="Freeform 1816"/>
              <p:cNvSpPr>
                <a:spLocks/>
              </p:cNvSpPr>
              <p:nvPr/>
            </p:nvSpPr>
            <p:spPr bwMode="auto">
              <a:xfrm>
                <a:off x="4891146" y="2613765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6" name="Freeform 1817"/>
              <p:cNvSpPr>
                <a:spLocks/>
              </p:cNvSpPr>
              <p:nvPr/>
            </p:nvSpPr>
            <p:spPr bwMode="auto">
              <a:xfrm>
                <a:off x="4891146" y="2613765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7" name="Freeform 1818"/>
              <p:cNvSpPr>
                <a:spLocks/>
              </p:cNvSpPr>
              <p:nvPr/>
            </p:nvSpPr>
            <p:spPr bwMode="auto">
              <a:xfrm>
                <a:off x="4891146" y="2613765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8" name="Freeform 1819"/>
              <p:cNvSpPr>
                <a:spLocks/>
              </p:cNvSpPr>
              <p:nvPr/>
            </p:nvSpPr>
            <p:spPr bwMode="auto">
              <a:xfrm>
                <a:off x="4891146" y="2613765"/>
                <a:ext cx="207965" cy="136526"/>
              </a:xfrm>
              <a:custGeom>
                <a:avLst/>
                <a:gdLst/>
                <a:ahLst/>
                <a:cxnLst>
                  <a:cxn ang="0">
                    <a:pos x="131" y="46"/>
                  </a:cxn>
                  <a:cxn ang="0">
                    <a:pos x="125" y="53"/>
                  </a:cxn>
                  <a:cxn ang="0">
                    <a:pos x="128" y="69"/>
                  </a:cxn>
                  <a:cxn ang="0">
                    <a:pos x="108" y="76"/>
                  </a:cxn>
                  <a:cxn ang="0">
                    <a:pos x="115" y="86"/>
                  </a:cxn>
                  <a:cxn ang="0">
                    <a:pos x="85" y="82"/>
                  </a:cxn>
                  <a:cxn ang="0">
                    <a:pos x="59" y="76"/>
                  </a:cxn>
                  <a:cxn ang="0">
                    <a:pos x="36" y="73"/>
                  </a:cxn>
                  <a:cxn ang="0">
                    <a:pos x="9" y="73"/>
                  </a:cxn>
                  <a:cxn ang="0">
                    <a:pos x="3" y="69"/>
                  </a:cxn>
                  <a:cxn ang="0">
                    <a:pos x="9" y="56"/>
                  </a:cxn>
                  <a:cxn ang="0">
                    <a:pos x="0" y="33"/>
                  </a:cxn>
                  <a:cxn ang="0">
                    <a:pos x="19" y="20"/>
                  </a:cxn>
                  <a:cxn ang="0">
                    <a:pos x="42" y="3"/>
                  </a:cxn>
                  <a:cxn ang="0">
                    <a:pos x="62" y="0"/>
                  </a:cxn>
                  <a:cxn ang="0">
                    <a:pos x="85" y="3"/>
                  </a:cxn>
                  <a:cxn ang="0">
                    <a:pos x="105" y="10"/>
                  </a:cxn>
                  <a:cxn ang="0">
                    <a:pos x="108" y="30"/>
                  </a:cxn>
                  <a:cxn ang="0">
                    <a:pos x="131" y="46"/>
                  </a:cxn>
                </a:cxnLst>
                <a:rect l="0" t="0" r="r" b="b"/>
                <a:pathLst>
                  <a:path w="131" h="86">
                    <a:moveTo>
                      <a:pt x="131" y="46"/>
                    </a:moveTo>
                    <a:lnTo>
                      <a:pt x="125" y="53"/>
                    </a:lnTo>
                    <a:lnTo>
                      <a:pt x="128" y="69"/>
                    </a:lnTo>
                    <a:lnTo>
                      <a:pt x="108" y="76"/>
                    </a:lnTo>
                    <a:lnTo>
                      <a:pt x="115" y="86"/>
                    </a:lnTo>
                    <a:lnTo>
                      <a:pt x="85" y="82"/>
                    </a:lnTo>
                    <a:lnTo>
                      <a:pt x="59" y="76"/>
                    </a:lnTo>
                    <a:lnTo>
                      <a:pt x="36" y="73"/>
                    </a:lnTo>
                    <a:lnTo>
                      <a:pt x="9" y="73"/>
                    </a:lnTo>
                    <a:lnTo>
                      <a:pt x="3" y="69"/>
                    </a:lnTo>
                    <a:lnTo>
                      <a:pt x="9" y="56"/>
                    </a:lnTo>
                    <a:lnTo>
                      <a:pt x="0" y="33"/>
                    </a:lnTo>
                    <a:lnTo>
                      <a:pt x="19" y="20"/>
                    </a:lnTo>
                    <a:lnTo>
                      <a:pt x="42" y="3"/>
                    </a:lnTo>
                    <a:lnTo>
                      <a:pt x="62" y="0"/>
                    </a:lnTo>
                    <a:lnTo>
                      <a:pt x="85" y="3"/>
                    </a:lnTo>
                    <a:lnTo>
                      <a:pt x="105" y="10"/>
                    </a:lnTo>
                    <a:lnTo>
                      <a:pt x="108" y="30"/>
                    </a:lnTo>
                    <a:lnTo>
                      <a:pt x="131" y="4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89" name="Freeform 1820"/>
              <p:cNvSpPr>
                <a:spLocks/>
              </p:cNvSpPr>
              <p:nvPr/>
            </p:nvSpPr>
            <p:spPr bwMode="auto">
              <a:xfrm>
                <a:off x="4540304" y="2582015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0" name="Freeform 1821"/>
              <p:cNvSpPr>
                <a:spLocks/>
              </p:cNvSpPr>
              <p:nvPr/>
            </p:nvSpPr>
            <p:spPr bwMode="auto">
              <a:xfrm>
                <a:off x="4540304" y="2582015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1" name="Freeform 1822"/>
              <p:cNvSpPr>
                <a:spLocks/>
              </p:cNvSpPr>
              <p:nvPr/>
            </p:nvSpPr>
            <p:spPr bwMode="auto">
              <a:xfrm>
                <a:off x="4540304" y="2582015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2" name="Freeform 1823"/>
              <p:cNvSpPr>
                <a:spLocks/>
              </p:cNvSpPr>
              <p:nvPr/>
            </p:nvSpPr>
            <p:spPr bwMode="auto">
              <a:xfrm>
                <a:off x="4540304" y="2582015"/>
                <a:ext cx="61913" cy="63501"/>
              </a:xfrm>
              <a:custGeom>
                <a:avLst/>
                <a:gdLst/>
                <a:ahLst/>
                <a:cxnLst>
                  <a:cxn ang="0">
                    <a:pos x="23" y="36"/>
                  </a:cxn>
                  <a:cxn ang="0">
                    <a:pos x="20" y="40"/>
                  </a:cxn>
                  <a:cxn ang="0">
                    <a:pos x="6" y="36"/>
                  </a:cxn>
                  <a:cxn ang="0">
                    <a:pos x="6" y="27"/>
                  </a:cxn>
                  <a:cxn ang="0">
                    <a:pos x="0" y="7"/>
                  </a:cxn>
                  <a:cxn ang="0">
                    <a:pos x="13" y="3"/>
                  </a:cxn>
                  <a:cxn ang="0">
                    <a:pos x="16" y="7"/>
                  </a:cxn>
                  <a:cxn ang="0">
                    <a:pos x="16" y="3"/>
                  </a:cxn>
                  <a:cxn ang="0">
                    <a:pos x="26" y="0"/>
                  </a:cxn>
                  <a:cxn ang="0">
                    <a:pos x="33" y="7"/>
                  </a:cxn>
                  <a:cxn ang="0">
                    <a:pos x="39" y="7"/>
                  </a:cxn>
                  <a:cxn ang="0">
                    <a:pos x="33" y="13"/>
                  </a:cxn>
                  <a:cxn ang="0">
                    <a:pos x="23" y="23"/>
                  </a:cxn>
                  <a:cxn ang="0">
                    <a:pos x="23" y="36"/>
                  </a:cxn>
                </a:cxnLst>
                <a:rect l="0" t="0" r="r" b="b"/>
                <a:pathLst>
                  <a:path w="39" h="40">
                    <a:moveTo>
                      <a:pt x="23" y="36"/>
                    </a:moveTo>
                    <a:lnTo>
                      <a:pt x="20" y="40"/>
                    </a:lnTo>
                    <a:lnTo>
                      <a:pt x="6" y="36"/>
                    </a:lnTo>
                    <a:lnTo>
                      <a:pt x="6" y="27"/>
                    </a:lnTo>
                    <a:lnTo>
                      <a:pt x="0" y="7"/>
                    </a:lnTo>
                    <a:lnTo>
                      <a:pt x="13" y="3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26" y="0"/>
                    </a:lnTo>
                    <a:lnTo>
                      <a:pt x="33" y="7"/>
                    </a:lnTo>
                    <a:lnTo>
                      <a:pt x="39" y="7"/>
                    </a:lnTo>
                    <a:lnTo>
                      <a:pt x="33" y="13"/>
                    </a:lnTo>
                    <a:lnTo>
                      <a:pt x="23" y="23"/>
                    </a:lnTo>
                    <a:lnTo>
                      <a:pt x="23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3" name="Freeform 1824"/>
              <p:cNvSpPr>
                <a:spLocks/>
              </p:cNvSpPr>
              <p:nvPr/>
            </p:nvSpPr>
            <p:spPr bwMode="auto">
              <a:xfrm>
                <a:off x="4618093" y="2609003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4" name="Freeform 1825"/>
              <p:cNvSpPr>
                <a:spLocks/>
              </p:cNvSpPr>
              <p:nvPr/>
            </p:nvSpPr>
            <p:spPr bwMode="auto">
              <a:xfrm>
                <a:off x="4618093" y="2609003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5" name="Freeform 1826"/>
              <p:cNvSpPr>
                <a:spLocks/>
              </p:cNvSpPr>
              <p:nvPr/>
            </p:nvSpPr>
            <p:spPr bwMode="auto">
              <a:xfrm>
                <a:off x="4618093" y="2609003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6" name="Freeform 1827"/>
              <p:cNvSpPr>
                <a:spLocks/>
              </p:cNvSpPr>
              <p:nvPr/>
            </p:nvSpPr>
            <p:spPr bwMode="auto">
              <a:xfrm>
                <a:off x="4618093" y="2609003"/>
                <a:ext cx="57150" cy="57151"/>
              </a:xfrm>
              <a:custGeom>
                <a:avLst/>
                <a:gdLst/>
                <a:ahLst/>
                <a:cxnLst>
                  <a:cxn ang="0">
                    <a:pos x="36" y="13"/>
                  </a:cxn>
                  <a:cxn ang="0">
                    <a:pos x="30" y="6"/>
                  </a:cxn>
                  <a:cxn ang="0">
                    <a:pos x="23" y="0"/>
                  </a:cxn>
                  <a:cxn ang="0">
                    <a:pos x="17" y="13"/>
                  </a:cxn>
                  <a:cxn ang="0">
                    <a:pos x="13" y="13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17" y="36"/>
                  </a:cxn>
                  <a:cxn ang="0">
                    <a:pos x="23" y="29"/>
                  </a:cxn>
                  <a:cxn ang="0">
                    <a:pos x="23" y="23"/>
                  </a:cxn>
                  <a:cxn ang="0">
                    <a:pos x="36" y="13"/>
                  </a:cxn>
                </a:cxnLst>
                <a:rect l="0" t="0" r="r" b="b"/>
                <a:pathLst>
                  <a:path w="36" h="36">
                    <a:moveTo>
                      <a:pt x="36" y="13"/>
                    </a:moveTo>
                    <a:lnTo>
                      <a:pt x="30" y="6"/>
                    </a:lnTo>
                    <a:lnTo>
                      <a:pt x="23" y="0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17" y="36"/>
                    </a:lnTo>
                    <a:lnTo>
                      <a:pt x="23" y="29"/>
                    </a:lnTo>
                    <a:lnTo>
                      <a:pt x="23" y="23"/>
                    </a:lnTo>
                    <a:lnTo>
                      <a:pt x="3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7" name="Freeform 1828"/>
              <p:cNvSpPr>
                <a:spLocks/>
              </p:cNvSpPr>
              <p:nvPr/>
            </p:nvSpPr>
            <p:spPr bwMode="auto">
              <a:xfrm>
                <a:off x="4549830" y="2561377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8" name="Freeform 1829"/>
              <p:cNvSpPr>
                <a:spLocks/>
              </p:cNvSpPr>
              <p:nvPr/>
            </p:nvSpPr>
            <p:spPr bwMode="auto">
              <a:xfrm>
                <a:off x="4549830" y="2561377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899" name="Freeform 1830"/>
              <p:cNvSpPr>
                <a:spLocks/>
              </p:cNvSpPr>
              <p:nvPr/>
            </p:nvSpPr>
            <p:spPr bwMode="auto">
              <a:xfrm>
                <a:off x="4549830" y="2561377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0" name="Freeform 1831"/>
              <p:cNvSpPr>
                <a:spLocks/>
              </p:cNvSpPr>
              <p:nvPr/>
            </p:nvSpPr>
            <p:spPr bwMode="auto">
              <a:xfrm>
                <a:off x="4549830" y="2561377"/>
                <a:ext cx="58738" cy="52388"/>
              </a:xfrm>
              <a:custGeom>
                <a:avLst/>
                <a:gdLst/>
                <a:ahLst/>
                <a:cxnLst>
                  <a:cxn ang="0">
                    <a:pos x="33" y="20"/>
                  </a:cxn>
                  <a:cxn ang="0">
                    <a:pos x="4" y="20"/>
                  </a:cxn>
                  <a:cxn ang="0">
                    <a:pos x="0" y="33"/>
                  </a:cxn>
                  <a:cxn ang="0">
                    <a:pos x="0" y="13"/>
                  </a:cxn>
                  <a:cxn ang="0">
                    <a:pos x="17" y="13"/>
                  </a:cxn>
                  <a:cxn ang="0">
                    <a:pos x="37" y="0"/>
                  </a:cxn>
                  <a:cxn ang="0">
                    <a:pos x="33" y="20"/>
                  </a:cxn>
                </a:cxnLst>
                <a:rect l="0" t="0" r="r" b="b"/>
                <a:pathLst>
                  <a:path w="37" h="33">
                    <a:moveTo>
                      <a:pt x="33" y="20"/>
                    </a:moveTo>
                    <a:lnTo>
                      <a:pt x="4" y="20"/>
                    </a:lnTo>
                    <a:lnTo>
                      <a:pt x="0" y="33"/>
                    </a:lnTo>
                    <a:lnTo>
                      <a:pt x="0" y="13"/>
                    </a:lnTo>
                    <a:lnTo>
                      <a:pt x="17" y="13"/>
                    </a:lnTo>
                    <a:lnTo>
                      <a:pt x="37" y="0"/>
                    </a:lnTo>
                    <a:lnTo>
                      <a:pt x="33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1" name="Freeform 1832"/>
              <p:cNvSpPr>
                <a:spLocks/>
              </p:cNvSpPr>
              <p:nvPr/>
            </p:nvSpPr>
            <p:spPr bwMode="auto">
              <a:xfrm>
                <a:off x="4586341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2" name="Freeform 1833"/>
              <p:cNvSpPr>
                <a:spLocks/>
              </p:cNvSpPr>
              <p:nvPr/>
            </p:nvSpPr>
            <p:spPr bwMode="auto">
              <a:xfrm>
                <a:off x="4586341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3" name="Freeform 1834"/>
              <p:cNvSpPr>
                <a:spLocks/>
              </p:cNvSpPr>
              <p:nvPr/>
            </p:nvSpPr>
            <p:spPr bwMode="auto">
              <a:xfrm>
                <a:off x="4586341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4" name="Freeform 1835"/>
              <p:cNvSpPr>
                <a:spLocks/>
              </p:cNvSpPr>
              <p:nvPr/>
            </p:nvSpPr>
            <p:spPr bwMode="auto">
              <a:xfrm>
                <a:off x="4586341" y="2629641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0"/>
                  </a:cxn>
                  <a:cxn ang="0">
                    <a:pos x="27" y="33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0"/>
                    </a:lnTo>
                    <a:lnTo>
                      <a:pt x="27" y="33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5" name="Freeform 1836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6" name="Freeform 1837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7" name="Freeform 1838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8" name="Freeform 1839"/>
              <p:cNvSpPr>
                <a:spLocks/>
              </p:cNvSpPr>
              <p:nvPr/>
            </p:nvSpPr>
            <p:spPr bwMode="auto">
              <a:xfrm>
                <a:off x="4624443" y="2639166"/>
                <a:ext cx="61913" cy="58738"/>
              </a:xfrm>
              <a:custGeom>
                <a:avLst/>
                <a:gdLst/>
                <a:ahLst/>
                <a:cxnLst>
                  <a:cxn ang="0">
                    <a:pos x="39" y="37"/>
                  </a:cxn>
                  <a:cxn ang="0">
                    <a:pos x="0" y="0"/>
                  </a:cxn>
                  <a:cxn ang="0">
                    <a:pos x="0" y="37"/>
                  </a:cxn>
                  <a:cxn ang="0">
                    <a:pos x="39" y="37"/>
                  </a:cxn>
                </a:cxnLst>
                <a:rect l="0" t="0" r="r" b="b"/>
                <a:pathLst>
                  <a:path w="39" h="37">
                    <a:moveTo>
                      <a:pt x="39" y="37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39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09" name="Freeform 1840"/>
              <p:cNvSpPr>
                <a:spLocks/>
              </p:cNvSpPr>
              <p:nvPr/>
            </p:nvSpPr>
            <p:spPr bwMode="auto">
              <a:xfrm>
                <a:off x="4868920" y="2508989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0" name="Freeform 1841"/>
              <p:cNvSpPr>
                <a:spLocks/>
              </p:cNvSpPr>
              <p:nvPr/>
            </p:nvSpPr>
            <p:spPr bwMode="auto">
              <a:xfrm>
                <a:off x="4868920" y="2508989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1" name="Freeform 1842"/>
              <p:cNvSpPr>
                <a:spLocks/>
              </p:cNvSpPr>
              <p:nvPr/>
            </p:nvSpPr>
            <p:spPr bwMode="auto">
              <a:xfrm>
                <a:off x="4868920" y="2508989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2" name="Freeform 1843"/>
              <p:cNvSpPr>
                <a:spLocks/>
              </p:cNvSpPr>
              <p:nvPr/>
            </p:nvSpPr>
            <p:spPr bwMode="auto">
              <a:xfrm>
                <a:off x="4868920" y="2508989"/>
                <a:ext cx="100013" cy="47625"/>
              </a:xfrm>
              <a:custGeom>
                <a:avLst/>
                <a:gdLst/>
                <a:ahLst/>
                <a:cxnLst>
                  <a:cxn ang="0">
                    <a:pos x="63" y="16"/>
                  </a:cxn>
                  <a:cxn ang="0">
                    <a:pos x="56" y="3"/>
                  </a:cxn>
                  <a:cxn ang="0">
                    <a:pos x="23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0" y="23"/>
                  </a:cxn>
                  <a:cxn ang="0">
                    <a:pos x="14" y="23"/>
                  </a:cxn>
                  <a:cxn ang="0">
                    <a:pos x="37" y="26"/>
                  </a:cxn>
                  <a:cxn ang="0">
                    <a:pos x="56" y="30"/>
                  </a:cxn>
                  <a:cxn ang="0">
                    <a:pos x="63" y="16"/>
                  </a:cxn>
                </a:cxnLst>
                <a:rect l="0" t="0" r="r" b="b"/>
                <a:pathLst>
                  <a:path w="63" h="30">
                    <a:moveTo>
                      <a:pt x="63" y="16"/>
                    </a:moveTo>
                    <a:lnTo>
                      <a:pt x="56" y="3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10" y="23"/>
                    </a:lnTo>
                    <a:lnTo>
                      <a:pt x="14" y="23"/>
                    </a:lnTo>
                    <a:lnTo>
                      <a:pt x="37" y="26"/>
                    </a:lnTo>
                    <a:lnTo>
                      <a:pt x="56" y="30"/>
                    </a:lnTo>
                    <a:lnTo>
                      <a:pt x="63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3" name="Freeform 1844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4" name="Freeform 1845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5" name="Freeform 1846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6" name="Freeform 1847"/>
              <p:cNvSpPr>
                <a:spLocks/>
              </p:cNvSpPr>
              <p:nvPr/>
            </p:nvSpPr>
            <p:spPr bwMode="auto">
              <a:xfrm>
                <a:off x="4827645" y="2550265"/>
                <a:ext cx="161928" cy="74613"/>
              </a:xfrm>
              <a:custGeom>
                <a:avLst/>
                <a:gdLst/>
                <a:ahLst/>
                <a:cxnLst>
                  <a:cxn ang="0">
                    <a:pos x="53" y="30"/>
                  </a:cxn>
                  <a:cxn ang="0">
                    <a:pos x="30" y="33"/>
                  </a:cxn>
                  <a:cxn ang="0">
                    <a:pos x="3" y="33"/>
                  </a:cxn>
                  <a:cxn ang="0">
                    <a:pos x="0" y="37"/>
                  </a:cxn>
                  <a:cxn ang="0">
                    <a:pos x="7" y="10"/>
                  </a:cxn>
                  <a:cxn ang="0">
                    <a:pos x="20" y="10"/>
                  </a:cxn>
                  <a:cxn ang="0">
                    <a:pos x="40" y="20"/>
                  </a:cxn>
                  <a:cxn ang="0">
                    <a:pos x="46" y="14"/>
                  </a:cxn>
                  <a:cxn ang="0">
                    <a:pos x="43" y="0"/>
                  </a:cxn>
                  <a:cxn ang="0">
                    <a:pos x="63" y="0"/>
                  </a:cxn>
                  <a:cxn ang="0">
                    <a:pos x="82" y="7"/>
                  </a:cxn>
                  <a:cxn ang="0">
                    <a:pos x="89" y="17"/>
                  </a:cxn>
                  <a:cxn ang="0">
                    <a:pos x="102" y="40"/>
                  </a:cxn>
                  <a:cxn ang="0">
                    <a:pos x="82" y="47"/>
                  </a:cxn>
                  <a:cxn ang="0">
                    <a:pos x="53" y="30"/>
                  </a:cxn>
                </a:cxnLst>
                <a:rect l="0" t="0" r="r" b="b"/>
                <a:pathLst>
                  <a:path w="102" h="47">
                    <a:moveTo>
                      <a:pt x="53" y="30"/>
                    </a:moveTo>
                    <a:lnTo>
                      <a:pt x="30" y="33"/>
                    </a:lnTo>
                    <a:lnTo>
                      <a:pt x="3" y="33"/>
                    </a:lnTo>
                    <a:lnTo>
                      <a:pt x="0" y="37"/>
                    </a:lnTo>
                    <a:lnTo>
                      <a:pt x="7" y="10"/>
                    </a:lnTo>
                    <a:lnTo>
                      <a:pt x="20" y="10"/>
                    </a:lnTo>
                    <a:lnTo>
                      <a:pt x="40" y="20"/>
                    </a:lnTo>
                    <a:lnTo>
                      <a:pt x="46" y="14"/>
                    </a:lnTo>
                    <a:lnTo>
                      <a:pt x="43" y="0"/>
                    </a:lnTo>
                    <a:lnTo>
                      <a:pt x="63" y="0"/>
                    </a:lnTo>
                    <a:lnTo>
                      <a:pt x="82" y="7"/>
                    </a:lnTo>
                    <a:lnTo>
                      <a:pt x="89" y="17"/>
                    </a:lnTo>
                    <a:lnTo>
                      <a:pt x="102" y="40"/>
                    </a:lnTo>
                    <a:lnTo>
                      <a:pt x="82" y="47"/>
                    </a:lnTo>
                    <a:lnTo>
                      <a:pt x="5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7" name="Freeform 1848"/>
              <p:cNvSpPr>
                <a:spLocks/>
              </p:cNvSpPr>
              <p:nvPr/>
            </p:nvSpPr>
            <p:spPr bwMode="auto">
              <a:xfrm>
                <a:off x="4827645" y="2597890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8" name="Freeform 1849"/>
              <p:cNvSpPr>
                <a:spLocks/>
              </p:cNvSpPr>
              <p:nvPr/>
            </p:nvSpPr>
            <p:spPr bwMode="auto">
              <a:xfrm>
                <a:off x="4827645" y="2597890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19" name="Freeform 1850"/>
              <p:cNvSpPr>
                <a:spLocks/>
              </p:cNvSpPr>
              <p:nvPr/>
            </p:nvSpPr>
            <p:spPr bwMode="auto">
              <a:xfrm>
                <a:off x="4827645" y="2597890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0" name="Freeform 1851"/>
              <p:cNvSpPr>
                <a:spLocks/>
              </p:cNvSpPr>
              <p:nvPr/>
            </p:nvSpPr>
            <p:spPr bwMode="auto">
              <a:xfrm>
                <a:off x="4827645" y="2597890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1" name="Freeform 1852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2" name="Freeform 1853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3" name="Freeform 1854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4" name="Freeform 1855"/>
              <p:cNvSpPr>
                <a:spLocks/>
              </p:cNvSpPr>
              <p:nvPr/>
            </p:nvSpPr>
            <p:spPr bwMode="auto">
              <a:xfrm>
                <a:off x="4451404" y="2691554"/>
                <a:ext cx="77788" cy="84138"/>
              </a:xfrm>
              <a:custGeom>
                <a:avLst/>
                <a:gdLst/>
                <a:ahLst/>
                <a:cxnLst>
                  <a:cxn ang="0">
                    <a:pos x="36" y="27"/>
                  </a:cxn>
                  <a:cxn ang="0">
                    <a:pos x="49" y="24"/>
                  </a:cxn>
                  <a:cxn ang="0">
                    <a:pos x="43" y="14"/>
                  </a:cxn>
                  <a:cxn ang="0">
                    <a:pos x="49" y="4"/>
                  </a:cxn>
                  <a:cxn ang="0">
                    <a:pos x="33" y="0"/>
                  </a:cxn>
                  <a:cxn ang="0">
                    <a:pos x="13" y="10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23" y="40"/>
                  </a:cxn>
                  <a:cxn ang="0">
                    <a:pos x="26" y="47"/>
                  </a:cxn>
                  <a:cxn ang="0">
                    <a:pos x="36" y="53"/>
                  </a:cxn>
                  <a:cxn ang="0">
                    <a:pos x="36" y="27"/>
                  </a:cxn>
                </a:cxnLst>
                <a:rect l="0" t="0" r="r" b="b"/>
                <a:pathLst>
                  <a:path w="49" h="53">
                    <a:moveTo>
                      <a:pt x="36" y="27"/>
                    </a:moveTo>
                    <a:lnTo>
                      <a:pt x="49" y="24"/>
                    </a:lnTo>
                    <a:lnTo>
                      <a:pt x="43" y="14"/>
                    </a:lnTo>
                    <a:lnTo>
                      <a:pt x="49" y="4"/>
                    </a:lnTo>
                    <a:lnTo>
                      <a:pt x="33" y="0"/>
                    </a:lnTo>
                    <a:lnTo>
                      <a:pt x="13" y="10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23" y="40"/>
                    </a:lnTo>
                    <a:lnTo>
                      <a:pt x="26" y="47"/>
                    </a:lnTo>
                    <a:lnTo>
                      <a:pt x="36" y="53"/>
                    </a:lnTo>
                    <a:lnTo>
                      <a:pt x="36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5" name="Freeform 1856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6" name="Freeform 1857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7" name="Freeform 1858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8" name="Freeform 1859"/>
              <p:cNvSpPr>
                <a:spLocks/>
              </p:cNvSpPr>
              <p:nvPr/>
            </p:nvSpPr>
            <p:spPr bwMode="auto">
              <a:xfrm>
                <a:off x="4691119" y="2650278"/>
                <a:ext cx="230190" cy="168277"/>
              </a:xfrm>
              <a:custGeom>
                <a:avLst/>
                <a:gdLst/>
                <a:ahLst/>
                <a:cxnLst>
                  <a:cxn ang="0">
                    <a:pos x="60" y="3"/>
                  </a:cxn>
                  <a:cxn ang="0">
                    <a:pos x="53" y="0"/>
                  </a:cxn>
                  <a:cxn ang="0">
                    <a:pos x="37" y="0"/>
                  </a:cxn>
                  <a:cxn ang="0">
                    <a:pos x="14" y="3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0" y="33"/>
                  </a:cxn>
                  <a:cxn ang="0">
                    <a:pos x="7" y="56"/>
                  </a:cxn>
                  <a:cxn ang="0">
                    <a:pos x="14" y="73"/>
                  </a:cxn>
                  <a:cxn ang="0">
                    <a:pos x="33" y="83"/>
                  </a:cxn>
                  <a:cxn ang="0">
                    <a:pos x="37" y="83"/>
                  </a:cxn>
                  <a:cxn ang="0">
                    <a:pos x="53" y="83"/>
                  </a:cxn>
                  <a:cxn ang="0">
                    <a:pos x="73" y="99"/>
                  </a:cxn>
                  <a:cxn ang="0">
                    <a:pos x="86" y="99"/>
                  </a:cxn>
                  <a:cxn ang="0">
                    <a:pos x="89" y="102"/>
                  </a:cxn>
                  <a:cxn ang="0">
                    <a:pos x="103" y="102"/>
                  </a:cxn>
                  <a:cxn ang="0">
                    <a:pos x="126" y="106"/>
                  </a:cxn>
                  <a:cxn ang="0">
                    <a:pos x="129" y="102"/>
                  </a:cxn>
                  <a:cxn ang="0">
                    <a:pos x="145" y="83"/>
                  </a:cxn>
                  <a:cxn ang="0">
                    <a:pos x="145" y="73"/>
                  </a:cxn>
                  <a:cxn ang="0">
                    <a:pos x="135" y="50"/>
                  </a:cxn>
                  <a:cxn ang="0">
                    <a:pos x="129" y="46"/>
                  </a:cxn>
                  <a:cxn ang="0">
                    <a:pos x="135" y="33"/>
                  </a:cxn>
                  <a:cxn ang="0">
                    <a:pos x="126" y="10"/>
                  </a:cxn>
                  <a:cxn ang="0">
                    <a:pos x="99" y="3"/>
                  </a:cxn>
                  <a:cxn ang="0">
                    <a:pos x="60" y="3"/>
                  </a:cxn>
                </a:cxnLst>
                <a:rect l="0" t="0" r="r" b="b"/>
                <a:pathLst>
                  <a:path w="145" h="106">
                    <a:moveTo>
                      <a:pt x="60" y="3"/>
                    </a:moveTo>
                    <a:lnTo>
                      <a:pt x="53" y="0"/>
                    </a:lnTo>
                    <a:lnTo>
                      <a:pt x="37" y="0"/>
                    </a:lnTo>
                    <a:lnTo>
                      <a:pt x="14" y="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7" y="56"/>
                    </a:lnTo>
                    <a:lnTo>
                      <a:pt x="14" y="73"/>
                    </a:lnTo>
                    <a:lnTo>
                      <a:pt x="33" y="83"/>
                    </a:lnTo>
                    <a:lnTo>
                      <a:pt x="37" y="83"/>
                    </a:lnTo>
                    <a:lnTo>
                      <a:pt x="53" y="83"/>
                    </a:lnTo>
                    <a:lnTo>
                      <a:pt x="73" y="99"/>
                    </a:lnTo>
                    <a:lnTo>
                      <a:pt x="86" y="99"/>
                    </a:lnTo>
                    <a:lnTo>
                      <a:pt x="89" y="102"/>
                    </a:lnTo>
                    <a:lnTo>
                      <a:pt x="103" y="102"/>
                    </a:lnTo>
                    <a:lnTo>
                      <a:pt x="126" y="106"/>
                    </a:lnTo>
                    <a:lnTo>
                      <a:pt x="129" y="102"/>
                    </a:lnTo>
                    <a:lnTo>
                      <a:pt x="145" y="83"/>
                    </a:lnTo>
                    <a:lnTo>
                      <a:pt x="145" y="73"/>
                    </a:lnTo>
                    <a:lnTo>
                      <a:pt x="135" y="50"/>
                    </a:lnTo>
                    <a:lnTo>
                      <a:pt x="129" y="46"/>
                    </a:lnTo>
                    <a:lnTo>
                      <a:pt x="135" y="33"/>
                    </a:lnTo>
                    <a:lnTo>
                      <a:pt x="126" y="10"/>
                    </a:lnTo>
                    <a:lnTo>
                      <a:pt x="99" y="3"/>
                    </a:lnTo>
                    <a:lnTo>
                      <a:pt x="60" y="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29" name="Freeform 1860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0" name="Freeform 1861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1" name="Freeform 1862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2" name="Freeform 1863"/>
              <p:cNvSpPr>
                <a:spLocks/>
              </p:cNvSpPr>
              <p:nvPr/>
            </p:nvSpPr>
            <p:spPr bwMode="auto">
              <a:xfrm>
                <a:off x="4848283" y="2843957"/>
                <a:ext cx="230190" cy="141289"/>
              </a:xfrm>
              <a:custGeom>
                <a:avLst/>
                <a:gdLst/>
                <a:ahLst/>
                <a:cxnLst>
                  <a:cxn ang="0">
                    <a:pos x="132" y="70"/>
                  </a:cxn>
                  <a:cxn ang="0">
                    <a:pos x="129" y="86"/>
                  </a:cxn>
                  <a:cxn ang="0">
                    <a:pos x="102" y="83"/>
                  </a:cxn>
                  <a:cxn ang="0">
                    <a:pos x="76" y="89"/>
                  </a:cxn>
                  <a:cxn ang="0">
                    <a:pos x="63" y="86"/>
                  </a:cxn>
                  <a:cxn ang="0">
                    <a:pos x="43" y="83"/>
                  </a:cxn>
                  <a:cxn ang="0">
                    <a:pos x="40" y="79"/>
                  </a:cxn>
                  <a:cxn ang="0">
                    <a:pos x="40" y="70"/>
                  </a:cxn>
                  <a:cxn ang="0">
                    <a:pos x="30" y="70"/>
                  </a:cxn>
                  <a:cxn ang="0">
                    <a:pos x="23" y="66"/>
                  </a:cxn>
                  <a:cxn ang="0">
                    <a:pos x="0" y="40"/>
                  </a:cxn>
                  <a:cxn ang="0">
                    <a:pos x="10" y="37"/>
                  </a:cxn>
                  <a:cxn ang="0">
                    <a:pos x="20" y="20"/>
                  </a:cxn>
                  <a:cxn ang="0">
                    <a:pos x="36" y="4"/>
                  </a:cxn>
                  <a:cxn ang="0">
                    <a:pos x="66" y="7"/>
                  </a:cxn>
                  <a:cxn ang="0">
                    <a:pos x="89" y="0"/>
                  </a:cxn>
                  <a:cxn ang="0">
                    <a:pos x="102" y="10"/>
                  </a:cxn>
                  <a:cxn ang="0">
                    <a:pos x="112" y="20"/>
                  </a:cxn>
                  <a:cxn ang="0">
                    <a:pos x="119" y="37"/>
                  </a:cxn>
                  <a:cxn ang="0">
                    <a:pos x="122" y="56"/>
                  </a:cxn>
                  <a:cxn ang="0">
                    <a:pos x="132" y="56"/>
                  </a:cxn>
                  <a:cxn ang="0">
                    <a:pos x="145" y="60"/>
                  </a:cxn>
                  <a:cxn ang="0">
                    <a:pos x="145" y="66"/>
                  </a:cxn>
                  <a:cxn ang="0">
                    <a:pos x="139" y="70"/>
                  </a:cxn>
                  <a:cxn ang="0">
                    <a:pos x="139" y="66"/>
                  </a:cxn>
                  <a:cxn ang="0">
                    <a:pos x="132" y="70"/>
                  </a:cxn>
                </a:cxnLst>
                <a:rect l="0" t="0" r="r" b="b"/>
                <a:pathLst>
                  <a:path w="145" h="89">
                    <a:moveTo>
                      <a:pt x="132" y="70"/>
                    </a:moveTo>
                    <a:lnTo>
                      <a:pt x="129" y="86"/>
                    </a:lnTo>
                    <a:lnTo>
                      <a:pt x="102" y="83"/>
                    </a:lnTo>
                    <a:lnTo>
                      <a:pt x="76" y="89"/>
                    </a:lnTo>
                    <a:lnTo>
                      <a:pt x="63" y="86"/>
                    </a:lnTo>
                    <a:lnTo>
                      <a:pt x="43" y="83"/>
                    </a:lnTo>
                    <a:lnTo>
                      <a:pt x="40" y="79"/>
                    </a:lnTo>
                    <a:lnTo>
                      <a:pt x="40" y="70"/>
                    </a:lnTo>
                    <a:lnTo>
                      <a:pt x="30" y="70"/>
                    </a:lnTo>
                    <a:lnTo>
                      <a:pt x="23" y="66"/>
                    </a:lnTo>
                    <a:lnTo>
                      <a:pt x="0" y="40"/>
                    </a:lnTo>
                    <a:lnTo>
                      <a:pt x="10" y="37"/>
                    </a:lnTo>
                    <a:lnTo>
                      <a:pt x="20" y="20"/>
                    </a:lnTo>
                    <a:lnTo>
                      <a:pt x="36" y="4"/>
                    </a:lnTo>
                    <a:lnTo>
                      <a:pt x="66" y="7"/>
                    </a:lnTo>
                    <a:lnTo>
                      <a:pt x="89" y="0"/>
                    </a:lnTo>
                    <a:lnTo>
                      <a:pt x="102" y="10"/>
                    </a:lnTo>
                    <a:lnTo>
                      <a:pt x="112" y="20"/>
                    </a:lnTo>
                    <a:lnTo>
                      <a:pt x="119" y="37"/>
                    </a:lnTo>
                    <a:lnTo>
                      <a:pt x="122" y="56"/>
                    </a:lnTo>
                    <a:lnTo>
                      <a:pt x="132" y="56"/>
                    </a:lnTo>
                    <a:lnTo>
                      <a:pt x="145" y="60"/>
                    </a:lnTo>
                    <a:lnTo>
                      <a:pt x="145" y="66"/>
                    </a:lnTo>
                    <a:lnTo>
                      <a:pt x="139" y="70"/>
                    </a:lnTo>
                    <a:lnTo>
                      <a:pt x="139" y="66"/>
                    </a:lnTo>
                    <a:lnTo>
                      <a:pt x="132" y="7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3" name="Freeform 1864"/>
              <p:cNvSpPr>
                <a:spLocks/>
              </p:cNvSpPr>
              <p:nvPr/>
            </p:nvSpPr>
            <p:spPr bwMode="auto">
              <a:xfrm>
                <a:off x="4645080" y="2766169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4" name="Freeform 1865"/>
              <p:cNvSpPr>
                <a:spLocks/>
              </p:cNvSpPr>
              <p:nvPr/>
            </p:nvSpPr>
            <p:spPr bwMode="auto">
              <a:xfrm>
                <a:off x="4645080" y="2766169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5" name="Freeform 1866"/>
              <p:cNvSpPr>
                <a:spLocks/>
              </p:cNvSpPr>
              <p:nvPr/>
            </p:nvSpPr>
            <p:spPr bwMode="auto">
              <a:xfrm>
                <a:off x="4645080" y="2766169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6" name="Freeform 1867"/>
              <p:cNvSpPr>
                <a:spLocks/>
              </p:cNvSpPr>
              <p:nvPr/>
            </p:nvSpPr>
            <p:spPr bwMode="auto">
              <a:xfrm>
                <a:off x="4645080" y="2766169"/>
                <a:ext cx="161928" cy="68263"/>
              </a:xfrm>
              <a:custGeom>
                <a:avLst/>
                <a:gdLst/>
                <a:ahLst/>
                <a:cxnLst>
                  <a:cxn ang="0">
                    <a:pos x="82" y="10"/>
                  </a:cxn>
                  <a:cxn ang="0">
                    <a:pos x="102" y="23"/>
                  </a:cxn>
                  <a:cxn ang="0">
                    <a:pos x="95" y="29"/>
                  </a:cxn>
                  <a:cxn ang="0">
                    <a:pos x="92" y="29"/>
                  </a:cxn>
                  <a:cxn ang="0">
                    <a:pos x="85" y="39"/>
                  </a:cxn>
                  <a:cxn ang="0">
                    <a:pos x="69" y="39"/>
                  </a:cxn>
                  <a:cxn ang="0">
                    <a:pos x="43" y="36"/>
                  </a:cxn>
                  <a:cxn ang="0">
                    <a:pos x="36" y="43"/>
                  </a:cxn>
                  <a:cxn ang="0">
                    <a:pos x="26" y="39"/>
                  </a:cxn>
                  <a:cxn ang="0">
                    <a:pos x="3" y="16"/>
                  </a:cxn>
                  <a:cxn ang="0">
                    <a:pos x="0" y="13"/>
                  </a:cxn>
                  <a:cxn ang="0">
                    <a:pos x="36" y="0"/>
                  </a:cxn>
                  <a:cxn ang="0">
                    <a:pos x="39" y="0"/>
                  </a:cxn>
                  <a:cxn ang="0">
                    <a:pos x="62" y="6"/>
                  </a:cxn>
                  <a:cxn ang="0">
                    <a:pos x="66" y="10"/>
                  </a:cxn>
                  <a:cxn ang="0">
                    <a:pos x="82" y="10"/>
                  </a:cxn>
                </a:cxnLst>
                <a:rect l="0" t="0" r="r" b="b"/>
                <a:pathLst>
                  <a:path w="102" h="43">
                    <a:moveTo>
                      <a:pt x="82" y="10"/>
                    </a:moveTo>
                    <a:lnTo>
                      <a:pt x="102" y="23"/>
                    </a:lnTo>
                    <a:lnTo>
                      <a:pt x="95" y="29"/>
                    </a:lnTo>
                    <a:lnTo>
                      <a:pt x="92" y="29"/>
                    </a:lnTo>
                    <a:lnTo>
                      <a:pt x="85" y="39"/>
                    </a:lnTo>
                    <a:lnTo>
                      <a:pt x="69" y="39"/>
                    </a:lnTo>
                    <a:lnTo>
                      <a:pt x="43" y="36"/>
                    </a:lnTo>
                    <a:lnTo>
                      <a:pt x="36" y="43"/>
                    </a:lnTo>
                    <a:lnTo>
                      <a:pt x="26" y="39"/>
                    </a:lnTo>
                    <a:lnTo>
                      <a:pt x="3" y="16"/>
                    </a:lnTo>
                    <a:lnTo>
                      <a:pt x="0" y="1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62" y="6"/>
                    </a:lnTo>
                    <a:lnTo>
                      <a:pt x="66" y="10"/>
                    </a:lnTo>
                    <a:lnTo>
                      <a:pt x="8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7" name="Freeform 1868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8" name="Freeform 1869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39" name="Freeform 1870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0" name="Freeform 1871"/>
              <p:cNvSpPr>
                <a:spLocks/>
              </p:cNvSpPr>
              <p:nvPr/>
            </p:nvSpPr>
            <p:spPr bwMode="auto">
              <a:xfrm>
                <a:off x="4419653" y="2750292"/>
                <a:ext cx="88900" cy="5238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3"/>
                  </a:cxn>
                  <a:cxn ang="0">
                    <a:pos x="7" y="13"/>
                  </a:cxn>
                  <a:cxn ang="0">
                    <a:pos x="23" y="23"/>
                  </a:cxn>
                  <a:cxn ang="0">
                    <a:pos x="33" y="23"/>
                  </a:cxn>
                  <a:cxn ang="0">
                    <a:pos x="36" y="26"/>
                  </a:cxn>
                  <a:cxn ang="0">
                    <a:pos x="53" y="33"/>
                  </a:cxn>
                  <a:cxn ang="0">
                    <a:pos x="53" y="29"/>
                  </a:cxn>
                  <a:cxn ang="0">
                    <a:pos x="56" y="23"/>
                  </a:cxn>
                  <a:cxn ang="0">
                    <a:pos x="56" y="13"/>
                  </a:cxn>
                  <a:cxn ang="0">
                    <a:pos x="46" y="10"/>
                  </a:cxn>
                  <a:cxn ang="0">
                    <a:pos x="43" y="0"/>
                  </a:cxn>
                  <a:cxn ang="0">
                    <a:pos x="16" y="0"/>
                  </a:cxn>
                </a:cxnLst>
                <a:rect l="0" t="0" r="r" b="b"/>
                <a:pathLst>
                  <a:path w="56" h="33">
                    <a:moveTo>
                      <a:pt x="16" y="0"/>
                    </a:moveTo>
                    <a:lnTo>
                      <a:pt x="0" y="3"/>
                    </a:lnTo>
                    <a:lnTo>
                      <a:pt x="7" y="13"/>
                    </a:lnTo>
                    <a:lnTo>
                      <a:pt x="23" y="23"/>
                    </a:lnTo>
                    <a:lnTo>
                      <a:pt x="33" y="23"/>
                    </a:lnTo>
                    <a:lnTo>
                      <a:pt x="36" y="26"/>
                    </a:lnTo>
                    <a:lnTo>
                      <a:pt x="53" y="33"/>
                    </a:lnTo>
                    <a:lnTo>
                      <a:pt x="53" y="29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46" y="10"/>
                    </a:lnTo>
                    <a:lnTo>
                      <a:pt x="43" y="0"/>
                    </a:lnTo>
                    <a:lnTo>
                      <a:pt x="1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1" name="Freeform 1872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2" name="Freeform 1873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3" name="Freeform 1874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4" name="Freeform 1875"/>
              <p:cNvSpPr>
                <a:spLocks/>
              </p:cNvSpPr>
              <p:nvPr/>
            </p:nvSpPr>
            <p:spPr bwMode="auto">
              <a:xfrm>
                <a:off x="4508554" y="2645516"/>
                <a:ext cx="204790" cy="225428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30" y="26"/>
                  </a:cxn>
                  <a:cxn ang="0">
                    <a:pos x="30" y="23"/>
                  </a:cxn>
                  <a:cxn ang="0">
                    <a:pos x="36" y="20"/>
                  </a:cxn>
                  <a:cxn ang="0">
                    <a:pos x="46" y="23"/>
                  </a:cxn>
                  <a:cxn ang="0">
                    <a:pos x="43" y="20"/>
                  </a:cxn>
                  <a:cxn ang="0">
                    <a:pos x="36" y="13"/>
                  </a:cxn>
                  <a:cxn ang="0">
                    <a:pos x="36" y="10"/>
                  </a:cxn>
                  <a:cxn ang="0">
                    <a:pos x="30" y="0"/>
                  </a:cxn>
                  <a:cxn ang="0">
                    <a:pos x="43" y="3"/>
                  </a:cxn>
                  <a:cxn ang="0">
                    <a:pos x="49" y="3"/>
                  </a:cxn>
                  <a:cxn ang="0">
                    <a:pos x="49" y="10"/>
                  </a:cxn>
                  <a:cxn ang="0">
                    <a:pos x="66" y="10"/>
                  </a:cxn>
                  <a:cxn ang="0">
                    <a:pos x="63" y="16"/>
                  </a:cxn>
                  <a:cxn ang="0">
                    <a:pos x="69" y="16"/>
                  </a:cxn>
                  <a:cxn ang="0">
                    <a:pos x="89" y="10"/>
                  </a:cxn>
                  <a:cxn ang="0">
                    <a:pos x="105" y="16"/>
                  </a:cxn>
                  <a:cxn ang="0">
                    <a:pos x="112" y="16"/>
                  </a:cxn>
                  <a:cxn ang="0">
                    <a:pos x="115" y="20"/>
                  </a:cxn>
                  <a:cxn ang="0">
                    <a:pos x="112" y="23"/>
                  </a:cxn>
                  <a:cxn ang="0">
                    <a:pos x="115" y="36"/>
                  </a:cxn>
                  <a:cxn ang="0">
                    <a:pos x="122" y="59"/>
                  </a:cxn>
                  <a:cxn ang="0">
                    <a:pos x="129" y="76"/>
                  </a:cxn>
                  <a:cxn ang="0">
                    <a:pos x="122" y="76"/>
                  </a:cxn>
                  <a:cxn ang="0">
                    <a:pos x="89" y="89"/>
                  </a:cxn>
                  <a:cxn ang="0">
                    <a:pos x="92" y="95"/>
                  </a:cxn>
                  <a:cxn ang="0">
                    <a:pos x="112" y="115"/>
                  </a:cxn>
                  <a:cxn ang="0">
                    <a:pos x="102" y="125"/>
                  </a:cxn>
                  <a:cxn ang="0">
                    <a:pos x="105" y="138"/>
                  </a:cxn>
                  <a:cxn ang="0">
                    <a:pos x="69" y="138"/>
                  </a:cxn>
                  <a:cxn ang="0">
                    <a:pos x="66" y="142"/>
                  </a:cxn>
                  <a:cxn ang="0">
                    <a:pos x="53" y="142"/>
                  </a:cxn>
                  <a:cxn ang="0">
                    <a:pos x="36" y="138"/>
                  </a:cxn>
                  <a:cxn ang="0">
                    <a:pos x="23" y="138"/>
                  </a:cxn>
                  <a:cxn ang="0">
                    <a:pos x="30" y="112"/>
                  </a:cxn>
                  <a:cxn ang="0">
                    <a:pos x="7" y="105"/>
                  </a:cxn>
                  <a:cxn ang="0">
                    <a:pos x="3" y="102"/>
                  </a:cxn>
                  <a:cxn ang="0">
                    <a:pos x="0" y="89"/>
                  </a:cxn>
                  <a:cxn ang="0">
                    <a:pos x="0" y="56"/>
                  </a:cxn>
                  <a:cxn ang="0">
                    <a:pos x="13" y="49"/>
                  </a:cxn>
                  <a:cxn ang="0">
                    <a:pos x="7" y="43"/>
                  </a:cxn>
                  <a:cxn ang="0">
                    <a:pos x="13" y="33"/>
                  </a:cxn>
                  <a:cxn ang="0">
                    <a:pos x="10" y="26"/>
                  </a:cxn>
                  <a:cxn ang="0">
                    <a:pos x="13" y="23"/>
                  </a:cxn>
                  <a:cxn ang="0">
                    <a:pos x="26" y="26"/>
                  </a:cxn>
                </a:cxnLst>
                <a:rect l="0" t="0" r="r" b="b"/>
                <a:pathLst>
                  <a:path w="129" h="142">
                    <a:moveTo>
                      <a:pt x="26" y="26"/>
                    </a:moveTo>
                    <a:lnTo>
                      <a:pt x="30" y="26"/>
                    </a:lnTo>
                    <a:lnTo>
                      <a:pt x="30" y="23"/>
                    </a:lnTo>
                    <a:lnTo>
                      <a:pt x="36" y="20"/>
                    </a:lnTo>
                    <a:lnTo>
                      <a:pt x="46" y="23"/>
                    </a:lnTo>
                    <a:lnTo>
                      <a:pt x="43" y="20"/>
                    </a:lnTo>
                    <a:lnTo>
                      <a:pt x="36" y="13"/>
                    </a:lnTo>
                    <a:lnTo>
                      <a:pt x="36" y="10"/>
                    </a:lnTo>
                    <a:lnTo>
                      <a:pt x="30" y="0"/>
                    </a:lnTo>
                    <a:lnTo>
                      <a:pt x="43" y="3"/>
                    </a:lnTo>
                    <a:lnTo>
                      <a:pt x="49" y="3"/>
                    </a:lnTo>
                    <a:lnTo>
                      <a:pt x="49" y="10"/>
                    </a:lnTo>
                    <a:lnTo>
                      <a:pt x="66" y="10"/>
                    </a:lnTo>
                    <a:lnTo>
                      <a:pt x="63" y="16"/>
                    </a:lnTo>
                    <a:lnTo>
                      <a:pt x="69" y="16"/>
                    </a:lnTo>
                    <a:lnTo>
                      <a:pt x="89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20"/>
                    </a:lnTo>
                    <a:lnTo>
                      <a:pt x="112" y="23"/>
                    </a:lnTo>
                    <a:lnTo>
                      <a:pt x="115" y="36"/>
                    </a:lnTo>
                    <a:lnTo>
                      <a:pt x="122" y="59"/>
                    </a:lnTo>
                    <a:lnTo>
                      <a:pt x="129" y="76"/>
                    </a:lnTo>
                    <a:lnTo>
                      <a:pt x="122" y="76"/>
                    </a:lnTo>
                    <a:lnTo>
                      <a:pt x="89" y="89"/>
                    </a:lnTo>
                    <a:lnTo>
                      <a:pt x="92" y="95"/>
                    </a:lnTo>
                    <a:lnTo>
                      <a:pt x="112" y="115"/>
                    </a:lnTo>
                    <a:lnTo>
                      <a:pt x="102" y="125"/>
                    </a:lnTo>
                    <a:lnTo>
                      <a:pt x="105" y="138"/>
                    </a:lnTo>
                    <a:lnTo>
                      <a:pt x="69" y="138"/>
                    </a:lnTo>
                    <a:lnTo>
                      <a:pt x="66" y="142"/>
                    </a:lnTo>
                    <a:lnTo>
                      <a:pt x="53" y="142"/>
                    </a:lnTo>
                    <a:lnTo>
                      <a:pt x="36" y="138"/>
                    </a:lnTo>
                    <a:lnTo>
                      <a:pt x="23" y="138"/>
                    </a:lnTo>
                    <a:lnTo>
                      <a:pt x="30" y="112"/>
                    </a:lnTo>
                    <a:lnTo>
                      <a:pt x="7" y="105"/>
                    </a:lnTo>
                    <a:lnTo>
                      <a:pt x="3" y="102"/>
                    </a:lnTo>
                    <a:lnTo>
                      <a:pt x="0" y="89"/>
                    </a:lnTo>
                    <a:lnTo>
                      <a:pt x="0" y="56"/>
                    </a:lnTo>
                    <a:lnTo>
                      <a:pt x="13" y="49"/>
                    </a:lnTo>
                    <a:lnTo>
                      <a:pt x="7" y="43"/>
                    </a:lnTo>
                    <a:lnTo>
                      <a:pt x="13" y="33"/>
                    </a:lnTo>
                    <a:lnTo>
                      <a:pt x="10" y="26"/>
                    </a:lnTo>
                    <a:lnTo>
                      <a:pt x="13" y="23"/>
                    </a:lnTo>
                    <a:lnTo>
                      <a:pt x="26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5" name="Freeform 1876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6" name="Freeform 1877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7" name="Freeform 1878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8" name="Freeform 1879"/>
              <p:cNvSpPr>
                <a:spLocks/>
              </p:cNvSpPr>
              <p:nvPr/>
            </p:nvSpPr>
            <p:spPr bwMode="auto">
              <a:xfrm>
                <a:off x="4508554" y="2791568"/>
                <a:ext cx="63500" cy="52388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40" y="33"/>
                  </a:cxn>
                  <a:cxn ang="0">
                    <a:pos x="26" y="0"/>
                  </a:cxn>
                </a:cxnLst>
                <a:rect l="0" t="0" r="r" b="b"/>
                <a:pathLst>
                  <a:path w="40" h="33">
                    <a:moveTo>
                      <a:pt x="26" y="0"/>
                    </a:moveTo>
                    <a:lnTo>
                      <a:pt x="0" y="27"/>
                    </a:lnTo>
                    <a:lnTo>
                      <a:pt x="0" y="33"/>
                    </a:lnTo>
                    <a:lnTo>
                      <a:pt x="40" y="33"/>
                    </a:lnTo>
                    <a:lnTo>
                      <a:pt x="2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49" name="Freeform 1880"/>
              <p:cNvSpPr>
                <a:spLocks/>
              </p:cNvSpPr>
              <p:nvPr/>
            </p:nvSpPr>
            <p:spPr bwMode="auto">
              <a:xfrm>
                <a:off x="4989572" y="2823318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0" name="Freeform 1881"/>
              <p:cNvSpPr>
                <a:spLocks/>
              </p:cNvSpPr>
              <p:nvPr/>
            </p:nvSpPr>
            <p:spPr bwMode="auto">
              <a:xfrm>
                <a:off x="4989572" y="2823318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1" name="Freeform 1882"/>
              <p:cNvSpPr>
                <a:spLocks/>
              </p:cNvSpPr>
              <p:nvPr/>
            </p:nvSpPr>
            <p:spPr bwMode="auto">
              <a:xfrm>
                <a:off x="4989572" y="2823318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2" name="Freeform 1883"/>
              <p:cNvSpPr>
                <a:spLocks/>
              </p:cNvSpPr>
              <p:nvPr/>
            </p:nvSpPr>
            <p:spPr bwMode="auto">
              <a:xfrm>
                <a:off x="4989572" y="2823318"/>
                <a:ext cx="104776" cy="11588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0" y="13"/>
                  </a:cxn>
                  <a:cxn ang="0">
                    <a:pos x="10" y="26"/>
                  </a:cxn>
                  <a:cxn ang="0">
                    <a:pos x="20" y="33"/>
                  </a:cxn>
                  <a:cxn ang="0">
                    <a:pos x="27" y="50"/>
                  </a:cxn>
                  <a:cxn ang="0">
                    <a:pos x="33" y="69"/>
                  </a:cxn>
                  <a:cxn ang="0">
                    <a:pos x="43" y="69"/>
                  </a:cxn>
                  <a:cxn ang="0">
                    <a:pos x="53" y="73"/>
                  </a:cxn>
                  <a:cxn ang="0">
                    <a:pos x="53" y="63"/>
                  </a:cxn>
                  <a:cxn ang="0">
                    <a:pos x="66" y="50"/>
                  </a:cxn>
                  <a:cxn ang="0">
                    <a:pos x="53" y="40"/>
                  </a:cxn>
                  <a:cxn ang="0">
                    <a:pos x="40" y="30"/>
                  </a:cxn>
                  <a:cxn ang="0">
                    <a:pos x="27" y="13"/>
                  </a:cxn>
                  <a:cxn ang="0">
                    <a:pos x="17" y="0"/>
                  </a:cxn>
                  <a:cxn ang="0">
                    <a:pos x="10" y="0"/>
                  </a:cxn>
                </a:cxnLst>
                <a:rect l="0" t="0" r="r" b="b"/>
                <a:pathLst>
                  <a:path w="66" h="73">
                    <a:moveTo>
                      <a:pt x="10" y="0"/>
                    </a:moveTo>
                    <a:lnTo>
                      <a:pt x="0" y="13"/>
                    </a:lnTo>
                    <a:lnTo>
                      <a:pt x="10" y="26"/>
                    </a:lnTo>
                    <a:lnTo>
                      <a:pt x="20" y="33"/>
                    </a:lnTo>
                    <a:lnTo>
                      <a:pt x="27" y="50"/>
                    </a:lnTo>
                    <a:lnTo>
                      <a:pt x="33" y="69"/>
                    </a:lnTo>
                    <a:lnTo>
                      <a:pt x="43" y="69"/>
                    </a:lnTo>
                    <a:lnTo>
                      <a:pt x="53" y="73"/>
                    </a:lnTo>
                    <a:lnTo>
                      <a:pt x="53" y="63"/>
                    </a:lnTo>
                    <a:lnTo>
                      <a:pt x="66" y="50"/>
                    </a:lnTo>
                    <a:lnTo>
                      <a:pt x="53" y="40"/>
                    </a:lnTo>
                    <a:lnTo>
                      <a:pt x="40" y="30"/>
                    </a:lnTo>
                    <a:lnTo>
                      <a:pt x="27" y="13"/>
                    </a:lnTo>
                    <a:lnTo>
                      <a:pt x="17" y="0"/>
                    </a:lnTo>
                    <a:lnTo>
                      <a:pt x="10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3" name="Freeform 1884"/>
              <p:cNvSpPr>
                <a:spLocks/>
              </p:cNvSpPr>
              <p:nvPr/>
            </p:nvSpPr>
            <p:spPr bwMode="auto">
              <a:xfrm>
                <a:off x="4472041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4" name="Freeform 1885"/>
              <p:cNvSpPr>
                <a:spLocks/>
              </p:cNvSpPr>
              <p:nvPr/>
            </p:nvSpPr>
            <p:spPr bwMode="auto">
              <a:xfrm>
                <a:off x="4472041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5" name="Freeform 1886"/>
              <p:cNvSpPr>
                <a:spLocks/>
              </p:cNvSpPr>
              <p:nvPr/>
            </p:nvSpPr>
            <p:spPr bwMode="auto">
              <a:xfrm>
                <a:off x="4472041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6" name="Freeform 1887"/>
              <p:cNvSpPr>
                <a:spLocks/>
              </p:cNvSpPr>
              <p:nvPr/>
            </p:nvSpPr>
            <p:spPr bwMode="auto">
              <a:xfrm>
                <a:off x="4472041" y="2194659"/>
                <a:ext cx="485781" cy="355606"/>
              </a:xfrm>
              <a:custGeom>
                <a:avLst/>
                <a:gdLst/>
                <a:ahLst/>
                <a:cxnLst>
                  <a:cxn ang="0">
                    <a:pos x="175" y="30"/>
                  </a:cxn>
                  <a:cxn ang="0">
                    <a:pos x="168" y="26"/>
                  </a:cxn>
                  <a:cxn ang="0">
                    <a:pos x="168" y="30"/>
                  </a:cxn>
                  <a:cxn ang="0">
                    <a:pos x="152" y="30"/>
                  </a:cxn>
                  <a:cxn ang="0">
                    <a:pos x="148" y="39"/>
                  </a:cxn>
                  <a:cxn ang="0">
                    <a:pos x="145" y="46"/>
                  </a:cxn>
                  <a:cxn ang="0">
                    <a:pos x="128" y="46"/>
                  </a:cxn>
                  <a:cxn ang="0">
                    <a:pos x="128" y="53"/>
                  </a:cxn>
                  <a:cxn ang="0">
                    <a:pos x="115" y="63"/>
                  </a:cxn>
                  <a:cxn ang="0">
                    <a:pos x="115" y="66"/>
                  </a:cxn>
                  <a:cxn ang="0">
                    <a:pos x="96" y="79"/>
                  </a:cxn>
                  <a:cxn ang="0">
                    <a:pos x="92" y="86"/>
                  </a:cxn>
                  <a:cxn ang="0">
                    <a:pos x="82" y="102"/>
                  </a:cxn>
                  <a:cxn ang="0">
                    <a:pos x="82" y="109"/>
                  </a:cxn>
                  <a:cxn ang="0">
                    <a:pos x="63" y="119"/>
                  </a:cxn>
                  <a:cxn ang="0">
                    <a:pos x="72" y="119"/>
                  </a:cxn>
                  <a:cxn ang="0">
                    <a:pos x="69" y="129"/>
                  </a:cxn>
                  <a:cxn ang="0">
                    <a:pos x="43" y="132"/>
                  </a:cxn>
                  <a:cxn ang="0">
                    <a:pos x="43" y="142"/>
                  </a:cxn>
                  <a:cxn ang="0">
                    <a:pos x="36" y="142"/>
                  </a:cxn>
                  <a:cxn ang="0">
                    <a:pos x="23" y="148"/>
                  </a:cxn>
                  <a:cxn ang="0">
                    <a:pos x="10" y="148"/>
                  </a:cxn>
                  <a:cxn ang="0">
                    <a:pos x="0" y="155"/>
                  </a:cxn>
                  <a:cxn ang="0">
                    <a:pos x="7" y="162"/>
                  </a:cxn>
                  <a:cxn ang="0">
                    <a:pos x="30" y="168"/>
                  </a:cxn>
                  <a:cxn ang="0">
                    <a:pos x="0" y="172"/>
                  </a:cxn>
                  <a:cxn ang="0">
                    <a:pos x="10" y="178"/>
                  </a:cxn>
                  <a:cxn ang="0">
                    <a:pos x="10" y="185"/>
                  </a:cxn>
                  <a:cxn ang="0">
                    <a:pos x="23" y="181"/>
                  </a:cxn>
                  <a:cxn ang="0">
                    <a:pos x="13" y="191"/>
                  </a:cxn>
                  <a:cxn ang="0">
                    <a:pos x="10" y="198"/>
                  </a:cxn>
                  <a:cxn ang="0">
                    <a:pos x="10" y="208"/>
                  </a:cxn>
                  <a:cxn ang="0">
                    <a:pos x="43" y="224"/>
                  </a:cxn>
                  <a:cxn ang="0">
                    <a:pos x="76" y="195"/>
                  </a:cxn>
                  <a:cxn ang="0">
                    <a:pos x="89" y="208"/>
                  </a:cxn>
                  <a:cxn ang="0">
                    <a:pos x="99" y="172"/>
                  </a:cxn>
                  <a:cxn ang="0">
                    <a:pos x="92" y="125"/>
                  </a:cxn>
                  <a:cxn ang="0">
                    <a:pos x="105" y="109"/>
                  </a:cxn>
                  <a:cxn ang="0">
                    <a:pos x="128" y="79"/>
                  </a:cxn>
                  <a:cxn ang="0">
                    <a:pos x="155" y="46"/>
                  </a:cxn>
                  <a:cxn ang="0">
                    <a:pos x="175" y="33"/>
                  </a:cxn>
                  <a:cxn ang="0">
                    <a:pos x="204" y="36"/>
                  </a:cxn>
                  <a:cxn ang="0">
                    <a:pos x="244" y="36"/>
                  </a:cxn>
                  <a:cxn ang="0">
                    <a:pos x="287" y="20"/>
                  </a:cxn>
                  <a:cxn ang="0">
                    <a:pos x="306" y="26"/>
                  </a:cxn>
                  <a:cxn ang="0">
                    <a:pos x="280" y="13"/>
                  </a:cxn>
                  <a:cxn ang="0">
                    <a:pos x="280" y="3"/>
                  </a:cxn>
                  <a:cxn ang="0">
                    <a:pos x="270" y="10"/>
                  </a:cxn>
                  <a:cxn ang="0">
                    <a:pos x="257" y="3"/>
                  </a:cxn>
                  <a:cxn ang="0">
                    <a:pos x="234" y="13"/>
                  </a:cxn>
                  <a:cxn ang="0">
                    <a:pos x="227" y="3"/>
                  </a:cxn>
                  <a:cxn ang="0">
                    <a:pos x="201" y="13"/>
                  </a:cxn>
                  <a:cxn ang="0">
                    <a:pos x="198" y="20"/>
                  </a:cxn>
                  <a:cxn ang="0">
                    <a:pos x="181" y="20"/>
                  </a:cxn>
                </a:cxnLst>
                <a:rect l="0" t="0" r="r" b="b"/>
                <a:pathLst>
                  <a:path w="306" h="224">
                    <a:moveTo>
                      <a:pt x="181" y="20"/>
                    </a:moveTo>
                    <a:lnTo>
                      <a:pt x="181" y="26"/>
                    </a:lnTo>
                    <a:lnTo>
                      <a:pt x="175" y="30"/>
                    </a:lnTo>
                    <a:lnTo>
                      <a:pt x="175" y="20"/>
                    </a:lnTo>
                    <a:lnTo>
                      <a:pt x="171" y="26"/>
                    </a:lnTo>
                    <a:lnTo>
                      <a:pt x="168" y="26"/>
                    </a:lnTo>
                    <a:lnTo>
                      <a:pt x="168" y="20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58" y="26"/>
                    </a:lnTo>
                    <a:lnTo>
                      <a:pt x="158" y="30"/>
                    </a:lnTo>
                    <a:lnTo>
                      <a:pt x="152" y="30"/>
                    </a:lnTo>
                    <a:lnTo>
                      <a:pt x="148" y="33"/>
                    </a:lnTo>
                    <a:lnTo>
                      <a:pt x="152" y="39"/>
                    </a:lnTo>
                    <a:lnTo>
                      <a:pt x="148" y="39"/>
                    </a:lnTo>
                    <a:lnTo>
                      <a:pt x="135" y="43"/>
                    </a:lnTo>
                    <a:lnTo>
                      <a:pt x="148" y="43"/>
                    </a:lnTo>
                    <a:lnTo>
                      <a:pt x="145" y="46"/>
                    </a:lnTo>
                    <a:lnTo>
                      <a:pt x="135" y="46"/>
                    </a:lnTo>
                    <a:lnTo>
                      <a:pt x="135" y="53"/>
                    </a:lnTo>
                    <a:lnTo>
                      <a:pt x="128" y="46"/>
                    </a:lnTo>
                    <a:lnTo>
                      <a:pt x="122" y="49"/>
                    </a:lnTo>
                    <a:lnTo>
                      <a:pt x="115" y="59"/>
                    </a:lnTo>
                    <a:lnTo>
                      <a:pt x="128" y="53"/>
                    </a:lnTo>
                    <a:lnTo>
                      <a:pt x="122" y="59"/>
                    </a:lnTo>
                    <a:lnTo>
                      <a:pt x="128" y="63"/>
                    </a:lnTo>
                    <a:lnTo>
                      <a:pt x="115" y="63"/>
                    </a:lnTo>
                    <a:lnTo>
                      <a:pt x="115" y="66"/>
                    </a:lnTo>
                    <a:lnTo>
                      <a:pt x="128" y="66"/>
                    </a:lnTo>
                    <a:lnTo>
                      <a:pt x="115" y="66"/>
                    </a:lnTo>
                    <a:lnTo>
                      <a:pt x="105" y="69"/>
                    </a:lnTo>
                    <a:lnTo>
                      <a:pt x="99" y="76"/>
                    </a:lnTo>
                    <a:lnTo>
                      <a:pt x="96" y="79"/>
                    </a:lnTo>
                    <a:lnTo>
                      <a:pt x="105" y="79"/>
                    </a:lnTo>
                    <a:lnTo>
                      <a:pt x="96" y="82"/>
                    </a:lnTo>
                    <a:lnTo>
                      <a:pt x="92" y="86"/>
                    </a:lnTo>
                    <a:lnTo>
                      <a:pt x="92" y="96"/>
                    </a:lnTo>
                    <a:lnTo>
                      <a:pt x="96" y="96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6" y="102"/>
                    </a:lnTo>
                    <a:lnTo>
                      <a:pt x="82" y="109"/>
                    </a:lnTo>
                    <a:lnTo>
                      <a:pt x="76" y="109"/>
                    </a:lnTo>
                    <a:lnTo>
                      <a:pt x="72" y="112"/>
                    </a:lnTo>
                    <a:lnTo>
                      <a:pt x="63" y="119"/>
                    </a:lnTo>
                    <a:lnTo>
                      <a:pt x="59" y="125"/>
                    </a:lnTo>
                    <a:lnTo>
                      <a:pt x="63" y="129"/>
                    </a:lnTo>
                    <a:lnTo>
                      <a:pt x="72" y="119"/>
                    </a:lnTo>
                    <a:lnTo>
                      <a:pt x="76" y="119"/>
                    </a:lnTo>
                    <a:lnTo>
                      <a:pt x="76" y="125"/>
                    </a:lnTo>
                    <a:lnTo>
                      <a:pt x="69" y="129"/>
                    </a:lnTo>
                    <a:lnTo>
                      <a:pt x="49" y="129"/>
                    </a:lnTo>
                    <a:lnTo>
                      <a:pt x="46" y="129"/>
                    </a:lnTo>
                    <a:lnTo>
                      <a:pt x="43" y="132"/>
                    </a:lnTo>
                    <a:lnTo>
                      <a:pt x="43" y="139"/>
                    </a:lnTo>
                    <a:lnTo>
                      <a:pt x="40" y="139"/>
                    </a:lnTo>
                    <a:lnTo>
                      <a:pt x="43" y="142"/>
                    </a:lnTo>
                    <a:lnTo>
                      <a:pt x="23" y="139"/>
                    </a:lnTo>
                    <a:lnTo>
                      <a:pt x="23" y="142"/>
                    </a:lnTo>
                    <a:lnTo>
                      <a:pt x="36" y="142"/>
                    </a:lnTo>
                    <a:lnTo>
                      <a:pt x="30" y="142"/>
                    </a:lnTo>
                    <a:lnTo>
                      <a:pt x="20" y="145"/>
                    </a:lnTo>
                    <a:lnTo>
                      <a:pt x="23" y="148"/>
                    </a:lnTo>
                    <a:lnTo>
                      <a:pt x="20" y="145"/>
                    </a:lnTo>
                    <a:lnTo>
                      <a:pt x="20" y="148"/>
                    </a:lnTo>
                    <a:lnTo>
                      <a:pt x="10" y="148"/>
                    </a:lnTo>
                    <a:lnTo>
                      <a:pt x="10" y="152"/>
                    </a:lnTo>
                    <a:lnTo>
                      <a:pt x="0" y="152"/>
                    </a:lnTo>
                    <a:lnTo>
                      <a:pt x="0" y="155"/>
                    </a:lnTo>
                    <a:lnTo>
                      <a:pt x="20" y="155"/>
                    </a:lnTo>
                    <a:lnTo>
                      <a:pt x="0" y="155"/>
                    </a:lnTo>
                    <a:lnTo>
                      <a:pt x="7" y="162"/>
                    </a:lnTo>
                    <a:lnTo>
                      <a:pt x="3" y="162"/>
                    </a:lnTo>
                    <a:lnTo>
                      <a:pt x="0" y="168"/>
                    </a:lnTo>
                    <a:lnTo>
                      <a:pt x="30" y="168"/>
                    </a:lnTo>
                    <a:lnTo>
                      <a:pt x="33" y="162"/>
                    </a:lnTo>
                    <a:lnTo>
                      <a:pt x="33" y="172"/>
                    </a:lnTo>
                    <a:lnTo>
                      <a:pt x="0" y="172"/>
                    </a:lnTo>
                    <a:lnTo>
                      <a:pt x="3" y="175"/>
                    </a:lnTo>
                    <a:lnTo>
                      <a:pt x="0" y="178"/>
                    </a:lnTo>
                    <a:lnTo>
                      <a:pt x="10" y="178"/>
                    </a:lnTo>
                    <a:lnTo>
                      <a:pt x="7" y="181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10" y="191"/>
                    </a:lnTo>
                    <a:lnTo>
                      <a:pt x="20" y="181"/>
                    </a:lnTo>
                    <a:lnTo>
                      <a:pt x="23" y="181"/>
                    </a:lnTo>
                    <a:lnTo>
                      <a:pt x="23" y="185"/>
                    </a:lnTo>
                    <a:lnTo>
                      <a:pt x="20" y="181"/>
                    </a:lnTo>
                    <a:lnTo>
                      <a:pt x="13" y="191"/>
                    </a:lnTo>
                    <a:lnTo>
                      <a:pt x="7" y="195"/>
                    </a:lnTo>
                    <a:lnTo>
                      <a:pt x="7" y="198"/>
                    </a:lnTo>
                    <a:lnTo>
                      <a:pt x="10" y="198"/>
                    </a:lnTo>
                    <a:lnTo>
                      <a:pt x="20" y="195"/>
                    </a:lnTo>
                    <a:lnTo>
                      <a:pt x="20" y="208"/>
                    </a:lnTo>
                    <a:lnTo>
                      <a:pt x="10" y="208"/>
                    </a:lnTo>
                    <a:lnTo>
                      <a:pt x="10" y="214"/>
                    </a:lnTo>
                    <a:lnTo>
                      <a:pt x="23" y="224"/>
                    </a:lnTo>
                    <a:lnTo>
                      <a:pt x="43" y="224"/>
                    </a:lnTo>
                    <a:lnTo>
                      <a:pt x="63" y="205"/>
                    </a:lnTo>
                    <a:lnTo>
                      <a:pt x="72" y="205"/>
                    </a:lnTo>
                    <a:lnTo>
                      <a:pt x="76" y="195"/>
                    </a:lnTo>
                    <a:lnTo>
                      <a:pt x="76" y="191"/>
                    </a:lnTo>
                    <a:lnTo>
                      <a:pt x="82" y="205"/>
                    </a:lnTo>
                    <a:lnTo>
                      <a:pt x="89" y="208"/>
                    </a:lnTo>
                    <a:lnTo>
                      <a:pt x="96" y="191"/>
                    </a:lnTo>
                    <a:lnTo>
                      <a:pt x="99" y="175"/>
                    </a:lnTo>
                    <a:lnTo>
                      <a:pt x="99" y="172"/>
                    </a:lnTo>
                    <a:lnTo>
                      <a:pt x="102" y="162"/>
                    </a:lnTo>
                    <a:lnTo>
                      <a:pt x="92" y="158"/>
                    </a:lnTo>
                    <a:lnTo>
                      <a:pt x="92" y="125"/>
                    </a:lnTo>
                    <a:lnTo>
                      <a:pt x="102" y="115"/>
                    </a:lnTo>
                    <a:lnTo>
                      <a:pt x="115" y="115"/>
                    </a:lnTo>
                    <a:lnTo>
                      <a:pt x="105" y="109"/>
                    </a:lnTo>
                    <a:lnTo>
                      <a:pt x="115" y="86"/>
                    </a:lnTo>
                    <a:lnTo>
                      <a:pt x="115" y="82"/>
                    </a:lnTo>
                    <a:lnTo>
                      <a:pt x="128" y="79"/>
                    </a:lnTo>
                    <a:lnTo>
                      <a:pt x="135" y="69"/>
                    </a:lnTo>
                    <a:lnTo>
                      <a:pt x="138" y="49"/>
                    </a:lnTo>
                    <a:lnTo>
                      <a:pt x="155" y="46"/>
                    </a:lnTo>
                    <a:lnTo>
                      <a:pt x="158" y="43"/>
                    </a:lnTo>
                    <a:lnTo>
                      <a:pt x="181" y="43"/>
                    </a:lnTo>
                    <a:lnTo>
                      <a:pt x="175" y="33"/>
                    </a:lnTo>
                    <a:lnTo>
                      <a:pt x="181" y="33"/>
                    </a:lnTo>
                    <a:lnTo>
                      <a:pt x="191" y="30"/>
                    </a:lnTo>
                    <a:lnTo>
                      <a:pt x="204" y="36"/>
                    </a:lnTo>
                    <a:lnTo>
                      <a:pt x="221" y="39"/>
                    </a:lnTo>
                    <a:lnTo>
                      <a:pt x="234" y="39"/>
                    </a:lnTo>
                    <a:lnTo>
                      <a:pt x="244" y="36"/>
                    </a:lnTo>
                    <a:lnTo>
                      <a:pt x="247" y="20"/>
                    </a:lnTo>
                    <a:lnTo>
                      <a:pt x="264" y="20"/>
                    </a:lnTo>
                    <a:lnTo>
                      <a:pt x="287" y="20"/>
                    </a:lnTo>
                    <a:lnTo>
                      <a:pt x="287" y="33"/>
                    </a:lnTo>
                    <a:lnTo>
                      <a:pt x="297" y="26"/>
                    </a:lnTo>
                    <a:lnTo>
                      <a:pt x="306" y="26"/>
                    </a:lnTo>
                    <a:lnTo>
                      <a:pt x="306" y="20"/>
                    </a:lnTo>
                    <a:lnTo>
                      <a:pt x="293" y="20"/>
                    </a:lnTo>
                    <a:lnTo>
                      <a:pt x="280" y="13"/>
                    </a:lnTo>
                    <a:lnTo>
                      <a:pt x="306" y="13"/>
                    </a:lnTo>
                    <a:lnTo>
                      <a:pt x="293" y="6"/>
                    </a:lnTo>
                    <a:lnTo>
                      <a:pt x="280" y="3"/>
                    </a:lnTo>
                    <a:lnTo>
                      <a:pt x="270" y="6"/>
                    </a:lnTo>
                    <a:lnTo>
                      <a:pt x="270" y="13"/>
                    </a:lnTo>
                    <a:lnTo>
                      <a:pt x="270" y="10"/>
                    </a:lnTo>
                    <a:lnTo>
                      <a:pt x="267" y="6"/>
                    </a:lnTo>
                    <a:lnTo>
                      <a:pt x="264" y="0"/>
                    </a:lnTo>
                    <a:lnTo>
                      <a:pt x="257" y="3"/>
                    </a:lnTo>
                    <a:lnTo>
                      <a:pt x="250" y="10"/>
                    </a:lnTo>
                    <a:lnTo>
                      <a:pt x="247" y="3"/>
                    </a:lnTo>
                    <a:lnTo>
                      <a:pt x="234" y="13"/>
                    </a:lnTo>
                    <a:lnTo>
                      <a:pt x="241" y="6"/>
                    </a:lnTo>
                    <a:lnTo>
                      <a:pt x="234" y="3"/>
                    </a:lnTo>
                    <a:lnTo>
                      <a:pt x="227" y="3"/>
                    </a:lnTo>
                    <a:lnTo>
                      <a:pt x="227" y="6"/>
                    </a:lnTo>
                    <a:lnTo>
                      <a:pt x="211" y="13"/>
                    </a:lnTo>
                    <a:lnTo>
                      <a:pt x="201" y="13"/>
                    </a:lnTo>
                    <a:lnTo>
                      <a:pt x="204" y="13"/>
                    </a:lnTo>
                    <a:lnTo>
                      <a:pt x="191" y="13"/>
                    </a:lnTo>
                    <a:lnTo>
                      <a:pt x="198" y="20"/>
                    </a:lnTo>
                    <a:lnTo>
                      <a:pt x="198" y="20"/>
                    </a:lnTo>
                    <a:lnTo>
                      <a:pt x="191" y="20"/>
                    </a:lnTo>
                    <a:lnTo>
                      <a:pt x="181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7" name="Freeform 1888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8" name="Freeform 1889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59" name="Freeform 1890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0" name="Freeform 1891"/>
              <p:cNvSpPr>
                <a:spLocks/>
              </p:cNvSpPr>
              <p:nvPr/>
            </p:nvSpPr>
            <p:spPr bwMode="auto">
              <a:xfrm>
                <a:off x="4654606" y="2251811"/>
                <a:ext cx="63500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  <a:cxn ang="0">
                    <a:pos x="40" y="0"/>
                  </a:cxn>
                  <a:cxn ang="0">
                    <a:pos x="23" y="17"/>
                  </a:cxn>
                  <a:cxn ang="0">
                    <a:pos x="23" y="0"/>
                  </a:cxn>
                </a:cxnLst>
                <a:rect l="0" t="0" r="r" b="b"/>
                <a:pathLst>
                  <a:path w="40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  <a:lnTo>
                      <a:pt x="40" y="0"/>
                    </a:lnTo>
                    <a:lnTo>
                      <a:pt x="23" y="17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1" name="Freeform 1892"/>
              <p:cNvSpPr>
                <a:spLocks/>
              </p:cNvSpPr>
              <p:nvPr/>
            </p:nvSpPr>
            <p:spPr bwMode="auto">
              <a:xfrm>
                <a:off x="4764144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2" name="Freeform 1893"/>
              <p:cNvSpPr>
                <a:spLocks/>
              </p:cNvSpPr>
              <p:nvPr/>
            </p:nvSpPr>
            <p:spPr bwMode="auto">
              <a:xfrm>
                <a:off x="4764144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3" name="Freeform 1894"/>
              <p:cNvSpPr>
                <a:spLocks/>
              </p:cNvSpPr>
              <p:nvPr/>
            </p:nvSpPr>
            <p:spPr bwMode="auto">
              <a:xfrm>
                <a:off x="4764144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4" name="Freeform 1895"/>
              <p:cNvSpPr>
                <a:spLocks/>
              </p:cNvSpPr>
              <p:nvPr/>
            </p:nvSpPr>
            <p:spPr bwMode="auto">
              <a:xfrm>
                <a:off x="4764144" y="2220059"/>
                <a:ext cx="257178" cy="277816"/>
              </a:xfrm>
              <a:custGeom>
                <a:avLst/>
                <a:gdLst/>
                <a:ahLst/>
                <a:cxnLst>
                  <a:cxn ang="0">
                    <a:pos x="136" y="93"/>
                  </a:cxn>
                  <a:cxn ang="0">
                    <a:pos x="129" y="90"/>
                  </a:cxn>
                  <a:cxn ang="0">
                    <a:pos x="129" y="76"/>
                  </a:cxn>
                  <a:cxn ang="0">
                    <a:pos x="113" y="50"/>
                  </a:cxn>
                  <a:cxn ang="0">
                    <a:pos x="119" y="40"/>
                  </a:cxn>
                  <a:cxn ang="0">
                    <a:pos x="103" y="30"/>
                  </a:cxn>
                  <a:cxn ang="0">
                    <a:pos x="103" y="4"/>
                  </a:cxn>
                  <a:cxn ang="0">
                    <a:pos x="80" y="0"/>
                  </a:cxn>
                  <a:cxn ang="0">
                    <a:pos x="63" y="4"/>
                  </a:cxn>
                  <a:cxn ang="0">
                    <a:pos x="60" y="17"/>
                  </a:cxn>
                  <a:cxn ang="0">
                    <a:pos x="53" y="23"/>
                  </a:cxn>
                  <a:cxn ang="0">
                    <a:pos x="37" y="23"/>
                  </a:cxn>
                  <a:cxn ang="0">
                    <a:pos x="20" y="17"/>
                  </a:cxn>
                  <a:cxn ang="0">
                    <a:pos x="4" y="10"/>
                  </a:cxn>
                  <a:cxn ang="0">
                    <a:pos x="0" y="17"/>
                  </a:cxn>
                  <a:cxn ang="0">
                    <a:pos x="37" y="30"/>
                  </a:cxn>
                  <a:cxn ang="0">
                    <a:pos x="50" y="56"/>
                  </a:cxn>
                  <a:cxn ang="0">
                    <a:pos x="53" y="70"/>
                  </a:cxn>
                  <a:cxn ang="0">
                    <a:pos x="60" y="70"/>
                  </a:cxn>
                  <a:cxn ang="0">
                    <a:pos x="70" y="76"/>
                  </a:cxn>
                  <a:cxn ang="0">
                    <a:pos x="70" y="86"/>
                  </a:cxn>
                  <a:cxn ang="0">
                    <a:pos x="43" y="103"/>
                  </a:cxn>
                  <a:cxn ang="0">
                    <a:pos x="37" y="113"/>
                  </a:cxn>
                  <a:cxn ang="0">
                    <a:pos x="27" y="119"/>
                  </a:cxn>
                  <a:cxn ang="0">
                    <a:pos x="30" y="142"/>
                  </a:cxn>
                  <a:cxn ang="0">
                    <a:pos x="37" y="162"/>
                  </a:cxn>
                  <a:cxn ang="0">
                    <a:pos x="50" y="165"/>
                  </a:cxn>
                  <a:cxn ang="0">
                    <a:pos x="50" y="172"/>
                  </a:cxn>
                  <a:cxn ang="0">
                    <a:pos x="57" y="165"/>
                  </a:cxn>
                  <a:cxn ang="0">
                    <a:pos x="60" y="175"/>
                  </a:cxn>
                  <a:cxn ang="0">
                    <a:pos x="63" y="175"/>
                  </a:cxn>
                  <a:cxn ang="0">
                    <a:pos x="96" y="165"/>
                  </a:cxn>
                  <a:cxn ang="0">
                    <a:pos x="103" y="162"/>
                  </a:cxn>
                  <a:cxn ang="0">
                    <a:pos x="119" y="162"/>
                  </a:cxn>
                  <a:cxn ang="0">
                    <a:pos x="129" y="152"/>
                  </a:cxn>
                  <a:cxn ang="0">
                    <a:pos x="142" y="142"/>
                  </a:cxn>
                  <a:cxn ang="0">
                    <a:pos x="152" y="132"/>
                  </a:cxn>
                  <a:cxn ang="0">
                    <a:pos x="162" y="123"/>
                  </a:cxn>
                  <a:cxn ang="0">
                    <a:pos x="136" y="109"/>
                  </a:cxn>
                  <a:cxn ang="0">
                    <a:pos x="142" y="103"/>
                  </a:cxn>
                  <a:cxn ang="0">
                    <a:pos x="136" y="93"/>
                  </a:cxn>
                </a:cxnLst>
                <a:rect l="0" t="0" r="r" b="b"/>
                <a:pathLst>
                  <a:path w="162" h="175">
                    <a:moveTo>
                      <a:pt x="136" y="93"/>
                    </a:moveTo>
                    <a:lnTo>
                      <a:pt x="129" y="90"/>
                    </a:lnTo>
                    <a:lnTo>
                      <a:pt x="129" y="76"/>
                    </a:lnTo>
                    <a:lnTo>
                      <a:pt x="113" y="50"/>
                    </a:lnTo>
                    <a:lnTo>
                      <a:pt x="119" y="40"/>
                    </a:lnTo>
                    <a:lnTo>
                      <a:pt x="103" y="30"/>
                    </a:lnTo>
                    <a:lnTo>
                      <a:pt x="103" y="4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60" y="17"/>
                    </a:lnTo>
                    <a:lnTo>
                      <a:pt x="53" y="23"/>
                    </a:lnTo>
                    <a:lnTo>
                      <a:pt x="37" y="23"/>
                    </a:lnTo>
                    <a:lnTo>
                      <a:pt x="20" y="17"/>
                    </a:lnTo>
                    <a:lnTo>
                      <a:pt x="4" y="10"/>
                    </a:lnTo>
                    <a:lnTo>
                      <a:pt x="0" y="17"/>
                    </a:lnTo>
                    <a:lnTo>
                      <a:pt x="37" y="30"/>
                    </a:lnTo>
                    <a:lnTo>
                      <a:pt x="50" y="56"/>
                    </a:lnTo>
                    <a:lnTo>
                      <a:pt x="53" y="70"/>
                    </a:lnTo>
                    <a:lnTo>
                      <a:pt x="60" y="70"/>
                    </a:lnTo>
                    <a:lnTo>
                      <a:pt x="70" y="76"/>
                    </a:lnTo>
                    <a:lnTo>
                      <a:pt x="70" y="86"/>
                    </a:lnTo>
                    <a:lnTo>
                      <a:pt x="43" y="103"/>
                    </a:lnTo>
                    <a:lnTo>
                      <a:pt x="37" y="113"/>
                    </a:lnTo>
                    <a:lnTo>
                      <a:pt x="27" y="119"/>
                    </a:lnTo>
                    <a:lnTo>
                      <a:pt x="30" y="142"/>
                    </a:lnTo>
                    <a:lnTo>
                      <a:pt x="37" y="162"/>
                    </a:lnTo>
                    <a:lnTo>
                      <a:pt x="50" y="165"/>
                    </a:lnTo>
                    <a:lnTo>
                      <a:pt x="50" y="172"/>
                    </a:lnTo>
                    <a:lnTo>
                      <a:pt x="57" y="165"/>
                    </a:lnTo>
                    <a:lnTo>
                      <a:pt x="60" y="175"/>
                    </a:lnTo>
                    <a:lnTo>
                      <a:pt x="63" y="175"/>
                    </a:lnTo>
                    <a:lnTo>
                      <a:pt x="96" y="165"/>
                    </a:lnTo>
                    <a:lnTo>
                      <a:pt x="103" y="162"/>
                    </a:lnTo>
                    <a:lnTo>
                      <a:pt x="119" y="162"/>
                    </a:lnTo>
                    <a:lnTo>
                      <a:pt x="129" y="152"/>
                    </a:lnTo>
                    <a:lnTo>
                      <a:pt x="142" y="142"/>
                    </a:lnTo>
                    <a:lnTo>
                      <a:pt x="152" y="132"/>
                    </a:lnTo>
                    <a:lnTo>
                      <a:pt x="162" y="123"/>
                    </a:lnTo>
                    <a:lnTo>
                      <a:pt x="136" y="109"/>
                    </a:lnTo>
                    <a:lnTo>
                      <a:pt x="142" y="103"/>
                    </a:lnTo>
                    <a:lnTo>
                      <a:pt x="136" y="9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5" name="Freeform 1896"/>
              <p:cNvSpPr>
                <a:spLocks/>
              </p:cNvSpPr>
              <p:nvPr/>
            </p:nvSpPr>
            <p:spPr bwMode="auto">
              <a:xfrm>
                <a:off x="4592693" y="2875707"/>
                <a:ext cx="1588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6" name="Line 1897"/>
              <p:cNvSpPr>
                <a:spLocks noChangeShapeType="1"/>
              </p:cNvSpPr>
              <p:nvPr/>
            </p:nvSpPr>
            <p:spPr bwMode="auto">
              <a:xfrm>
                <a:off x="4592693" y="2875707"/>
                <a:ext cx="1588" cy="4763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7" name="Freeform 1898"/>
              <p:cNvSpPr>
                <a:spLocks/>
              </p:cNvSpPr>
              <p:nvPr/>
            </p:nvSpPr>
            <p:spPr bwMode="auto">
              <a:xfrm>
                <a:off x="4597455" y="2823318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8" name="Freeform 1899"/>
              <p:cNvSpPr>
                <a:spLocks/>
              </p:cNvSpPr>
              <p:nvPr/>
            </p:nvSpPr>
            <p:spPr bwMode="auto">
              <a:xfrm>
                <a:off x="4597455" y="2823318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69" name="Freeform 1900"/>
              <p:cNvSpPr>
                <a:spLocks/>
              </p:cNvSpPr>
              <p:nvPr/>
            </p:nvSpPr>
            <p:spPr bwMode="auto">
              <a:xfrm>
                <a:off x="4597455" y="2823318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0" name="Freeform 1901"/>
              <p:cNvSpPr>
                <a:spLocks/>
              </p:cNvSpPr>
              <p:nvPr/>
            </p:nvSpPr>
            <p:spPr bwMode="auto">
              <a:xfrm>
                <a:off x="4597455" y="2823318"/>
                <a:ext cx="173040" cy="79376"/>
              </a:xfrm>
              <a:custGeom>
                <a:avLst/>
                <a:gdLst/>
                <a:ahLst/>
                <a:cxnLst>
                  <a:cxn ang="0">
                    <a:pos x="36" y="40"/>
                  </a:cxn>
                  <a:cxn ang="0">
                    <a:pos x="13" y="4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13" y="30"/>
                  </a:cxn>
                  <a:cxn ang="0">
                    <a:pos x="13" y="26"/>
                  </a:cxn>
                  <a:cxn ang="0">
                    <a:pos x="49" y="26"/>
                  </a:cxn>
                  <a:cxn ang="0">
                    <a:pos x="46" y="17"/>
                  </a:cxn>
                  <a:cxn ang="0">
                    <a:pos x="56" y="3"/>
                  </a:cxn>
                  <a:cxn ang="0">
                    <a:pos x="66" y="7"/>
                  </a:cxn>
                  <a:cxn ang="0">
                    <a:pos x="73" y="0"/>
                  </a:cxn>
                  <a:cxn ang="0">
                    <a:pos x="96" y="3"/>
                  </a:cxn>
                  <a:cxn ang="0">
                    <a:pos x="109" y="20"/>
                  </a:cxn>
                  <a:cxn ang="0">
                    <a:pos x="102" y="26"/>
                  </a:cxn>
                  <a:cxn ang="0">
                    <a:pos x="96" y="40"/>
                  </a:cxn>
                  <a:cxn ang="0">
                    <a:pos x="63" y="50"/>
                  </a:cxn>
                  <a:cxn ang="0">
                    <a:pos x="59" y="50"/>
                  </a:cxn>
                  <a:cxn ang="0">
                    <a:pos x="36" y="40"/>
                  </a:cxn>
                </a:cxnLst>
                <a:rect l="0" t="0" r="r" b="b"/>
                <a:pathLst>
                  <a:path w="109" h="50">
                    <a:moveTo>
                      <a:pt x="36" y="40"/>
                    </a:moveTo>
                    <a:lnTo>
                      <a:pt x="13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13" y="30"/>
                    </a:lnTo>
                    <a:lnTo>
                      <a:pt x="13" y="26"/>
                    </a:lnTo>
                    <a:lnTo>
                      <a:pt x="49" y="26"/>
                    </a:lnTo>
                    <a:lnTo>
                      <a:pt x="46" y="17"/>
                    </a:lnTo>
                    <a:lnTo>
                      <a:pt x="56" y="3"/>
                    </a:lnTo>
                    <a:lnTo>
                      <a:pt x="66" y="7"/>
                    </a:lnTo>
                    <a:lnTo>
                      <a:pt x="73" y="0"/>
                    </a:lnTo>
                    <a:lnTo>
                      <a:pt x="96" y="3"/>
                    </a:lnTo>
                    <a:lnTo>
                      <a:pt x="109" y="20"/>
                    </a:lnTo>
                    <a:lnTo>
                      <a:pt x="102" y="26"/>
                    </a:lnTo>
                    <a:lnTo>
                      <a:pt x="96" y="40"/>
                    </a:lnTo>
                    <a:lnTo>
                      <a:pt x="63" y="50"/>
                    </a:lnTo>
                    <a:lnTo>
                      <a:pt x="59" y="50"/>
                    </a:lnTo>
                    <a:lnTo>
                      <a:pt x="36" y="4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1" name="Freeform 1902"/>
              <p:cNvSpPr>
                <a:spLocks/>
              </p:cNvSpPr>
              <p:nvPr/>
            </p:nvSpPr>
            <p:spPr bwMode="auto">
              <a:xfrm>
                <a:off x="4738744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2" name="Freeform 1903"/>
              <p:cNvSpPr>
                <a:spLocks/>
              </p:cNvSpPr>
              <p:nvPr/>
            </p:nvSpPr>
            <p:spPr bwMode="auto">
              <a:xfrm>
                <a:off x="4738744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3" name="Freeform 1904"/>
              <p:cNvSpPr>
                <a:spLocks/>
              </p:cNvSpPr>
              <p:nvPr/>
            </p:nvSpPr>
            <p:spPr bwMode="auto">
              <a:xfrm>
                <a:off x="4738744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4" name="Freeform 1905"/>
              <p:cNvSpPr>
                <a:spLocks/>
              </p:cNvSpPr>
              <p:nvPr/>
            </p:nvSpPr>
            <p:spPr bwMode="auto">
              <a:xfrm>
                <a:off x="4738744" y="2932858"/>
                <a:ext cx="93663" cy="88901"/>
              </a:xfrm>
              <a:custGeom>
                <a:avLst/>
                <a:gdLst/>
                <a:ahLst/>
                <a:cxnLst>
                  <a:cxn ang="0">
                    <a:pos x="53" y="7"/>
                  </a:cxn>
                  <a:cxn ang="0">
                    <a:pos x="53" y="14"/>
                  </a:cxn>
                  <a:cxn ang="0">
                    <a:pos x="49" y="20"/>
                  </a:cxn>
                  <a:cxn ang="0">
                    <a:pos x="53" y="20"/>
                  </a:cxn>
                  <a:cxn ang="0">
                    <a:pos x="53" y="23"/>
                  </a:cxn>
                  <a:cxn ang="0">
                    <a:pos x="59" y="27"/>
                  </a:cxn>
                  <a:cxn ang="0">
                    <a:pos x="56" y="30"/>
                  </a:cxn>
                  <a:cxn ang="0">
                    <a:pos x="59" y="30"/>
                  </a:cxn>
                  <a:cxn ang="0">
                    <a:pos x="59" y="33"/>
                  </a:cxn>
                  <a:cxn ang="0">
                    <a:pos x="49" y="37"/>
                  </a:cxn>
                  <a:cxn ang="0">
                    <a:pos x="53" y="40"/>
                  </a:cxn>
                  <a:cxn ang="0">
                    <a:pos x="49" y="40"/>
                  </a:cxn>
                  <a:cxn ang="0">
                    <a:pos x="46" y="43"/>
                  </a:cxn>
                  <a:cxn ang="0">
                    <a:pos x="43" y="50"/>
                  </a:cxn>
                  <a:cxn ang="0">
                    <a:pos x="46" y="53"/>
                  </a:cxn>
                  <a:cxn ang="0">
                    <a:pos x="43" y="56"/>
                  </a:cxn>
                  <a:cxn ang="0">
                    <a:pos x="40" y="53"/>
                  </a:cxn>
                  <a:cxn ang="0">
                    <a:pos x="36" y="50"/>
                  </a:cxn>
                  <a:cxn ang="0">
                    <a:pos x="33" y="50"/>
                  </a:cxn>
                  <a:cxn ang="0">
                    <a:pos x="33" y="43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20" y="37"/>
                  </a:cxn>
                  <a:cxn ang="0">
                    <a:pos x="13" y="23"/>
                  </a:cxn>
                  <a:cxn ang="0">
                    <a:pos x="7" y="23"/>
                  </a:cxn>
                  <a:cxn ang="0">
                    <a:pos x="7" y="14"/>
                  </a:cxn>
                  <a:cxn ang="0">
                    <a:pos x="0" y="14"/>
                  </a:cxn>
                  <a:cxn ang="0">
                    <a:pos x="0" y="4"/>
                  </a:cxn>
                  <a:cxn ang="0">
                    <a:pos x="7" y="4"/>
                  </a:cxn>
                  <a:cxn ang="0">
                    <a:pos x="7" y="7"/>
                  </a:cxn>
                  <a:cxn ang="0">
                    <a:pos x="13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43" y="4"/>
                  </a:cxn>
                  <a:cxn ang="0">
                    <a:pos x="46" y="7"/>
                  </a:cxn>
                  <a:cxn ang="0">
                    <a:pos x="53" y="7"/>
                  </a:cxn>
                </a:cxnLst>
                <a:rect l="0" t="0" r="r" b="b"/>
                <a:pathLst>
                  <a:path w="59" h="56">
                    <a:moveTo>
                      <a:pt x="53" y="7"/>
                    </a:moveTo>
                    <a:lnTo>
                      <a:pt x="53" y="14"/>
                    </a:lnTo>
                    <a:lnTo>
                      <a:pt x="49" y="20"/>
                    </a:lnTo>
                    <a:lnTo>
                      <a:pt x="53" y="20"/>
                    </a:lnTo>
                    <a:lnTo>
                      <a:pt x="53" y="23"/>
                    </a:lnTo>
                    <a:lnTo>
                      <a:pt x="59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49" y="37"/>
                    </a:lnTo>
                    <a:lnTo>
                      <a:pt x="53" y="40"/>
                    </a:lnTo>
                    <a:lnTo>
                      <a:pt x="49" y="40"/>
                    </a:lnTo>
                    <a:lnTo>
                      <a:pt x="46" y="43"/>
                    </a:lnTo>
                    <a:lnTo>
                      <a:pt x="43" y="50"/>
                    </a:lnTo>
                    <a:lnTo>
                      <a:pt x="46" y="53"/>
                    </a:lnTo>
                    <a:lnTo>
                      <a:pt x="43" y="56"/>
                    </a:lnTo>
                    <a:lnTo>
                      <a:pt x="40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0" y="37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7" y="14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43" y="4"/>
                    </a:lnTo>
                    <a:lnTo>
                      <a:pt x="46" y="7"/>
                    </a:lnTo>
                    <a:lnTo>
                      <a:pt x="53" y="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5" name="Freeform 1906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6" name="Freeform 1907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7" name="Freeform 1908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8" name="Freeform 1909"/>
              <p:cNvSpPr>
                <a:spLocks/>
              </p:cNvSpPr>
              <p:nvPr/>
            </p:nvSpPr>
            <p:spPr bwMode="auto">
              <a:xfrm>
                <a:off x="4691119" y="2896345"/>
                <a:ext cx="141290" cy="111126"/>
              </a:xfrm>
              <a:custGeom>
                <a:avLst/>
                <a:gdLst/>
                <a:ahLst/>
                <a:cxnLst>
                  <a:cxn ang="0">
                    <a:pos x="76" y="30"/>
                  </a:cxn>
                  <a:cxn ang="0">
                    <a:pos x="83" y="30"/>
                  </a:cxn>
                  <a:cxn ang="0">
                    <a:pos x="83" y="27"/>
                  </a:cxn>
                  <a:cxn ang="0">
                    <a:pos x="89" y="27"/>
                  </a:cxn>
                  <a:cxn ang="0">
                    <a:pos x="89" y="23"/>
                  </a:cxn>
                  <a:cxn ang="0">
                    <a:pos x="83" y="23"/>
                  </a:cxn>
                  <a:cxn ang="0">
                    <a:pos x="83" y="20"/>
                  </a:cxn>
                  <a:cxn ang="0">
                    <a:pos x="76" y="13"/>
                  </a:cxn>
                  <a:cxn ang="0">
                    <a:pos x="53" y="13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7" y="0"/>
                  </a:cxn>
                  <a:cxn ang="0">
                    <a:pos x="33" y="4"/>
                  </a:cxn>
                  <a:cxn ang="0">
                    <a:pos x="30" y="4"/>
                  </a:cxn>
                  <a:cxn ang="0">
                    <a:pos x="30" y="13"/>
                  </a:cxn>
                  <a:cxn ang="0">
                    <a:pos x="33" y="13"/>
                  </a:cxn>
                  <a:cxn ang="0">
                    <a:pos x="30" y="13"/>
                  </a:cxn>
                  <a:cxn ang="0">
                    <a:pos x="27" y="17"/>
                  </a:cxn>
                  <a:cxn ang="0">
                    <a:pos x="27" y="20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7" y="30"/>
                  </a:cxn>
                  <a:cxn ang="0">
                    <a:pos x="10" y="27"/>
                  </a:cxn>
                  <a:cxn ang="0">
                    <a:pos x="23" y="46"/>
                  </a:cxn>
                  <a:cxn ang="0">
                    <a:pos x="27" y="50"/>
                  </a:cxn>
                  <a:cxn ang="0">
                    <a:pos x="43" y="60"/>
                  </a:cxn>
                  <a:cxn ang="0">
                    <a:pos x="60" y="70"/>
                  </a:cxn>
                  <a:cxn ang="0">
                    <a:pos x="63" y="70"/>
                  </a:cxn>
                  <a:cxn ang="0">
                    <a:pos x="63" y="66"/>
                  </a:cxn>
                  <a:cxn ang="0">
                    <a:pos x="56" y="63"/>
                  </a:cxn>
                  <a:cxn ang="0">
                    <a:pos x="56" y="60"/>
                  </a:cxn>
                  <a:cxn ang="0">
                    <a:pos x="53" y="60"/>
                  </a:cxn>
                  <a:cxn ang="0">
                    <a:pos x="43" y="46"/>
                  </a:cxn>
                  <a:cxn ang="0">
                    <a:pos x="40" y="46"/>
                  </a:cxn>
                  <a:cxn ang="0">
                    <a:pos x="37" y="37"/>
                  </a:cxn>
                  <a:cxn ang="0">
                    <a:pos x="33" y="33"/>
                  </a:cxn>
                  <a:cxn ang="0">
                    <a:pos x="33" y="27"/>
                  </a:cxn>
                  <a:cxn ang="0">
                    <a:pos x="37" y="27"/>
                  </a:cxn>
                  <a:cxn ang="0">
                    <a:pos x="40" y="30"/>
                  </a:cxn>
                  <a:cxn ang="0">
                    <a:pos x="43" y="23"/>
                  </a:cxn>
                  <a:cxn ang="0">
                    <a:pos x="50" y="23"/>
                  </a:cxn>
                  <a:cxn ang="0">
                    <a:pos x="53" y="27"/>
                  </a:cxn>
                  <a:cxn ang="0">
                    <a:pos x="76" y="27"/>
                  </a:cxn>
                  <a:cxn ang="0">
                    <a:pos x="76" y="30"/>
                  </a:cxn>
                </a:cxnLst>
                <a:rect l="0" t="0" r="r" b="b"/>
                <a:pathLst>
                  <a:path w="89" h="70">
                    <a:moveTo>
                      <a:pt x="76" y="30"/>
                    </a:moveTo>
                    <a:lnTo>
                      <a:pt x="83" y="30"/>
                    </a:lnTo>
                    <a:lnTo>
                      <a:pt x="83" y="27"/>
                    </a:lnTo>
                    <a:lnTo>
                      <a:pt x="89" y="27"/>
                    </a:lnTo>
                    <a:lnTo>
                      <a:pt x="89" y="23"/>
                    </a:lnTo>
                    <a:lnTo>
                      <a:pt x="83" y="23"/>
                    </a:lnTo>
                    <a:lnTo>
                      <a:pt x="83" y="20"/>
                    </a:lnTo>
                    <a:lnTo>
                      <a:pt x="76" y="13"/>
                    </a:lnTo>
                    <a:lnTo>
                      <a:pt x="53" y="1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30" y="13"/>
                    </a:lnTo>
                    <a:lnTo>
                      <a:pt x="33" y="13"/>
                    </a:lnTo>
                    <a:lnTo>
                      <a:pt x="30" y="13"/>
                    </a:lnTo>
                    <a:lnTo>
                      <a:pt x="27" y="17"/>
                    </a:lnTo>
                    <a:lnTo>
                      <a:pt x="27" y="20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7" y="30"/>
                    </a:lnTo>
                    <a:lnTo>
                      <a:pt x="10" y="27"/>
                    </a:lnTo>
                    <a:lnTo>
                      <a:pt x="23" y="46"/>
                    </a:lnTo>
                    <a:lnTo>
                      <a:pt x="27" y="50"/>
                    </a:lnTo>
                    <a:lnTo>
                      <a:pt x="43" y="60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56" y="63"/>
                    </a:lnTo>
                    <a:lnTo>
                      <a:pt x="56" y="60"/>
                    </a:lnTo>
                    <a:lnTo>
                      <a:pt x="53" y="60"/>
                    </a:lnTo>
                    <a:lnTo>
                      <a:pt x="43" y="46"/>
                    </a:lnTo>
                    <a:lnTo>
                      <a:pt x="40" y="46"/>
                    </a:lnTo>
                    <a:lnTo>
                      <a:pt x="37" y="37"/>
                    </a:lnTo>
                    <a:lnTo>
                      <a:pt x="33" y="33"/>
                    </a:lnTo>
                    <a:lnTo>
                      <a:pt x="33" y="27"/>
                    </a:lnTo>
                    <a:lnTo>
                      <a:pt x="37" y="27"/>
                    </a:lnTo>
                    <a:lnTo>
                      <a:pt x="40" y="30"/>
                    </a:lnTo>
                    <a:lnTo>
                      <a:pt x="43" y="23"/>
                    </a:lnTo>
                    <a:lnTo>
                      <a:pt x="50" y="23"/>
                    </a:lnTo>
                    <a:lnTo>
                      <a:pt x="53" y="27"/>
                    </a:lnTo>
                    <a:lnTo>
                      <a:pt x="76" y="27"/>
                    </a:lnTo>
                    <a:lnTo>
                      <a:pt x="76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79" name="Freeform 1910"/>
              <p:cNvSpPr>
                <a:spLocks/>
              </p:cNvSpPr>
              <p:nvPr/>
            </p:nvSpPr>
            <p:spPr bwMode="auto">
              <a:xfrm>
                <a:off x="4770494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0" name="Freeform 1911"/>
              <p:cNvSpPr>
                <a:spLocks/>
              </p:cNvSpPr>
              <p:nvPr/>
            </p:nvSpPr>
            <p:spPr bwMode="auto">
              <a:xfrm>
                <a:off x="4770494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1" name="Freeform 1912"/>
              <p:cNvSpPr>
                <a:spLocks/>
              </p:cNvSpPr>
              <p:nvPr/>
            </p:nvSpPr>
            <p:spPr bwMode="auto">
              <a:xfrm>
                <a:off x="4770494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2" name="Freeform 1913"/>
              <p:cNvSpPr>
                <a:spLocks/>
              </p:cNvSpPr>
              <p:nvPr/>
            </p:nvSpPr>
            <p:spPr bwMode="auto">
              <a:xfrm>
                <a:off x="4770494" y="3007471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29" y="16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39" y="36"/>
                  </a:cxn>
                </a:cxnLst>
                <a:rect l="0" t="0" r="r" b="b"/>
                <a:pathLst>
                  <a:path w="39" h="36">
                    <a:moveTo>
                      <a:pt x="39" y="36"/>
                    </a:moveTo>
                    <a:lnTo>
                      <a:pt x="29" y="16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3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3" name="Freeform 1914"/>
              <p:cNvSpPr>
                <a:spLocks/>
              </p:cNvSpPr>
              <p:nvPr/>
            </p:nvSpPr>
            <p:spPr bwMode="auto">
              <a:xfrm>
                <a:off x="4252963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4" name="Freeform 1915"/>
              <p:cNvSpPr>
                <a:spLocks/>
              </p:cNvSpPr>
              <p:nvPr/>
            </p:nvSpPr>
            <p:spPr bwMode="auto">
              <a:xfrm>
                <a:off x="4252963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5" name="Freeform 1916"/>
              <p:cNvSpPr>
                <a:spLocks/>
              </p:cNvSpPr>
              <p:nvPr/>
            </p:nvSpPr>
            <p:spPr bwMode="auto">
              <a:xfrm>
                <a:off x="4252963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6" name="Freeform 1917"/>
              <p:cNvSpPr>
                <a:spLocks/>
              </p:cNvSpPr>
              <p:nvPr/>
            </p:nvSpPr>
            <p:spPr bwMode="auto">
              <a:xfrm>
                <a:off x="4252963" y="2755055"/>
                <a:ext cx="303215" cy="266705"/>
              </a:xfrm>
              <a:custGeom>
                <a:avLst/>
                <a:gdLst/>
                <a:ahLst/>
                <a:cxnLst>
                  <a:cxn ang="0">
                    <a:pos x="184" y="132"/>
                  </a:cxn>
                  <a:cxn ang="0">
                    <a:pos x="184" y="139"/>
                  </a:cxn>
                  <a:cxn ang="0">
                    <a:pos x="168" y="155"/>
                  </a:cxn>
                  <a:cxn ang="0">
                    <a:pos x="148" y="149"/>
                  </a:cxn>
                  <a:cxn ang="0">
                    <a:pos x="128" y="149"/>
                  </a:cxn>
                  <a:cxn ang="0">
                    <a:pos x="121" y="155"/>
                  </a:cxn>
                  <a:cxn ang="0">
                    <a:pos x="121" y="168"/>
                  </a:cxn>
                  <a:cxn ang="0">
                    <a:pos x="98" y="168"/>
                  </a:cxn>
                  <a:cxn ang="0">
                    <a:pos x="98" y="165"/>
                  </a:cxn>
                  <a:cxn ang="0">
                    <a:pos x="92" y="168"/>
                  </a:cxn>
                  <a:cxn ang="0">
                    <a:pos x="52" y="155"/>
                  </a:cxn>
                  <a:cxn ang="0">
                    <a:pos x="42" y="149"/>
                  </a:cxn>
                  <a:cxn ang="0">
                    <a:pos x="49" y="139"/>
                  </a:cxn>
                  <a:cxn ang="0">
                    <a:pos x="52" y="122"/>
                  </a:cxn>
                  <a:cxn ang="0">
                    <a:pos x="52" y="109"/>
                  </a:cxn>
                  <a:cxn ang="0">
                    <a:pos x="59" y="119"/>
                  </a:cxn>
                  <a:cxn ang="0">
                    <a:pos x="52" y="106"/>
                  </a:cxn>
                  <a:cxn ang="0">
                    <a:pos x="52" y="96"/>
                  </a:cxn>
                  <a:cxn ang="0">
                    <a:pos x="46" y="89"/>
                  </a:cxn>
                  <a:cxn ang="0">
                    <a:pos x="36" y="79"/>
                  </a:cxn>
                  <a:cxn ang="0">
                    <a:pos x="42" y="76"/>
                  </a:cxn>
                  <a:cxn ang="0">
                    <a:pos x="36" y="73"/>
                  </a:cxn>
                  <a:cxn ang="0">
                    <a:pos x="23" y="66"/>
                  </a:cxn>
                  <a:cxn ang="0">
                    <a:pos x="9" y="63"/>
                  </a:cxn>
                  <a:cxn ang="0">
                    <a:pos x="3" y="63"/>
                  </a:cxn>
                  <a:cxn ang="0">
                    <a:pos x="6" y="56"/>
                  </a:cxn>
                  <a:cxn ang="0">
                    <a:pos x="6" y="53"/>
                  </a:cxn>
                  <a:cxn ang="0">
                    <a:pos x="0" y="53"/>
                  </a:cxn>
                  <a:cxn ang="0">
                    <a:pos x="16" y="43"/>
                  </a:cxn>
                  <a:cxn ang="0">
                    <a:pos x="29" y="50"/>
                  </a:cxn>
                  <a:cxn ang="0">
                    <a:pos x="46" y="50"/>
                  </a:cxn>
                  <a:cxn ang="0">
                    <a:pos x="42" y="30"/>
                  </a:cxn>
                  <a:cxn ang="0">
                    <a:pos x="49" y="30"/>
                  </a:cxn>
                  <a:cxn ang="0">
                    <a:pos x="52" y="33"/>
                  </a:cxn>
                  <a:cxn ang="0">
                    <a:pos x="79" y="30"/>
                  </a:cxn>
                  <a:cxn ang="0">
                    <a:pos x="69" y="30"/>
                  </a:cxn>
                  <a:cxn ang="0">
                    <a:pos x="92" y="20"/>
                  </a:cxn>
                  <a:cxn ang="0">
                    <a:pos x="95" y="10"/>
                  </a:cxn>
                  <a:cxn ang="0">
                    <a:pos x="105" y="0"/>
                  </a:cxn>
                  <a:cxn ang="0">
                    <a:pos x="112" y="10"/>
                  </a:cxn>
                  <a:cxn ang="0">
                    <a:pos x="131" y="20"/>
                  </a:cxn>
                  <a:cxn ang="0">
                    <a:pos x="138" y="20"/>
                  </a:cxn>
                  <a:cxn ang="0">
                    <a:pos x="141" y="23"/>
                  </a:cxn>
                  <a:cxn ang="0">
                    <a:pos x="154" y="30"/>
                  </a:cxn>
                  <a:cxn ang="0">
                    <a:pos x="161" y="30"/>
                  </a:cxn>
                  <a:cxn ang="0">
                    <a:pos x="168" y="33"/>
                  </a:cxn>
                  <a:cxn ang="0">
                    <a:pos x="191" y="43"/>
                  </a:cxn>
                  <a:cxn ang="0">
                    <a:pos x="184" y="66"/>
                  </a:cxn>
                  <a:cxn ang="0">
                    <a:pos x="178" y="73"/>
                  </a:cxn>
                  <a:cxn ang="0">
                    <a:pos x="174" y="76"/>
                  </a:cxn>
                  <a:cxn ang="0">
                    <a:pos x="161" y="93"/>
                  </a:cxn>
                  <a:cxn ang="0">
                    <a:pos x="168" y="89"/>
                  </a:cxn>
                  <a:cxn ang="0">
                    <a:pos x="178" y="99"/>
                  </a:cxn>
                  <a:cxn ang="0">
                    <a:pos x="178" y="109"/>
                  </a:cxn>
                  <a:cxn ang="0">
                    <a:pos x="174" y="116"/>
                  </a:cxn>
                  <a:cxn ang="0">
                    <a:pos x="174" y="129"/>
                  </a:cxn>
                  <a:cxn ang="0">
                    <a:pos x="184" y="132"/>
                  </a:cxn>
                </a:cxnLst>
                <a:rect l="0" t="0" r="r" b="b"/>
                <a:pathLst>
                  <a:path w="191" h="168">
                    <a:moveTo>
                      <a:pt x="184" y="132"/>
                    </a:moveTo>
                    <a:lnTo>
                      <a:pt x="184" y="139"/>
                    </a:lnTo>
                    <a:lnTo>
                      <a:pt x="168" y="155"/>
                    </a:lnTo>
                    <a:lnTo>
                      <a:pt x="148" y="149"/>
                    </a:lnTo>
                    <a:lnTo>
                      <a:pt x="128" y="149"/>
                    </a:lnTo>
                    <a:lnTo>
                      <a:pt x="121" y="155"/>
                    </a:lnTo>
                    <a:lnTo>
                      <a:pt x="121" y="168"/>
                    </a:lnTo>
                    <a:lnTo>
                      <a:pt x="98" y="168"/>
                    </a:lnTo>
                    <a:lnTo>
                      <a:pt x="98" y="165"/>
                    </a:lnTo>
                    <a:lnTo>
                      <a:pt x="92" y="168"/>
                    </a:lnTo>
                    <a:lnTo>
                      <a:pt x="52" y="155"/>
                    </a:lnTo>
                    <a:lnTo>
                      <a:pt x="42" y="149"/>
                    </a:lnTo>
                    <a:lnTo>
                      <a:pt x="49" y="139"/>
                    </a:lnTo>
                    <a:lnTo>
                      <a:pt x="52" y="122"/>
                    </a:lnTo>
                    <a:lnTo>
                      <a:pt x="52" y="109"/>
                    </a:lnTo>
                    <a:lnTo>
                      <a:pt x="59" y="119"/>
                    </a:lnTo>
                    <a:lnTo>
                      <a:pt x="52" y="106"/>
                    </a:lnTo>
                    <a:lnTo>
                      <a:pt x="52" y="96"/>
                    </a:lnTo>
                    <a:lnTo>
                      <a:pt x="46" y="89"/>
                    </a:lnTo>
                    <a:lnTo>
                      <a:pt x="36" y="79"/>
                    </a:lnTo>
                    <a:lnTo>
                      <a:pt x="42" y="76"/>
                    </a:lnTo>
                    <a:lnTo>
                      <a:pt x="36" y="73"/>
                    </a:lnTo>
                    <a:lnTo>
                      <a:pt x="23" y="66"/>
                    </a:lnTo>
                    <a:lnTo>
                      <a:pt x="9" y="63"/>
                    </a:lnTo>
                    <a:lnTo>
                      <a:pt x="3" y="63"/>
                    </a:lnTo>
                    <a:lnTo>
                      <a:pt x="6" y="5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16" y="43"/>
                    </a:lnTo>
                    <a:lnTo>
                      <a:pt x="29" y="50"/>
                    </a:lnTo>
                    <a:lnTo>
                      <a:pt x="46" y="50"/>
                    </a:lnTo>
                    <a:lnTo>
                      <a:pt x="42" y="30"/>
                    </a:lnTo>
                    <a:lnTo>
                      <a:pt x="49" y="30"/>
                    </a:lnTo>
                    <a:lnTo>
                      <a:pt x="52" y="33"/>
                    </a:lnTo>
                    <a:lnTo>
                      <a:pt x="79" y="30"/>
                    </a:lnTo>
                    <a:lnTo>
                      <a:pt x="69" y="30"/>
                    </a:lnTo>
                    <a:lnTo>
                      <a:pt x="92" y="20"/>
                    </a:lnTo>
                    <a:lnTo>
                      <a:pt x="95" y="10"/>
                    </a:lnTo>
                    <a:lnTo>
                      <a:pt x="105" y="0"/>
                    </a:lnTo>
                    <a:lnTo>
                      <a:pt x="112" y="10"/>
                    </a:lnTo>
                    <a:lnTo>
                      <a:pt x="131" y="20"/>
                    </a:lnTo>
                    <a:lnTo>
                      <a:pt x="138" y="20"/>
                    </a:lnTo>
                    <a:lnTo>
                      <a:pt x="141" y="23"/>
                    </a:lnTo>
                    <a:lnTo>
                      <a:pt x="154" y="30"/>
                    </a:lnTo>
                    <a:lnTo>
                      <a:pt x="161" y="30"/>
                    </a:lnTo>
                    <a:lnTo>
                      <a:pt x="168" y="33"/>
                    </a:lnTo>
                    <a:lnTo>
                      <a:pt x="191" y="43"/>
                    </a:lnTo>
                    <a:lnTo>
                      <a:pt x="184" y="66"/>
                    </a:lnTo>
                    <a:lnTo>
                      <a:pt x="178" y="73"/>
                    </a:lnTo>
                    <a:lnTo>
                      <a:pt x="174" y="76"/>
                    </a:lnTo>
                    <a:lnTo>
                      <a:pt x="161" y="93"/>
                    </a:lnTo>
                    <a:lnTo>
                      <a:pt x="168" y="89"/>
                    </a:lnTo>
                    <a:lnTo>
                      <a:pt x="178" y="99"/>
                    </a:lnTo>
                    <a:lnTo>
                      <a:pt x="178" y="109"/>
                    </a:lnTo>
                    <a:lnTo>
                      <a:pt x="174" y="116"/>
                    </a:lnTo>
                    <a:lnTo>
                      <a:pt x="174" y="129"/>
                    </a:lnTo>
                    <a:lnTo>
                      <a:pt x="184" y="13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7" name="Freeform 1918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8" name="Freeform 1919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89" name="Freeform 1920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0" name="Freeform 1921"/>
              <p:cNvSpPr>
                <a:spLocks/>
              </p:cNvSpPr>
              <p:nvPr/>
            </p:nvSpPr>
            <p:spPr bwMode="auto">
              <a:xfrm>
                <a:off x="4749857" y="2839195"/>
                <a:ext cx="161928" cy="77788"/>
              </a:xfrm>
              <a:custGeom>
                <a:avLst/>
                <a:gdLst/>
                <a:ahLst/>
                <a:cxnLst>
                  <a:cxn ang="0">
                    <a:pos x="39" y="49"/>
                  </a:cxn>
                  <a:cxn ang="0">
                    <a:pos x="16" y="49"/>
                  </a:cxn>
                  <a:cxn ang="0">
                    <a:pos x="3" y="33"/>
                  </a:cxn>
                  <a:cxn ang="0">
                    <a:pos x="0" y="33"/>
                  </a:cxn>
                  <a:cxn ang="0">
                    <a:pos x="0" y="30"/>
                  </a:cxn>
                  <a:cxn ang="0">
                    <a:pos x="6" y="16"/>
                  </a:cxn>
                  <a:cxn ang="0">
                    <a:pos x="13" y="10"/>
                  </a:cxn>
                  <a:cxn ang="0">
                    <a:pos x="16" y="13"/>
                  </a:cxn>
                  <a:cxn ang="0">
                    <a:pos x="36" y="13"/>
                  </a:cxn>
                  <a:cxn ang="0">
                    <a:pos x="62" y="0"/>
                  </a:cxn>
                  <a:cxn ang="0">
                    <a:pos x="85" y="0"/>
                  </a:cxn>
                  <a:cxn ang="0">
                    <a:pos x="102" y="10"/>
                  </a:cxn>
                  <a:cxn ang="0">
                    <a:pos x="82" y="23"/>
                  </a:cxn>
                  <a:cxn ang="0">
                    <a:pos x="72" y="40"/>
                  </a:cxn>
                  <a:cxn ang="0">
                    <a:pos x="62" y="43"/>
                  </a:cxn>
                  <a:cxn ang="0">
                    <a:pos x="39" y="49"/>
                  </a:cxn>
                </a:cxnLst>
                <a:rect l="0" t="0" r="r" b="b"/>
                <a:pathLst>
                  <a:path w="102" h="49">
                    <a:moveTo>
                      <a:pt x="39" y="49"/>
                    </a:moveTo>
                    <a:lnTo>
                      <a:pt x="16" y="49"/>
                    </a:lnTo>
                    <a:lnTo>
                      <a:pt x="3" y="3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6" y="16"/>
                    </a:lnTo>
                    <a:lnTo>
                      <a:pt x="13" y="10"/>
                    </a:lnTo>
                    <a:lnTo>
                      <a:pt x="16" y="13"/>
                    </a:lnTo>
                    <a:lnTo>
                      <a:pt x="36" y="13"/>
                    </a:lnTo>
                    <a:lnTo>
                      <a:pt x="62" y="0"/>
                    </a:lnTo>
                    <a:lnTo>
                      <a:pt x="85" y="0"/>
                    </a:lnTo>
                    <a:lnTo>
                      <a:pt x="102" y="10"/>
                    </a:lnTo>
                    <a:lnTo>
                      <a:pt x="82" y="23"/>
                    </a:lnTo>
                    <a:lnTo>
                      <a:pt x="72" y="40"/>
                    </a:lnTo>
                    <a:lnTo>
                      <a:pt x="62" y="43"/>
                    </a:lnTo>
                    <a:lnTo>
                      <a:pt x="39" y="4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1" name="Freeform 1922"/>
              <p:cNvSpPr>
                <a:spLocks/>
              </p:cNvSpPr>
              <p:nvPr/>
            </p:nvSpPr>
            <p:spPr bwMode="auto">
              <a:xfrm>
                <a:off x="4927659" y="2037494"/>
                <a:ext cx="3163926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2" name="Freeform 1923"/>
              <p:cNvSpPr>
                <a:spLocks/>
              </p:cNvSpPr>
              <p:nvPr/>
            </p:nvSpPr>
            <p:spPr bwMode="auto">
              <a:xfrm>
                <a:off x="4927659" y="2037494"/>
                <a:ext cx="3163926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3" name="Freeform 1924"/>
              <p:cNvSpPr>
                <a:spLocks/>
              </p:cNvSpPr>
              <p:nvPr/>
            </p:nvSpPr>
            <p:spPr bwMode="auto">
              <a:xfrm>
                <a:off x="4927659" y="2037494"/>
                <a:ext cx="3163926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4" name="Freeform 1925"/>
              <p:cNvSpPr>
                <a:spLocks/>
              </p:cNvSpPr>
              <p:nvPr/>
            </p:nvSpPr>
            <p:spPr bwMode="auto">
              <a:xfrm>
                <a:off x="4927659" y="2037494"/>
                <a:ext cx="3163926" cy="1006490"/>
              </a:xfrm>
              <a:custGeom>
                <a:avLst/>
                <a:gdLst/>
                <a:ahLst/>
                <a:cxnLst>
                  <a:cxn ang="0">
                    <a:pos x="523" y="41"/>
                  </a:cxn>
                  <a:cxn ang="0">
                    <a:pos x="473" y="32"/>
                  </a:cxn>
                  <a:cxn ang="0">
                    <a:pos x="427" y="26"/>
                  </a:cxn>
                  <a:cxn ang="0">
                    <a:pos x="388" y="24"/>
                  </a:cxn>
                  <a:cxn ang="0">
                    <a:pos x="368" y="26"/>
                  </a:cxn>
                  <a:cxn ang="0">
                    <a:pos x="342" y="24"/>
                  </a:cxn>
                  <a:cxn ang="0">
                    <a:pos x="281" y="16"/>
                  </a:cxn>
                  <a:cxn ang="0">
                    <a:pos x="275" y="8"/>
                  </a:cxn>
                  <a:cxn ang="0">
                    <a:pos x="243" y="0"/>
                  </a:cxn>
                  <a:cxn ang="0">
                    <a:pos x="203" y="9"/>
                  </a:cxn>
                  <a:cxn ang="0">
                    <a:pos x="185" y="18"/>
                  </a:cxn>
                  <a:cxn ang="0">
                    <a:pos x="193" y="31"/>
                  </a:cxn>
                  <a:cxn ang="0">
                    <a:pos x="167" y="28"/>
                  </a:cxn>
                  <a:cxn ang="0">
                    <a:pos x="164" y="32"/>
                  </a:cxn>
                  <a:cxn ang="0">
                    <a:pos x="180" y="42"/>
                  </a:cxn>
                  <a:cxn ang="0">
                    <a:pos x="162" y="52"/>
                  </a:cxn>
                  <a:cxn ang="0">
                    <a:pos x="151" y="28"/>
                  </a:cxn>
                  <a:cxn ang="0">
                    <a:pos x="139" y="37"/>
                  </a:cxn>
                  <a:cxn ang="0">
                    <a:pos x="114" y="38"/>
                  </a:cxn>
                  <a:cxn ang="0">
                    <a:pos x="92" y="43"/>
                  </a:cxn>
                  <a:cxn ang="0">
                    <a:pos x="72" y="51"/>
                  </a:cxn>
                  <a:cxn ang="0">
                    <a:pos x="62" y="55"/>
                  </a:cxn>
                  <a:cxn ang="0">
                    <a:pos x="36" y="62"/>
                  </a:cxn>
                  <a:cxn ang="0">
                    <a:pos x="14" y="50"/>
                  </a:cxn>
                  <a:cxn ang="0">
                    <a:pos x="16" y="40"/>
                  </a:cxn>
                  <a:cxn ang="0">
                    <a:pos x="7" y="38"/>
                  </a:cxn>
                  <a:cxn ang="0">
                    <a:pos x="12" y="67"/>
                  </a:cxn>
                  <a:cxn ang="0">
                    <a:pos x="9" y="85"/>
                  </a:cxn>
                  <a:cxn ang="0">
                    <a:pos x="19" y="111"/>
                  </a:cxn>
                  <a:cxn ang="0">
                    <a:pos x="49" y="137"/>
                  </a:cxn>
                  <a:cxn ang="0">
                    <a:pos x="66" y="163"/>
                  </a:cxn>
                  <a:cxn ang="0">
                    <a:pos x="67" y="175"/>
                  </a:cxn>
                  <a:cxn ang="0">
                    <a:pos x="120" y="192"/>
                  </a:cxn>
                  <a:cxn ang="0">
                    <a:pos x="116" y="165"/>
                  </a:cxn>
                  <a:cxn ang="0">
                    <a:pos x="113" y="134"/>
                  </a:cxn>
                  <a:cxn ang="0">
                    <a:pos x="155" y="131"/>
                  </a:cxn>
                  <a:cxn ang="0">
                    <a:pos x="189" y="113"/>
                  </a:cxn>
                  <a:cxn ang="0">
                    <a:pos x="247" y="139"/>
                  </a:cxn>
                  <a:cxn ang="0">
                    <a:pos x="287" y="146"/>
                  </a:cxn>
                  <a:cxn ang="0">
                    <a:pos x="322" y="137"/>
                  </a:cxn>
                  <a:cxn ang="0">
                    <a:pos x="372" y="146"/>
                  </a:cxn>
                  <a:cxn ang="0">
                    <a:pos x="418" y="137"/>
                  </a:cxn>
                  <a:cxn ang="0">
                    <a:pos x="448" y="136"/>
                  </a:cxn>
                  <a:cxn ang="0">
                    <a:pos x="498" y="159"/>
                  </a:cxn>
                  <a:cxn ang="0">
                    <a:pos x="499" y="189"/>
                  </a:cxn>
                  <a:cxn ang="0">
                    <a:pos x="517" y="170"/>
                  </a:cxn>
                  <a:cxn ang="0">
                    <a:pos x="506" y="129"/>
                  </a:cxn>
                  <a:cxn ang="0">
                    <a:pos x="482" y="122"/>
                  </a:cxn>
                  <a:cxn ang="0">
                    <a:pos x="482" y="92"/>
                  </a:cxn>
                  <a:cxn ang="0">
                    <a:pos x="514" y="92"/>
                  </a:cxn>
                  <a:cxn ang="0">
                    <a:pos x="532" y="78"/>
                  </a:cxn>
                  <a:cxn ang="0">
                    <a:pos x="550" y="74"/>
                  </a:cxn>
                  <a:cxn ang="0">
                    <a:pos x="545" y="99"/>
                  </a:cxn>
                  <a:cxn ang="0">
                    <a:pos x="583" y="134"/>
                  </a:cxn>
                  <a:cxn ang="0">
                    <a:pos x="577" y="108"/>
                  </a:cxn>
                  <a:cxn ang="0">
                    <a:pos x="563" y="88"/>
                  </a:cxn>
                  <a:cxn ang="0">
                    <a:pos x="587" y="82"/>
                  </a:cxn>
                  <a:cxn ang="0">
                    <a:pos x="601" y="71"/>
                  </a:cxn>
                  <a:cxn ang="0">
                    <a:pos x="560" y="40"/>
                  </a:cxn>
                </a:cxnLst>
                <a:rect l="0" t="0" r="r" b="b"/>
                <a:pathLst>
                  <a:path w="605" h="192">
                    <a:moveTo>
                      <a:pt x="560" y="40"/>
                    </a:moveTo>
                    <a:cubicBezTo>
                      <a:pt x="549" y="38"/>
                      <a:pt x="549" y="38"/>
                      <a:pt x="549" y="38"/>
                    </a:cubicBezTo>
                    <a:cubicBezTo>
                      <a:pt x="537" y="36"/>
                      <a:pt x="537" y="36"/>
                      <a:pt x="537" y="36"/>
                    </a:cubicBezTo>
                    <a:cubicBezTo>
                      <a:pt x="527" y="36"/>
                      <a:pt x="527" y="36"/>
                      <a:pt x="527" y="36"/>
                    </a:cubicBezTo>
                    <a:cubicBezTo>
                      <a:pt x="517" y="35"/>
                      <a:pt x="517" y="35"/>
                      <a:pt x="517" y="35"/>
                    </a:cubicBezTo>
                    <a:cubicBezTo>
                      <a:pt x="520" y="38"/>
                      <a:pt x="520" y="38"/>
                      <a:pt x="520" y="38"/>
                    </a:cubicBezTo>
                    <a:cubicBezTo>
                      <a:pt x="527" y="40"/>
                      <a:pt x="527" y="40"/>
                      <a:pt x="527" y="40"/>
                    </a:cubicBezTo>
                    <a:cubicBezTo>
                      <a:pt x="526" y="41"/>
                      <a:pt x="526" y="41"/>
                      <a:pt x="526" y="41"/>
                    </a:cubicBezTo>
                    <a:cubicBezTo>
                      <a:pt x="523" y="41"/>
                      <a:pt x="523" y="41"/>
                      <a:pt x="523" y="41"/>
                    </a:cubicBezTo>
                    <a:cubicBezTo>
                      <a:pt x="517" y="39"/>
                      <a:pt x="517" y="39"/>
                      <a:pt x="517" y="39"/>
                    </a:cubicBezTo>
                    <a:cubicBezTo>
                      <a:pt x="515" y="39"/>
                      <a:pt x="515" y="39"/>
                      <a:pt x="515" y="39"/>
                    </a:cubicBezTo>
                    <a:cubicBezTo>
                      <a:pt x="510" y="37"/>
                      <a:pt x="510" y="37"/>
                      <a:pt x="510" y="37"/>
                    </a:cubicBezTo>
                    <a:cubicBezTo>
                      <a:pt x="506" y="38"/>
                      <a:pt x="506" y="38"/>
                      <a:pt x="506" y="38"/>
                    </a:cubicBezTo>
                    <a:cubicBezTo>
                      <a:pt x="490" y="37"/>
                      <a:pt x="490" y="37"/>
                      <a:pt x="490" y="37"/>
                    </a:cubicBezTo>
                    <a:cubicBezTo>
                      <a:pt x="490" y="39"/>
                      <a:pt x="490" y="39"/>
                      <a:pt x="490" y="39"/>
                    </a:cubicBezTo>
                    <a:cubicBezTo>
                      <a:pt x="485" y="37"/>
                      <a:pt x="485" y="37"/>
                      <a:pt x="485" y="37"/>
                    </a:cubicBezTo>
                    <a:cubicBezTo>
                      <a:pt x="479" y="36"/>
                      <a:pt x="479" y="36"/>
                      <a:pt x="479" y="36"/>
                    </a:cubicBezTo>
                    <a:cubicBezTo>
                      <a:pt x="473" y="32"/>
                      <a:pt x="473" y="32"/>
                      <a:pt x="473" y="32"/>
                    </a:cubicBezTo>
                    <a:cubicBezTo>
                      <a:pt x="465" y="30"/>
                      <a:pt x="465" y="30"/>
                      <a:pt x="465" y="30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46" y="31"/>
                      <a:pt x="446" y="31"/>
                      <a:pt x="446" y="31"/>
                    </a:cubicBezTo>
                    <a:cubicBezTo>
                      <a:pt x="443" y="30"/>
                      <a:pt x="443" y="30"/>
                      <a:pt x="443" y="30"/>
                    </a:cubicBezTo>
                    <a:cubicBezTo>
                      <a:pt x="436" y="29"/>
                      <a:pt x="436" y="29"/>
                      <a:pt x="436" y="29"/>
                    </a:cubicBezTo>
                    <a:cubicBezTo>
                      <a:pt x="435" y="29"/>
                      <a:pt x="435" y="29"/>
                      <a:pt x="435" y="29"/>
                    </a:cubicBezTo>
                    <a:cubicBezTo>
                      <a:pt x="435" y="28"/>
                      <a:pt x="435" y="28"/>
                      <a:pt x="435" y="28"/>
                    </a:cubicBezTo>
                    <a:cubicBezTo>
                      <a:pt x="432" y="28"/>
                      <a:pt x="432" y="28"/>
                      <a:pt x="432" y="28"/>
                    </a:cubicBezTo>
                    <a:cubicBezTo>
                      <a:pt x="427" y="26"/>
                      <a:pt x="427" y="26"/>
                      <a:pt x="427" y="26"/>
                    </a:cubicBezTo>
                    <a:cubicBezTo>
                      <a:pt x="430" y="26"/>
                      <a:pt x="430" y="26"/>
                      <a:pt x="430" y="26"/>
                    </a:cubicBezTo>
                    <a:cubicBezTo>
                      <a:pt x="422" y="24"/>
                      <a:pt x="422" y="24"/>
                      <a:pt x="422" y="24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6"/>
                      <a:pt x="416" y="26"/>
                      <a:pt x="416" y="26"/>
                    </a:cubicBezTo>
                    <a:cubicBezTo>
                      <a:pt x="416" y="24"/>
                      <a:pt x="416" y="24"/>
                      <a:pt x="416" y="24"/>
                    </a:cubicBezTo>
                    <a:cubicBezTo>
                      <a:pt x="402" y="23"/>
                      <a:pt x="402" y="23"/>
                      <a:pt x="402" y="23"/>
                    </a:cubicBezTo>
                    <a:cubicBezTo>
                      <a:pt x="390" y="22"/>
                      <a:pt x="390" y="22"/>
                      <a:pt x="390" y="22"/>
                    </a:cubicBezTo>
                    <a:cubicBezTo>
                      <a:pt x="392" y="23"/>
                      <a:pt x="392" y="23"/>
                      <a:pt x="392" y="23"/>
                    </a:cubicBezTo>
                    <a:cubicBezTo>
                      <a:pt x="388" y="24"/>
                      <a:pt x="388" y="24"/>
                      <a:pt x="388" y="24"/>
                    </a:cubicBezTo>
                    <a:cubicBezTo>
                      <a:pt x="392" y="24"/>
                      <a:pt x="392" y="24"/>
                      <a:pt x="392" y="24"/>
                    </a:cubicBezTo>
                    <a:cubicBezTo>
                      <a:pt x="392" y="26"/>
                      <a:pt x="392" y="26"/>
                      <a:pt x="392" y="26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88" y="28"/>
                      <a:pt x="388" y="28"/>
                      <a:pt x="388" y="28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0" y="30"/>
                      <a:pt x="390" y="30"/>
                      <a:pt x="390" y="30"/>
                    </a:cubicBezTo>
                    <a:cubicBezTo>
                      <a:pt x="381" y="28"/>
                      <a:pt x="381" y="28"/>
                      <a:pt x="381" y="28"/>
                    </a:cubicBezTo>
                    <a:cubicBezTo>
                      <a:pt x="378" y="29"/>
                      <a:pt x="378" y="29"/>
                      <a:pt x="378" y="29"/>
                    </a:cubicBezTo>
                    <a:cubicBezTo>
                      <a:pt x="368" y="26"/>
                      <a:pt x="368" y="26"/>
                      <a:pt x="368" y="26"/>
                    </a:cubicBezTo>
                    <a:cubicBezTo>
                      <a:pt x="367" y="26"/>
                      <a:pt x="367" y="26"/>
                      <a:pt x="367" y="26"/>
                    </a:cubicBezTo>
                    <a:cubicBezTo>
                      <a:pt x="369" y="29"/>
                      <a:pt x="369" y="29"/>
                      <a:pt x="369" y="29"/>
                    </a:cubicBezTo>
                    <a:cubicBezTo>
                      <a:pt x="368" y="32"/>
                      <a:pt x="368" y="32"/>
                      <a:pt x="368" y="32"/>
                    </a:cubicBezTo>
                    <a:cubicBezTo>
                      <a:pt x="362" y="30"/>
                      <a:pt x="362" y="30"/>
                      <a:pt x="362" y="30"/>
                    </a:cubicBezTo>
                    <a:cubicBezTo>
                      <a:pt x="355" y="26"/>
                      <a:pt x="355" y="26"/>
                      <a:pt x="355" y="26"/>
                    </a:cubicBezTo>
                    <a:cubicBezTo>
                      <a:pt x="347" y="24"/>
                      <a:pt x="347" y="24"/>
                      <a:pt x="347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51" y="29"/>
                      <a:pt x="351" y="29"/>
                      <a:pt x="351" y="29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29" y="22"/>
                      <a:pt x="329" y="22"/>
                      <a:pt x="329" y="22"/>
                    </a:cubicBezTo>
                    <a:cubicBezTo>
                      <a:pt x="315" y="21"/>
                      <a:pt x="315" y="21"/>
                      <a:pt x="315" y="21"/>
                    </a:cubicBezTo>
                    <a:cubicBezTo>
                      <a:pt x="308" y="19"/>
                      <a:pt x="308" y="19"/>
                      <a:pt x="308" y="19"/>
                    </a:cubicBezTo>
                    <a:cubicBezTo>
                      <a:pt x="309" y="18"/>
                      <a:pt x="309" y="18"/>
                      <a:pt x="309" y="18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1" y="19"/>
                      <a:pt x="291" y="19"/>
                      <a:pt x="291" y="19"/>
                    </a:cubicBezTo>
                    <a:cubicBezTo>
                      <a:pt x="287" y="16"/>
                      <a:pt x="287" y="16"/>
                      <a:pt x="287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81" y="16"/>
                      <a:pt x="281" y="16"/>
                      <a:pt x="281" y="16"/>
                    </a:cubicBezTo>
                    <a:cubicBezTo>
                      <a:pt x="275" y="16"/>
                      <a:pt x="275" y="16"/>
                      <a:pt x="275" y="16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73" y="20"/>
                      <a:pt x="273" y="20"/>
                      <a:pt x="273" y="20"/>
                    </a:cubicBezTo>
                    <a:cubicBezTo>
                      <a:pt x="267" y="20"/>
                      <a:pt x="267" y="20"/>
                      <a:pt x="267" y="2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81" y="10"/>
                      <a:pt x="281" y="10"/>
                      <a:pt x="281" y="10"/>
                    </a:cubicBezTo>
                    <a:cubicBezTo>
                      <a:pt x="277" y="9"/>
                      <a:pt x="277" y="9"/>
                      <a:pt x="277" y="9"/>
                    </a:cubicBezTo>
                    <a:cubicBezTo>
                      <a:pt x="275" y="8"/>
                      <a:pt x="275" y="8"/>
                      <a:pt x="275" y="8"/>
                    </a:cubicBezTo>
                    <a:cubicBezTo>
                      <a:pt x="280" y="9"/>
                      <a:pt x="280" y="9"/>
                      <a:pt x="280" y="9"/>
                    </a:cubicBezTo>
                    <a:cubicBezTo>
                      <a:pt x="275" y="6"/>
                      <a:pt x="275" y="6"/>
                      <a:pt x="275" y="6"/>
                    </a:cubicBezTo>
                    <a:cubicBezTo>
                      <a:pt x="275" y="7"/>
                      <a:pt x="275" y="7"/>
                      <a:pt x="275" y="7"/>
                    </a:cubicBezTo>
                    <a:cubicBezTo>
                      <a:pt x="272" y="6"/>
                      <a:pt x="272" y="6"/>
                      <a:pt x="272" y="6"/>
                    </a:cubicBezTo>
                    <a:cubicBezTo>
                      <a:pt x="265" y="4"/>
                      <a:pt x="265" y="4"/>
                      <a:pt x="265" y="4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31" y="4"/>
                      <a:pt x="231" y="4"/>
                      <a:pt x="231" y="4"/>
                    </a:cubicBezTo>
                    <a:cubicBezTo>
                      <a:pt x="235" y="4"/>
                      <a:pt x="235" y="4"/>
                      <a:pt x="235" y="4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8" y="7"/>
                      <a:pt x="228" y="7"/>
                      <a:pt x="228" y="7"/>
                    </a:cubicBezTo>
                    <a:cubicBezTo>
                      <a:pt x="207" y="7"/>
                      <a:pt x="207" y="7"/>
                      <a:pt x="207" y="7"/>
                    </a:cubicBezTo>
                    <a:cubicBezTo>
                      <a:pt x="211" y="7"/>
                      <a:pt x="211" y="7"/>
                      <a:pt x="211" y="7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195" y="10"/>
                      <a:pt x="195" y="10"/>
                      <a:pt x="195" y="10"/>
                    </a:cubicBezTo>
                    <a:cubicBezTo>
                      <a:pt x="192" y="11"/>
                      <a:pt x="192" y="11"/>
                      <a:pt x="192" y="11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1" y="14"/>
                      <a:pt x="191" y="14"/>
                      <a:pt x="191" y="14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85" y="18"/>
                      <a:pt x="185" y="18"/>
                      <a:pt x="185" y="18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6"/>
                      <a:pt x="186" y="26"/>
                      <a:pt x="186" y="26"/>
                    </a:cubicBezTo>
                    <a:cubicBezTo>
                      <a:pt x="193" y="28"/>
                      <a:pt x="193" y="28"/>
                      <a:pt x="193" y="28"/>
                    </a:cubicBezTo>
                    <a:cubicBezTo>
                      <a:pt x="197" y="32"/>
                      <a:pt x="197" y="32"/>
                      <a:pt x="197" y="32"/>
                    </a:cubicBezTo>
                    <a:cubicBezTo>
                      <a:pt x="198" y="33"/>
                      <a:pt x="198" y="33"/>
                      <a:pt x="198" y="33"/>
                    </a:cubicBezTo>
                    <a:cubicBezTo>
                      <a:pt x="196" y="33"/>
                      <a:pt x="196" y="33"/>
                      <a:pt x="196" y="33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9" y="29"/>
                      <a:pt x="189" y="29"/>
                      <a:pt x="189" y="29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84" y="26"/>
                      <a:pt x="184" y="26"/>
                      <a:pt x="184" y="26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69" y="24"/>
                      <a:pt x="169" y="24"/>
                      <a:pt x="169" y="24"/>
                    </a:cubicBezTo>
                    <a:cubicBezTo>
                      <a:pt x="172" y="26"/>
                      <a:pt x="172" y="26"/>
                      <a:pt x="172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7" y="31"/>
                      <a:pt x="177" y="31"/>
                      <a:pt x="177" y="31"/>
                    </a:cubicBezTo>
                    <a:cubicBezTo>
                      <a:pt x="165" y="28"/>
                      <a:pt x="165" y="28"/>
                      <a:pt x="165" y="28"/>
                    </a:cubicBezTo>
                    <a:cubicBezTo>
                      <a:pt x="161" y="22"/>
                      <a:pt x="161" y="22"/>
                      <a:pt x="161" y="22"/>
                    </a:cubicBezTo>
                    <a:cubicBezTo>
                      <a:pt x="157" y="22"/>
                      <a:pt x="157" y="22"/>
                      <a:pt x="157" y="22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6" y="28"/>
                      <a:pt x="156" y="28"/>
                      <a:pt x="156" y="28"/>
                    </a:cubicBezTo>
                    <a:cubicBezTo>
                      <a:pt x="158" y="29"/>
                      <a:pt x="158" y="29"/>
                      <a:pt x="158" y="29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81" y="41"/>
                      <a:pt x="181" y="41"/>
                      <a:pt x="181" y="41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5" y="46"/>
                      <a:pt x="185" y="46"/>
                      <a:pt x="185" y="46"/>
                    </a:cubicBezTo>
                    <a:cubicBezTo>
                      <a:pt x="191" y="48"/>
                      <a:pt x="191" y="48"/>
                      <a:pt x="191" y="48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0" y="42"/>
                      <a:pt x="180" y="42"/>
                      <a:pt x="180" y="42"/>
                    </a:cubicBezTo>
                    <a:cubicBezTo>
                      <a:pt x="177" y="40"/>
                      <a:pt x="177" y="40"/>
                      <a:pt x="177" y="40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5" y="46"/>
                      <a:pt x="175" y="46"/>
                      <a:pt x="175" y="46"/>
                    </a:cubicBezTo>
                    <a:cubicBezTo>
                      <a:pt x="170" y="52"/>
                      <a:pt x="170" y="52"/>
                      <a:pt x="170" y="52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62" y="52"/>
                      <a:pt x="162" y="52"/>
                      <a:pt x="162" y="52"/>
                    </a:cubicBezTo>
                    <a:cubicBezTo>
                      <a:pt x="161" y="52"/>
                      <a:pt x="161" y="52"/>
                      <a:pt x="161" y="52"/>
                    </a:cubicBezTo>
                    <a:cubicBezTo>
                      <a:pt x="165" y="52"/>
                      <a:pt x="165" y="52"/>
                      <a:pt x="165" y="52"/>
                    </a:cubicBezTo>
                    <a:cubicBezTo>
                      <a:pt x="165" y="51"/>
                      <a:pt x="165" y="51"/>
                      <a:pt x="165" y="51"/>
                    </a:cubicBezTo>
                    <a:cubicBezTo>
                      <a:pt x="167" y="45"/>
                      <a:pt x="167" y="45"/>
                      <a:pt x="167" y="45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8" y="36"/>
                      <a:pt x="138" y="36"/>
                      <a:pt x="138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44" y="39"/>
                      <a:pt x="144" y="39"/>
                      <a:pt x="144" y="39"/>
                    </a:cubicBezTo>
                    <a:cubicBezTo>
                      <a:pt x="147" y="41"/>
                      <a:pt x="147" y="41"/>
                      <a:pt x="147" y="41"/>
                    </a:cubicBezTo>
                    <a:cubicBezTo>
                      <a:pt x="150" y="41"/>
                      <a:pt x="150" y="41"/>
                      <a:pt x="150" y="41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2" y="41"/>
                      <a:pt x="142" y="41"/>
                      <a:pt x="142" y="41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16" y="36"/>
                      <a:pt x="116" y="36"/>
                      <a:pt x="116" y="36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8" y="41"/>
                      <a:pt x="118" y="41"/>
                      <a:pt x="118" y="41"/>
                    </a:cubicBezTo>
                    <a:cubicBezTo>
                      <a:pt x="115" y="42"/>
                      <a:pt x="115" y="42"/>
                      <a:pt x="115" y="42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2" y="41"/>
                      <a:pt x="112" y="41"/>
                      <a:pt x="112" y="41"/>
                    </a:cubicBezTo>
                    <a:cubicBezTo>
                      <a:pt x="106" y="42"/>
                      <a:pt x="106" y="42"/>
                      <a:pt x="106" y="42"/>
                    </a:cubicBezTo>
                    <a:cubicBezTo>
                      <a:pt x="102" y="42"/>
                      <a:pt x="102" y="42"/>
                      <a:pt x="102" y="42"/>
                    </a:cubicBezTo>
                    <a:cubicBezTo>
                      <a:pt x="98" y="44"/>
                      <a:pt x="98" y="44"/>
                      <a:pt x="98" y="44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8"/>
                      <a:pt x="7" y="38"/>
                      <a:pt x="7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9" y="111"/>
                      <a:pt x="19" y="111"/>
                      <a:pt x="19" y="111"/>
                    </a:cubicBezTo>
                    <a:cubicBezTo>
                      <a:pt x="25" y="112"/>
                      <a:pt x="25" y="112"/>
                      <a:pt x="25" y="112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32" y="131"/>
                      <a:pt x="32" y="131"/>
                      <a:pt x="32" y="131"/>
                    </a:cubicBezTo>
                    <a:cubicBezTo>
                      <a:pt x="36" y="130"/>
                      <a:pt x="36" y="130"/>
                      <a:pt x="36" y="130"/>
                    </a:cubicBezTo>
                    <a:cubicBezTo>
                      <a:pt x="42" y="130"/>
                      <a:pt x="42" y="130"/>
                      <a:pt x="42" y="130"/>
                    </a:cubicBezTo>
                    <a:cubicBezTo>
                      <a:pt x="44" y="132"/>
                      <a:pt x="44" y="132"/>
                      <a:pt x="44" y="13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4" y="144"/>
                      <a:pt x="64" y="144"/>
                      <a:pt x="64" y="144"/>
                    </a:cubicBezTo>
                    <a:cubicBezTo>
                      <a:pt x="71" y="146"/>
                      <a:pt x="71" y="146"/>
                      <a:pt x="71" y="146"/>
                    </a:cubicBezTo>
                    <a:cubicBezTo>
                      <a:pt x="74" y="154"/>
                      <a:pt x="74" y="154"/>
                      <a:pt x="74" y="154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0" y="161"/>
                      <a:pt x="70" y="161"/>
                      <a:pt x="70" y="161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4" y="163"/>
                      <a:pt x="64" y="163"/>
                      <a:pt x="64" y="163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66" y="166"/>
                      <a:pt x="66" y="166"/>
                      <a:pt x="66" y="166"/>
                    </a:cubicBezTo>
                    <a:cubicBezTo>
                      <a:pt x="66" y="168"/>
                      <a:pt x="66" y="168"/>
                      <a:pt x="66" y="168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67" y="175"/>
                      <a:pt x="67" y="175"/>
                      <a:pt x="67" y="175"/>
                    </a:cubicBezTo>
                    <a:cubicBezTo>
                      <a:pt x="73" y="179"/>
                      <a:pt x="73" y="179"/>
                      <a:pt x="73" y="179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84" y="179"/>
                      <a:pt x="84" y="179"/>
                      <a:pt x="84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12" y="191"/>
                      <a:pt x="112" y="191"/>
                      <a:pt x="112" y="191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16" y="188"/>
                      <a:pt x="116" y="188"/>
                      <a:pt x="116" y="188"/>
                    </a:cubicBezTo>
                    <a:cubicBezTo>
                      <a:pt x="112" y="183"/>
                      <a:pt x="112" y="183"/>
                      <a:pt x="112" y="183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1" y="181"/>
                      <a:pt x="111" y="181"/>
                      <a:pt x="111" y="181"/>
                    </a:cubicBezTo>
                    <a:cubicBezTo>
                      <a:pt x="109" y="176"/>
                      <a:pt x="109" y="176"/>
                      <a:pt x="109" y="17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9" y="169"/>
                      <a:pt x="109" y="169"/>
                      <a:pt x="109" y="169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1" y="150"/>
                      <a:pt x="101" y="150"/>
                      <a:pt x="101" y="150"/>
                    </a:cubicBezTo>
                    <a:cubicBezTo>
                      <a:pt x="102" y="143"/>
                      <a:pt x="102" y="143"/>
                      <a:pt x="102" y="143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9" y="140"/>
                      <a:pt x="109" y="140"/>
                      <a:pt x="109" y="140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13" y="134"/>
                      <a:pt x="113" y="134"/>
                      <a:pt x="113" y="134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141" y="136"/>
                      <a:pt x="141" y="136"/>
                      <a:pt x="141" y="136"/>
                    </a:cubicBezTo>
                    <a:cubicBezTo>
                      <a:pt x="150" y="136"/>
                      <a:pt x="150" y="136"/>
                      <a:pt x="150" y="136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5" y="131"/>
                      <a:pt x="155" y="131"/>
                      <a:pt x="155" y="131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61" y="124"/>
                      <a:pt x="161" y="124"/>
                      <a:pt x="161" y="124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62" y="121"/>
                      <a:pt x="162" y="121"/>
                      <a:pt x="162" y="121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7" y="117"/>
                      <a:pt x="177" y="117"/>
                      <a:pt x="177" y="117"/>
                    </a:cubicBezTo>
                    <a:cubicBezTo>
                      <a:pt x="183" y="115"/>
                      <a:pt x="183" y="115"/>
                      <a:pt x="183" y="115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93" y="113"/>
                      <a:pt x="193" y="113"/>
                      <a:pt x="193" y="113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216" y="122"/>
                      <a:pt x="203" y="124"/>
                      <a:pt x="223" y="118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3" y="121"/>
                      <a:pt x="223" y="121"/>
                      <a:pt x="223" y="121"/>
                    </a:cubicBezTo>
                    <a:cubicBezTo>
                      <a:pt x="228" y="125"/>
                      <a:pt x="228" y="125"/>
                      <a:pt x="228" y="125"/>
                    </a:cubicBezTo>
                    <a:cubicBezTo>
                      <a:pt x="235" y="130"/>
                      <a:pt x="235" y="130"/>
                      <a:pt x="235" y="130"/>
                    </a:cubicBezTo>
                    <a:cubicBezTo>
                      <a:pt x="241" y="134"/>
                      <a:pt x="241" y="134"/>
                      <a:pt x="241" y="134"/>
                    </a:cubicBezTo>
                    <a:cubicBezTo>
                      <a:pt x="247" y="139"/>
                      <a:pt x="247" y="139"/>
                      <a:pt x="247" y="139"/>
                    </a:cubicBezTo>
                    <a:cubicBezTo>
                      <a:pt x="247" y="136"/>
                      <a:pt x="247" y="136"/>
                      <a:pt x="247" y="136"/>
                    </a:cubicBezTo>
                    <a:cubicBezTo>
                      <a:pt x="252" y="137"/>
                      <a:pt x="252" y="137"/>
                      <a:pt x="252" y="137"/>
                    </a:cubicBezTo>
                    <a:cubicBezTo>
                      <a:pt x="257" y="137"/>
                      <a:pt x="257" y="137"/>
                      <a:pt x="257" y="137"/>
                    </a:cubicBezTo>
                    <a:cubicBezTo>
                      <a:pt x="264" y="141"/>
                      <a:pt x="264" y="141"/>
                      <a:pt x="264" y="141"/>
                    </a:cubicBezTo>
                    <a:cubicBezTo>
                      <a:pt x="269" y="146"/>
                      <a:pt x="269" y="146"/>
                      <a:pt x="269" y="146"/>
                    </a:cubicBezTo>
                    <a:cubicBezTo>
                      <a:pt x="275" y="143"/>
                      <a:pt x="275" y="143"/>
                      <a:pt x="275" y="143"/>
                    </a:cubicBezTo>
                    <a:cubicBezTo>
                      <a:pt x="281" y="149"/>
                      <a:pt x="281" y="149"/>
                      <a:pt x="281" y="149"/>
                    </a:cubicBezTo>
                    <a:cubicBezTo>
                      <a:pt x="284" y="149"/>
                      <a:pt x="284" y="149"/>
                      <a:pt x="284" y="149"/>
                    </a:cubicBezTo>
                    <a:cubicBezTo>
                      <a:pt x="287" y="146"/>
                      <a:pt x="287" y="146"/>
                      <a:pt x="287" y="146"/>
                    </a:cubicBezTo>
                    <a:cubicBezTo>
                      <a:pt x="291" y="146"/>
                      <a:pt x="291" y="146"/>
                      <a:pt x="291" y="146"/>
                    </a:cubicBezTo>
                    <a:cubicBezTo>
                      <a:pt x="295" y="142"/>
                      <a:pt x="295" y="142"/>
                      <a:pt x="295" y="142"/>
                    </a:cubicBezTo>
                    <a:cubicBezTo>
                      <a:pt x="299" y="140"/>
                      <a:pt x="299" y="140"/>
                      <a:pt x="299" y="140"/>
                    </a:cubicBezTo>
                    <a:cubicBezTo>
                      <a:pt x="309" y="141"/>
                      <a:pt x="309" y="141"/>
                      <a:pt x="309" y="141"/>
                    </a:cubicBezTo>
                    <a:cubicBezTo>
                      <a:pt x="310" y="142"/>
                      <a:pt x="310" y="142"/>
                      <a:pt x="310" y="142"/>
                    </a:cubicBezTo>
                    <a:cubicBezTo>
                      <a:pt x="316" y="144"/>
                      <a:pt x="316" y="144"/>
                      <a:pt x="316" y="144"/>
                    </a:cubicBezTo>
                    <a:cubicBezTo>
                      <a:pt x="324" y="146"/>
                      <a:pt x="324" y="146"/>
                      <a:pt x="324" y="146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322" y="137"/>
                      <a:pt x="322" y="137"/>
                      <a:pt x="322" y="137"/>
                    </a:cubicBezTo>
                    <a:cubicBezTo>
                      <a:pt x="324" y="132"/>
                      <a:pt x="324" y="132"/>
                      <a:pt x="324" y="132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39" y="135"/>
                      <a:pt x="339" y="135"/>
                      <a:pt x="339" y="135"/>
                    </a:cubicBezTo>
                    <a:cubicBezTo>
                      <a:pt x="342" y="139"/>
                      <a:pt x="342" y="139"/>
                      <a:pt x="342" y="139"/>
                    </a:cubicBezTo>
                    <a:cubicBezTo>
                      <a:pt x="350" y="143"/>
                      <a:pt x="350" y="143"/>
                      <a:pt x="350" y="143"/>
                    </a:cubicBezTo>
                    <a:cubicBezTo>
                      <a:pt x="357" y="141"/>
                      <a:pt x="357" y="141"/>
                      <a:pt x="357" y="141"/>
                    </a:cubicBezTo>
                    <a:cubicBezTo>
                      <a:pt x="364" y="142"/>
                      <a:pt x="364" y="142"/>
                      <a:pt x="364" y="142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72" y="146"/>
                      <a:pt x="372" y="146"/>
                      <a:pt x="372" y="146"/>
                    </a:cubicBezTo>
                    <a:cubicBezTo>
                      <a:pt x="382" y="149"/>
                      <a:pt x="382" y="149"/>
                      <a:pt x="382" y="149"/>
                    </a:cubicBezTo>
                    <a:cubicBezTo>
                      <a:pt x="387" y="148"/>
                      <a:pt x="387" y="148"/>
                      <a:pt x="387" y="148"/>
                    </a:cubicBezTo>
                    <a:cubicBezTo>
                      <a:pt x="392" y="146"/>
                      <a:pt x="392" y="146"/>
                      <a:pt x="392" y="146"/>
                    </a:cubicBezTo>
                    <a:cubicBezTo>
                      <a:pt x="397" y="142"/>
                      <a:pt x="397" y="142"/>
                      <a:pt x="397" y="142"/>
                    </a:cubicBezTo>
                    <a:cubicBezTo>
                      <a:pt x="406" y="144"/>
                      <a:pt x="406" y="144"/>
                      <a:pt x="406" y="144"/>
                    </a:cubicBezTo>
                    <a:cubicBezTo>
                      <a:pt x="410" y="144"/>
                      <a:pt x="410" y="144"/>
                      <a:pt x="410" y="144"/>
                    </a:cubicBezTo>
                    <a:cubicBezTo>
                      <a:pt x="416" y="146"/>
                      <a:pt x="416" y="146"/>
                      <a:pt x="416" y="146"/>
                    </a:cubicBezTo>
                    <a:cubicBezTo>
                      <a:pt x="420" y="142"/>
                      <a:pt x="420" y="142"/>
                      <a:pt x="420" y="142"/>
                    </a:cubicBezTo>
                    <a:cubicBezTo>
                      <a:pt x="418" y="137"/>
                      <a:pt x="418" y="137"/>
                      <a:pt x="418" y="137"/>
                    </a:cubicBezTo>
                    <a:cubicBezTo>
                      <a:pt x="418" y="131"/>
                      <a:pt x="418" y="131"/>
                      <a:pt x="418" y="131"/>
                    </a:cubicBezTo>
                    <a:cubicBezTo>
                      <a:pt x="416" y="129"/>
                      <a:pt x="416" y="129"/>
                      <a:pt x="416" y="129"/>
                    </a:cubicBezTo>
                    <a:cubicBezTo>
                      <a:pt x="413" y="127"/>
                      <a:pt x="413" y="127"/>
                      <a:pt x="413" y="127"/>
                    </a:cubicBezTo>
                    <a:cubicBezTo>
                      <a:pt x="416" y="125"/>
                      <a:pt x="416" y="125"/>
                      <a:pt x="416" y="125"/>
                    </a:cubicBezTo>
                    <a:cubicBezTo>
                      <a:pt x="422" y="124"/>
                      <a:pt x="422" y="124"/>
                      <a:pt x="422" y="124"/>
                    </a:cubicBezTo>
                    <a:cubicBezTo>
                      <a:pt x="428" y="124"/>
                      <a:pt x="428" y="124"/>
                      <a:pt x="428" y="124"/>
                    </a:cubicBezTo>
                    <a:cubicBezTo>
                      <a:pt x="439" y="129"/>
                      <a:pt x="439" y="129"/>
                      <a:pt x="439" y="129"/>
                    </a:cubicBezTo>
                    <a:cubicBezTo>
                      <a:pt x="444" y="132"/>
                      <a:pt x="444" y="132"/>
                      <a:pt x="444" y="132"/>
                    </a:cubicBezTo>
                    <a:cubicBezTo>
                      <a:pt x="448" y="136"/>
                      <a:pt x="448" y="136"/>
                      <a:pt x="448" y="136"/>
                    </a:cubicBezTo>
                    <a:cubicBezTo>
                      <a:pt x="453" y="140"/>
                      <a:pt x="453" y="140"/>
                      <a:pt x="453" y="140"/>
                    </a:cubicBezTo>
                    <a:cubicBezTo>
                      <a:pt x="458" y="144"/>
                      <a:pt x="458" y="144"/>
                      <a:pt x="458" y="144"/>
                    </a:cubicBezTo>
                    <a:cubicBezTo>
                      <a:pt x="462" y="146"/>
                      <a:pt x="462" y="146"/>
                      <a:pt x="462" y="146"/>
                    </a:cubicBezTo>
                    <a:cubicBezTo>
                      <a:pt x="472" y="149"/>
                      <a:pt x="472" y="149"/>
                      <a:pt x="472" y="149"/>
                    </a:cubicBezTo>
                    <a:cubicBezTo>
                      <a:pt x="476" y="150"/>
                      <a:pt x="476" y="150"/>
                      <a:pt x="476" y="150"/>
                    </a:cubicBezTo>
                    <a:cubicBezTo>
                      <a:pt x="482" y="157"/>
                      <a:pt x="482" y="157"/>
                      <a:pt x="482" y="157"/>
                    </a:cubicBezTo>
                    <a:cubicBezTo>
                      <a:pt x="488" y="156"/>
                      <a:pt x="488" y="156"/>
                      <a:pt x="488" y="156"/>
                    </a:cubicBezTo>
                    <a:cubicBezTo>
                      <a:pt x="496" y="153"/>
                      <a:pt x="496" y="153"/>
                      <a:pt x="496" y="153"/>
                    </a:cubicBezTo>
                    <a:cubicBezTo>
                      <a:pt x="498" y="159"/>
                      <a:pt x="498" y="159"/>
                      <a:pt x="498" y="159"/>
                    </a:cubicBezTo>
                    <a:cubicBezTo>
                      <a:pt x="499" y="165"/>
                      <a:pt x="499" y="165"/>
                      <a:pt x="499" y="165"/>
                    </a:cubicBezTo>
                    <a:cubicBezTo>
                      <a:pt x="500" y="173"/>
                      <a:pt x="500" y="173"/>
                      <a:pt x="500" y="173"/>
                    </a:cubicBezTo>
                    <a:cubicBezTo>
                      <a:pt x="494" y="172"/>
                      <a:pt x="494" y="172"/>
                      <a:pt x="494" y="172"/>
                    </a:cubicBezTo>
                    <a:cubicBezTo>
                      <a:pt x="492" y="174"/>
                      <a:pt x="492" y="174"/>
                      <a:pt x="492" y="174"/>
                    </a:cubicBezTo>
                    <a:cubicBezTo>
                      <a:pt x="496" y="179"/>
                      <a:pt x="496" y="179"/>
                      <a:pt x="496" y="179"/>
                    </a:cubicBezTo>
                    <a:cubicBezTo>
                      <a:pt x="499" y="185"/>
                      <a:pt x="499" y="185"/>
                      <a:pt x="499" y="185"/>
                    </a:cubicBezTo>
                    <a:cubicBezTo>
                      <a:pt x="497" y="186"/>
                      <a:pt x="497" y="186"/>
                      <a:pt x="497" y="186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499" y="189"/>
                      <a:pt x="499" y="189"/>
                      <a:pt x="499" y="189"/>
                    </a:cubicBezTo>
                    <a:cubicBezTo>
                      <a:pt x="499" y="188"/>
                      <a:pt x="499" y="188"/>
                      <a:pt x="499" y="188"/>
                    </a:cubicBezTo>
                    <a:cubicBezTo>
                      <a:pt x="502" y="183"/>
                      <a:pt x="502" y="183"/>
                      <a:pt x="502" y="183"/>
                    </a:cubicBezTo>
                    <a:cubicBezTo>
                      <a:pt x="504" y="183"/>
                      <a:pt x="504" y="183"/>
                      <a:pt x="504" y="183"/>
                    </a:cubicBezTo>
                    <a:cubicBezTo>
                      <a:pt x="506" y="185"/>
                      <a:pt x="506" y="185"/>
                      <a:pt x="506" y="185"/>
                    </a:cubicBezTo>
                    <a:cubicBezTo>
                      <a:pt x="509" y="185"/>
                      <a:pt x="509" y="185"/>
                      <a:pt x="509" y="185"/>
                    </a:cubicBezTo>
                    <a:cubicBezTo>
                      <a:pt x="514" y="184"/>
                      <a:pt x="514" y="184"/>
                      <a:pt x="514" y="184"/>
                    </a:cubicBezTo>
                    <a:cubicBezTo>
                      <a:pt x="515" y="179"/>
                      <a:pt x="515" y="179"/>
                      <a:pt x="515" y="179"/>
                    </a:cubicBezTo>
                    <a:cubicBezTo>
                      <a:pt x="517" y="175"/>
                      <a:pt x="517" y="175"/>
                      <a:pt x="517" y="175"/>
                    </a:cubicBezTo>
                    <a:cubicBezTo>
                      <a:pt x="517" y="170"/>
                      <a:pt x="517" y="170"/>
                      <a:pt x="517" y="170"/>
                    </a:cubicBezTo>
                    <a:cubicBezTo>
                      <a:pt x="518" y="164"/>
                      <a:pt x="518" y="164"/>
                      <a:pt x="518" y="164"/>
                    </a:cubicBezTo>
                    <a:cubicBezTo>
                      <a:pt x="518" y="159"/>
                      <a:pt x="518" y="159"/>
                      <a:pt x="518" y="159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17" y="149"/>
                      <a:pt x="517" y="149"/>
                      <a:pt x="517" y="149"/>
                    </a:cubicBezTo>
                    <a:cubicBezTo>
                      <a:pt x="515" y="144"/>
                      <a:pt x="515" y="144"/>
                      <a:pt x="515" y="144"/>
                    </a:cubicBezTo>
                    <a:cubicBezTo>
                      <a:pt x="512" y="141"/>
                      <a:pt x="512" y="141"/>
                      <a:pt x="512" y="141"/>
                    </a:cubicBezTo>
                    <a:cubicBezTo>
                      <a:pt x="511" y="136"/>
                      <a:pt x="511" y="136"/>
                      <a:pt x="511" y="136"/>
                    </a:cubicBezTo>
                    <a:cubicBezTo>
                      <a:pt x="510" y="133"/>
                      <a:pt x="510" y="133"/>
                      <a:pt x="510" y="133"/>
                    </a:cubicBezTo>
                    <a:cubicBezTo>
                      <a:pt x="506" y="129"/>
                      <a:pt x="506" y="129"/>
                      <a:pt x="506" y="129"/>
                    </a:cubicBezTo>
                    <a:cubicBezTo>
                      <a:pt x="502" y="127"/>
                      <a:pt x="502" y="127"/>
                      <a:pt x="502" y="127"/>
                    </a:cubicBezTo>
                    <a:cubicBezTo>
                      <a:pt x="505" y="127"/>
                      <a:pt x="505" y="127"/>
                      <a:pt x="505" y="127"/>
                    </a:cubicBezTo>
                    <a:cubicBezTo>
                      <a:pt x="492" y="120"/>
                      <a:pt x="492" y="120"/>
                      <a:pt x="492" y="120"/>
                    </a:cubicBezTo>
                    <a:cubicBezTo>
                      <a:pt x="487" y="119"/>
                      <a:pt x="487" y="119"/>
                      <a:pt x="487" y="119"/>
                    </a:cubicBezTo>
                    <a:cubicBezTo>
                      <a:pt x="488" y="122"/>
                      <a:pt x="488" y="122"/>
                      <a:pt x="488" y="122"/>
                    </a:cubicBezTo>
                    <a:cubicBezTo>
                      <a:pt x="484" y="123"/>
                      <a:pt x="484" y="123"/>
                      <a:pt x="484" y="123"/>
                    </a:cubicBezTo>
                    <a:cubicBezTo>
                      <a:pt x="484" y="122"/>
                      <a:pt x="484" y="122"/>
                      <a:pt x="484" y="122"/>
                    </a:cubicBezTo>
                    <a:cubicBezTo>
                      <a:pt x="482" y="121"/>
                      <a:pt x="482" y="121"/>
                      <a:pt x="482" y="121"/>
                    </a:cubicBezTo>
                    <a:cubicBezTo>
                      <a:pt x="482" y="122"/>
                      <a:pt x="482" y="122"/>
                      <a:pt x="482" y="122"/>
                    </a:cubicBezTo>
                    <a:cubicBezTo>
                      <a:pt x="478" y="118"/>
                      <a:pt x="478" y="118"/>
                      <a:pt x="478" y="118"/>
                    </a:cubicBezTo>
                    <a:cubicBezTo>
                      <a:pt x="470" y="117"/>
                      <a:pt x="470" y="117"/>
                      <a:pt x="470" y="117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3" y="107"/>
                      <a:pt x="473" y="107"/>
                      <a:pt x="473" y="107"/>
                    </a:cubicBezTo>
                    <a:cubicBezTo>
                      <a:pt x="476" y="103"/>
                      <a:pt x="476" y="103"/>
                      <a:pt x="476" y="103"/>
                    </a:cubicBezTo>
                    <a:cubicBezTo>
                      <a:pt x="476" y="99"/>
                      <a:pt x="476" y="99"/>
                      <a:pt x="476" y="99"/>
                    </a:cubicBezTo>
                    <a:cubicBezTo>
                      <a:pt x="476" y="98"/>
                      <a:pt x="476" y="98"/>
                      <a:pt x="476" y="98"/>
                    </a:cubicBezTo>
                    <a:cubicBezTo>
                      <a:pt x="476" y="92"/>
                      <a:pt x="476" y="92"/>
                      <a:pt x="476" y="92"/>
                    </a:cubicBezTo>
                    <a:cubicBezTo>
                      <a:pt x="482" y="92"/>
                      <a:pt x="482" y="92"/>
                      <a:pt x="482" y="92"/>
                    </a:cubicBezTo>
                    <a:cubicBezTo>
                      <a:pt x="488" y="91"/>
                      <a:pt x="488" y="91"/>
                      <a:pt x="488" y="91"/>
                    </a:cubicBezTo>
                    <a:cubicBezTo>
                      <a:pt x="490" y="91"/>
                      <a:pt x="490" y="91"/>
                      <a:pt x="490" y="91"/>
                    </a:cubicBezTo>
                    <a:cubicBezTo>
                      <a:pt x="492" y="92"/>
                      <a:pt x="492" y="92"/>
                      <a:pt x="492" y="92"/>
                    </a:cubicBezTo>
                    <a:cubicBezTo>
                      <a:pt x="492" y="91"/>
                      <a:pt x="492" y="91"/>
                      <a:pt x="492" y="91"/>
                    </a:cubicBezTo>
                    <a:cubicBezTo>
                      <a:pt x="502" y="92"/>
                      <a:pt x="502" y="92"/>
                      <a:pt x="502" y="92"/>
                    </a:cubicBezTo>
                    <a:cubicBezTo>
                      <a:pt x="502" y="90"/>
                      <a:pt x="502" y="90"/>
                      <a:pt x="502" y="90"/>
                    </a:cubicBezTo>
                    <a:cubicBezTo>
                      <a:pt x="510" y="90"/>
                      <a:pt x="510" y="90"/>
                      <a:pt x="510" y="90"/>
                    </a:cubicBezTo>
                    <a:cubicBezTo>
                      <a:pt x="516" y="91"/>
                      <a:pt x="516" y="91"/>
                      <a:pt x="516" y="91"/>
                    </a:cubicBezTo>
                    <a:cubicBezTo>
                      <a:pt x="514" y="92"/>
                      <a:pt x="514" y="92"/>
                      <a:pt x="514" y="92"/>
                    </a:cubicBezTo>
                    <a:cubicBezTo>
                      <a:pt x="516" y="94"/>
                      <a:pt x="516" y="94"/>
                      <a:pt x="516" y="94"/>
                    </a:cubicBezTo>
                    <a:cubicBezTo>
                      <a:pt x="520" y="93"/>
                      <a:pt x="520" y="93"/>
                      <a:pt x="520" y="93"/>
                    </a:cubicBezTo>
                    <a:cubicBezTo>
                      <a:pt x="524" y="92"/>
                      <a:pt x="524" y="92"/>
                      <a:pt x="524" y="92"/>
                    </a:cubicBezTo>
                    <a:cubicBezTo>
                      <a:pt x="530" y="92"/>
                      <a:pt x="530" y="92"/>
                      <a:pt x="530" y="92"/>
                    </a:cubicBezTo>
                    <a:cubicBezTo>
                      <a:pt x="528" y="91"/>
                      <a:pt x="528" y="91"/>
                      <a:pt x="528" y="91"/>
                    </a:cubicBezTo>
                    <a:cubicBezTo>
                      <a:pt x="525" y="91"/>
                      <a:pt x="525" y="91"/>
                      <a:pt x="525" y="91"/>
                    </a:cubicBezTo>
                    <a:cubicBezTo>
                      <a:pt x="523" y="88"/>
                      <a:pt x="523" y="88"/>
                      <a:pt x="523" y="88"/>
                    </a:cubicBezTo>
                    <a:cubicBezTo>
                      <a:pt x="523" y="79"/>
                      <a:pt x="523" y="79"/>
                      <a:pt x="523" y="79"/>
                    </a:cubicBezTo>
                    <a:cubicBezTo>
                      <a:pt x="532" y="78"/>
                      <a:pt x="532" y="78"/>
                      <a:pt x="532" y="78"/>
                    </a:cubicBezTo>
                    <a:cubicBezTo>
                      <a:pt x="534" y="78"/>
                      <a:pt x="534" y="78"/>
                      <a:pt x="534" y="78"/>
                    </a:cubicBezTo>
                    <a:cubicBezTo>
                      <a:pt x="538" y="82"/>
                      <a:pt x="538" y="82"/>
                      <a:pt x="538" y="82"/>
                    </a:cubicBezTo>
                    <a:cubicBezTo>
                      <a:pt x="539" y="82"/>
                      <a:pt x="539" y="82"/>
                      <a:pt x="539" y="82"/>
                    </a:cubicBezTo>
                    <a:cubicBezTo>
                      <a:pt x="541" y="84"/>
                      <a:pt x="541" y="84"/>
                      <a:pt x="541" y="84"/>
                    </a:cubicBezTo>
                    <a:cubicBezTo>
                      <a:pt x="544" y="79"/>
                      <a:pt x="544" y="79"/>
                      <a:pt x="544" y="79"/>
                    </a:cubicBezTo>
                    <a:cubicBezTo>
                      <a:pt x="546" y="79"/>
                      <a:pt x="546" y="79"/>
                      <a:pt x="546" y="79"/>
                    </a:cubicBezTo>
                    <a:cubicBezTo>
                      <a:pt x="542" y="74"/>
                      <a:pt x="542" y="74"/>
                      <a:pt x="542" y="74"/>
                    </a:cubicBezTo>
                    <a:cubicBezTo>
                      <a:pt x="543" y="73"/>
                      <a:pt x="543" y="73"/>
                      <a:pt x="543" y="73"/>
                    </a:cubicBezTo>
                    <a:cubicBezTo>
                      <a:pt x="550" y="74"/>
                      <a:pt x="550" y="74"/>
                      <a:pt x="550" y="74"/>
                    </a:cubicBezTo>
                    <a:cubicBezTo>
                      <a:pt x="551" y="75"/>
                      <a:pt x="551" y="75"/>
                      <a:pt x="551" y="75"/>
                    </a:cubicBezTo>
                    <a:cubicBezTo>
                      <a:pt x="548" y="75"/>
                      <a:pt x="548" y="75"/>
                      <a:pt x="548" y="75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54" y="82"/>
                      <a:pt x="554" y="82"/>
                      <a:pt x="554" y="82"/>
                    </a:cubicBezTo>
                    <a:cubicBezTo>
                      <a:pt x="552" y="84"/>
                      <a:pt x="552" y="84"/>
                      <a:pt x="552" y="84"/>
                    </a:cubicBezTo>
                    <a:cubicBezTo>
                      <a:pt x="551" y="88"/>
                      <a:pt x="551" y="88"/>
                      <a:pt x="551" y="88"/>
                    </a:cubicBezTo>
                    <a:cubicBezTo>
                      <a:pt x="550" y="93"/>
                      <a:pt x="550" y="93"/>
                      <a:pt x="550" y="93"/>
                    </a:cubicBezTo>
                    <a:cubicBezTo>
                      <a:pt x="549" y="98"/>
                      <a:pt x="549" y="98"/>
                      <a:pt x="549" y="98"/>
                    </a:cubicBezTo>
                    <a:cubicBezTo>
                      <a:pt x="545" y="99"/>
                      <a:pt x="545" y="99"/>
                      <a:pt x="545" y="99"/>
                    </a:cubicBezTo>
                    <a:cubicBezTo>
                      <a:pt x="546" y="101"/>
                      <a:pt x="546" y="101"/>
                      <a:pt x="546" y="101"/>
                    </a:cubicBezTo>
                    <a:cubicBezTo>
                      <a:pt x="548" y="105"/>
                      <a:pt x="548" y="105"/>
                      <a:pt x="548" y="105"/>
                    </a:cubicBezTo>
                    <a:cubicBezTo>
                      <a:pt x="551" y="110"/>
                      <a:pt x="551" y="110"/>
                      <a:pt x="551" y="110"/>
                    </a:cubicBezTo>
                    <a:cubicBezTo>
                      <a:pt x="555" y="114"/>
                      <a:pt x="555" y="114"/>
                      <a:pt x="555" y="114"/>
                    </a:cubicBezTo>
                    <a:cubicBezTo>
                      <a:pt x="561" y="121"/>
                      <a:pt x="561" y="121"/>
                      <a:pt x="561" y="121"/>
                    </a:cubicBezTo>
                    <a:cubicBezTo>
                      <a:pt x="567" y="127"/>
                      <a:pt x="567" y="127"/>
                      <a:pt x="567" y="127"/>
                    </a:cubicBezTo>
                    <a:cubicBezTo>
                      <a:pt x="574" y="132"/>
                      <a:pt x="574" y="132"/>
                      <a:pt x="574" y="132"/>
                    </a:cubicBezTo>
                    <a:cubicBezTo>
                      <a:pt x="582" y="139"/>
                      <a:pt x="582" y="139"/>
                      <a:pt x="582" y="139"/>
                    </a:cubicBezTo>
                    <a:cubicBezTo>
                      <a:pt x="583" y="134"/>
                      <a:pt x="583" y="134"/>
                      <a:pt x="583" y="134"/>
                    </a:cubicBezTo>
                    <a:cubicBezTo>
                      <a:pt x="580" y="127"/>
                      <a:pt x="580" y="127"/>
                      <a:pt x="580" y="127"/>
                    </a:cubicBezTo>
                    <a:cubicBezTo>
                      <a:pt x="581" y="125"/>
                      <a:pt x="581" y="125"/>
                      <a:pt x="581" y="125"/>
                    </a:cubicBezTo>
                    <a:cubicBezTo>
                      <a:pt x="584" y="127"/>
                      <a:pt x="584" y="127"/>
                      <a:pt x="584" y="127"/>
                    </a:cubicBezTo>
                    <a:cubicBezTo>
                      <a:pt x="584" y="125"/>
                      <a:pt x="584" y="125"/>
                      <a:pt x="584" y="125"/>
                    </a:cubicBezTo>
                    <a:cubicBezTo>
                      <a:pt x="580" y="120"/>
                      <a:pt x="580" y="120"/>
                      <a:pt x="580" y="120"/>
                    </a:cubicBezTo>
                    <a:cubicBezTo>
                      <a:pt x="585" y="118"/>
                      <a:pt x="585" y="118"/>
                      <a:pt x="585" y="118"/>
                    </a:cubicBezTo>
                    <a:cubicBezTo>
                      <a:pt x="577" y="111"/>
                      <a:pt x="577" y="111"/>
                      <a:pt x="577" y="111"/>
                    </a:cubicBezTo>
                    <a:cubicBezTo>
                      <a:pt x="577" y="107"/>
                      <a:pt x="577" y="107"/>
                      <a:pt x="577" y="107"/>
                    </a:cubicBezTo>
                    <a:cubicBezTo>
                      <a:pt x="577" y="108"/>
                      <a:pt x="577" y="108"/>
                      <a:pt x="577" y="108"/>
                    </a:cubicBezTo>
                    <a:cubicBezTo>
                      <a:pt x="581" y="110"/>
                      <a:pt x="581" y="110"/>
                      <a:pt x="581" y="110"/>
                    </a:cubicBezTo>
                    <a:cubicBezTo>
                      <a:pt x="577" y="105"/>
                      <a:pt x="577" y="105"/>
                      <a:pt x="577" y="105"/>
                    </a:cubicBezTo>
                    <a:cubicBezTo>
                      <a:pt x="575" y="105"/>
                      <a:pt x="575" y="105"/>
                      <a:pt x="575" y="105"/>
                    </a:cubicBezTo>
                    <a:cubicBezTo>
                      <a:pt x="571" y="99"/>
                      <a:pt x="571" y="99"/>
                      <a:pt x="571" y="99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563" y="98"/>
                      <a:pt x="563" y="98"/>
                      <a:pt x="563" y="98"/>
                    </a:cubicBezTo>
                    <a:cubicBezTo>
                      <a:pt x="561" y="92"/>
                      <a:pt x="561" y="92"/>
                      <a:pt x="561" y="92"/>
                    </a:cubicBezTo>
                    <a:cubicBezTo>
                      <a:pt x="559" y="88"/>
                      <a:pt x="559" y="88"/>
                      <a:pt x="559" y="88"/>
                    </a:cubicBezTo>
                    <a:cubicBezTo>
                      <a:pt x="563" y="88"/>
                      <a:pt x="563" y="88"/>
                      <a:pt x="563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5" y="88"/>
                      <a:pt x="565" y="88"/>
                      <a:pt x="565" y="88"/>
                    </a:cubicBezTo>
                    <a:cubicBezTo>
                      <a:pt x="567" y="85"/>
                      <a:pt x="567" y="85"/>
                      <a:pt x="567" y="85"/>
                    </a:cubicBezTo>
                    <a:cubicBezTo>
                      <a:pt x="571" y="88"/>
                      <a:pt x="571" y="88"/>
                      <a:pt x="571" y="88"/>
                    </a:cubicBezTo>
                    <a:cubicBezTo>
                      <a:pt x="571" y="87"/>
                      <a:pt x="571" y="87"/>
                      <a:pt x="571" y="87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86" y="88"/>
                      <a:pt x="586" y="88"/>
                      <a:pt x="586" y="88"/>
                    </a:cubicBezTo>
                    <a:cubicBezTo>
                      <a:pt x="585" y="87"/>
                      <a:pt x="585" y="87"/>
                      <a:pt x="585" y="87"/>
                    </a:cubicBezTo>
                    <a:cubicBezTo>
                      <a:pt x="587" y="82"/>
                      <a:pt x="587" y="82"/>
                      <a:pt x="587" y="82"/>
                    </a:cubicBezTo>
                    <a:cubicBezTo>
                      <a:pt x="589" y="82"/>
                      <a:pt x="589" y="82"/>
                      <a:pt x="589" y="82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93" y="77"/>
                      <a:pt x="593" y="77"/>
                      <a:pt x="593" y="77"/>
                    </a:cubicBezTo>
                    <a:cubicBezTo>
                      <a:pt x="597" y="74"/>
                      <a:pt x="597" y="74"/>
                      <a:pt x="597" y="74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595" y="73"/>
                      <a:pt x="595" y="73"/>
                      <a:pt x="595" y="73"/>
                    </a:cubicBezTo>
                    <a:cubicBezTo>
                      <a:pt x="605" y="75"/>
                      <a:pt x="605" y="75"/>
                      <a:pt x="605" y="75"/>
                    </a:cubicBezTo>
                    <a:cubicBezTo>
                      <a:pt x="605" y="74"/>
                      <a:pt x="605" y="74"/>
                      <a:pt x="605" y="74"/>
                    </a:cubicBezTo>
                    <a:cubicBezTo>
                      <a:pt x="601" y="71"/>
                      <a:pt x="601" y="71"/>
                      <a:pt x="601" y="71"/>
                    </a:cubicBezTo>
                    <a:cubicBezTo>
                      <a:pt x="597" y="69"/>
                      <a:pt x="597" y="69"/>
                      <a:pt x="597" y="69"/>
                    </a:cubicBezTo>
                    <a:cubicBezTo>
                      <a:pt x="595" y="69"/>
                      <a:pt x="595" y="69"/>
                      <a:pt x="595" y="69"/>
                    </a:cubicBezTo>
                    <a:cubicBezTo>
                      <a:pt x="587" y="65"/>
                      <a:pt x="587" y="65"/>
                      <a:pt x="587" y="65"/>
                    </a:cubicBezTo>
                    <a:cubicBezTo>
                      <a:pt x="582" y="62"/>
                      <a:pt x="582" y="62"/>
                      <a:pt x="582" y="62"/>
                    </a:cubicBezTo>
                    <a:cubicBezTo>
                      <a:pt x="589" y="62"/>
                      <a:pt x="589" y="62"/>
                      <a:pt x="589" y="62"/>
                    </a:cubicBezTo>
                    <a:cubicBezTo>
                      <a:pt x="582" y="56"/>
                      <a:pt x="582" y="56"/>
                      <a:pt x="582" y="56"/>
                    </a:cubicBezTo>
                    <a:cubicBezTo>
                      <a:pt x="575" y="51"/>
                      <a:pt x="575" y="51"/>
                      <a:pt x="575" y="51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60" y="40"/>
                      <a:pt x="560" y="40"/>
                      <a:pt x="560" y="40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5" name="Freeform 1926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7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6" name="Freeform 1927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7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7" name="Freeform 1928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7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8" name="Freeform 1929"/>
              <p:cNvSpPr>
                <a:spLocks/>
              </p:cNvSpPr>
              <p:nvPr/>
            </p:nvSpPr>
            <p:spPr bwMode="auto">
              <a:xfrm>
                <a:off x="7553415" y="2661391"/>
                <a:ext cx="219078" cy="246067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1" y="27"/>
                  </a:cxn>
                  <a:cxn ang="0">
                    <a:pos x="25" y="23"/>
                  </a:cxn>
                  <a:cxn ang="0">
                    <a:pos x="21" y="17"/>
                  </a:cxn>
                  <a:cxn ang="0">
                    <a:pos x="14" y="13"/>
                  </a:cxn>
                  <a:cxn ang="0">
                    <a:pos x="13" y="11"/>
                  </a:cxn>
                  <a:cxn ang="0">
                    <a:pos x="7" y="5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35" y="47"/>
                  </a:cxn>
                  <a:cxn ang="0">
                    <a:pos x="37" y="47"/>
                  </a:cxn>
                  <a:cxn ang="0">
                    <a:pos x="35" y="44"/>
                  </a:cxn>
                  <a:cxn ang="0">
                    <a:pos x="40" y="46"/>
                  </a:cxn>
                  <a:cxn ang="0">
                    <a:pos x="42" y="47"/>
                  </a:cxn>
                  <a:cxn ang="0">
                    <a:pos x="39" y="43"/>
                  </a:cxn>
                  <a:cxn ang="0">
                    <a:pos x="30" y="36"/>
                  </a:cxn>
                  <a:cxn ang="0">
                    <a:pos x="28" y="29"/>
                  </a:cxn>
                  <a:cxn ang="0">
                    <a:pos x="29" y="29"/>
                  </a:cxn>
                  <a:cxn ang="0">
                    <a:pos x="35" y="31"/>
                  </a:cxn>
                  <a:cxn ang="0">
                    <a:pos x="37" y="33"/>
                  </a:cxn>
                </a:cxnLst>
                <a:rect l="0" t="0" r="r" b="b"/>
                <a:pathLst>
                  <a:path w="42" h="47">
                    <a:moveTo>
                      <a:pt x="37" y="33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4" y="18"/>
                      <a:pt x="25" y="32"/>
                      <a:pt x="35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39" y="43"/>
                      <a:pt x="39" y="43"/>
                      <a:pt x="39" y="4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7" y="33"/>
                      <a:pt x="37" y="33"/>
                      <a:pt x="37" y="3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1999" name="Freeform 1930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0" name="Freeform 1931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1" name="Freeform 1932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2" name="Freeform 1933"/>
              <p:cNvSpPr>
                <a:spLocks/>
              </p:cNvSpPr>
              <p:nvPr/>
            </p:nvSpPr>
            <p:spPr bwMode="auto">
              <a:xfrm>
                <a:off x="5345176" y="2047019"/>
                <a:ext cx="236540" cy="90488"/>
              </a:xfrm>
              <a:custGeom>
                <a:avLst/>
                <a:gdLst/>
                <a:ahLst/>
                <a:cxnLst>
                  <a:cxn ang="0">
                    <a:pos x="149" y="4"/>
                  </a:cxn>
                  <a:cxn ang="0">
                    <a:pos x="139" y="14"/>
                  </a:cxn>
                  <a:cxn ang="0">
                    <a:pos x="106" y="24"/>
                  </a:cxn>
                  <a:cxn ang="0">
                    <a:pos x="73" y="30"/>
                  </a:cxn>
                  <a:cxn ang="0">
                    <a:pos x="60" y="30"/>
                  </a:cxn>
                  <a:cxn ang="0">
                    <a:pos x="66" y="33"/>
                  </a:cxn>
                  <a:cxn ang="0">
                    <a:pos x="66" y="33"/>
                  </a:cxn>
                  <a:cxn ang="0">
                    <a:pos x="60" y="40"/>
                  </a:cxn>
                  <a:cxn ang="0">
                    <a:pos x="60" y="43"/>
                  </a:cxn>
                  <a:cxn ang="0">
                    <a:pos x="46" y="40"/>
                  </a:cxn>
                  <a:cxn ang="0">
                    <a:pos x="50" y="47"/>
                  </a:cxn>
                  <a:cxn ang="0">
                    <a:pos x="46" y="47"/>
                  </a:cxn>
                  <a:cxn ang="0">
                    <a:pos x="50" y="50"/>
                  </a:cxn>
                  <a:cxn ang="0">
                    <a:pos x="33" y="47"/>
                  </a:cxn>
                  <a:cxn ang="0">
                    <a:pos x="46" y="50"/>
                  </a:cxn>
                  <a:cxn ang="0">
                    <a:pos x="40" y="50"/>
                  </a:cxn>
                  <a:cxn ang="0">
                    <a:pos x="43" y="57"/>
                  </a:cxn>
                  <a:cxn ang="0">
                    <a:pos x="13" y="57"/>
                  </a:cxn>
                  <a:cxn ang="0">
                    <a:pos x="13" y="50"/>
                  </a:cxn>
                  <a:cxn ang="0">
                    <a:pos x="0" y="47"/>
                  </a:cxn>
                  <a:cxn ang="0">
                    <a:pos x="20" y="47"/>
                  </a:cxn>
                  <a:cxn ang="0">
                    <a:pos x="13" y="43"/>
                  </a:cxn>
                  <a:cxn ang="0">
                    <a:pos x="20" y="40"/>
                  </a:cxn>
                  <a:cxn ang="0">
                    <a:pos x="27" y="33"/>
                  </a:cxn>
                  <a:cxn ang="0">
                    <a:pos x="20" y="33"/>
                  </a:cxn>
                  <a:cxn ang="0">
                    <a:pos x="20" y="30"/>
                  </a:cxn>
                  <a:cxn ang="0">
                    <a:pos x="13" y="30"/>
                  </a:cxn>
                  <a:cxn ang="0">
                    <a:pos x="20" y="27"/>
                  </a:cxn>
                  <a:cxn ang="0">
                    <a:pos x="33" y="24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112" y="7"/>
                  </a:cxn>
                  <a:cxn ang="0">
                    <a:pos x="132" y="0"/>
                  </a:cxn>
                  <a:cxn ang="0">
                    <a:pos x="149" y="4"/>
                  </a:cxn>
                </a:cxnLst>
                <a:rect l="0" t="0" r="r" b="b"/>
                <a:pathLst>
                  <a:path w="149" h="57">
                    <a:moveTo>
                      <a:pt x="149" y="4"/>
                    </a:moveTo>
                    <a:lnTo>
                      <a:pt x="139" y="14"/>
                    </a:lnTo>
                    <a:lnTo>
                      <a:pt x="106" y="24"/>
                    </a:lnTo>
                    <a:lnTo>
                      <a:pt x="73" y="30"/>
                    </a:lnTo>
                    <a:lnTo>
                      <a:pt x="60" y="30"/>
                    </a:lnTo>
                    <a:lnTo>
                      <a:pt x="66" y="33"/>
                    </a:lnTo>
                    <a:lnTo>
                      <a:pt x="66" y="33"/>
                    </a:lnTo>
                    <a:lnTo>
                      <a:pt x="60" y="40"/>
                    </a:lnTo>
                    <a:lnTo>
                      <a:pt x="60" y="43"/>
                    </a:lnTo>
                    <a:lnTo>
                      <a:pt x="46" y="40"/>
                    </a:lnTo>
                    <a:lnTo>
                      <a:pt x="50" y="47"/>
                    </a:lnTo>
                    <a:lnTo>
                      <a:pt x="46" y="47"/>
                    </a:lnTo>
                    <a:lnTo>
                      <a:pt x="50" y="50"/>
                    </a:lnTo>
                    <a:lnTo>
                      <a:pt x="33" y="47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43" y="57"/>
                    </a:lnTo>
                    <a:lnTo>
                      <a:pt x="13" y="57"/>
                    </a:lnTo>
                    <a:lnTo>
                      <a:pt x="13" y="50"/>
                    </a:lnTo>
                    <a:lnTo>
                      <a:pt x="0" y="47"/>
                    </a:lnTo>
                    <a:lnTo>
                      <a:pt x="20" y="47"/>
                    </a:lnTo>
                    <a:lnTo>
                      <a:pt x="13" y="43"/>
                    </a:lnTo>
                    <a:lnTo>
                      <a:pt x="20" y="40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0" y="30"/>
                    </a:lnTo>
                    <a:lnTo>
                      <a:pt x="13" y="30"/>
                    </a:lnTo>
                    <a:lnTo>
                      <a:pt x="20" y="27"/>
                    </a:lnTo>
                    <a:lnTo>
                      <a:pt x="33" y="24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112" y="7"/>
                    </a:lnTo>
                    <a:lnTo>
                      <a:pt x="132" y="0"/>
                    </a:lnTo>
                    <a:lnTo>
                      <a:pt x="149" y="4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3" name="Freeform 1934"/>
              <p:cNvSpPr>
                <a:spLocks/>
              </p:cNvSpPr>
              <p:nvPr/>
            </p:nvSpPr>
            <p:spPr bwMode="auto">
              <a:xfrm>
                <a:off x="5324538" y="2137509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4" name="Freeform 1935"/>
              <p:cNvSpPr>
                <a:spLocks/>
              </p:cNvSpPr>
              <p:nvPr/>
            </p:nvSpPr>
            <p:spPr bwMode="auto">
              <a:xfrm>
                <a:off x="5324538" y="2137509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5" name="Freeform 1936"/>
              <p:cNvSpPr>
                <a:spLocks/>
              </p:cNvSpPr>
              <p:nvPr/>
            </p:nvSpPr>
            <p:spPr bwMode="auto">
              <a:xfrm>
                <a:off x="5324538" y="2137509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6" name="Freeform 1937"/>
              <p:cNvSpPr>
                <a:spLocks/>
              </p:cNvSpPr>
              <p:nvPr/>
            </p:nvSpPr>
            <p:spPr bwMode="auto">
              <a:xfrm>
                <a:off x="5324538" y="2137509"/>
                <a:ext cx="136527" cy="73026"/>
              </a:xfrm>
              <a:custGeom>
                <a:avLst/>
                <a:gdLst/>
                <a:ahLst/>
                <a:cxnLst>
                  <a:cxn ang="0">
                    <a:pos x="26" y="13"/>
                  </a:cxn>
                  <a:cxn ang="0">
                    <a:pos x="16" y="9"/>
                  </a:cxn>
                  <a:cxn ang="0">
                    <a:pos x="13" y="3"/>
                  </a:cxn>
                  <a:cxn ang="0">
                    <a:pos x="14" y="2"/>
                  </a:cxn>
                  <a:cxn ang="0">
                    <a:pos x="15" y="1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3"/>
                  </a:cxn>
                  <a:cxn ang="0">
                    <a:pos x="5" y="4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2"/>
                  </a:cxn>
                  <a:cxn ang="0">
                    <a:pos x="26" y="13"/>
                  </a:cxn>
                </a:cxnLst>
                <a:rect l="0" t="0" r="r" b="b"/>
                <a:pathLst>
                  <a:path w="26" h="14">
                    <a:moveTo>
                      <a:pt x="26" y="13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8" y="12"/>
                      <a:pt x="15" y="14"/>
                      <a:pt x="26" y="13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7" name="Freeform 1938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8" name="Freeform 1939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09" name="Freeform 1940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0" name="Freeform 1941"/>
              <p:cNvSpPr>
                <a:spLocks/>
              </p:cNvSpPr>
              <p:nvPr/>
            </p:nvSpPr>
            <p:spPr bwMode="auto">
              <a:xfrm>
                <a:off x="6794581" y="2062895"/>
                <a:ext cx="161928" cy="58738"/>
              </a:xfrm>
              <a:custGeom>
                <a:avLst/>
                <a:gdLst/>
                <a:ahLst/>
                <a:cxnLst>
                  <a:cxn ang="0">
                    <a:pos x="102" y="17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36" y="7"/>
                  </a:cxn>
                  <a:cxn ang="0">
                    <a:pos x="43" y="10"/>
                  </a:cxn>
                  <a:cxn ang="0">
                    <a:pos x="13" y="7"/>
                  </a:cxn>
                  <a:cxn ang="0">
                    <a:pos x="0" y="10"/>
                  </a:cxn>
                  <a:cxn ang="0">
                    <a:pos x="7" y="17"/>
                  </a:cxn>
                  <a:cxn ang="0">
                    <a:pos x="13" y="23"/>
                  </a:cxn>
                  <a:cxn ang="0">
                    <a:pos x="50" y="37"/>
                  </a:cxn>
                  <a:cxn ang="0">
                    <a:pos x="50" y="30"/>
                  </a:cxn>
                  <a:cxn ang="0">
                    <a:pos x="83" y="27"/>
                  </a:cxn>
                  <a:cxn ang="0">
                    <a:pos x="96" y="27"/>
                  </a:cxn>
                  <a:cxn ang="0">
                    <a:pos x="92" y="27"/>
                  </a:cxn>
                  <a:cxn ang="0">
                    <a:pos x="102" y="23"/>
                  </a:cxn>
                  <a:cxn ang="0">
                    <a:pos x="102" y="17"/>
                  </a:cxn>
                </a:cxnLst>
                <a:rect l="0" t="0" r="r" b="b"/>
                <a:pathLst>
                  <a:path w="102" h="37">
                    <a:moveTo>
                      <a:pt x="102" y="17"/>
                    </a:moveTo>
                    <a:lnTo>
                      <a:pt x="36" y="0"/>
                    </a:lnTo>
                    <a:lnTo>
                      <a:pt x="43" y="7"/>
                    </a:lnTo>
                    <a:lnTo>
                      <a:pt x="36" y="7"/>
                    </a:lnTo>
                    <a:lnTo>
                      <a:pt x="43" y="10"/>
                    </a:lnTo>
                    <a:lnTo>
                      <a:pt x="13" y="7"/>
                    </a:lnTo>
                    <a:lnTo>
                      <a:pt x="0" y="10"/>
                    </a:lnTo>
                    <a:lnTo>
                      <a:pt x="7" y="17"/>
                    </a:lnTo>
                    <a:lnTo>
                      <a:pt x="13" y="23"/>
                    </a:lnTo>
                    <a:lnTo>
                      <a:pt x="50" y="37"/>
                    </a:lnTo>
                    <a:lnTo>
                      <a:pt x="50" y="30"/>
                    </a:lnTo>
                    <a:lnTo>
                      <a:pt x="83" y="27"/>
                    </a:lnTo>
                    <a:lnTo>
                      <a:pt x="96" y="27"/>
                    </a:lnTo>
                    <a:lnTo>
                      <a:pt x="92" y="27"/>
                    </a:lnTo>
                    <a:lnTo>
                      <a:pt x="102" y="23"/>
                    </a:lnTo>
                    <a:lnTo>
                      <a:pt x="102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1" name="Freeform 1942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2" name="Freeform 1943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3" name="Freeform 1944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4" name="Freeform 1945"/>
              <p:cNvSpPr>
                <a:spLocks/>
              </p:cNvSpPr>
              <p:nvPr/>
            </p:nvSpPr>
            <p:spPr bwMode="auto">
              <a:xfrm>
                <a:off x="6972384" y="2089883"/>
                <a:ext cx="93663" cy="47625"/>
              </a:xfrm>
              <a:custGeom>
                <a:avLst/>
                <a:gdLst/>
                <a:ahLst/>
                <a:cxnLst>
                  <a:cxn ang="0">
                    <a:pos x="59" y="23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3" y="13"/>
                  </a:cxn>
                  <a:cxn ang="0">
                    <a:pos x="56" y="30"/>
                  </a:cxn>
                  <a:cxn ang="0">
                    <a:pos x="59" y="23"/>
                  </a:cxn>
                </a:cxnLst>
                <a:rect l="0" t="0" r="r" b="b"/>
                <a:pathLst>
                  <a:path w="59" h="30">
                    <a:moveTo>
                      <a:pt x="59" y="23"/>
                    </a:moveTo>
                    <a:lnTo>
                      <a:pt x="13" y="0"/>
                    </a:lnTo>
                    <a:lnTo>
                      <a:pt x="0" y="0"/>
                    </a:lnTo>
                    <a:lnTo>
                      <a:pt x="3" y="13"/>
                    </a:lnTo>
                    <a:lnTo>
                      <a:pt x="56" y="30"/>
                    </a:lnTo>
                    <a:lnTo>
                      <a:pt x="59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5" name="Freeform 1946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6" name="Freeform 1947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7" name="Freeform 1948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8" name="Freeform 1949"/>
              <p:cNvSpPr>
                <a:spLocks/>
              </p:cNvSpPr>
              <p:nvPr/>
            </p:nvSpPr>
            <p:spPr bwMode="auto">
              <a:xfrm>
                <a:off x="6931108" y="2121633"/>
                <a:ext cx="77788" cy="57151"/>
              </a:xfrm>
              <a:custGeom>
                <a:avLst/>
                <a:gdLst/>
                <a:ahLst/>
                <a:cxnLst>
                  <a:cxn ang="0">
                    <a:pos x="49" y="36"/>
                  </a:cxn>
                  <a:cxn ang="0">
                    <a:pos x="0" y="23"/>
                  </a:cxn>
                  <a:cxn ang="0">
                    <a:pos x="13" y="0"/>
                  </a:cxn>
                  <a:cxn ang="0">
                    <a:pos x="43" y="23"/>
                  </a:cxn>
                  <a:cxn ang="0">
                    <a:pos x="49" y="36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23"/>
                    </a:lnTo>
                    <a:lnTo>
                      <a:pt x="13" y="0"/>
                    </a:lnTo>
                    <a:lnTo>
                      <a:pt x="43" y="23"/>
                    </a:lnTo>
                    <a:lnTo>
                      <a:pt x="49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19" name="Freeform 1950"/>
              <p:cNvSpPr>
                <a:spLocks/>
              </p:cNvSpPr>
              <p:nvPr/>
            </p:nvSpPr>
            <p:spPr bwMode="auto">
              <a:xfrm>
                <a:off x="5299138" y="2242285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0" name="Freeform 1951"/>
              <p:cNvSpPr>
                <a:spLocks/>
              </p:cNvSpPr>
              <p:nvPr/>
            </p:nvSpPr>
            <p:spPr bwMode="auto">
              <a:xfrm>
                <a:off x="5299138" y="2242285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1" name="Freeform 1952"/>
              <p:cNvSpPr>
                <a:spLocks/>
              </p:cNvSpPr>
              <p:nvPr/>
            </p:nvSpPr>
            <p:spPr bwMode="auto">
              <a:xfrm>
                <a:off x="5299138" y="2242285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2" name="Freeform 1953"/>
              <p:cNvSpPr>
                <a:spLocks/>
              </p:cNvSpPr>
              <p:nvPr/>
            </p:nvSpPr>
            <p:spPr bwMode="auto">
              <a:xfrm>
                <a:off x="5299138" y="2242285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10" y="29"/>
                  </a:cxn>
                  <a:cxn ang="0">
                    <a:pos x="0" y="6"/>
                  </a:cxn>
                  <a:cxn ang="0">
                    <a:pos x="10" y="0"/>
                  </a:cxn>
                  <a:cxn ang="0">
                    <a:pos x="36" y="16"/>
                  </a:cxn>
                </a:cxnLst>
                <a:rect l="0" t="0" r="r" b="b"/>
                <a:pathLst>
                  <a:path w="36" h="29">
                    <a:moveTo>
                      <a:pt x="36" y="16"/>
                    </a:moveTo>
                    <a:lnTo>
                      <a:pt x="10" y="29"/>
                    </a:lnTo>
                    <a:lnTo>
                      <a:pt x="0" y="6"/>
                    </a:lnTo>
                    <a:lnTo>
                      <a:pt x="10" y="0"/>
                    </a:lnTo>
                    <a:lnTo>
                      <a:pt x="36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3" name="Freeform 1954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4" name="Freeform 1955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5" name="Freeform 1956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6" name="Freeform 1957"/>
              <p:cNvSpPr>
                <a:spLocks/>
              </p:cNvSpPr>
              <p:nvPr/>
            </p:nvSpPr>
            <p:spPr bwMode="auto">
              <a:xfrm>
                <a:off x="7893145" y="292809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7" name="Freeform 1958"/>
              <p:cNvSpPr>
                <a:spLocks/>
              </p:cNvSpPr>
              <p:nvPr/>
            </p:nvSpPr>
            <p:spPr bwMode="auto">
              <a:xfrm>
                <a:off x="4843520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8" name="Freeform 1959"/>
              <p:cNvSpPr>
                <a:spLocks/>
              </p:cNvSpPr>
              <p:nvPr/>
            </p:nvSpPr>
            <p:spPr bwMode="auto">
              <a:xfrm>
                <a:off x="4843520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29" name="Freeform 1960"/>
              <p:cNvSpPr>
                <a:spLocks/>
              </p:cNvSpPr>
              <p:nvPr/>
            </p:nvSpPr>
            <p:spPr bwMode="auto">
              <a:xfrm>
                <a:off x="4843520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0" name="Freeform 1961"/>
              <p:cNvSpPr>
                <a:spLocks/>
              </p:cNvSpPr>
              <p:nvPr/>
            </p:nvSpPr>
            <p:spPr bwMode="auto">
              <a:xfrm>
                <a:off x="4843520" y="2545502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0"/>
                  </a:cxn>
                  <a:cxn ang="0">
                    <a:pos x="0" y="33"/>
                  </a:cxn>
                  <a:cxn ang="0">
                    <a:pos x="0" y="10"/>
                  </a:cxn>
                  <a:cxn ang="0">
                    <a:pos x="30" y="0"/>
                  </a:cxn>
                  <a:cxn ang="0">
                    <a:pos x="39" y="10"/>
                  </a:cxn>
                </a:cxnLst>
                <a:rect l="0" t="0" r="r" b="b"/>
                <a:pathLst>
                  <a:path w="39" h="33">
                    <a:moveTo>
                      <a:pt x="39" y="10"/>
                    </a:moveTo>
                    <a:lnTo>
                      <a:pt x="0" y="33"/>
                    </a:lnTo>
                    <a:lnTo>
                      <a:pt x="0" y="10"/>
                    </a:lnTo>
                    <a:lnTo>
                      <a:pt x="30" y="0"/>
                    </a:lnTo>
                    <a:lnTo>
                      <a:pt x="39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1" name="Freeform 1962"/>
              <p:cNvSpPr>
                <a:spLocks/>
              </p:cNvSpPr>
              <p:nvPr/>
            </p:nvSpPr>
            <p:spPr bwMode="auto">
              <a:xfrm>
                <a:off x="5654742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2" name="Freeform 1963"/>
              <p:cNvSpPr>
                <a:spLocks/>
              </p:cNvSpPr>
              <p:nvPr/>
            </p:nvSpPr>
            <p:spPr bwMode="auto">
              <a:xfrm>
                <a:off x="5654742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3" name="Freeform 1964"/>
              <p:cNvSpPr>
                <a:spLocks/>
              </p:cNvSpPr>
              <p:nvPr/>
            </p:nvSpPr>
            <p:spPr bwMode="auto">
              <a:xfrm>
                <a:off x="5654742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4" name="Freeform 1965"/>
              <p:cNvSpPr>
                <a:spLocks/>
              </p:cNvSpPr>
              <p:nvPr/>
            </p:nvSpPr>
            <p:spPr bwMode="auto">
              <a:xfrm>
                <a:off x="5654742" y="2131158"/>
                <a:ext cx="57150" cy="58738"/>
              </a:xfrm>
              <a:custGeom>
                <a:avLst/>
                <a:gdLst/>
                <a:ahLst/>
                <a:cxnLst>
                  <a:cxn ang="0">
                    <a:pos x="36" y="37"/>
                  </a:cxn>
                  <a:cxn ang="0">
                    <a:pos x="0" y="37"/>
                  </a:cxn>
                  <a:cxn ang="0">
                    <a:pos x="3" y="0"/>
                  </a:cxn>
                  <a:cxn ang="0">
                    <a:pos x="16" y="37"/>
                  </a:cxn>
                  <a:cxn ang="0">
                    <a:pos x="36" y="37"/>
                  </a:cxn>
                </a:cxnLst>
                <a:rect l="0" t="0" r="r" b="b"/>
                <a:pathLst>
                  <a:path w="36" h="37">
                    <a:moveTo>
                      <a:pt x="36" y="37"/>
                    </a:moveTo>
                    <a:lnTo>
                      <a:pt x="0" y="37"/>
                    </a:lnTo>
                    <a:lnTo>
                      <a:pt x="3" y="0"/>
                    </a:lnTo>
                    <a:lnTo>
                      <a:pt x="16" y="37"/>
                    </a:lnTo>
                    <a:lnTo>
                      <a:pt x="36" y="3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5" name="Freeform 1966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6" name="Freeform 1967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7" name="Freeform 1968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8" name="Freeform 1969"/>
              <p:cNvSpPr>
                <a:spLocks/>
              </p:cNvSpPr>
              <p:nvPr/>
            </p:nvSpPr>
            <p:spPr bwMode="auto">
              <a:xfrm>
                <a:off x="7877269" y="2969371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3"/>
                  </a:cxn>
                  <a:cxn ang="0">
                    <a:pos x="0" y="14"/>
                  </a:cxn>
                  <a:cxn ang="0">
                    <a:pos x="37" y="0"/>
                  </a:cxn>
                </a:cxnLst>
                <a:rect l="0" t="0" r="r" b="b"/>
                <a:pathLst>
                  <a:path w="37" h="33">
                    <a:moveTo>
                      <a:pt x="37" y="0"/>
                    </a:moveTo>
                    <a:lnTo>
                      <a:pt x="0" y="33"/>
                    </a:lnTo>
                    <a:lnTo>
                      <a:pt x="0" y="14"/>
                    </a:lnTo>
                    <a:lnTo>
                      <a:pt x="37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39" name="Freeform 1970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0" name="Freeform 1971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1" name="Freeform 1972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2" name="Freeform 1973"/>
              <p:cNvSpPr>
                <a:spLocks/>
              </p:cNvSpPr>
              <p:nvPr/>
            </p:nvSpPr>
            <p:spPr bwMode="auto">
              <a:xfrm>
                <a:off x="6910470" y="212163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23"/>
                  </a:cxn>
                  <a:cxn ang="0">
                    <a:pos x="36" y="3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0" y="23"/>
                    </a:lnTo>
                    <a:lnTo>
                      <a:pt x="36" y="33"/>
                    </a:lnTo>
                    <a:lnTo>
                      <a:pt x="36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3" name="Freeform 1974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4" name="Freeform 1975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5" name="Freeform 1976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6" name="Freeform 1977"/>
              <p:cNvSpPr>
                <a:spLocks/>
              </p:cNvSpPr>
              <p:nvPr/>
            </p:nvSpPr>
            <p:spPr bwMode="auto">
              <a:xfrm>
                <a:off x="5805557" y="2158146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7" name="Freeform 1978"/>
              <p:cNvSpPr>
                <a:spLocks/>
              </p:cNvSpPr>
              <p:nvPr/>
            </p:nvSpPr>
            <p:spPr bwMode="auto">
              <a:xfrm>
                <a:off x="4749857" y="2802681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8" name="Freeform 1979"/>
              <p:cNvSpPr>
                <a:spLocks/>
              </p:cNvSpPr>
              <p:nvPr/>
            </p:nvSpPr>
            <p:spPr bwMode="auto">
              <a:xfrm>
                <a:off x="4749857" y="2802681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49" name="Freeform 1980"/>
              <p:cNvSpPr>
                <a:spLocks/>
              </p:cNvSpPr>
              <p:nvPr/>
            </p:nvSpPr>
            <p:spPr bwMode="auto">
              <a:xfrm>
                <a:off x="4749857" y="2802681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0" name="Freeform 1981"/>
              <p:cNvSpPr>
                <a:spLocks/>
              </p:cNvSpPr>
              <p:nvPr/>
            </p:nvSpPr>
            <p:spPr bwMode="auto">
              <a:xfrm>
                <a:off x="4749857" y="2802681"/>
                <a:ext cx="141290" cy="57151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6" y="3"/>
                  </a:cxn>
                  <a:cxn ang="0">
                    <a:pos x="23" y="6"/>
                  </a:cxn>
                  <a:cxn ang="0">
                    <a:pos x="19" y="13"/>
                  </a:cxn>
                  <a:cxn ang="0">
                    <a:pos x="0" y="13"/>
                  </a:cxn>
                  <a:cxn ang="0">
                    <a:pos x="13" y="33"/>
                  </a:cxn>
                  <a:cxn ang="0">
                    <a:pos x="13" y="36"/>
                  </a:cxn>
                  <a:cxn ang="0">
                    <a:pos x="33" y="36"/>
                  </a:cxn>
                  <a:cxn ang="0">
                    <a:pos x="59" y="23"/>
                  </a:cxn>
                  <a:cxn ang="0">
                    <a:pos x="85" y="23"/>
                  </a:cxn>
                  <a:cxn ang="0">
                    <a:pos x="89" y="6"/>
                  </a:cxn>
                  <a:cxn ang="0">
                    <a:pos x="66" y="3"/>
                  </a:cxn>
                  <a:cxn ang="0">
                    <a:pos x="52" y="3"/>
                  </a:cxn>
                  <a:cxn ang="0">
                    <a:pos x="46" y="0"/>
                  </a:cxn>
                  <a:cxn ang="0">
                    <a:pos x="33" y="0"/>
                  </a:cxn>
                </a:cxnLst>
                <a:rect l="0" t="0" r="r" b="b"/>
                <a:pathLst>
                  <a:path w="89" h="36">
                    <a:moveTo>
                      <a:pt x="33" y="0"/>
                    </a:moveTo>
                    <a:lnTo>
                      <a:pt x="26" y="3"/>
                    </a:lnTo>
                    <a:lnTo>
                      <a:pt x="23" y="6"/>
                    </a:lnTo>
                    <a:lnTo>
                      <a:pt x="19" y="13"/>
                    </a:lnTo>
                    <a:lnTo>
                      <a:pt x="0" y="13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33" y="36"/>
                    </a:lnTo>
                    <a:lnTo>
                      <a:pt x="59" y="23"/>
                    </a:lnTo>
                    <a:lnTo>
                      <a:pt x="85" y="23"/>
                    </a:lnTo>
                    <a:lnTo>
                      <a:pt x="89" y="6"/>
                    </a:lnTo>
                    <a:lnTo>
                      <a:pt x="66" y="3"/>
                    </a:lnTo>
                    <a:lnTo>
                      <a:pt x="52" y="3"/>
                    </a:lnTo>
                    <a:lnTo>
                      <a:pt x="46" y="0"/>
                    </a:lnTo>
                    <a:lnTo>
                      <a:pt x="3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1" name="Freeform 1982"/>
              <p:cNvSpPr>
                <a:spLocks/>
              </p:cNvSpPr>
              <p:nvPr/>
            </p:nvSpPr>
            <p:spPr bwMode="auto">
              <a:xfrm>
                <a:off x="4686356" y="2891582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2" name="Freeform 1983"/>
              <p:cNvSpPr>
                <a:spLocks/>
              </p:cNvSpPr>
              <p:nvPr/>
            </p:nvSpPr>
            <p:spPr bwMode="auto">
              <a:xfrm>
                <a:off x="4686356" y="2891582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3" name="Freeform 1984"/>
              <p:cNvSpPr>
                <a:spLocks/>
              </p:cNvSpPr>
              <p:nvPr/>
            </p:nvSpPr>
            <p:spPr bwMode="auto">
              <a:xfrm>
                <a:off x="4686356" y="2891582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4" name="Freeform 1985"/>
              <p:cNvSpPr>
                <a:spLocks/>
              </p:cNvSpPr>
              <p:nvPr/>
            </p:nvSpPr>
            <p:spPr bwMode="auto">
              <a:xfrm>
                <a:off x="4686356" y="2891582"/>
                <a:ext cx="63500" cy="52388"/>
              </a:xfrm>
              <a:custGeom>
                <a:avLst/>
                <a:gdLst/>
                <a:ahLst/>
                <a:cxnLst>
                  <a:cxn ang="0">
                    <a:pos x="7" y="33"/>
                  </a:cxn>
                  <a:cxn ang="0">
                    <a:pos x="13" y="33"/>
                  </a:cxn>
                  <a:cxn ang="0">
                    <a:pos x="13" y="26"/>
                  </a:cxn>
                  <a:cxn ang="0">
                    <a:pos x="13" y="33"/>
                  </a:cxn>
                  <a:cxn ang="0">
                    <a:pos x="26" y="33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3" y="20"/>
                  </a:cxn>
                  <a:cxn ang="0">
                    <a:pos x="30" y="20"/>
                  </a:cxn>
                  <a:cxn ang="0">
                    <a:pos x="30" y="10"/>
                  </a:cxn>
                  <a:cxn ang="0">
                    <a:pos x="33" y="10"/>
                  </a:cxn>
                  <a:cxn ang="0">
                    <a:pos x="36" y="7"/>
                  </a:cxn>
                  <a:cxn ang="0">
                    <a:pos x="40" y="7"/>
                  </a:cxn>
                  <a:cxn ang="0">
                    <a:pos x="40" y="3"/>
                  </a:cxn>
                  <a:cxn ang="0">
                    <a:pos x="36" y="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33"/>
                  </a:cxn>
                  <a:cxn ang="0">
                    <a:pos x="7" y="33"/>
                  </a:cxn>
                </a:cxnLst>
                <a:rect l="0" t="0" r="r" b="b"/>
                <a:pathLst>
                  <a:path w="40" h="33">
                    <a:moveTo>
                      <a:pt x="7" y="33"/>
                    </a:moveTo>
                    <a:lnTo>
                      <a:pt x="13" y="33"/>
                    </a:lnTo>
                    <a:lnTo>
                      <a:pt x="13" y="26"/>
                    </a:lnTo>
                    <a:lnTo>
                      <a:pt x="13" y="33"/>
                    </a:lnTo>
                    <a:lnTo>
                      <a:pt x="26" y="33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3" y="10"/>
                    </a:lnTo>
                    <a:lnTo>
                      <a:pt x="36" y="7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33"/>
                    </a:lnTo>
                    <a:lnTo>
                      <a:pt x="7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5" name="Freeform 1986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6" name="Freeform 1987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7" name="Freeform 1988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8" name="Freeform 1989"/>
              <p:cNvSpPr>
                <a:spLocks/>
              </p:cNvSpPr>
              <p:nvPr/>
            </p:nvSpPr>
            <p:spPr bwMode="auto">
              <a:xfrm>
                <a:off x="4602218" y="2247047"/>
                <a:ext cx="246065" cy="382593"/>
              </a:xfrm>
              <a:custGeom>
                <a:avLst/>
                <a:gdLst/>
                <a:ahLst/>
                <a:cxnLst>
                  <a:cxn ang="0">
                    <a:pos x="109" y="96"/>
                  </a:cxn>
                  <a:cxn ang="0">
                    <a:pos x="93" y="106"/>
                  </a:cxn>
                  <a:cxn ang="0">
                    <a:pos x="79" y="112"/>
                  </a:cxn>
                  <a:cxn ang="0">
                    <a:pos x="79" y="125"/>
                  </a:cxn>
                  <a:cxn ang="0">
                    <a:pos x="99" y="155"/>
                  </a:cxn>
                  <a:cxn ang="0">
                    <a:pos x="93" y="168"/>
                  </a:cxn>
                  <a:cxn ang="0">
                    <a:pos x="86" y="165"/>
                  </a:cxn>
                  <a:cxn ang="0">
                    <a:pos x="99" y="168"/>
                  </a:cxn>
                  <a:cxn ang="0">
                    <a:pos x="86" y="172"/>
                  </a:cxn>
                  <a:cxn ang="0">
                    <a:pos x="73" y="181"/>
                  </a:cxn>
                  <a:cxn ang="0">
                    <a:pos x="79" y="191"/>
                  </a:cxn>
                  <a:cxn ang="0">
                    <a:pos x="79" y="198"/>
                  </a:cxn>
                  <a:cxn ang="0">
                    <a:pos x="73" y="224"/>
                  </a:cxn>
                  <a:cxn ang="0">
                    <a:pos x="46" y="241"/>
                  </a:cxn>
                  <a:cxn ang="0">
                    <a:pos x="27" y="224"/>
                  </a:cxn>
                  <a:cxn ang="0">
                    <a:pos x="7" y="191"/>
                  </a:cxn>
                  <a:cxn ang="0">
                    <a:pos x="7" y="185"/>
                  </a:cxn>
                  <a:cxn ang="0">
                    <a:pos x="7" y="175"/>
                  </a:cxn>
                  <a:cxn ang="0">
                    <a:pos x="14" y="142"/>
                  </a:cxn>
                  <a:cxn ang="0">
                    <a:pos x="20" y="129"/>
                  </a:cxn>
                  <a:cxn ang="0">
                    <a:pos x="7" y="92"/>
                  </a:cxn>
                  <a:cxn ang="0">
                    <a:pos x="30" y="82"/>
                  </a:cxn>
                  <a:cxn ang="0">
                    <a:pos x="33" y="53"/>
                  </a:cxn>
                  <a:cxn ang="0">
                    <a:pos x="46" y="46"/>
                  </a:cxn>
                  <a:cxn ang="0">
                    <a:pos x="56" y="16"/>
                  </a:cxn>
                  <a:cxn ang="0">
                    <a:pos x="79" y="10"/>
                  </a:cxn>
                  <a:cxn ang="0">
                    <a:pos x="96" y="0"/>
                  </a:cxn>
                  <a:cxn ang="0">
                    <a:pos x="139" y="13"/>
                  </a:cxn>
                  <a:cxn ang="0">
                    <a:pos x="155" y="53"/>
                  </a:cxn>
                  <a:cxn ang="0">
                    <a:pos x="135" y="59"/>
                  </a:cxn>
                  <a:cxn ang="0">
                    <a:pos x="126" y="63"/>
                  </a:cxn>
                  <a:cxn ang="0">
                    <a:pos x="126" y="79"/>
                  </a:cxn>
                </a:cxnLst>
                <a:rect l="0" t="0" r="r" b="b"/>
                <a:pathLst>
                  <a:path w="155" h="241">
                    <a:moveTo>
                      <a:pt x="126" y="79"/>
                    </a:moveTo>
                    <a:lnTo>
                      <a:pt x="109" y="96"/>
                    </a:lnTo>
                    <a:lnTo>
                      <a:pt x="99" y="96"/>
                    </a:lnTo>
                    <a:lnTo>
                      <a:pt x="93" y="106"/>
                    </a:lnTo>
                    <a:lnTo>
                      <a:pt x="86" y="106"/>
                    </a:lnTo>
                    <a:lnTo>
                      <a:pt x="79" y="112"/>
                    </a:lnTo>
                    <a:lnTo>
                      <a:pt x="79" y="115"/>
                    </a:lnTo>
                    <a:lnTo>
                      <a:pt x="79" y="125"/>
                    </a:lnTo>
                    <a:lnTo>
                      <a:pt x="86" y="145"/>
                    </a:lnTo>
                    <a:lnTo>
                      <a:pt x="99" y="155"/>
                    </a:lnTo>
                    <a:lnTo>
                      <a:pt x="106" y="158"/>
                    </a:lnTo>
                    <a:lnTo>
                      <a:pt x="93" y="168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70" y="168"/>
                    </a:lnTo>
                    <a:lnTo>
                      <a:pt x="99" y="168"/>
                    </a:lnTo>
                    <a:lnTo>
                      <a:pt x="93" y="175"/>
                    </a:lnTo>
                    <a:lnTo>
                      <a:pt x="86" y="172"/>
                    </a:lnTo>
                    <a:lnTo>
                      <a:pt x="79" y="181"/>
                    </a:lnTo>
                    <a:lnTo>
                      <a:pt x="73" y="181"/>
                    </a:lnTo>
                    <a:lnTo>
                      <a:pt x="79" y="185"/>
                    </a:lnTo>
                    <a:lnTo>
                      <a:pt x="79" y="191"/>
                    </a:lnTo>
                    <a:lnTo>
                      <a:pt x="79" y="198"/>
                    </a:lnTo>
                    <a:lnTo>
                      <a:pt x="79" y="198"/>
                    </a:lnTo>
                    <a:lnTo>
                      <a:pt x="73" y="211"/>
                    </a:lnTo>
                    <a:lnTo>
                      <a:pt x="73" y="224"/>
                    </a:lnTo>
                    <a:lnTo>
                      <a:pt x="46" y="231"/>
                    </a:lnTo>
                    <a:lnTo>
                      <a:pt x="46" y="241"/>
                    </a:lnTo>
                    <a:lnTo>
                      <a:pt x="30" y="241"/>
                    </a:lnTo>
                    <a:lnTo>
                      <a:pt x="27" y="224"/>
                    </a:lnTo>
                    <a:lnTo>
                      <a:pt x="20" y="214"/>
                    </a:lnTo>
                    <a:lnTo>
                      <a:pt x="7" y="191"/>
                    </a:lnTo>
                    <a:lnTo>
                      <a:pt x="14" y="191"/>
                    </a:lnTo>
                    <a:lnTo>
                      <a:pt x="7" y="185"/>
                    </a:lnTo>
                    <a:lnTo>
                      <a:pt x="0" y="178"/>
                    </a:lnTo>
                    <a:lnTo>
                      <a:pt x="7" y="175"/>
                    </a:lnTo>
                    <a:lnTo>
                      <a:pt x="14" y="158"/>
                    </a:lnTo>
                    <a:lnTo>
                      <a:pt x="14" y="142"/>
                    </a:lnTo>
                    <a:lnTo>
                      <a:pt x="14" y="139"/>
                    </a:lnTo>
                    <a:lnTo>
                      <a:pt x="20" y="129"/>
                    </a:lnTo>
                    <a:lnTo>
                      <a:pt x="7" y="125"/>
                    </a:lnTo>
                    <a:lnTo>
                      <a:pt x="7" y="92"/>
                    </a:lnTo>
                    <a:lnTo>
                      <a:pt x="20" y="82"/>
                    </a:lnTo>
                    <a:lnTo>
                      <a:pt x="30" y="82"/>
                    </a:lnTo>
                    <a:lnTo>
                      <a:pt x="20" y="76"/>
                    </a:lnTo>
                    <a:lnTo>
                      <a:pt x="33" y="53"/>
                    </a:lnTo>
                    <a:lnTo>
                      <a:pt x="33" y="49"/>
                    </a:lnTo>
                    <a:lnTo>
                      <a:pt x="46" y="46"/>
                    </a:lnTo>
                    <a:lnTo>
                      <a:pt x="53" y="36"/>
                    </a:lnTo>
                    <a:lnTo>
                      <a:pt x="56" y="16"/>
                    </a:lnTo>
                    <a:lnTo>
                      <a:pt x="73" y="13"/>
                    </a:lnTo>
                    <a:lnTo>
                      <a:pt x="79" y="10"/>
                    </a:lnTo>
                    <a:lnTo>
                      <a:pt x="99" y="1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39" y="13"/>
                    </a:lnTo>
                    <a:lnTo>
                      <a:pt x="152" y="39"/>
                    </a:lnTo>
                    <a:lnTo>
                      <a:pt x="155" y="53"/>
                    </a:lnTo>
                    <a:lnTo>
                      <a:pt x="135" y="53"/>
                    </a:lnTo>
                    <a:lnTo>
                      <a:pt x="135" y="59"/>
                    </a:lnTo>
                    <a:lnTo>
                      <a:pt x="132" y="59"/>
                    </a:lnTo>
                    <a:lnTo>
                      <a:pt x="126" y="63"/>
                    </a:lnTo>
                    <a:lnTo>
                      <a:pt x="119" y="73"/>
                    </a:lnTo>
                    <a:lnTo>
                      <a:pt x="126" y="7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59" name="Freeform 1990"/>
              <p:cNvSpPr>
                <a:spLocks/>
              </p:cNvSpPr>
              <p:nvPr/>
            </p:nvSpPr>
            <p:spPr bwMode="auto">
              <a:xfrm>
                <a:off x="4770494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0" name="Freeform 1991"/>
              <p:cNvSpPr>
                <a:spLocks/>
              </p:cNvSpPr>
              <p:nvPr/>
            </p:nvSpPr>
            <p:spPr bwMode="auto">
              <a:xfrm>
                <a:off x="4770494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1" name="Freeform 1992"/>
              <p:cNvSpPr>
                <a:spLocks/>
              </p:cNvSpPr>
              <p:nvPr/>
            </p:nvSpPr>
            <p:spPr bwMode="auto">
              <a:xfrm>
                <a:off x="4770494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2" name="Freeform 1993"/>
              <p:cNvSpPr>
                <a:spLocks/>
              </p:cNvSpPr>
              <p:nvPr/>
            </p:nvSpPr>
            <p:spPr bwMode="auto">
              <a:xfrm>
                <a:off x="4770494" y="2561377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10"/>
                  </a:cxn>
                  <a:cxn ang="0">
                    <a:pos x="26" y="23"/>
                  </a:cxn>
                  <a:cxn ang="0">
                    <a:pos x="0" y="33"/>
                  </a:cxn>
                  <a:cxn ang="0">
                    <a:pos x="0" y="20"/>
                  </a:cxn>
                  <a:cxn ang="0">
                    <a:pos x="39" y="0"/>
                  </a:cxn>
                </a:cxnLst>
                <a:rect l="0" t="0" r="r" b="b"/>
                <a:pathLst>
                  <a:path w="39" h="33">
                    <a:moveTo>
                      <a:pt x="39" y="0"/>
                    </a:moveTo>
                    <a:lnTo>
                      <a:pt x="39" y="10"/>
                    </a:lnTo>
                    <a:lnTo>
                      <a:pt x="26" y="23"/>
                    </a:lnTo>
                    <a:lnTo>
                      <a:pt x="0" y="33"/>
                    </a:lnTo>
                    <a:lnTo>
                      <a:pt x="0" y="20"/>
                    </a:lnTo>
                    <a:lnTo>
                      <a:pt x="39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3" name="Freeform 1994"/>
              <p:cNvSpPr>
                <a:spLocks/>
              </p:cNvSpPr>
              <p:nvPr/>
            </p:nvSpPr>
            <p:spPr bwMode="auto">
              <a:xfrm>
                <a:off x="4508554" y="2855069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4" name="Freeform 1995"/>
              <p:cNvSpPr>
                <a:spLocks/>
              </p:cNvSpPr>
              <p:nvPr/>
            </p:nvSpPr>
            <p:spPr bwMode="auto">
              <a:xfrm>
                <a:off x="4508554" y="2855069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5" name="Freeform 1996"/>
              <p:cNvSpPr>
                <a:spLocks/>
              </p:cNvSpPr>
              <p:nvPr/>
            </p:nvSpPr>
            <p:spPr bwMode="auto">
              <a:xfrm>
                <a:off x="4508554" y="2855069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6" name="Freeform 1997"/>
              <p:cNvSpPr>
                <a:spLocks/>
              </p:cNvSpPr>
              <p:nvPr/>
            </p:nvSpPr>
            <p:spPr bwMode="auto">
              <a:xfrm>
                <a:off x="4508554" y="2855069"/>
                <a:ext cx="104776" cy="57151"/>
              </a:xfrm>
              <a:custGeom>
                <a:avLst/>
                <a:gdLst/>
                <a:ahLst/>
                <a:cxnLst>
                  <a:cxn ang="0">
                    <a:pos x="19" y="7"/>
                  </a:cxn>
                  <a:cxn ang="0">
                    <a:pos x="18" y="8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16" y="2"/>
                  </a:cxn>
                  <a:cxn ang="0">
                    <a:pos x="16" y="4"/>
                  </a:cxn>
                  <a:cxn ang="0">
                    <a:pos x="17" y="4"/>
                  </a:cxn>
                  <a:cxn ang="0">
                    <a:pos x="20" y="6"/>
                  </a:cxn>
                  <a:cxn ang="0">
                    <a:pos x="19" y="7"/>
                  </a:cxn>
                </a:cxnLst>
                <a:rect l="0" t="0" r="r" b="b"/>
                <a:pathLst>
                  <a:path w="20" h="11">
                    <a:moveTo>
                      <a:pt x="19" y="7"/>
                    </a:moveTo>
                    <a:cubicBezTo>
                      <a:pt x="18" y="8"/>
                      <a:pt x="18" y="8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0"/>
                      <a:pt x="5" y="0"/>
                      <a:pt x="16" y="2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7"/>
                      <a:pt x="19" y="7"/>
                      <a:pt x="19" y="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7" name="Freeform 1998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8" name="Freeform 1999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69" name="Freeform 2000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0" name="Freeform 2001"/>
              <p:cNvSpPr>
                <a:spLocks/>
              </p:cNvSpPr>
              <p:nvPr/>
            </p:nvSpPr>
            <p:spPr bwMode="auto">
              <a:xfrm>
                <a:off x="4884796" y="2718541"/>
                <a:ext cx="423868" cy="241303"/>
              </a:xfrm>
              <a:custGeom>
                <a:avLst/>
                <a:gdLst/>
                <a:ahLst/>
                <a:cxnLst>
                  <a:cxn ang="0">
                    <a:pos x="142" y="0"/>
                  </a:cxn>
                  <a:cxn ang="0">
                    <a:pos x="129" y="7"/>
                  </a:cxn>
                  <a:cxn ang="0">
                    <a:pos x="112" y="10"/>
                  </a:cxn>
                  <a:cxn ang="0">
                    <a:pos x="116" y="20"/>
                  </a:cxn>
                  <a:cxn ang="0">
                    <a:pos x="86" y="16"/>
                  </a:cxn>
                  <a:cxn ang="0">
                    <a:pos x="60" y="10"/>
                  </a:cxn>
                  <a:cxn ang="0">
                    <a:pos x="40" y="7"/>
                  </a:cxn>
                  <a:cxn ang="0">
                    <a:pos x="13" y="7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7" y="59"/>
                  </a:cxn>
                  <a:cxn ang="0">
                    <a:pos x="4" y="63"/>
                  </a:cxn>
                  <a:cxn ang="0">
                    <a:pos x="0" y="76"/>
                  </a:cxn>
                  <a:cxn ang="0">
                    <a:pos x="13" y="86"/>
                  </a:cxn>
                  <a:cxn ang="0">
                    <a:pos x="40" y="89"/>
                  </a:cxn>
                  <a:cxn ang="0">
                    <a:pos x="66" y="79"/>
                  </a:cxn>
                  <a:cxn ang="0">
                    <a:pos x="76" y="69"/>
                  </a:cxn>
                  <a:cxn ang="0">
                    <a:pos x="83" y="69"/>
                  </a:cxn>
                  <a:cxn ang="0">
                    <a:pos x="93" y="79"/>
                  </a:cxn>
                  <a:cxn ang="0">
                    <a:pos x="106" y="96"/>
                  </a:cxn>
                  <a:cxn ang="0">
                    <a:pos x="119" y="106"/>
                  </a:cxn>
                  <a:cxn ang="0">
                    <a:pos x="129" y="116"/>
                  </a:cxn>
                  <a:cxn ang="0">
                    <a:pos x="142" y="109"/>
                  </a:cxn>
                  <a:cxn ang="0">
                    <a:pos x="145" y="109"/>
                  </a:cxn>
                  <a:cxn ang="0">
                    <a:pos x="145" y="102"/>
                  </a:cxn>
                  <a:cxn ang="0">
                    <a:pos x="145" y="109"/>
                  </a:cxn>
                  <a:cxn ang="0">
                    <a:pos x="158" y="109"/>
                  </a:cxn>
                  <a:cxn ang="0">
                    <a:pos x="142" y="116"/>
                  </a:cxn>
                  <a:cxn ang="0">
                    <a:pos x="149" y="116"/>
                  </a:cxn>
                  <a:cxn ang="0">
                    <a:pos x="162" y="122"/>
                  </a:cxn>
                  <a:cxn ang="0">
                    <a:pos x="175" y="122"/>
                  </a:cxn>
                  <a:cxn ang="0">
                    <a:pos x="162" y="132"/>
                  </a:cxn>
                  <a:cxn ang="0">
                    <a:pos x="172" y="139"/>
                  </a:cxn>
                  <a:cxn ang="0">
                    <a:pos x="178" y="145"/>
                  </a:cxn>
                  <a:cxn ang="0">
                    <a:pos x="178" y="152"/>
                  </a:cxn>
                  <a:cxn ang="0">
                    <a:pos x="201" y="142"/>
                  </a:cxn>
                  <a:cxn ang="0">
                    <a:pos x="208" y="142"/>
                  </a:cxn>
                  <a:cxn ang="0">
                    <a:pos x="221" y="135"/>
                  </a:cxn>
                  <a:cxn ang="0">
                    <a:pos x="208" y="135"/>
                  </a:cxn>
                  <a:cxn ang="0">
                    <a:pos x="191" y="125"/>
                  </a:cxn>
                  <a:cxn ang="0">
                    <a:pos x="195" y="116"/>
                  </a:cxn>
                  <a:cxn ang="0">
                    <a:pos x="195" y="122"/>
                  </a:cxn>
                  <a:cxn ang="0">
                    <a:pos x="198" y="116"/>
                  </a:cxn>
                  <a:cxn ang="0">
                    <a:pos x="221" y="109"/>
                  </a:cxn>
                  <a:cxn ang="0">
                    <a:pos x="244" y="99"/>
                  </a:cxn>
                  <a:cxn ang="0">
                    <a:pos x="251" y="99"/>
                  </a:cxn>
                  <a:cxn ang="0">
                    <a:pos x="254" y="89"/>
                  </a:cxn>
                  <a:cxn ang="0">
                    <a:pos x="267" y="79"/>
                  </a:cxn>
                  <a:cxn ang="0">
                    <a:pos x="257" y="56"/>
                  </a:cxn>
                  <a:cxn ang="0">
                    <a:pos x="234" y="49"/>
                  </a:cxn>
                  <a:cxn ang="0">
                    <a:pos x="214" y="40"/>
                  </a:cxn>
                  <a:cxn ang="0">
                    <a:pos x="208" y="40"/>
                  </a:cxn>
                  <a:cxn ang="0">
                    <a:pos x="185" y="26"/>
                  </a:cxn>
                  <a:cxn ang="0">
                    <a:pos x="168" y="7"/>
                  </a:cxn>
                  <a:cxn ang="0">
                    <a:pos x="165" y="0"/>
                  </a:cxn>
                  <a:cxn ang="0">
                    <a:pos x="142" y="0"/>
                  </a:cxn>
                </a:cxnLst>
                <a:rect l="0" t="0" r="r" b="b"/>
                <a:pathLst>
                  <a:path w="267" h="152">
                    <a:moveTo>
                      <a:pt x="142" y="0"/>
                    </a:moveTo>
                    <a:lnTo>
                      <a:pt x="129" y="7"/>
                    </a:lnTo>
                    <a:lnTo>
                      <a:pt x="112" y="10"/>
                    </a:lnTo>
                    <a:lnTo>
                      <a:pt x="116" y="20"/>
                    </a:lnTo>
                    <a:lnTo>
                      <a:pt x="86" y="16"/>
                    </a:lnTo>
                    <a:lnTo>
                      <a:pt x="60" y="10"/>
                    </a:lnTo>
                    <a:lnTo>
                      <a:pt x="40" y="7"/>
                    </a:lnTo>
                    <a:lnTo>
                      <a:pt x="13" y="7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7" y="59"/>
                    </a:lnTo>
                    <a:lnTo>
                      <a:pt x="4" y="63"/>
                    </a:lnTo>
                    <a:lnTo>
                      <a:pt x="0" y="76"/>
                    </a:lnTo>
                    <a:lnTo>
                      <a:pt x="13" y="86"/>
                    </a:lnTo>
                    <a:lnTo>
                      <a:pt x="40" y="89"/>
                    </a:lnTo>
                    <a:lnTo>
                      <a:pt x="66" y="79"/>
                    </a:lnTo>
                    <a:lnTo>
                      <a:pt x="76" y="69"/>
                    </a:lnTo>
                    <a:lnTo>
                      <a:pt x="83" y="69"/>
                    </a:lnTo>
                    <a:lnTo>
                      <a:pt x="93" y="79"/>
                    </a:lnTo>
                    <a:lnTo>
                      <a:pt x="106" y="96"/>
                    </a:lnTo>
                    <a:lnTo>
                      <a:pt x="119" y="106"/>
                    </a:lnTo>
                    <a:lnTo>
                      <a:pt x="129" y="116"/>
                    </a:lnTo>
                    <a:lnTo>
                      <a:pt x="142" y="109"/>
                    </a:lnTo>
                    <a:lnTo>
                      <a:pt x="145" y="109"/>
                    </a:lnTo>
                    <a:lnTo>
                      <a:pt x="145" y="102"/>
                    </a:lnTo>
                    <a:lnTo>
                      <a:pt x="145" y="109"/>
                    </a:lnTo>
                    <a:lnTo>
                      <a:pt x="158" y="109"/>
                    </a:lnTo>
                    <a:lnTo>
                      <a:pt x="142" y="116"/>
                    </a:lnTo>
                    <a:lnTo>
                      <a:pt x="149" y="116"/>
                    </a:lnTo>
                    <a:lnTo>
                      <a:pt x="162" y="122"/>
                    </a:lnTo>
                    <a:lnTo>
                      <a:pt x="175" y="122"/>
                    </a:lnTo>
                    <a:lnTo>
                      <a:pt x="162" y="132"/>
                    </a:lnTo>
                    <a:lnTo>
                      <a:pt x="172" y="139"/>
                    </a:lnTo>
                    <a:lnTo>
                      <a:pt x="178" y="145"/>
                    </a:lnTo>
                    <a:lnTo>
                      <a:pt x="178" y="152"/>
                    </a:lnTo>
                    <a:lnTo>
                      <a:pt x="201" y="142"/>
                    </a:lnTo>
                    <a:lnTo>
                      <a:pt x="208" y="142"/>
                    </a:lnTo>
                    <a:lnTo>
                      <a:pt x="221" y="135"/>
                    </a:lnTo>
                    <a:lnTo>
                      <a:pt x="208" y="135"/>
                    </a:lnTo>
                    <a:lnTo>
                      <a:pt x="191" y="125"/>
                    </a:lnTo>
                    <a:lnTo>
                      <a:pt x="195" y="116"/>
                    </a:lnTo>
                    <a:lnTo>
                      <a:pt x="195" y="122"/>
                    </a:lnTo>
                    <a:lnTo>
                      <a:pt x="198" y="116"/>
                    </a:lnTo>
                    <a:lnTo>
                      <a:pt x="221" y="109"/>
                    </a:lnTo>
                    <a:lnTo>
                      <a:pt x="244" y="99"/>
                    </a:lnTo>
                    <a:lnTo>
                      <a:pt x="251" y="99"/>
                    </a:lnTo>
                    <a:lnTo>
                      <a:pt x="254" y="89"/>
                    </a:lnTo>
                    <a:lnTo>
                      <a:pt x="267" y="79"/>
                    </a:lnTo>
                    <a:lnTo>
                      <a:pt x="257" y="56"/>
                    </a:lnTo>
                    <a:lnTo>
                      <a:pt x="234" y="49"/>
                    </a:lnTo>
                    <a:lnTo>
                      <a:pt x="214" y="40"/>
                    </a:lnTo>
                    <a:lnTo>
                      <a:pt x="208" y="40"/>
                    </a:lnTo>
                    <a:lnTo>
                      <a:pt x="185" y="26"/>
                    </a:lnTo>
                    <a:lnTo>
                      <a:pt x="168" y="7"/>
                    </a:lnTo>
                    <a:lnTo>
                      <a:pt x="165" y="0"/>
                    </a:lnTo>
                    <a:lnTo>
                      <a:pt x="142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1" name="Freeform 2002"/>
              <p:cNvSpPr>
                <a:spLocks/>
              </p:cNvSpPr>
              <p:nvPr/>
            </p:nvSpPr>
            <p:spPr bwMode="auto">
              <a:xfrm>
                <a:off x="4807008" y="2912219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2" name="Freeform 2003"/>
              <p:cNvSpPr>
                <a:spLocks/>
              </p:cNvSpPr>
              <p:nvPr/>
            </p:nvSpPr>
            <p:spPr bwMode="auto">
              <a:xfrm>
                <a:off x="4807008" y="2912219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3" name="Freeform 2004"/>
              <p:cNvSpPr>
                <a:spLocks/>
              </p:cNvSpPr>
              <p:nvPr/>
            </p:nvSpPr>
            <p:spPr bwMode="auto">
              <a:xfrm>
                <a:off x="4807008" y="2912219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4" name="Freeform 2005"/>
              <p:cNvSpPr>
                <a:spLocks/>
              </p:cNvSpPr>
              <p:nvPr/>
            </p:nvSpPr>
            <p:spPr bwMode="auto">
              <a:xfrm>
                <a:off x="4807008" y="2912219"/>
                <a:ext cx="114302" cy="125414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16" y="17"/>
                  </a:cxn>
                  <a:cxn ang="0">
                    <a:pos x="10" y="17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0" y="27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16" y="46"/>
                  </a:cxn>
                  <a:cxn ang="0">
                    <a:pos x="10" y="50"/>
                  </a:cxn>
                  <a:cxn ang="0">
                    <a:pos x="10" y="53"/>
                  </a:cxn>
                  <a:cxn ang="0">
                    <a:pos x="10" y="53"/>
                  </a:cxn>
                  <a:cxn ang="0">
                    <a:pos x="3" y="56"/>
                  </a:cxn>
                  <a:cxn ang="0">
                    <a:pos x="0" y="60"/>
                  </a:cxn>
                  <a:cxn ang="0">
                    <a:pos x="3" y="66"/>
                  </a:cxn>
                  <a:cxn ang="0">
                    <a:pos x="0" y="69"/>
                  </a:cxn>
                  <a:cxn ang="0">
                    <a:pos x="10" y="76"/>
                  </a:cxn>
                  <a:cxn ang="0">
                    <a:pos x="16" y="79"/>
                  </a:cxn>
                  <a:cxn ang="0">
                    <a:pos x="23" y="69"/>
                  </a:cxn>
                  <a:cxn ang="0">
                    <a:pos x="30" y="73"/>
                  </a:cxn>
                  <a:cxn ang="0">
                    <a:pos x="36" y="79"/>
                  </a:cxn>
                  <a:cxn ang="0">
                    <a:pos x="36" y="76"/>
                  </a:cxn>
                  <a:cxn ang="0">
                    <a:pos x="49" y="76"/>
                  </a:cxn>
                  <a:cxn ang="0">
                    <a:pos x="49" y="73"/>
                  </a:cxn>
                  <a:cxn ang="0">
                    <a:pos x="53" y="73"/>
                  </a:cxn>
                  <a:cxn ang="0">
                    <a:pos x="56" y="76"/>
                  </a:cxn>
                  <a:cxn ang="0">
                    <a:pos x="59" y="73"/>
                  </a:cxn>
                  <a:cxn ang="0">
                    <a:pos x="66" y="73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66" y="69"/>
                  </a:cxn>
                  <a:cxn ang="0">
                    <a:pos x="72" y="56"/>
                  </a:cxn>
                  <a:cxn ang="0">
                    <a:pos x="66" y="46"/>
                  </a:cxn>
                  <a:cxn ang="0">
                    <a:pos x="66" y="36"/>
                  </a:cxn>
                  <a:cxn ang="0">
                    <a:pos x="66" y="27"/>
                  </a:cxn>
                  <a:cxn ang="0">
                    <a:pos x="56" y="27"/>
                  </a:cxn>
                  <a:cxn ang="0">
                    <a:pos x="49" y="20"/>
                  </a:cxn>
                  <a:cxn ang="0">
                    <a:pos x="26" y="0"/>
                  </a:cxn>
                  <a:cxn ang="0">
                    <a:pos x="0" y="3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16" y="13"/>
                  </a:cxn>
                </a:cxnLst>
                <a:rect l="0" t="0" r="r" b="b"/>
                <a:pathLst>
                  <a:path w="72" h="79">
                    <a:moveTo>
                      <a:pt x="16" y="13"/>
                    </a:moveTo>
                    <a:lnTo>
                      <a:pt x="16" y="17"/>
                    </a:lnTo>
                    <a:lnTo>
                      <a:pt x="10" y="17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7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6"/>
                    </a:lnTo>
                    <a:lnTo>
                      <a:pt x="10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3" y="66"/>
                    </a:lnTo>
                    <a:lnTo>
                      <a:pt x="0" y="69"/>
                    </a:lnTo>
                    <a:lnTo>
                      <a:pt x="10" y="76"/>
                    </a:lnTo>
                    <a:lnTo>
                      <a:pt x="16" y="79"/>
                    </a:lnTo>
                    <a:lnTo>
                      <a:pt x="23" y="69"/>
                    </a:lnTo>
                    <a:lnTo>
                      <a:pt x="30" y="73"/>
                    </a:lnTo>
                    <a:lnTo>
                      <a:pt x="36" y="79"/>
                    </a:lnTo>
                    <a:lnTo>
                      <a:pt x="36" y="76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3" y="73"/>
                    </a:lnTo>
                    <a:lnTo>
                      <a:pt x="56" y="76"/>
                    </a:lnTo>
                    <a:lnTo>
                      <a:pt x="59" y="73"/>
                    </a:lnTo>
                    <a:lnTo>
                      <a:pt x="66" y="73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66" y="69"/>
                    </a:lnTo>
                    <a:lnTo>
                      <a:pt x="72" y="56"/>
                    </a:lnTo>
                    <a:lnTo>
                      <a:pt x="66" y="46"/>
                    </a:lnTo>
                    <a:lnTo>
                      <a:pt x="66" y="36"/>
                    </a:lnTo>
                    <a:lnTo>
                      <a:pt x="66" y="27"/>
                    </a:lnTo>
                    <a:lnTo>
                      <a:pt x="56" y="27"/>
                    </a:lnTo>
                    <a:lnTo>
                      <a:pt x="49" y="20"/>
                    </a:lnTo>
                    <a:lnTo>
                      <a:pt x="26" y="0"/>
                    </a:lnTo>
                    <a:lnTo>
                      <a:pt x="0" y="3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16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5" name="Freeform 2006"/>
              <p:cNvSpPr>
                <a:spLocks/>
              </p:cNvSpPr>
              <p:nvPr/>
            </p:nvSpPr>
            <p:spPr bwMode="auto">
              <a:xfrm>
                <a:off x="4132312" y="3037633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6" name="Freeform 2007"/>
              <p:cNvSpPr>
                <a:spLocks/>
              </p:cNvSpPr>
              <p:nvPr/>
            </p:nvSpPr>
            <p:spPr bwMode="auto">
              <a:xfrm>
                <a:off x="4132312" y="3037633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7" name="Freeform 2008"/>
              <p:cNvSpPr>
                <a:spLocks/>
              </p:cNvSpPr>
              <p:nvPr/>
            </p:nvSpPr>
            <p:spPr bwMode="auto">
              <a:xfrm>
                <a:off x="4132312" y="3037633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8" name="Freeform 2009"/>
              <p:cNvSpPr>
                <a:spLocks/>
              </p:cNvSpPr>
              <p:nvPr/>
            </p:nvSpPr>
            <p:spPr bwMode="auto">
              <a:xfrm>
                <a:off x="4132312" y="3037633"/>
                <a:ext cx="77788" cy="14763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3" y="0"/>
                  </a:cxn>
                  <a:cxn ang="0">
                    <a:pos x="13" y="23"/>
                  </a:cxn>
                  <a:cxn ang="0">
                    <a:pos x="10" y="37"/>
                  </a:cxn>
                  <a:cxn ang="0">
                    <a:pos x="3" y="50"/>
                  </a:cxn>
                  <a:cxn ang="0">
                    <a:pos x="0" y="60"/>
                  </a:cxn>
                  <a:cxn ang="0">
                    <a:pos x="6" y="70"/>
                  </a:cxn>
                  <a:cxn ang="0">
                    <a:pos x="10" y="70"/>
                  </a:cxn>
                  <a:cxn ang="0">
                    <a:pos x="10" y="93"/>
                  </a:cxn>
                  <a:cxn ang="0">
                    <a:pos x="29" y="89"/>
                  </a:cxn>
                  <a:cxn ang="0">
                    <a:pos x="29" y="89"/>
                  </a:cxn>
                  <a:cxn ang="0">
                    <a:pos x="39" y="76"/>
                  </a:cxn>
                  <a:cxn ang="0">
                    <a:pos x="36" y="73"/>
                  </a:cxn>
                  <a:cxn ang="0">
                    <a:pos x="39" y="60"/>
                  </a:cxn>
                  <a:cxn ang="0">
                    <a:pos x="29" y="43"/>
                  </a:cxn>
                  <a:cxn ang="0">
                    <a:pos x="39" y="43"/>
                  </a:cxn>
                  <a:cxn ang="0">
                    <a:pos x="39" y="23"/>
                  </a:cxn>
                  <a:cxn ang="0">
                    <a:pos x="49" y="10"/>
                  </a:cxn>
                  <a:cxn ang="0">
                    <a:pos x="49" y="0"/>
                  </a:cxn>
                  <a:cxn ang="0">
                    <a:pos x="23" y="0"/>
                  </a:cxn>
                </a:cxnLst>
                <a:rect l="0" t="0" r="r" b="b"/>
                <a:pathLst>
                  <a:path w="49" h="93">
                    <a:moveTo>
                      <a:pt x="23" y="0"/>
                    </a:moveTo>
                    <a:lnTo>
                      <a:pt x="13" y="0"/>
                    </a:lnTo>
                    <a:lnTo>
                      <a:pt x="13" y="23"/>
                    </a:lnTo>
                    <a:lnTo>
                      <a:pt x="10" y="37"/>
                    </a:lnTo>
                    <a:lnTo>
                      <a:pt x="3" y="50"/>
                    </a:lnTo>
                    <a:lnTo>
                      <a:pt x="0" y="60"/>
                    </a:lnTo>
                    <a:lnTo>
                      <a:pt x="6" y="70"/>
                    </a:lnTo>
                    <a:lnTo>
                      <a:pt x="10" y="70"/>
                    </a:lnTo>
                    <a:lnTo>
                      <a:pt x="10" y="93"/>
                    </a:lnTo>
                    <a:lnTo>
                      <a:pt x="29" y="89"/>
                    </a:lnTo>
                    <a:lnTo>
                      <a:pt x="29" y="89"/>
                    </a:lnTo>
                    <a:lnTo>
                      <a:pt x="39" y="76"/>
                    </a:lnTo>
                    <a:lnTo>
                      <a:pt x="36" y="73"/>
                    </a:lnTo>
                    <a:lnTo>
                      <a:pt x="39" y="60"/>
                    </a:lnTo>
                    <a:lnTo>
                      <a:pt x="29" y="43"/>
                    </a:lnTo>
                    <a:lnTo>
                      <a:pt x="39" y="43"/>
                    </a:lnTo>
                    <a:lnTo>
                      <a:pt x="39" y="23"/>
                    </a:lnTo>
                    <a:lnTo>
                      <a:pt x="49" y="10"/>
                    </a:lnTo>
                    <a:lnTo>
                      <a:pt x="49" y="0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79" name="Freeform 2010"/>
              <p:cNvSpPr>
                <a:spLocks/>
              </p:cNvSpPr>
              <p:nvPr/>
            </p:nvSpPr>
            <p:spPr bwMode="auto">
              <a:xfrm>
                <a:off x="4141837" y="2980483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0" name="Freeform 2011"/>
              <p:cNvSpPr>
                <a:spLocks/>
              </p:cNvSpPr>
              <p:nvPr/>
            </p:nvSpPr>
            <p:spPr bwMode="auto">
              <a:xfrm>
                <a:off x="4141837" y="2980483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1" name="Freeform 2012"/>
              <p:cNvSpPr>
                <a:spLocks/>
              </p:cNvSpPr>
              <p:nvPr/>
            </p:nvSpPr>
            <p:spPr bwMode="auto">
              <a:xfrm>
                <a:off x="4141837" y="2980483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2" name="Freeform 2013"/>
              <p:cNvSpPr>
                <a:spLocks/>
              </p:cNvSpPr>
              <p:nvPr/>
            </p:nvSpPr>
            <p:spPr bwMode="auto">
              <a:xfrm>
                <a:off x="4141837" y="2980483"/>
                <a:ext cx="303215" cy="241303"/>
              </a:xfrm>
              <a:custGeom>
                <a:avLst/>
                <a:gdLst/>
                <a:ahLst/>
                <a:cxnLst>
                  <a:cxn ang="0">
                    <a:pos x="40" y="36"/>
                  </a:cxn>
                  <a:cxn ang="0">
                    <a:pos x="4" y="36"/>
                  </a:cxn>
                  <a:cxn ang="0">
                    <a:pos x="4" y="26"/>
                  </a:cxn>
                  <a:cxn ang="0">
                    <a:pos x="0" y="23"/>
                  </a:cxn>
                  <a:cxn ang="0">
                    <a:pos x="0" y="13"/>
                  </a:cxn>
                  <a:cxn ang="0">
                    <a:pos x="27" y="0"/>
                  </a:cxn>
                  <a:cxn ang="0">
                    <a:pos x="43" y="3"/>
                  </a:cxn>
                  <a:cxn ang="0">
                    <a:pos x="60" y="7"/>
                  </a:cxn>
                  <a:cxn ang="0">
                    <a:pos x="112" y="7"/>
                  </a:cxn>
                  <a:cxn ang="0">
                    <a:pos x="122" y="13"/>
                  </a:cxn>
                  <a:cxn ang="0">
                    <a:pos x="162" y="26"/>
                  </a:cxn>
                  <a:cxn ang="0">
                    <a:pos x="191" y="26"/>
                  </a:cxn>
                  <a:cxn ang="0">
                    <a:pos x="188" y="43"/>
                  </a:cxn>
                  <a:cxn ang="0">
                    <a:pos x="168" y="53"/>
                  </a:cxn>
                  <a:cxn ang="0">
                    <a:pos x="152" y="59"/>
                  </a:cxn>
                  <a:cxn ang="0">
                    <a:pos x="145" y="76"/>
                  </a:cxn>
                  <a:cxn ang="0">
                    <a:pos x="135" y="89"/>
                  </a:cxn>
                  <a:cxn ang="0">
                    <a:pos x="142" y="106"/>
                  </a:cxn>
                  <a:cxn ang="0">
                    <a:pos x="129" y="119"/>
                  </a:cxn>
                  <a:cxn ang="0">
                    <a:pos x="126" y="122"/>
                  </a:cxn>
                  <a:cxn ang="0">
                    <a:pos x="112" y="129"/>
                  </a:cxn>
                  <a:cxn ang="0">
                    <a:pos x="106" y="139"/>
                  </a:cxn>
                  <a:cxn ang="0">
                    <a:pos x="86" y="142"/>
                  </a:cxn>
                  <a:cxn ang="0">
                    <a:pos x="70" y="145"/>
                  </a:cxn>
                  <a:cxn ang="0">
                    <a:pos x="53" y="152"/>
                  </a:cxn>
                  <a:cxn ang="0">
                    <a:pos x="43" y="152"/>
                  </a:cxn>
                  <a:cxn ang="0">
                    <a:pos x="40" y="139"/>
                  </a:cxn>
                  <a:cxn ang="0">
                    <a:pos x="27" y="129"/>
                  </a:cxn>
                  <a:cxn ang="0">
                    <a:pos x="23" y="129"/>
                  </a:cxn>
                  <a:cxn ang="0">
                    <a:pos x="23" y="125"/>
                  </a:cxn>
                  <a:cxn ang="0">
                    <a:pos x="27" y="116"/>
                  </a:cxn>
                  <a:cxn ang="0">
                    <a:pos x="27" y="109"/>
                  </a:cxn>
                  <a:cxn ang="0">
                    <a:pos x="27" y="99"/>
                  </a:cxn>
                  <a:cxn ang="0">
                    <a:pos x="23" y="79"/>
                  </a:cxn>
                  <a:cxn ang="0">
                    <a:pos x="27" y="79"/>
                  </a:cxn>
                  <a:cxn ang="0">
                    <a:pos x="33" y="59"/>
                  </a:cxn>
                  <a:cxn ang="0">
                    <a:pos x="43" y="46"/>
                  </a:cxn>
                  <a:cxn ang="0">
                    <a:pos x="40" y="36"/>
                  </a:cxn>
                </a:cxnLst>
                <a:rect l="0" t="0" r="r" b="b"/>
                <a:pathLst>
                  <a:path w="191" h="152">
                    <a:moveTo>
                      <a:pt x="40" y="36"/>
                    </a:moveTo>
                    <a:lnTo>
                      <a:pt x="4" y="36"/>
                    </a:lnTo>
                    <a:lnTo>
                      <a:pt x="4" y="26"/>
                    </a:lnTo>
                    <a:lnTo>
                      <a:pt x="0" y="23"/>
                    </a:lnTo>
                    <a:lnTo>
                      <a:pt x="0" y="13"/>
                    </a:lnTo>
                    <a:lnTo>
                      <a:pt x="27" y="0"/>
                    </a:lnTo>
                    <a:lnTo>
                      <a:pt x="43" y="3"/>
                    </a:lnTo>
                    <a:lnTo>
                      <a:pt x="60" y="7"/>
                    </a:lnTo>
                    <a:lnTo>
                      <a:pt x="112" y="7"/>
                    </a:lnTo>
                    <a:lnTo>
                      <a:pt x="122" y="13"/>
                    </a:lnTo>
                    <a:lnTo>
                      <a:pt x="162" y="26"/>
                    </a:lnTo>
                    <a:lnTo>
                      <a:pt x="191" y="26"/>
                    </a:lnTo>
                    <a:lnTo>
                      <a:pt x="188" y="43"/>
                    </a:lnTo>
                    <a:lnTo>
                      <a:pt x="168" y="53"/>
                    </a:lnTo>
                    <a:lnTo>
                      <a:pt x="152" y="59"/>
                    </a:lnTo>
                    <a:lnTo>
                      <a:pt x="145" y="76"/>
                    </a:lnTo>
                    <a:lnTo>
                      <a:pt x="135" y="89"/>
                    </a:lnTo>
                    <a:lnTo>
                      <a:pt x="142" y="106"/>
                    </a:lnTo>
                    <a:lnTo>
                      <a:pt x="129" y="119"/>
                    </a:lnTo>
                    <a:lnTo>
                      <a:pt x="126" y="122"/>
                    </a:lnTo>
                    <a:lnTo>
                      <a:pt x="112" y="129"/>
                    </a:lnTo>
                    <a:lnTo>
                      <a:pt x="106" y="139"/>
                    </a:lnTo>
                    <a:lnTo>
                      <a:pt x="86" y="142"/>
                    </a:lnTo>
                    <a:lnTo>
                      <a:pt x="70" y="145"/>
                    </a:lnTo>
                    <a:lnTo>
                      <a:pt x="53" y="152"/>
                    </a:lnTo>
                    <a:lnTo>
                      <a:pt x="43" y="152"/>
                    </a:lnTo>
                    <a:lnTo>
                      <a:pt x="40" y="139"/>
                    </a:lnTo>
                    <a:lnTo>
                      <a:pt x="27" y="129"/>
                    </a:lnTo>
                    <a:lnTo>
                      <a:pt x="23" y="129"/>
                    </a:lnTo>
                    <a:lnTo>
                      <a:pt x="23" y="125"/>
                    </a:lnTo>
                    <a:lnTo>
                      <a:pt x="27" y="116"/>
                    </a:lnTo>
                    <a:lnTo>
                      <a:pt x="27" y="109"/>
                    </a:lnTo>
                    <a:lnTo>
                      <a:pt x="27" y="99"/>
                    </a:lnTo>
                    <a:lnTo>
                      <a:pt x="23" y="79"/>
                    </a:lnTo>
                    <a:lnTo>
                      <a:pt x="27" y="79"/>
                    </a:lnTo>
                    <a:lnTo>
                      <a:pt x="33" y="59"/>
                    </a:lnTo>
                    <a:lnTo>
                      <a:pt x="43" y="46"/>
                    </a:lnTo>
                    <a:lnTo>
                      <a:pt x="40" y="3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3" name="Freeform 2015"/>
              <p:cNvSpPr>
                <a:spLocks/>
              </p:cNvSpPr>
              <p:nvPr/>
            </p:nvSpPr>
            <p:spPr bwMode="auto">
              <a:xfrm>
                <a:off x="3917997" y="3483728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4" name="Freeform 2016"/>
              <p:cNvSpPr>
                <a:spLocks/>
              </p:cNvSpPr>
              <p:nvPr/>
            </p:nvSpPr>
            <p:spPr bwMode="auto">
              <a:xfrm>
                <a:off x="3917997" y="3483728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5" name="Freeform 2017"/>
              <p:cNvSpPr>
                <a:spLocks/>
              </p:cNvSpPr>
              <p:nvPr/>
            </p:nvSpPr>
            <p:spPr bwMode="auto">
              <a:xfrm>
                <a:off x="3917997" y="3483728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6" name="Freeform 2018"/>
              <p:cNvSpPr>
                <a:spLocks/>
              </p:cNvSpPr>
              <p:nvPr/>
            </p:nvSpPr>
            <p:spPr bwMode="auto">
              <a:xfrm>
                <a:off x="3917997" y="3483728"/>
                <a:ext cx="219078" cy="214317"/>
              </a:xfrm>
              <a:custGeom>
                <a:avLst/>
                <a:gdLst/>
                <a:ahLst/>
                <a:cxnLst>
                  <a:cxn ang="0">
                    <a:pos x="0" y="125"/>
                  </a:cxn>
                  <a:cxn ang="0">
                    <a:pos x="0" y="135"/>
                  </a:cxn>
                  <a:cxn ang="0">
                    <a:pos x="0" y="125"/>
                  </a:cxn>
                  <a:cxn ang="0">
                    <a:pos x="13" y="102"/>
                  </a:cxn>
                  <a:cxn ang="0">
                    <a:pos x="23" y="76"/>
                  </a:cxn>
                  <a:cxn ang="0">
                    <a:pos x="16" y="79"/>
                  </a:cxn>
                  <a:cxn ang="0">
                    <a:pos x="33" y="63"/>
                  </a:cxn>
                  <a:cxn ang="0">
                    <a:pos x="39" y="46"/>
                  </a:cxn>
                  <a:cxn ang="0">
                    <a:pos x="42" y="30"/>
                  </a:cxn>
                  <a:cxn ang="0">
                    <a:pos x="59" y="20"/>
                  </a:cxn>
                  <a:cxn ang="0">
                    <a:pos x="69" y="0"/>
                  </a:cxn>
                  <a:cxn ang="0">
                    <a:pos x="138" y="0"/>
                  </a:cxn>
                  <a:cxn ang="0">
                    <a:pos x="138" y="30"/>
                  </a:cxn>
                  <a:cxn ang="0">
                    <a:pos x="85" y="30"/>
                  </a:cxn>
                  <a:cxn ang="0">
                    <a:pos x="85" y="56"/>
                  </a:cxn>
                  <a:cxn ang="0">
                    <a:pos x="82" y="82"/>
                  </a:cxn>
                  <a:cxn ang="0">
                    <a:pos x="69" y="92"/>
                  </a:cxn>
                  <a:cxn ang="0">
                    <a:pos x="69" y="125"/>
                  </a:cxn>
                  <a:cxn ang="0">
                    <a:pos x="0" y="125"/>
                  </a:cxn>
                </a:cxnLst>
                <a:rect l="0" t="0" r="r" b="b"/>
                <a:pathLst>
                  <a:path w="138" h="135">
                    <a:moveTo>
                      <a:pt x="0" y="125"/>
                    </a:moveTo>
                    <a:lnTo>
                      <a:pt x="0" y="135"/>
                    </a:lnTo>
                    <a:lnTo>
                      <a:pt x="0" y="125"/>
                    </a:lnTo>
                    <a:lnTo>
                      <a:pt x="13" y="102"/>
                    </a:lnTo>
                    <a:lnTo>
                      <a:pt x="23" y="76"/>
                    </a:lnTo>
                    <a:lnTo>
                      <a:pt x="16" y="79"/>
                    </a:lnTo>
                    <a:lnTo>
                      <a:pt x="33" y="63"/>
                    </a:lnTo>
                    <a:lnTo>
                      <a:pt x="39" y="46"/>
                    </a:lnTo>
                    <a:lnTo>
                      <a:pt x="42" y="30"/>
                    </a:lnTo>
                    <a:lnTo>
                      <a:pt x="59" y="20"/>
                    </a:lnTo>
                    <a:lnTo>
                      <a:pt x="69" y="0"/>
                    </a:lnTo>
                    <a:lnTo>
                      <a:pt x="138" y="0"/>
                    </a:lnTo>
                    <a:lnTo>
                      <a:pt x="138" y="30"/>
                    </a:lnTo>
                    <a:lnTo>
                      <a:pt x="85" y="30"/>
                    </a:lnTo>
                    <a:lnTo>
                      <a:pt x="85" y="56"/>
                    </a:lnTo>
                    <a:lnTo>
                      <a:pt x="82" y="82"/>
                    </a:lnTo>
                    <a:lnTo>
                      <a:pt x="69" y="92"/>
                    </a:lnTo>
                    <a:lnTo>
                      <a:pt x="69" y="125"/>
                    </a:lnTo>
                    <a:lnTo>
                      <a:pt x="0" y="125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7" name="Freeform 2019"/>
              <p:cNvSpPr>
                <a:spLocks/>
              </p:cNvSpPr>
              <p:nvPr/>
            </p:nvSpPr>
            <p:spPr bwMode="auto">
              <a:xfrm>
                <a:off x="1363680" y="2174022"/>
                <a:ext cx="1731984" cy="874726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8" name="Freeform 2020"/>
              <p:cNvSpPr>
                <a:spLocks/>
              </p:cNvSpPr>
              <p:nvPr/>
            </p:nvSpPr>
            <p:spPr bwMode="auto">
              <a:xfrm>
                <a:off x="1363680" y="2174022"/>
                <a:ext cx="1731984" cy="874726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89" name="Freeform 2021"/>
              <p:cNvSpPr>
                <a:spLocks/>
              </p:cNvSpPr>
              <p:nvPr/>
            </p:nvSpPr>
            <p:spPr bwMode="auto">
              <a:xfrm>
                <a:off x="1363680" y="2174022"/>
                <a:ext cx="1731984" cy="874726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0" name="Freeform 2022"/>
              <p:cNvSpPr>
                <a:spLocks/>
              </p:cNvSpPr>
              <p:nvPr/>
            </p:nvSpPr>
            <p:spPr bwMode="auto">
              <a:xfrm>
                <a:off x="1363680" y="2174022"/>
                <a:ext cx="1731984" cy="874726"/>
              </a:xfrm>
              <a:custGeom>
                <a:avLst/>
                <a:gdLst/>
                <a:ahLst/>
                <a:cxnLst>
                  <a:cxn ang="0">
                    <a:pos x="254" y="27"/>
                  </a:cxn>
                  <a:cxn ang="0">
                    <a:pos x="273" y="13"/>
                  </a:cxn>
                  <a:cxn ang="0">
                    <a:pos x="243" y="23"/>
                  </a:cxn>
                  <a:cxn ang="0">
                    <a:pos x="241" y="12"/>
                  </a:cxn>
                  <a:cxn ang="0">
                    <a:pos x="236" y="1"/>
                  </a:cxn>
                  <a:cxn ang="0">
                    <a:pos x="224" y="6"/>
                  </a:cxn>
                  <a:cxn ang="0">
                    <a:pos x="227" y="15"/>
                  </a:cxn>
                  <a:cxn ang="0">
                    <a:pos x="212" y="24"/>
                  </a:cxn>
                  <a:cxn ang="0">
                    <a:pos x="205" y="19"/>
                  </a:cxn>
                  <a:cxn ang="0">
                    <a:pos x="182" y="19"/>
                  </a:cxn>
                  <a:cxn ang="0">
                    <a:pos x="169" y="19"/>
                  </a:cxn>
                  <a:cxn ang="0">
                    <a:pos x="162" y="21"/>
                  </a:cxn>
                  <a:cxn ang="0">
                    <a:pos x="131" y="13"/>
                  </a:cxn>
                  <a:cxn ang="0">
                    <a:pos x="112" y="12"/>
                  </a:cxn>
                  <a:cxn ang="0">
                    <a:pos x="99" y="9"/>
                  </a:cxn>
                  <a:cxn ang="0">
                    <a:pos x="54" y="11"/>
                  </a:cxn>
                  <a:cxn ang="0">
                    <a:pos x="0" y="60"/>
                  </a:cxn>
                  <a:cxn ang="0">
                    <a:pos x="22" y="68"/>
                  </a:cxn>
                  <a:cxn ang="0">
                    <a:pos x="19" y="90"/>
                  </a:cxn>
                  <a:cxn ang="0">
                    <a:pos x="16" y="94"/>
                  </a:cxn>
                  <a:cxn ang="0">
                    <a:pos x="18" y="102"/>
                  </a:cxn>
                  <a:cxn ang="0">
                    <a:pos x="19" y="105"/>
                  </a:cxn>
                  <a:cxn ang="0">
                    <a:pos x="13" y="112"/>
                  </a:cxn>
                  <a:cxn ang="0">
                    <a:pos x="19" y="114"/>
                  </a:cxn>
                  <a:cxn ang="0">
                    <a:pos x="20" y="118"/>
                  </a:cxn>
                  <a:cxn ang="0">
                    <a:pos x="25" y="122"/>
                  </a:cxn>
                  <a:cxn ang="0">
                    <a:pos x="163" y="128"/>
                  </a:cxn>
                  <a:cxn ang="0">
                    <a:pos x="192" y="141"/>
                  </a:cxn>
                  <a:cxn ang="0">
                    <a:pos x="189" y="167"/>
                  </a:cxn>
                  <a:cxn ang="0">
                    <a:pos x="224" y="152"/>
                  </a:cxn>
                  <a:cxn ang="0">
                    <a:pos x="263" y="134"/>
                  </a:cxn>
                  <a:cxn ang="0">
                    <a:pos x="277" y="143"/>
                  </a:cxn>
                  <a:cxn ang="0">
                    <a:pos x="273" y="148"/>
                  </a:cxn>
                  <a:cxn ang="0">
                    <a:pos x="283" y="149"/>
                  </a:cxn>
                  <a:cxn ang="0">
                    <a:pos x="283" y="141"/>
                  </a:cxn>
                  <a:cxn ang="0">
                    <a:pos x="280" y="130"/>
                  </a:cxn>
                  <a:cxn ang="0">
                    <a:pos x="263" y="130"/>
                  </a:cxn>
                  <a:cxn ang="0">
                    <a:pos x="273" y="122"/>
                  </a:cxn>
                  <a:cxn ang="0">
                    <a:pos x="329" y="104"/>
                  </a:cxn>
                  <a:cxn ang="0">
                    <a:pos x="329" y="96"/>
                  </a:cxn>
                  <a:cxn ang="0">
                    <a:pos x="312" y="96"/>
                  </a:cxn>
                  <a:cxn ang="0">
                    <a:pos x="317" y="91"/>
                  </a:cxn>
                  <a:cxn ang="0">
                    <a:pos x="317" y="87"/>
                  </a:cxn>
                  <a:cxn ang="0">
                    <a:pos x="313" y="81"/>
                  </a:cxn>
                  <a:cxn ang="0">
                    <a:pos x="313" y="72"/>
                  </a:cxn>
                  <a:cxn ang="0">
                    <a:pos x="313" y="65"/>
                  </a:cxn>
                  <a:cxn ang="0">
                    <a:pos x="307" y="65"/>
                  </a:cxn>
                  <a:cxn ang="0">
                    <a:pos x="293" y="71"/>
                  </a:cxn>
                  <a:cxn ang="0">
                    <a:pos x="284" y="68"/>
                  </a:cxn>
                  <a:cxn ang="0">
                    <a:pos x="292" y="58"/>
                  </a:cxn>
                  <a:cxn ang="0">
                    <a:pos x="280" y="48"/>
                  </a:cxn>
                  <a:cxn ang="0">
                    <a:pos x="259" y="58"/>
                  </a:cxn>
                  <a:cxn ang="0">
                    <a:pos x="243" y="88"/>
                  </a:cxn>
                  <a:cxn ang="0">
                    <a:pos x="227" y="109"/>
                  </a:cxn>
                  <a:cxn ang="0">
                    <a:pos x="219" y="100"/>
                  </a:cxn>
                  <a:cxn ang="0">
                    <a:pos x="194" y="77"/>
                  </a:cxn>
                  <a:cxn ang="0">
                    <a:pos x="184" y="67"/>
                  </a:cxn>
                  <a:cxn ang="0">
                    <a:pos x="209" y="48"/>
                  </a:cxn>
                  <a:cxn ang="0">
                    <a:pos x="213" y="41"/>
                  </a:cxn>
                  <a:cxn ang="0">
                    <a:pos x="237" y="34"/>
                  </a:cxn>
                </a:cxnLst>
                <a:rect l="0" t="0" r="r" b="b"/>
                <a:pathLst>
                  <a:path w="331" h="167">
                    <a:moveTo>
                      <a:pt x="245" y="29"/>
                    </a:moveTo>
                    <a:cubicBezTo>
                      <a:pt x="243" y="28"/>
                      <a:pt x="243" y="28"/>
                      <a:pt x="243" y="28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51" y="29"/>
                      <a:pt x="251" y="29"/>
                      <a:pt x="251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51" y="25"/>
                      <a:pt x="251" y="25"/>
                      <a:pt x="251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8"/>
                      <a:pt x="255" y="28"/>
                      <a:pt x="255" y="28"/>
                    </a:cubicBezTo>
                    <a:cubicBezTo>
                      <a:pt x="265" y="24"/>
                      <a:pt x="265" y="24"/>
                      <a:pt x="265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1" y="15"/>
                      <a:pt x="271" y="15"/>
                      <a:pt x="271" y="15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73" y="13"/>
                      <a:pt x="273" y="13"/>
                      <a:pt x="273" y="13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270" y="11"/>
                      <a:pt x="270" y="11"/>
                      <a:pt x="270" y="11"/>
                    </a:cubicBezTo>
                    <a:cubicBezTo>
                      <a:pt x="259" y="11"/>
                      <a:pt x="259" y="11"/>
                      <a:pt x="259" y="11"/>
                    </a:cubicBezTo>
                    <a:cubicBezTo>
                      <a:pt x="259" y="15"/>
                      <a:pt x="259" y="15"/>
                      <a:pt x="259" y="15"/>
                    </a:cubicBezTo>
                    <a:cubicBezTo>
                      <a:pt x="259" y="17"/>
                      <a:pt x="259" y="17"/>
                      <a:pt x="259" y="17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47" y="23"/>
                      <a:pt x="247" y="23"/>
                      <a:pt x="247" y="23"/>
                    </a:cubicBezTo>
                    <a:cubicBezTo>
                      <a:pt x="243" y="23"/>
                      <a:pt x="243" y="23"/>
                      <a:pt x="243" y="23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3" y="19"/>
                      <a:pt x="243" y="19"/>
                      <a:pt x="243" y="19"/>
                    </a:cubicBezTo>
                    <a:cubicBezTo>
                      <a:pt x="246" y="15"/>
                      <a:pt x="246" y="15"/>
                      <a:pt x="246" y="15"/>
                    </a:cubicBezTo>
                    <a:cubicBezTo>
                      <a:pt x="243" y="13"/>
                      <a:pt x="243" y="13"/>
                      <a:pt x="243" y="13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6" y="13"/>
                      <a:pt x="236" y="13"/>
                      <a:pt x="236" y="13"/>
                    </a:cubicBezTo>
                    <a:cubicBezTo>
                      <a:pt x="241" y="12"/>
                      <a:pt x="241" y="12"/>
                      <a:pt x="241" y="12"/>
                    </a:cubicBezTo>
                    <a:cubicBezTo>
                      <a:pt x="238" y="12"/>
                      <a:pt x="238" y="12"/>
                      <a:pt x="238" y="12"/>
                    </a:cubicBezTo>
                    <a:cubicBezTo>
                      <a:pt x="234" y="11"/>
                      <a:pt x="234" y="11"/>
                      <a:pt x="234" y="11"/>
                    </a:cubicBezTo>
                    <a:cubicBezTo>
                      <a:pt x="233" y="11"/>
                      <a:pt x="233" y="11"/>
                      <a:pt x="233" y="11"/>
                    </a:cubicBezTo>
                    <a:cubicBezTo>
                      <a:pt x="236" y="9"/>
                      <a:pt x="236" y="9"/>
                      <a:pt x="236" y="9"/>
                    </a:cubicBezTo>
                    <a:cubicBezTo>
                      <a:pt x="238" y="9"/>
                      <a:pt x="238" y="9"/>
                      <a:pt x="238" y="9"/>
                    </a:cubicBez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2"/>
                      <a:pt x="238" y="2"/>
                      <a:pt x="238" y="2"/>
                    </a:cubicBezTo>
                    <a:cubicBezTo>
                      <a:pt x="236" y="1"/>
                      <a:pt x="236" y="1"/>
                      <a:pt x="236" y="1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4" y="1"/>
                      <a:pt x="234" y="1"/>
                      <a:pt x="234" y="1"/>
                    </a:cubicBezTo>
                    <a:cubicBezTo>
                      <a:pt x="229" y="2"/>
                      <a:pt x="229" y="2"/>
                      <a:pt x="229" y="2"/>
                    </a:cubicBezTo>
                    <a:cubicBezTo>
                      <a:pt x="229" y="3"/>
                      <a:pt x="229" y="3"/>
                      <a:pt x="229" y="3"/>
                    </a:cubicBezTo>
                    <a:cubicBezTo>
                      <a:pt x="225" y="3"/>
                      <a:pt x="225" y="3"/>
                      <a:pt x="225" y="3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222" y="8"/>
                      <a:pt x="222" y="8"/>
                      <a:pt x="222" y="8"/>
                    </a:cubicBezTo>
                    <a:cubicBezTo>
                      <a:pt x="220" y="10"/>
                      <a:pt x="220" y="10"/>
                      <a:pt x="220" y="10"/>
                    </a:cubicBezTo>
                    <a:cubicBezTo>
                      <a:pt x="229" y="13"/>
                      <a:pt x="229" y="13"/>
                      <a:pt x="229" y="13"/>
                    </a:cubicBezTo>
                    <a:cubicBezTo>
                      <a:pt x="227" y="13"/>
                      <a:pt x="227" y="13"/>
                      <a:pt x="227" y="13"/>
                    </a:cubicBezTo>
                    <a:cubicBezTo>
                      <a:pt x="224" y="15"/>
                      <a:pt x="224" y="15"/>
                      <a:pt x="224" y="15"/>
                    </a:cubicBezTo>
                    <a:cubicBezTo>
                      <a:pt x="222" y="17"/>
                      <a:pt x="222" y="17"/>
                      <a:pt x="222" y="17"/>
                    </a:cubicBezTo>
                    <a:cubicBezTo>
                      <a:pt x="227" y="15"/>
                      <a:pt x="227" y="15"/>
                      <a:pt x="227" y="15"/>
                    </a:cubicBezTo>
                    <a:cubicBezTo>
                      <a:pt x="224" y="17"/>
                      <a:pt x="224" y="17"/>
                      <a:pt x="224" y="17"/>
                    </a:cubicBezTo>
                    <a:cubicBezTo>
                      <a:pt x="217" y="19"/>
                      <a:pt x="217" y="19"/>
                      <a:pt x="217" y="19"/>
                    </a:cubicBezTo>
                    <a:cubicBezTo>
                      <a:pt x="213" y="23"/>
                      <a:pt x="213" y="23"/>
                      <a:pt x="213" y="23"/>
                    </a:cubicBezTo>
                    <a:cubicBezTo>
                      <a:pt x="211" y="25"/>
                      <a:pt x="211" y="25"/>
                      <a:pt x="211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0" y="23"/>
                      <a:pt x="210" y="23"/>
                      <a:pt x="210" y="23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1" y="19"/>
                      <a:pt x="211" y="19"/>
                      <a:pt x="211" y="19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8" y="18"/>
                      <a:pt x="208" y="18"/>
                      <a:pt x="208" y="18"/>
                    </a:cubicBezTo>
                    <a:cubicBezTo>
                      <a:pt x="205" y="19"/>
                      <a:pt x="205" y="19"/>
                      <a:pt x="205" y="19"/>
                    </a:cubicBezTo>
                    <a:cubicBezTo>
                      <a:pt x="206" y="19"/>
                      <a:pt x="206" y="19"/>
                      <a:pt x="206" y="19"/>
                    </a:cubicBezTo>
                    <a:cubicBezTo>
                      <a:pt x="208" y="21"/>
                      <a:pt x="208" y="21"/>
                      <a:pt x="208" y="21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4" y="19"/>
                      <a:pt x="204" y="19"/>
                      <a:pt x="204" y="19"/>
                    </a:cubicBezTo>
                    <a:cubicBezTo>
                      <a:pt x="203" y="21"/>
                      <a:pt x="203" y="21"/>
                      <a:pt x="203" y="21"/>
                    </a:cubicBezTo>
                    <a:cubicBezTo>
                      <a:pt x="187" y="21"/>
                      <a:pt x="187" y="21"/>
                      <a:pt x="187" y="21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7" y="18"/>
                      <a:pt x="167" y="18"/>
                      <a:pt x="167" y="18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76" y="18"/>
                      <a:pt x="176" y="18"/>
                      <a:pt x="176" y="18"/>
                    </a:cubicBezTo>
                    <a:cubicBezTo>
                      <a:pt x="179" y="17"/>
                      <a:pt x="179" y="17"/>
                      <a:pt x="179" y="17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69" y="19"/>
                      <a:pt x="169" y="19"/>
                      <a:pt x="169" y="19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3" y="24"/>
                      <a:pt x="163" y="24"/>
                      <a:pt x="163" y="24"/>
                    </a:cubicBezTo>
                    <a:cubicBezTo>
                      <a:pt x="165" y="24"/>
                      <a:pt x="165" y="24"/>
                      <a:pt x="165" y="24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2" y="23"/>
                      <a:pt x="162" y="23"/>
                      <a:pt x="162" y="2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4" y="21"/>
                      <a:pt x="144" y="21"/>
                      <a:pt x="144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46" y="19"/>
                      <a:pt x="146" y="19"/>
                      <a:pt x="146" y="19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3" y="15"/>
                      <a:pt x="143" y="15"/>
                      <a:pt x="143" y="15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31" y="13"/>
                      <a:pt x="131" y="13"/>
                      <a:pt x="131" y="13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7" y="9"/>
                      <a:pt x="117" y="9"/>
                      <a:pt x="117" y="9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110" y="13"/>
                      <a:pt x="110" y="13"/>
                      <a:pt x="110" y="13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7" y="8"/>
                      <a:pt x="107" y="8"/>
                      <a:pt x="107" y="8"/>
                    </a:cubicBezTo>
                    <a:cubicBezTo>
                      <a:pt x="107" y="9"/>
                      <a:pt x="107" y="9"/>
                      <a:pt x="107" y="9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0" y="105"/>
                      <a:pt x="20" y="105"/>
                      <a:pt x="20" y="105"/>
                    </a:cubicBezTo>
                    <a:cubicBezTo>
                      <a:pt x="20" y="106"/>
                      <a:pt x="20" y="106"/>
                      <a:pt x="20" y="106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5" y="110"/>
                      <a:pt x="15" y="110"/>
                      <a:pt x="15" y="110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20" y="113"/>
                      <a:pt x="20" y="113"/>
                      <a:pt x="20" y="113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22" y="120"/>
                      <a:pt x="22" y="120"/>
                      <a:pt x="22" y="120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21"/>
                      <a:pt x="22" y="121"/>
                      <a:pt x="22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5" y="122"/>
                      <a:pt x="25" y="122"/>
                      <a:pt x="25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67" y="124"/>
                      <a:pt x="108" y="124"/>
                      <a:pt x="150" y="124"/>
                    </a:cubicBezTo>
                    <a:cubicBezTo>
                      <a:pt x="151" y="122"/>
                      <a:pt x="151" y="122"/>
                      <a:pt x="151" y="122"/>
                    </a:cubicBezTo>
                    <a:cubicBezTo>
                      <a:pt x="151" y="125"/>
                      <a:pt x="151" y="125"/>
                      <a:pt x="151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6" y="128"/>
                      <a:pt x="166" y="128"/>
                      <a:pt x="166" y="128"/>
                    </a:cubicBezTo>
                    <a:cubicBezTo>
                      <a:pt x="170" y="130"/>
                      <a:pt x="170" y="130"/>
                      <a:pt x="170" y="130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7" y="136"/>
                      <a:pt x="187" y="136"/>
                      <a:pt x="187" y="136"/>
                    </a:cubicBezTo>
                    <a:cubicBezTo>
                      <a:pt x="192" y="139"/>
                      <a:pt x="192" y="139"/>
                      <a:pt x="192" y="139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4" y="141"/>
                      <a:pt x="194" y="141"/>
                      <a:pt x="194" y="141"/>
                    </a:cubicBezTo>
                    <a:cubicBezTo>
                      <a:pt x="193" y="142"/>
                      <a:pt x="193" y="142"/>
                      <a:pt x="193" y="142"/>
                    </a:cubicBezTo>
                    <a:cubicBezTo>
                      <a:pt x="197" y="145"/>
                      <a:pt x="197" y="145"/>
                      <a:pt x="197" y="145"/>
                    </a:cubicBezTo>
                    <a:cubicBezTo>
                      <a:pt x="196" y="151"/>
                      <a:pt x="196" y="151"/>
                      <a:pt x="196" y="151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3" y="158"/>
                      <a:pt x="193" y="158"/>
                      <a:pt x="193" y="158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93" y="165"/>
                      <a:pt x="193" y="165"/>
                      <a:pt x="193" y="165"/>
                    </a:cubicBezTo>
                    <a:cubicBezTo>
                      <a:pt x="198" y="163"/>
                      <a:pt x="198" y="163"/>
                      <a:pt x="198" y="163"/>
                    </a:cubicBezTo>
                    <a:cubicBezTo>
                      <a:pt x="203" y="162"/>
                      <a:pt x="203" y="162"/>
                      <a:pt x="203" y="162"/>
                    </a:cubicBezTo>
                    <a:cubicBezTo>
                      <a:pt x="208" y="159"/>
                      <a:pt x="208" y="159"/>
                      <a:pt x="208" y="159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20" y="155"/>
                      <a:pt x="220" y="155"/>
                      <a:pt x="220" y="155"/>
                    </a:cubicBez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9" y="148"/>
                      <a:pt x="229" y="148"/>
                      <a:pt x="229" y="148"/>
                    </a:cubicBez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49" y="145"/>
                      <a:pt x="249" y="145"/>
                      <a:pt x="249" y="145"/>
                    </a:cubicBezTo>
                    <a:cubicBezTo>
                      <a:pt x="254" y="142"/>
                      <a:pt x="254" y="142"/>
                      <a:pt x="254" y="142"/>
                    </a:cubicBezTo>
                    <a:cubicBezTo>
                      <a:pt x="257" y="138"/>
                      <a:pt x="257" y="138"/>
                      <a:pt x="257" y="138"/>
                    </a:cubicBezTo>
                    <a:cubicBezTo>
                      <a:pt x="261" y="133"/>
                      <a:pt x="261" y="133"/>
                      <a:pt x="261" y="133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5" y="134"/>
                      <a:pt x="265" y="134"/>
                      <a:pt x="265" y="134"/>
                    </a:cubicBezTo>
                    <a:cubicBezTo>
                      <a:pt x="267" y="135"/>
                      <a:pt x="267" y="135"/>
                      <a:pt x="267" y="135"/>
                    </a:cubicBezTo>
                    <a:cubicBezTo>
                      <a:pt x="265" y="142"/>
                      <a:pt x="265" y="142"/>
                      <a:pt x="265" y="142"/>
                    </a:cubicBezTo>
                    <a:cubicBezTo>
                      <a:pt x="267" y="146"/>
                      <a:pt x="267" y="146"/>
                      <a:pt x="267" y="146"/>
                    </a:cubicBezTo>
                    <a:cubicBezTo>
                      <a:pt x="268" y="146"/>
                      <a:pt x="268" y="146"/>
                      <a:pt x="268" y="146"/>
                    </a:cubicBezTo>
                    <a:cubicBezTo>
                      <a:pt x="273" y="145"/>
                      <a:pt x="273" y="145"/>
                      <a:pt x="273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7" y="143"/>
                      <a:pt x="277" y="143"/>
                      <a:pt x="277" y="14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42"/>
                      <a:pt x="280" y="142"/>
                      <a:pt x="280" y="142"/>
                    </a:cubicBezTo>
                    <a:cubicBezTo>
                      <a:pt x="281" y="142"/>
                      <a:pt x="281" y="142"/>
                      <a:pt x="281" y="142"/>
                    </a:cubicBezTo>
                    <a:cubicBezTo>
                      <a:pt x="277" y="145"/>
                      <a:pt x="277" y="145"/>
                      <a:pt x="277" y="145"/>
                    </a:cubicBezTo>
                    <a:cubicBezTo>
                      <a:pt x="284" y="145"/>
                      <a:pt x="284" y="145"/>
                      <a:pt x="284" y="145"/>
                    </a:cubicBezTo>
                    <a:cubicBezTo>
                      <a:pt x="280" y="146"/>
                      <a:pt x="280" y="146"/>
                      <a:pt x="280" y="146"/>
                    </a:cubicBezTo>
                    <a:cubicBezTo>
                      <a:pt x="280" y="145"/>
                      <a:pt x="280" y="145"/>
                      <a:pt x="280" y="145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3" y="148"/>
                      <a:pt x="273" y="148"/>
                      <a:pt x="273" y="148"/>
                    </a:cubicBezTo>
                    <a:cubicBezTo>
                      <a:pt x="270" y="151"/>
                      <a:pt x="270" y="151"/>
                      <a:pt x="270" y="151"/>
                    </a:cubicBezTo>
                    <a:cubicBezTo>
                      <a:pt x="271" y="149"/>
                      <a:pt x="271" y="149"/>
                      <a:pt x="271" y="149"/>
                    </a:cubicBezTo>
                    <a:cubicBezTo>
                      <a:pt x="269" y="153"/>
                      <a:pt x="269" y="153"/>
                      <a:pt x="269" y="153"/>
                    </a:cubicBezTo>
                    <a:cubicBezTo>
                      <a:pt x="270" y="155"/>
                      <a:pt x="270" y="155"/>
                      <a:pt x="270" y="155"/>
                    </a:cubicBezTo>
                    <a:cubicBezTo>
                      <a:pt x="273" y="155"/>
                      <a:pt x="273" y="155"/>
                      <a:pt x="273" y="155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3" y="149"/>
                      <a:pt x="283" y="149"/>
                      <a:pt x="283" y="149"/>
                    </a:cubicBezTo>
                    <a:cubicBezTo>
                      <a:pt x="289" y="148"/>
                      <a:pt x="289" y="148"/>
                      <a:pt x="289" y="148"/>
                    </a:cubicBezTo>
                    <a:cubicBezTo>
                      <a:pt x="295" y="145"/>
                      <a:pt x="295" y="145"/>
                      <a:pt x="295" y="145"/>
                    </a:cubicBezTo>
                    <a:cubicBezTo>
                      <a:pt x="293" y="145"/>
                      <a:pt x="293" y="145"/>
                      <a:pt x="293" y="145"/>
                    </a:cubicBezTo>
                    <a:cubicBezTo>
                      <a:pt x="294" y="144"/>
                      <a:pt x="294" y="144"/>
                      <a:pt x="294" y="144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89" y="143"/>
                      <a:pt x="289" y="143"/>
                      <a:pt x="289" y="143"/>
                    </a:cubicBezTo>
                    <a:cubicBezTo>
                      <a:pt x="287" y="143"/>
                      <a:pt x="287" y="143"/>
                      <a:pt x="287" y="143"/>
                    </a:cubicBezTo>
                    <a:cubicBezTo>
                      <a:pt x="283" y="141"/>
                      <a:pt x="283" y="141"/>
                      <a:pt x="283" y="141"/>
                    </a:cubicBezTo>
                    <a:cubicBezTo>
                      <a:pt x="281" y="139"/>
                      <a:pt x="281" y="139"/>
                      <a:pt x="281" y="139"/>
                    </a:cubicBezTo>
                    <a:cubicBezTo>
                      <a:pt x="281" y="135"/>
                      <a:pt x="281" y="135"/>
                      <a:pt x="281" y="135"/>
                    </a:cubicBezTo>
                    <a:cubicBezTo>
                      <a:pt x="279" y="135"/>
                      <a:pt x="279" y="135"/>
                      <a:pt x="279" y="135"/>
                    </a:cubicBezTo>
                    <a:cubicBezTo>
                      <a:pt x="282" y="132"/>
                      <a:pt x="282" y="132"/>
                      <a:pt x="282" y="132"/>
                    </a:cubicBezTo>
                    <a:cubicBezTo>
                      <a:pt x="279" y="132"/>
                      <a:pt x="279" y="132"/>
                      <a:pt x="279" y="132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80" y="130"/>
                      <a:pt x="280" y="130"/>
                      <a:pt x="280" y="130"/>
                    </a:cubicBezTo>
                    <a:cubicBezTo>
                      <a:pt x="285" y="127"/>
                      <a:pt x="285" y="127"/>
                      <a:pt x="285" y="127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5"/>
                      <a:pt x="287" y="125"/>
                      <a:pt x="287" y="125"/>
                    </a:cubicBezTo>
                    <a:cubicBezTo>
                      <a:pt x="287" y="124"/>
                      <a:pt x="287" y="124"/>
                      <a:pt x="287" y="124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75" y="124"/>
                      <a:pt x="275" y="124"/>
                      <a:pt x="275" y="124"/>
                    </a:cubicBezTo>
                    <a:cubicBezTo>
                      <a:pt x="268" y="126"/>
                      <a:pt x="268" y="126"/>
                      <a:pt x="268" y="126"/>
                    </a:cubicBezTo>
                    <a:cubicBezTo>
                      <a:pt x="263" y="130"/>
                      <a:pt x="263" y="130"/>
                      <a:pt x="263" y="130"/>
                    </a:cubicBezTo>
                    <a:cubicBezTo>
                      <a:pt x="259" y="133"/>
                      <a:pt x="259" y="133"/>
                      <a:pt x="259" y="133"/>
                    </a:cubicBezTo>
                    <a:cubicBezTo>
                      <a:pt x="252" y="136"/>
                      <a:pt x="252" y="136"/>
                      <a:pt x="252" y="136"/>
                    </a:cubicBezTo>
                    <a:cubicBezTo>
                      <a:pt x="256" y="133"/>
                      <a:pt x="256" y="133"/>
                      <a:pt x="256" y="133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56" y="127"/>
                      <a:pt x="256" y="127"/>
                      <a:pt x="256" y="127"/>
                    </a:cubicBezTo>
                    <a:cubicBezTo>
                      <a:pt x="261" y="128"/>
                      <a:pt x="261" y="128"/>
                      <a:pt x="261" y="128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73" y="122"/>
                      <a:pt x="273" y="122"/>
                      <a:pt x="273" y="122"/>
                    </a:cubicBezTo>
                    <a:cubicBezTo>
                      <a:pt x="279" y="118"/>
                      <a:pt x="279" y="118"/>
                      <a:pt x="279" y="118"/>
                    </a:cubicBezTo>
                    <a:cubicBezTo>
                      <a:pt x="289" y="118"/>
                      <a:pt x="289" y="118"/>
                      <a:pt x="289" y="118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307" y="116"/>
                      <a:pt x="307" y="116"/>
                      <a:pt x="307" y="116"/>
                    </a:cubicBezTo>
                    <a:cubicBezTo>
                      <a:pt x="315" y="112"/>
                      <a:pt x="315" y="112"/>
                      <a:pt x="315" y="112"/>
                    </a:cubicBezTo>
                    <a:cubicBezTo>
                      <a:pt x="323" y="110"/>
                      <a:pt x="323" y="110"/>
                      <a:pt x="323" y="110"/>
                    </a:cubicBezTo>
                    <a:cubicBezTo>
                      <a:pt x="331" y="105"/>
                      <a:pt x="331" y="105"/>
                      <a:pt x="331" y="105"/>
                    </a:cubicBezTo>
                    <a:cubicBezTo>
                      <a:pt x="329" y="104"/>
                      <a:pt x="329" y="104"/>
                      <a:pt x="329" y="104"/>
                    </a:cubicBezTo>
                    <a:cubicBezTo>
                      <a:pt x="331" y="104"/>
                      <a:pt x="331" y="104"/>
                      <a:pt x="331" y="104"/>
                    </a:cubicBezTo>
                    <a:cubicBezTo>
                      <a:pt x="329" y="103"/>
                      <a:pt x="329" y="103"/>
                      <a:pt x="329" y="103"/>
                    </a:cubicBezTo>
                    <a:cubicBezTo>
                      <a:pt x="331" y="103"/>
                      <a:pt x="331" y="103"/>
                      <a:pt x="331" y="103"/>
                    </a:cubicBezTo>
                    <a:cubicBezTo>
                      <a:pt x="331" y="102"/>
                      <a:pt x="331" y="102"/>
                      <a:pt x="331" y="102"/>
                    </a:cubicBezTo>
                    <a:cubicBezTo>
                      <a:pt x="331" y="101"/>
                      <a:pt x="331" y="101"/>
                      <a:pt x="331" y="101"/>
                    </a:cubicBezTo>
                    <a:cubicBezTo>
                      <a:pt x="331" y="98"/>
                      <a:pt x="331" y="98"/>
                      <a:pt x="331" y="98"/>
                    </a:cubicBezTo>
                    <a:cubicBezTo>
                      <a:pt x="329" y="97"/>
                      <a:pt x="329" y="97"/>
                      <a:pt x="329" y="97"/>
                    </a:cubicBezTo>
                    <a:cubicBezTo>
                      <a:pt x="329" y="96"/>
                      <a:pt x="329" y="96"/>
                      <a:pt x="329" y="96"/>
                    </a:cubicBezTo>
                    <a:cubicBezTo>
                      <a:pt x="326" y="97"/>
                      <a:pt x="326" y="97"/>
                      <a:pt x="326" y="97"/>
                    </a:cubicBezTo>
                    <a:cubicBezTo>
                      <a:pt x="327" y="94"/>
                      <a:pt x="327" y="94"/>
                      <a:pt x="327" y="94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5" y="96"/>
                      <a:pt x="325" y="96"/>
                      <a:pt x="325" y="96"/>
                    </a:cubicBezTo>
                    <a:cubicBezTo>
                      <a:pt x="319" y="97"/>
                      <a:pt x="319" y="97"/>
                      <a:pt x="319" y="97"/>
                    </a:cubicBezTo>
                    <a:cubicBezTo>
                      <a:pt x="312" y="98"/>
                      <a:pt x="312" y="98"/>
                      <a:pt x="312" y="98"/>
                    </a:cubicBezTo>
                    <a:cubicBezTo>
                      <a:pt x="314" y="98"/>
                      <a:pt x="314" y="98"/>
                      <a:pt x="314" y="98"/>
                    </a:cubicBezTo>
                    <a:cubicBezTo>
                      <a:pt x="312" y="96"/>
                      <a:pt x="312" y="96"/>
                      <a:pt x="312" y="96"/>
                    </a:cubicBezTo>
                    <a:cubicBezTo>
                      <a:pt x="315" y="97"/>
                      <a:pt x="315" y="97"/>
                      <a:pt x="315" y="97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9" y="92"/>
                      <a:pt x="329" y="92"/>
                      <a:pt x="329" y="92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1" y="90"/>
                      <a:pt x="321" y="90"/>
                      <a:pt x="321" y="90"/>
                    </a:cubicBezTo>
                    <a:cubicBezTo>
                      <a:pt x="322" y="89"/>
                      <a:pt x="322" y="89"/>
                      <a:pt x="322" y="89"/>
                    </a:cubicBezTo>
                    <a:cubicBezTo>
                      <a:pt x="317" y="91"/>
                      <a:pt x="317" y="91"/>
                      <a:pt x="317" y="91"/>
                    </a:cubicBezTo>
                    <a:cubicBezTo>
                      <a:pt x="320" y="89"/>
                      <a:pt x="320" y="89"/>
                      <a:pt x="320" y="89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5" y="90"/>
                      <a:pt x="315" y="90"/>
                      <a:pt x="315" y="90"/>
                    </a:cubicBezTo>
                    <a:cubicBezTo>
                      <a:pt x="317" y="89"/>
                      <a:pt x="317" y="89"/>
                      <a:pt x="317" y="89"/>
                    </a:cubicBezTo>
                    <a:cubicBezTo>
                      <a:pt x="317" y="88"/>
                      <a:pt x="317" y="88"/>
                      <a:pt x="317" y="88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7" y="87"/>
                      <a:pt x="317" y="87"/>
                      <a:pt x="317" y="87"/>
                    </a:cubicBezTo>
                    <a:cubicBezTo>
                      <a:pt x="317" y="85"/>
                      <a:pt x="317" y="85"/>
                      <a:pt x="317" y="85"/>
                    </a:cubicBezTo>
                    <a:cubicBezTo>
                      <a:pt x="314" y="83"/>
                      <a:pt x="314" y="83"/>
                      <a:pt x="314" y="83"/>
                    </a:cubicBezTo>
                    <a:cubicBezTo>
                      <a:pt x="312" y="82"/>
                      <a:pt x="312" y="82"/>
                      <a:pt x="312" y="82"/>
                    </a:cubicBezTo>
                    <a:cubicBezTo>
                      <a:pt x="314" y="82"/>
                      <a:pt x="314" y="82"/>
                      <a:pt x="314" y="82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4" y="81"/>
                      <a:pt x="314" y="81"/>
                      <a:pt x="314" y="81"/>
                    </a:cubicBezTo>
                    <a:cubicBezTo>
                      <a:pt x="312" y="81"/>
                      <a:pt x="312" y="81"/>
                      <a:pt x="312" y="81"/>
                    </a:cubicBezTo>
                    <a:cubicBezTo>
                      <a:pt x="313" y="81"/>
                      <a:pt x="313" y="81"/>
                      <a:pt x="313" y="81"/>
                    </a:cubicBezTo>
                    <a:cubicBezTo>
                      <a:pt x="311" y="80"/>
                      <a:pt x="311" y="80"/>
                      <a:pt x="311" y="80"/>
                    </a:cubicBezTo>
                    <a:cubicBezTo>
                      <a:pt x="313" y="80"/>
                      <a:pt x="313" y="80"/>
                      <a:pt x="313" y="80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5" y="77"/>
                      <a:pt x="315" y="77"/>
                      <a:pt x="315" y="77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5" y="74"/>
                      <a:pt x="315" y="74"/>
                      <a:pt x="315" y="74"/>
                    </a:cubicBezTo>
                    <a:cubicBezTo>
                      <a:pt x="314" y="73"/>
                      <a:pt x="314" y="73"/>
                      <a:pt x="314" y="73"/>
                    </a:cubicBezTo>
                    <a:cubicBezTo>
                      <a:pt x="313" y="72"/>
                      <a:pt x="313" y="72"/>
                      <a:pt x="313" y="72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4" y="68"/>
                      <a:pt x="314" y="68"/>
                      <a:pt x="314" y="68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1" y="67"/>
                      <a:pt x="311" y="67"/>
                      <a:pt x="311" y="67"/>
                    </a:cubicBezTo>
                    <a:cubicBezTo>
                      <a:pt x="313" y="65"/>
                      <a:pt x="313" y="65"/>
                      <a:pt x="313" y="65"/>
                    </a:cubicBezTo>
                    <a:cubicBezTo>
                      <a:pt x="312" y="65"/>
                      <a:pt x="312" y="65"/>
                      <a:pt x="312" y="65"/>
                    </a:cubicBezTo>
                    <a:cubicBezTo>
                      <a:pt x="311" y="63"/>
                      <a:pt x="311" y="63"/>
                      <a:pt x="311" y="63"/>
                    </a:cubicBezTo>
                    <a:cubicBezTo>
                      <a:pt x="309" y="63"/>
                      <a:pt x="309" y="63"/>
                      <a:pt x="309" y="63"/>
                    </a:cubicBezTo>
                    <a:cubicBezTo>
                      <a:pt x="311" y="61"/>
                      <a:pt x="311" y="61"/>
                      <a:pt x="311" y="61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8" y="63"/>
                      <a:pt x="308" y="63"/>
                      <a:pt x="308" y="63"/>
                    </a:cubicBezTo>
                    <a:cubicBezTo>
                      <a:pt x="305" y="63"/>
                      <a:pt x="305" y="63"/>
                      <a:pt x="305" y="63"/>
                    </a:cubicBezTo>
                    <a:cubicBezTo>
                      <a:pt x="307" y="65"/>
                      <a:pt x="307" y="65"/>
                      <a:pt x="307" y="65"/>
                    </a:cubicBezTo>
                    <a:cubicBezTo>
                      <a:pt x="305" y="65"/>
                      <a:pt x="305" y="65"/>
                      <a:pt x="305" y="65"/>
                    </a:cubicBezTo>
                    <a:cubicBezTo>
                      <a:pt x="303" y="67"/>
                      <a:pt x="303" y="67"/>
                      <a:pt x="303" y="67"/>
                    </a:cubicBezTo>
                    <a:cubicBezTo>
                      <a:pt x="301" y="68"/>
                      <a:pt x="301" y="68"/>
                      <a:pt x="301" y="68"/>
                    </a:cubicBezTo>
                    <a:cubicBezTo>
                      <a:pt x="300" y="71"/>
                      <a:pt x="300" y="71"/>
                      <a:pt x="300" y="71"/>
                    </a:cubicBezTo>
                    <a:cubicBezTo>
                      <a:pt x="299" y="68"/>
                      <a:pt x="299" y="68"/>
                      <a:pt x="299" y="68"/>
                    </a:cubicBezTo>
                    <a:cubicBezTo>
                      <a:pt x="296" y="71"/>
                      <a:pt x="296" y="71"/>
                      <a:pt x="296" y="71"/>
                    </a:cubicBezTo>
                    <a:cubicBezTo>
                      <a:pt x="292" y="73"/>
                      <a:pt x="292" y="73"/>
                      <a:pt x="292" y="73"/>
                    </a:cubicBezTo>
                    <a:cubicBezTo>
                      <a:pt x="293" y="71"/>
                      <a:pt x="293" y="71"/>
                      <a:pt x="293" y="71"/>
                    </a:cubicBezTo>
                    <a:cubicBezTo>
                      <a:pt x="292" y="72"/>
                      <a:pt x="292" y="72"/>
                      <a:pt x="292" y="72"/>
                    </a:cubicBezTo>
                    <a:cubicBezTo>
                      <a:pt x="292" y="69"/>
                      <a:pt x="292" y="69"/>
                      <a:pt x="292" y="69"/>
                    </a:cubicBezTo>
                    <a:cubicBezTo>
                      <a:pt x="289" y="73"/>
                      <a:pt x="289" y="73"/>
                      <a:pt x="289" y="73"/>
                    </a:cubicBezTo>
                    <a:cubicBezTo>
                      <a:pt x="285" y="74"/>
                      <a:pt x="285" y="74"/>
                      <a:pt x="285" y="74"/>
                    </a:cubicBezTo>
                    <a:cubicBezTo>
                      <a:pt x="291" y="71"/>
                      <a:pt x="291" y="71"/>
                      <a:pt x="291" y="71"/>
                    </a:cubicBezTo>
                    <a:cubicBezTo>
                      <a:pt x="291" y="67"/>
                      <a:pt x="291" y="67"/>
                      <a:pt x="291" y="67"/>
                    </a:cubicBezTo>
                    <a:cubicBezTo>
                      <a:pt x="285" y="68"/>
                      <a:pt x="285" y="68"/>
                      <a:pt x="285" y="68"/>
                    </a:cubicBezTo>
                    <a:cubicBezTo>
                      <a:pt x="284" y="68"/>
                      <a:pt x="284" y="68"/>
                      <a:pt x="284" y="68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8"/>
                      <a:pt x="287" y="68"/>
                      <a:pt x="287" y="68"/>
                    </a:cubicBezTo>
                    <a:cubicBezTo>
                      <a:pt x="289" y="65"/>
                      <a:pt x="289" y="65"/>
                      <a:pt x="289" y="65"/>
                    </a:cubicBezTo>
                    <a:cubicBezTo>
                      <a:pt x="287" y="64"/>
                      <a:pt x="287" y="64"/>
                      <a:pt x="287" y="64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4" y="63"/>
                      <a:pt x="284" y="63"/>
                      <a:pt x="284" y="63"/>
                    </a:cubicBezTo>
                    <a:cubicBezTo>
                      <a:pt x="291" y="61"/>
                      <a:pt x="291" y="61"/>
                      <a:pt x="291" y="61"/>
                    </a:cubicBezTo>
                    <a:cubicBezTo>
                      <a:pt x="292" y="58"/>
                      <a:pt x="292" y="58"/>
                      <a:pt x="292" y="58"/>
                    </a:cubicBezTo>
                    <a:cubicBezTo>
                      <a:pt x="292" y="57"/>
                      <a:pt x="292" y="57"/>
                      <a:pt x="292" y="57"/>
                    </a:cubicBezTo>
                    <a:cubicBezTo>
                      <a:pt x="291" y="58"/>
                      <a:pt x="291" y="58"/>
                      <a:pt x="291" y="58"/>
                    </a:cubicBezTo>
                    <a:cubicBezTo>
                      <a:pt x="284" y="54"/>
                      <a:pt x="284" y="54"/>
                      <a:pt x="284" y="54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3" y="52"/>
                      <a:pt x="283" y="52"/>
                      <a:pt x="283" y="52"/>
                    </a:cubicBezTo>
                    <a:cubicBezTo>
                      <a:pt x="283" y="51"/>
                      <a:pt x="283" y="51"/>
                      <a:pt x="283" y="51"/>
                    </a:cubicBezTo>
                    <a:cubicBezTo>
                      <a:pt x="280" y="48"/>
                      <a:pt x="280" y="48"/>
                      <a:pt x="280" y="48"/>
                    </a:cubicBezTo>
                    <a:cubicBezTo>
                      <a:pt x="275" y="51"/>
                      <a:pt x="275" y="51"/>
                      <a:pt x="275" y="51"/>
                    </a:cubicBezTo>
                    <a:cubicBezTo>
                      <a:pt x="270" y="51"/>
                      <a:pt x="270" y="51"/>
                      <a:pt x="270" y="51"/>
                    </a:cubicBezTo>
                    <a:cubicBezTo>
                      <a:pt x="273" y="50"/>
                      <a:pt x="273" y="50"/>
                      <a:pt x="273" y="50"/>
                    </a:cubicBezTo>
                    <a:cubicBezTo>
                      <a:pt x="263" y="48"/>
                      <a:pt x="263" y="48"/>
                      <a:pt x="263" y="48"/>
                    </a:cubicBezTo>
                    <a:cubicBezTo>
                      <a:pt x="261" y="53"/>
                      <a:pt x="261" y="53"/>
                      <a:pt x="261" y="53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58"/>
                      <a:pt x="259" y="58"/>
                      <a:pt x="259" y="58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6" y="64"/>
                      <a:pt x="256" y="64"/>
                      <a:pt x="256" y="64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54" y="75"/>
                      <a:pt x="254" y="75"/>
                      <a:pt x="254" y="75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49" y="84"/>
                      <a:pt x="249" y="84"/>
                      <a:pt x="249" y="84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237" y="91"/>
                      <a:pt x="237" y="91"/>
                      <a:pt x="237" y="91"/>
                    </a:cubicBezTo>
                    <a:cubicBezTo>
                      <a:pt x="234" y="92"/>
                      <a:pt x="234" y="92"/>
                      <a:pt x="234" y="92"/>
                    </a:cubicBezTo>
                    <a:cubicBezTo>
                      <a:pt x="234" y="96"/>
                      <a:pt x="234" y="96"/>
                      <a:pt x="234" y="96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29" y="106"/>
                      <a:pt x="229" y="106"/>
                      <a:pt x="229" y="106"/>
                    </a:cubicBezTo>
                    <a:cubicBezTo>
                      <a:pt x="229" y="110"/>
                      <a:pt x="229" y="110"/>
                      <a:pt x="229" y="110"/>
                    </a:cubicBezTo>
                    <a:cubicBezTo>
                      <a:pt x="227" y="110"/>
                      <a:pt x="227" y="110"/>
                      <a:pt x="227" y="110"/>
                    </a:cubicBezTo>
                    <a:cubicBezTo>
                      <a:pt x="227" y="109"/>
                      <a:pt x="227" y="109"/>
                      <a:pt x="227" y="109"/>
                    </a:cubicBezTo>
                    <a:cubicBezTo>
                      <a:pt x="223" y="112"/>
                      <a:pt x="223" y="112"/>
                      <a:pt x="223" y="112"/>
                    </a:cubicBezTo>
                    <a:cubicBezTo>
                      <a:pt x="224" y="114"/>
                      <a:pt x="224" y="114"/>
                      <a:pt x="224" y="114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12"/>
                      <a:pt x="217" y="112"/>
                      <a:pt x="217" y="112"/>
                    </a:cubicBezTo>
                    <a:cubicBezTo>
                      <a:pt x="221" y="110"/>
                      <a:pt x="221" y="110"/>
                      <a:pt x="221" y="110"/>
                    </a:cubicBezTo>
                    <a:cubicBezTo>
                      <a:pt x="217" y="105"/>
                      <a:pt x="217" y="105"/>
                      <a:pt x="217" y="105"/>
                    </a:cubicBezTo>
                    <a:cubicBezTo>
                      <a:pt x="219" y="104"/>
                      <a:pt x="219" y="104"/>
                      <a:pt x="219" y="104"/>
                    </a:cubicBezTo>
                    <a:cubicBezTo>
                      <a:pt x="219" y="100"/>
                      <a:pt x="219" y="100"/>
                      <a:pt x="219" y="100"/>
                    </a:cubicBezTo>
                    <a:cubicBezTo>
                      <a:pt x="220" y="94"/>
                      <a:pt x="220" y="94"/>
                      <a:pt x="220" y="9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0" y="89"/>
                      <a:pt x="210" y="89"/>
                      <a:pt x="210" y="89"/>
                    </a:cubicBezTo>
                    <a:cubicBezTo>
                      <a:pt x="212" y="88"/>
                      <a:pt x="212" y="88"/>
                      <a:pt x="212" y="88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7" y="78"/>
                      <a:pt x="187" y="78"/>
                      <a:pt x="187" y="78"/>
                    </a:cubicBezTo>
                    <a:cubicBezTo>
                      <a:pt x="185" y="78"/>
                      <a:pt x="185" y="78"/>
                      <a:pt x="185" y="78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4" y="69"/>
                      <a:pt x="184" y="69"/>
                      <a:pt x="184" y="6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4" y="68"/>
                      <a:pt x="184" y="68"/>
                      <a:pt x="184" y="68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90" y="58"/>
                      <a:pt x="190" y="58"/>
                      <a:pt x="190" y="58"/>
                    </a:cubicBezTo>
                    <a:cubicBezTo>
                      <a:pt x="198" y="53"/>
                      <a:pt x="198" y="53"/>
                      <a:pt x="198" y="53"/>
                    </a:cubicBezTo>
                    <a:cubicBezTo>
                      <a:pt x="199" y="52"/>
                      <a:pt x="199" y="52"/>
                      <a:pt x="199" y="52"/>
                    </a:cubicBezTo>
                    <a:cubicBezTo>
                      <a:pt x="204" y="50"/>
                      <a:pt x="204" y="50"/>
                      <a:pt x="204" y="50"/>
                    </a:cubicBezTo>
                    <a:cubicBezTo>
                      <a:pt x="203" y="50"/>
                      <a:pt x="203" y="50"/>
                      <a:pt x="203" y="50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09" y="48"/>
                      <a:pt x="209" y="48"/>
                      <a:pt x="209" y="48"/>
                    </a:cubicBezTo>
                    <a:cubicBezTo>
                      <a:pt x="209" y="47"/>
                      <a:pt x="209" y="47"/>
                      <a:pt x="209" y="47"/>
                    </a:cubicBezTo>
                    <a:cubicBezTo>
                      <a:pt x="216" y="45"/>
                      <a:pt x="216" y="45"/>
                      <a:pt x="216" y="45"/>
                    </a:cubicBezTo>
                    <a:cubicBezTo>
                      <a:pt x="216" y="44"/>
                      <a:pt x="216" y="44"/>
                      <a:pt x="216" y="44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2" y="42"/>
                      <a:pt x="212" y="42"/>
                      <a:pt x="212" y="42"/>
                    </a:cubicBezTo>
                    <a:cubicBezTo>
                      <a:pt x="207" y="41"/>
                      <a:pt x="207" y="41"/>
                      <a:pt x="207" y="41"/>
                    </a:cubicBezTo>
                    <a:cubicBezTo>
                      <a:pt x="207" y="40"/>
                      <a:pt x="207" y="40"/>
                      <a:pt x="207" y="40"/>
                    </a:cubicBezTo>
                    <a:cubicBezTo>
                      <a:pt x="213" y="41"/>
                      <a:pt x="213" y="41"/>
                      <a:pt x="213" y="41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21" y="41"/>
                      <a:pt x="221" y="41"/>
                      <a:pt x="221" y="41"/>
                    </a:cubicBezTo>
                    <a:cubicBezTo>
                      <a:pt x="222" y="40"/>
                      <a:pt x="222" y="40"/>
                      <a:pt x="222" y="40"/>
                    </a:cubicBezTo>
                    <a:cubicBezTo>
                      <a:pt x="224" y="41"/>
                      <a:pt x="224" y="41"/>
                      <a:pt x="224" y="41"/>
                    </a:cubicBezTo>
                    <a:cubicBezTo>
                      <a:pt x="224" y="40"/>
                      <a:pt x="224" y="40"/>
                      <a:pt x="224" y="40"/>
                    </a:cubicBezTo>
                    <a:cubicBezTo>
                      <a:pt x="227" y="40"/>
                      <a:pt x="227" y="40"/>
                      <a:pt x="227" y="40"/>
                    </a:cubicBezTo>
                    <a:cubicBezTo>
                      <a:pt x="236" y="35"/>
                      <a:pt x="236" y="35"/>
                      <a:pt x="236" y="35"/>
                    </a:cubicBezTo>
                    <a:cubicBezTo>
                      <a:pt x="237" y="34"/>
                      <a:pt x="237" y="34"/>
                      <a:pt x="237" y="34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33" y="32"/>
                      <a:pt x="233" y="32"/>
                      <a:pt x="233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45" y="29"/>
                      <a:pt x="245" y="29"/>
                      <a:pt x="245" y="29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1" name="Freeform 2023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2" name="Freeform 2024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3" name="Freeform 2025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4" name="Freeform 2026"/>
              <p:cNvSpPr>
                <a:spLocks/>
              </p:cNvSpPr>
              <p:nvPr/>
            </p:nvSpPr>
            <p:spPr bwMode="auto">
              <a:xfrm>
                <a:off x="2970249" y="2750292"/>
                <a:ext cx="161928" cy="146052"/>
              </a:xfrm>
              <a:custGeom>
                <a:avLst/>
                <a:gdLst/>
                <a:ahLst/>
                <a:cxnLst>
                  <a:cxn ang="0">
                    <a:pos x="53" y="72"/>
                  </a:cxn>
                  <a:cxn ang="0">
                    <a:pos x="56" y="66"/>
                  </a:cxn>
                  <a:cxn ang="0">
                    <a:pos x="27" y="72"/>
                  </a:cxn>
                  <a:cxn ang="0">
                    <a:pos x="0" y="72"/>
                  </a:cxn>
                  <a:cxn ang="0">
                    <a:pos x="7" y="66"/>
                  </a:cxn>
                  <a:cxn ang="0">
                    <a:pos x="20" y="53"/>
                  </a:cxn>
                  <a:cxn ang="0">
                    <a:pos x="7" y="53"/>
                  </a:cxn>
                  <a:cxn ang="0">
                    <a:pos x="13" y="53"/>
                  </a:cxn>
                  <a:cxn ang="0">
                    <a:pos x="27" y="46"/>
                  </a:cxn>
                  <a:cxn ang="0">
                    <a:pos x="30" y="43"/>
                  </a:cxn>
                  <a:cxn ang="0">
                    <a:pos x="27" y="39"/>
                  </a:cxn>
                  <a:cxn ang="0">
                    <a:pos x="33" y="36"/>
                  </a:cxn>
                  <a:cxn ang="0">
                    <a:pos x="46" y="13"/>
                  </a:cxn>
                  <a:cxn ang="0">
                    <a:pos x="66" y="0"/>
                  </a:cxn>
                  <a:cxn ang="0">
                    <a:pos x="79" y="0"/>
                  </a:cxn>
                  <a:cxn ang="0">
                    <a:pos x="69" y="3"/>
                  </a:cxn>
                  <a:cxn ang="0">
                    <a:pos x="73" y="6"/>
                  </a:cxn>
                  <a:cxn ang="0">
                    <a:pos x="66" y="13"/>
                  </a:cxn>
                  <a:cxn ang="0">
                    <a:pos x="46" y="36"/>
                  </a:cxn>
                  <a:cxn ang="0">
                    <a:pos x="63" y="23"/>
                  </a:cxn>
                  <a:cxn ang="0">
                    <a:pos x="59" y="29"/>
                  </a:cxn>
                  <a:cxn ang="0">
                    <a:pos x="69" y="29"/>
                  </a:cxn>
                  <a:cxn ang="0">
                    <a:pos x="63" y="33"/>
                  </a:cxn>
                  <a:cxn ang="0">
                    <a:pos x="63" y="36"/>
                  </a:cxn>
                  <a:cxn ang="0">
                    <a:pos x="73" y="39"/>
                  </a:cxn>
                  <a:cxn ang="0">
                    <a:pos x="69" y="43"/>
                  </a:cxn>
                  <a:cxn ang="0">
                    <a:pos x="83" y="36"/>
                  </a:cxn>
                  <a:cxn ang="0">
                    <a:pos x="83" y="39"/>
                  </a:cxn>
                  <a:cxn ang="0">
                    <a:pos x="96" y="39"/>
                  </a:cxn>
                  <a:cxn ang="0">
                    <a:pos x="86" y="49"/>
                  </a:cxn>
                  <a:cxn ang="0">
                    <a:pos x="86" y="53"/>
                  </a:cxn>
                  <a:cxn ang="0">
                    <a:pos x="83" y="56"/>
                  </a:cxn>
                  <a:cxn ang="0">
                    <a:pos x="102" y="53"/>
                  </a:cxn>
                  <a:cxn ang="0">
                    <a:pos x="83" y="66"/>
                  </a:cxn>
                  <a:cxn ang="0">
                    <a:pos x="86" y="66"/>
                  </a:cxn>
                  <a:cxn ang="0">
                    <a:pos x="83" y="66"/>
                  </a:cxn>
                  <a:cxn ang="0">
                    <a:pos x="83" y="72"/>
                  </a:cxn>
                  <a:cxn ang="0">
                    <a:pos x="99" y="59"/>
                  </a:cxn>
                  <a:cxn ang="0">
                    <a:pos x="96" y="72"/>
                  </a:cxn>
                  <a:cxn ang="0">
                    <a:pos x="99" y="66"/>
                  </a:cxn>
                  <a:cxn ang="0">
                    <a:pos x="102" y="76"/>
                  </a:cxn>
                  <a:cxn ang="0">
                    <a:pos x="86" y="92"/>
                  </a:cxn>
                  <a:cxn ang="0">
                    <a:pos x="83" y="86"/>
                  </a:cxn>
                  <a:cxn ang="0">
                    <a:pos x="83" y="82"/>
                  </a:cxn>
                  <a:cxn ang="0">
                    <a:pos x="73" y="86"/>
                  </a:cxn>
                  <a:cxn ang="0">
                    <a:pos x="79" y="72"/>
                  </a:cxn>
                  <a:cxn ang="0">
                    <a:pos x="79" y="66"/>
                  </a:cxn>
                  <a:cxn ang="0">
                    <a:pos x="69" y="76"/>
                  </a:cxn>
                  <a:cxn ang="0">
                    <a:pos x="73" y="72"/>
                  </a:cxn>
                  <a:cxn ang="0">
                    <a:pos x="53" y="86"/>
                  </a:cxn>
                  <a:cxn ang="0">
                    <a:pos x="53" y="82"/>
                  </a:cxn>
                  <a:cxn ang="0">
                    <a:pos x="69" y="72"/>
                  </a:cxn>
                  <a:cxn ang="0">
                    <a:pos x="66" y="72"/>
                  </a:cxn>
                  <a:cxn ang="0">
                    <a:pos x="66" y="66"/>
                  </a:cxn>
                  <a:cxn ang="0">
                    <a:pos x="59" y="72"/>
                  </a:cxn>
                  <a:cxn ang="0">
                    <a:pos x="56" y="76"/>
                  </a:cxn>
                  <a:cxn ang="0">
                    <a:pos x="46" y="76"/>
                  </a:cxn>
                  <a:cxn ang="0">
                    <a:pos x="53" y="72"/>
                  </a:cxn>
                </a:cxnLst>
                <a:rect l="0" t="0" r="r" b="b"/>
                <a:pathLst>
                  <a:path w="102" h="92">
                    <a:moveTo>
                      <a:pt x="53" y="72"/>
                    </a:moveTo>
                    <a:lnTo>
                      <a:pt x="56" y="66"/>
                    </a:lnTo>
                    <a:lnTo>
                      <a:pt x="27" y="72"/>
                    </a:lnTo>
                    <a:lnTo>
                      <a:pt x="0" y="72"/>
                    </a:lnTo>
                    <a:lnTo>
                      <a:pt x="7" y="66"/>
                    </a:lnTo>
                    <a:lnTo>
                      <a:pt x="20" y="53"/>
                    </a:lnTo>
                    <a:lnTo>
                      <a:pt x="7" y="53"/>
                    </a:lnTo>
                    <a:lnTo>
                      <a:pt x="13" y="53"/>
                    </a:lnTo>
                    <a:lnTo>
                      <a:pt x="27" y="46"/>
                    </a:lnTo>
                    <a:lnTo>
                      <a:pt x="30" y="43"/>
                    </a:lnTo>
                    <a:lnTo>
                      <a:pt x="27" y="39"/>
                    </a:lnTo>
                    <a:lnTo>
                      <a:pt x="33" y="36"/>
                    </a:lnTo>
                    <a:lnTo>
                      <a:pt x="46" y="13"/>
                    </a:lnTo>
                    <a:lnTo>
                      <a:pt x="66" y="0"/>
                    </a:lnTo>
                    <a:lnTo>
                      <a:pt x="79" y="0"/>
                    </a:lnTo>
                    <a:lnTo>
                      <a:pt x="69" y="3"/>
                    </a:lnTo>
                    <a:lnTo>
                      <a:pt x="73" y="6"/>
                    </a:lnTo>
                    <a:lnTo>
                      <a:pt x="66" y="13"/>
                    </a:lnTo>
                    <a:lnTo>
                      <a:pt x="46" y="36"/>
                    </a:lnTo>
                    <a:lnTo>
                      <a:pt x="63" y="23"/>
                    </a:lnTo>
                    <a:lnTo>
                      <a:pt x="59" y="29"/>
                    </a:lnTo>
                    <a:lnTo>
                      <a:pt x="69" y="29"/>
                    </a:lnTo>
                    <a:lnTo>
                      <a:pt x="63" y="33"/>
                    </a:lnTo>
                    <a:lnTo>
                      <a:pt x="63" y="36"/>
                    </a:lnTo>
                    <a:lnTo>
                      <a:pt x="73" y="39"/>
                    </a:lnTo>
                    <a:lnTo>
                      <a:pt x="69" y="43"/>
                    </a:lnTo>
                    <a:lnTo>
                      <a:pt x="83" y="36"/>
                    </a:lnTo>
                    <a:lnTo>
                      <a:pt x="83" y="39"/>
                    </a:lnTo>
                    <a:lnTo>
                      <a:pt x="96" y="39"/>
                    </a:lnTo>
                    <a:lnTo>
                      <a:pt x="86" y="49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102" y="53"/>
                    </a:lnTo>
                    <a:lnTo>
                      <a:pt x="83" y="66"/>
                    </a:lnTo>
                    <a:lnTo>
                      <a:pt x="86" y="66"/>
                    </a:lnTo>
                    <a:lnTo>
                      <a:pt x="83" y="66"/>
                    </a:lnTo>
                    <a:lnTo>
                      <a:pt x="83" y="72"/>
                    </a:lnTo>
                    <a:lnTo>
                      <a:pt x="99" y="59"/>
                    </a:lnTo>
                    <a:lnTo>
                      <a:pt x="96" y="72"/>
                    </a:lnTo>
                    <a:lnTo>
                      <a:pt x="99" y="66"/>
                    </a:lnTo>
                    <a:lnTo>
                      <a:pt x="102" y="76"/>
                    </a:lnTo>
                    <a:lnTo>
                      <a:pt x="86" y="92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73" y="86"/>
                    </a:lnTo>
                    <a:lnTo>
                      <a:pt x="79" y="72"/>
                    </a:lnTo>
                    <a:lnTo>
                      <a:pt x="79" y="66"/>
                    </a:lnTo>
                    <a:lnTo>
                      <a:pt x="69" y="76"/>
                    </a:lnTo>
                    <a:lnTo>
                      <a:pt x="73" y="72"/>
                    </a:lnTo>
                    <a:lnTo>
                      <a:pt x="53" y="86"/>
                    </a:lnTo>
                    <a:lnTo>
                      <a:pt x="53" y="82"/>
                    </a:lnTo>
                    <a:lnTo>
                      <a:pt x="69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59" y="72"/>
                    </a:lnTo>
                    <a:lnTo>
                      <a:pt x="56" y="76"/>
                    </a:lnTo>
                    <a:lnTo>
                      <a:pt x="46" y="76"/>
                    </a:lnTo>
                    <a:lnTo>
                      <a:pt x="53" y="72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5" name="Freeform 2027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6" name="Freeform 2028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7" name="Freeform 2029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8" name="Freeform 2030"/>
              <p:cNvSpPr>
                <a:spLocks/>
              </p:cNvSpPr>
              <p:nvPr/>
            </p:nvSpPr>
            <p:spPr bwMode="auto">
              <a:xfrm>
                <a:off x="1401780" y="2775693"/>
                <a:ext cx="77788" cy="63501"/>
              </a:xfrm>
              <a:custGeom>
                <a:avLst/>
                <a:gdLst/>
                <a:ahLst/>
                <a:cxnLst>
                  <a:cxn ang="0">
                    <a:pos x="32" y="27"/>
                  </a:cxn>
                  <a:cxn ang="0">
                    <a:pos x="29" y="30"/>
                  </a:cxn>
                  <a:cxn ang="0">
                    <a:pos x="19" y="30"/>
                  </a:cxn>
                  <a:cxn ang="0">
                    <a:pos x="23" y="27"/>
                  </a:cxn>
                  <a:cxn ang="0">
                    <a:pos x="19" y="23"/>
                  </a:cxn>
                  <a:cxn ang="0">
                    <a:pos x="9" y="23"/>
                  </a:cxn>
                  <a:cxn ang="0">
                    <a:pos x="23" y="17"/>
                  </a:cxn>
                  <a:cxn ang="0">
                    <a:pos x="9" y="13"/>
                  </a:cxn>
                  <a:cxn ang="0">
                    <a:pos x="9" y="7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19" y="4"/>
                  </a:cxn>
                  <a:cxn ang="0">
                    <a:pos x="32" y="4"/>
                  </a:cxn>
                  <a:cxn ang="0">
                    <a:pos x="36" y="13"/>
                  </a:cxn>
                  <a:cxn ang="0">
                    <a:pos x="46" y="23"/>
                  </a:cxn>
                  <a:cxn ang="0">
                    <a:pos x="49" y="37"/>
                  </a:cxn>
                  <a:cxn ang="0">
                    <a:pos x="49" y="40"/>
                  </a:cxn>
                  <a:cxn ang="0">
                    <a:pos x="23" y="33"/>
                  </a:cxn>
                  <a:cxn ang="0">
                    <a:pos x="32" y="27"/>
                  </a:cxn>
                </a:cxnLst>
                <a:rect l="0" t="0" r="r" b="b"/>
                <a:pathLst>
                  <a:path w="49" h="40">
                    <a:moveTo>
                      <a:pt x="32" y="27"/>
                    </a:moveTo>
                    <a:lnTo>
                      <a:pt x="29" y="30"/>
                    </a:lnTo>
                    <a:lnTo>
                      <a:pt x="19" y="30"/>
                    </a:lnTo>
                    <a:lnTo>
                      <a:pt x="23" y="27"/>
                    </a:lnTo>
                    <a:lnTo>
                      <a:pt x="19" y="23"/>
                    </a:lnTo>
                    <a:lnTo>
                      <a:pt x="9" y="23"/>
                    </a:lnTo>
                    <a:lnTo>
                      <a:pt x="23" y="17"/>
                    </a:lnTo>
                    <a:lnTo>
                      <a:pt x="9" y="13"/>
                    </a:lnTo>
                    <a:lnTo>
                      <a:pt x="9" y="7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19" y="4"/>
                    </a:lnTo>
                    <a:lnTo>
                      <a:pt x="32" y="4"/>
                    </a:lnTo>
                    <a:lnTo>
                      <a:pt x="36" y="13"/>
                    </a:lnTo>
                    <a:lnTo>
                      <a:pt x="46" y="23"/>
                    </a:lnTo>
                    <a:lnTo>
                      <a:pt x="49" y="37"/>
                    </a:lnTo>
                    <a:lnTo>
                      <a:pt x="49" y="40"/>
                    </a:lnTo>
                    <a:lnTo>
                      <a:pt x="23" y="33"/>
                    </a:lnTo>
                    <a:lnTo>
                      <a:pt x="32" y="2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099" name="Freeform 2031"/>
              <p:cNvSpPr>
                <a:spLocks/>
              </p:cNvSpPr>
              <p:nvPr/>
            </p:nvSpPr>
            <p:spPr bwMode="auto">
              <a:xfrm>
                <a:off x="3316328" y="2215297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0" name="Freeform 2032"/>
              <p:cNvSpPr>
                <a:spLocks/>
              </p:cNvSpPr>
              <p:nvPr/>
            </p:nvSpPr>
            <p:spPr bwMode="auto">
              <a:xfrm>
                <a:off x="3316328" y="2215297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1" name="Freeform 2033"/>
              <p:cNvSpPr>
                <a:spLocks/>
              </p:cNvSpPr>
              <p:nvPr/>
            </p:nvSpPr>
            <p:spPr bwMode="auto">
              <a:xfrm>
                <a:off x="3316328" y="2215297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2" name="Freeform 2034"/>
              <p:cNvSpPr>
                <a:spLocks/>
              </p:cNvSpPr>
              <p:nvPr/>
            </p:nvSpPr>
            <p:spPr bwMode="auto">
              <a:xfrm>
                <a:off x="3316328" y="2215297"/>
                <a:ext cx="52388" cy="52388"/>
              </a:xfrm>
              <a:custGeom>
                <a:avLst/>
                <a:gdLst/>
                <a:ahLst/>
                <a:cxnLst>
                  <a:cxn ang="0">
                    <a:pos x="33" y="17"/>
                  </a:cxn>
                  <a:cxn ang="0">
                    <a:pos x="10" y="0"/>
                  </a:cxn>
                  <a:cxn ang="0">
                    <a:pos x="0" y="13"/>
                  </a:cxn>
                  <a:cxn ang="0">
                    <a:pos x="3" y="13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10" y="23"/>
                  </a:cxn>
                  <a:cxn ang="0">
                    <a:pos x="6" y="33"/>
                  </a:cxn>
                  <a:cxn ang="0">
                    <a:pos x="33" y="17"/>
                  </a:cxn>
                </a:cxnLst>
                <a:rect l="0" t="0" r="r" b="b"/>
                <a:pathLst>
                  <a:path w="33" h="33">
                    <a:moveTo>
                      <a:pt x="33" y="17"/>
                    </a:moveTo>
                    <a:lnTo>
                      <a:pt x="10" y="0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10" y="23"/>
                    </a:lnTo>
                    <a:lnTo>
                      <a:pt x="6" y="33"/>
                    </a:lnTo>
                    <a:lnTo>
                      <a:pt x="33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3" name="Freeform 2035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4" name="Freeform 2036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5" name="Freeform 2037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6" name="Freeform 2038"/>
              <p:cNvSpPr>
                <a:spLocks/>
              </p:cNvSpPr>
              <p:nvPr/>
            </p:nvSpPr>
            <p:spPr bwMode="auto">
              <a:xfrm>
                <a:off x="4237089" y="2534390"/>
                <a:ext cx="166690" cy="257180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6" y="50"/>
                  </a:cxn>
                  <a:cxn ang="0">
                    <a:pos x="13" y="50"/>
                  </a:cxn>
                  <a:cxn ang="0">
                    <a:pos x="13" y="57"/>
                  </a:cxn>
                  <a:cxn ang="0">
                    <a:pos x="6" y="63"/>
                  </a:cxn>
                  <a:cxn ang="0">
                    <a:pos x="13" y="73"/>
                  </a:cxn>
                  <a:cxn ang="0">
                    <a:pos x="19" y="73"/>
                  </a:cxn>
                  <a:cxn ang="0">
                    <a:pos x="33" y="70"/>
                  </a:cxn>
                  <a:cxn ang="0">
                    <a:pos x="29" y="73"/>
                  </a:cxn>
                  <a:cxn ang="0">
                    <a:pos x="39" y="83"/>
                  </a:cxn>
                  <a:cxn ang="0">
                    <a:pos x="39" y="96"/>
                  </a:cxn>
                  <a:cxn ang="0">
                    <a:pos x="33" y="96"/>
                  </a:cxn>
                  <a:cxn ang="0">
                    <a:pos x="13" y="106"/>
                  </a:cxn>
                  <a:cxn ang="0">
                    <a:pos x="16" y="106"/>
                  </a:cxn>
                  <a:cxn ang="0">
                    <a:pos x="23" y="109"/>
                  </a:cxn>
                  <a:cxn ang="0">
                    <a:pos x="6" y="123"/>
                  </a:cxn>
                  <a:cxn ang="0">
                    <a:pos x="6" y="132"/>
                  </a:cxn>
                  <a:cxn ang="0">
                    <a:pos x="19" y="132"/>
                  </a:cxn>
                  <a:cxn ang="0">
                    <a:pos x="26" y="136"/>
                  </a:cxn>
                  <a:cxn ang="0">
                    <a:pos x="46" y="132"/>
                  </a:cxn>
                  <a:cxn ang="0">
                    <a:pos x="39" y="136"/>
                  </a:cxn>
                  <a:cxn ang="0">
                    <a:pos x="26" y="136"/>
                  </a:cxn>
                  <a:cxn ang="0">
                    <a:pos x="13" y="149"/>
                  </a:cxn>
                  <a:cxn ang="0">
                    <a:pos x="0" y="162"/>
                  </a:cxn>
                  <a:cxn ang="0">
                    <a:pos x="6" y="162"/>
                  </a:cxn>
                  <a:cxn ang="0">
                    <a:pos x="23" y="156"/>
                  </a:cxn>
                  <a:cxn ang="0">
                    <a:pos x="29" y="156"/>
                  </a:cxn>
                  <a:cxn ang="0">
                    <a:pos x="39" y="149"/>
                  </a:cxn>
                  <a:cxn ang="0">
                    <a:pos x="85" y="149"/>
                  </a:cxn>
                  <a:cxn ang="0">
                    <a:pos x="102" y="136"/>
                  </a:cxn>
                  <a:cxn ang="0">
                    <a:pos x="85" y="136"/>
                  </a:cxn>
                  <a:cxn ang="0">
                    <a:pos x="92" y="132"/>
                  </a:cxn>
                  <a:cxn ang="0">
                    <a:pos x="105" y="116"/>
                  </a:cxn>
                  <a:cxn ang="0">
                    <a:pos x="102" y="106"/>
                  </a:cxn>
                  <a:cxn ang="0">
                    <a:pos x="85" y="106"/>
                  </a:cxn>
                  <a:cxn ang="0">
                    <a:pos x="85" y="106"/>
                  </a:cxn>
                  <a:cxn ang="0">
                    <a:pos x="72" y="93"/>
                  </a:cxn>
                  <a:cxn ang="0">
                    <a:pos x="79" y="93"/>
                  </a:cxn>
                  <a:cxn ang="0">
                    <a:pos x="75" y="86"/>
                  </a:cxn>
                  <a:cxn ang="0">
                    <a:pos x="66" y="73"/>
                  </a:cxn>
                  <a:cxn ang="0">
                    <a:pos x="52" y="53"/>
                  </a:cxn>
                  <a:cxn ang="0">
                    <a:pos x="29" y="50"/>
                  </a:cxn>
                  <a:cxn ang="0">
                    <a:pos x="39" y="43"/>
                  </a:cxn>
                  <a:cxn ang="0">
                    <a:pos x="39" y="40"/>
                  </a:cxn>
                  <a:cxn ang="0">
                    <a:pos x="39" y="40"/>
                  </a:cxn>
                  <a:cxn ang="0">
                    <a:pos x="56" y="20"/>
                  </a:cxn>
                  <a:cxn ang="0">
                    <a:pos x="23" y="20"/>
                  </a:cxn>
                  <a:cxn ang="0">
                    <a:pos x="26" y="14"/>
                  </a:cxn>
                  <a:cxn ang="0">
                    <a:pos x="39" y="0"/>
                  </a:cxn>
                  <a:cxn ang="0">
                    <a:pos x="16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0" y="20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0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0" y="60"/>
                  </a:cxn>
                </a:cxnLst>
                <a:rect l="0" t="0" r="r" b="b"/>
                <a:pathLst>
                  <a:path w="105" h="162">
                    <a:moveTo>
                      <a:pt x="0" y="60"/>
                    </a:moveTo>
                    <a:lnTo>
                      <a:pt x="6" y="50"/>
                    </a:lnTo>
                    <a:lnTo>
                      <a:pt x="13" y="50"/>
                    </a:lnTo>
                    <a:lnTo>
                      <a:pt x="13" y="57"/>
                    </a:lnTo>
                    <a:lnTo>
                      <a:pt x="6" y="63"/>
                    </a:lnTo>
                    <a:lnTo>
                      <a:pt x="13" y="73"/>
                    </a:lnTo>
                    <a:lnTo>
                      <a:pt x="19" y="73"/>
                    </a:lnTo>
                    <a:lnTo>
                      <a:pt x="33" y="70"/>
                    </a:lnTo>
                    <a:lnTo>
                      <a:pt x="29" y="73"/>
                    </a:lnTo>
                    <a:lnTo>
                      <a:pt x="39" y="83"/>
                    </a:lnTo>
                    <a:lnTo>
                      <a:pt x="39" y="96"/>
                    </a:lnTo>
                    <a:lnTo>
                      <a:pt x="33" y="96"/>
                    </a:lnTo>
                    <a:lnTo>
                      <a:pt x="13" y="106"/>
                    </a:lnTo>
                    <a:lnTo>
                      <a:pt x="16" y="106"/>
                    </a:lnTo>
                    <a:lnTo>
                      <a:pt x="23" y="109"/>
                    </a:lnTo>
                    <a:lnTo>
                      <a:pt x="6" y="123"/>
                    </a:lnTo>
                    <a:lnTo>
                      <a:pt x="6" y="132"/>
                    </a:lnTo>
                    <a:lnTo>
                      <a:pt x="19" y="132"/>
                    </a:lnTo>
                    <a:lnTo>
                      <a:pt x="26" y="136"/>
                    </a:lnTo>
                    <a:lnTo>
                      <a:pt x="46" y="132"/>
                    </a:lnTo>
                    <a:lnTo>
                      <a:pt x="39" y="136"/>
                    </a:lnTo>
                    <a:lnTo>
                      <a:pt x="26" y="136"/>
                    </a:lnTo>
                    <a:lnTo>
                      <a:pt x="13" y="149"/>
                    </a:lnTo>
                    <a:lnTo>
                      <a:pt x="0" y="162"/>
                    </a:lnTo>
                    <a:lnTo>
                      <a:pt x="6" y="162"/>
                    </a:lnTo>
                    <a:lnTo>
                      <a:pt x="23" y="156"/>
                    </a:lnTo>
                    <a:lnTo>
                      <a:pt x="29" y="156"/>
                    </a:lnTo>
                    <a:lnTo>
                      <a:pt x="39" y="149"/>
                    </a:lnTo>
                    <a:lnTo>
                      <a:pt x="85" y="149"/>
                    </a:lnTo>
                    <a:lnTo>
                      <a:pt x="102" y="136"/>
                    </a:lnTo>
                    <a:lnTo>
                      <a:pt x="85" y="136"/>
                    </a:lnTo>
                    <a:lnTo>
                      <a:pt x="92" y="132"/>
                    </a:lnTo>
                    <a:lnTo>
                      <a:pt x="105" y="116"/>
                    </a:lnTo>
                    <a:lnTo>
                      <a:pt x="102" y="106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2" y="93"/>
                    </a:lnTo>
                    <a:lnTo>
                      <a:pt x="79" y="93"/>
                    </a:lnTo>
                    <a:lnTo>
                      <a:pt x="75" y="86"/>
                    </a:lnTo>
                    <a:lnTo>
                      <a:pt x="66" y="73"/>
                    </a:lnTo>
                    <a:lnTo>
                      <a:pt x="52" y="53"/>
                    </a:lnTo>
                    <a:lnTo>
                      <a:pt x="29" y="50"/>
                    </a:lnTo>
                    <a:lnTo>
                      <a:pt x="39" y="43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56" y="20"/>
                    </a:lnTo>
                    <a:lnTo>
                      <a:pt x="23" y="20"/>
                    </a:lnTo>
                    <a:lnTo>
                      <a:pt x="26" y="14"/>
                    </a:lnTo>
                    <a:lnTo>
                      <a:pt x="39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7" name="Freeform 2039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8" name="Freeform 2040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09" name="Freeform 2041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0" name="Freeform 2042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1" name="Freeform 2043"/>
              <p:cNvSpPr>
                <a:spLocks/>
              </p:cNvSpPr>
              <p:nvPr/>
            </p:nvSpPr>
            <p:spPr bwMode="auto">
              <a:xfrm>
                <a:off x="4214863" y="2572491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2" name="Freeform 2044"/>
              <p:cNvSpPr>
                <a:spLocks/>
              </p:cNvSpPr>
              <p:nvPr/>
            </p:nvSpPr>
            <p:spPr bwMode="auto">
              <a:xfrm>
                <a:off x="4214863" y="2572491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3" name="Freeform 2045"/>
              <p:cNvSpPr>
                <a:spLocks/>
              </p:cNvSpPr>
              <p:nvPr/>
            </p:nvSpPr>
            <p:spPr bwMode="auto">
              <a:xfrm>
                <a:off x="4214863" y="2572491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4" name="Freeform 2046"/>
              <p:cNvSpPr>
                <a:spLocks/>
              </p:cNvSpPr>
              <p:nvPr/>
            </p:nvSpPr>
            <p:spPr bwMode="auto">
              <a:xfrm>
                <a:off x="4214863" y="2572491"/>
                <a:ext cx="63500" cy="57151"/>
              </a:xfrm>
              <a:custGeom>
                <a:avLst/>
                <a:gdLst/>
                <a:ahLst/>
                <a:cxnLst>
                  <a:cxn ang="0">
                    <a:pos x="20" y="23"/>
                  </a:cxn>
                  <a:cxn ang="0">
                    <a:pos x="7" y="0"/>
                  </a:cxn>
                  <a:cxn ang="0">
                    <a:pos x="0" y="23"/>
                  </a:cxn>
                  <a:cxn ang="0">
                    <a:pos x="33" y="36"/>
                  </a:cxn>
                  <a:cxn ang="0">
                    <a:pos x="40" y="36"/>
                  </a:cxn>
                  <a:cxn ang="0">
                    <a:pos x="20" y="23"/>
                  </a:cxn>
                </a:cxnLst>
                <a:rect l="0" t="0" r="r" b="b"/>
                <a:pathLst>
                  <a:path w="40" h="36">
                    <a:moveTo>
                      <a:pt x="20" y="23"/>
                    </a:moveTo>
                    <a:lnTo>
                      <a:pt x="7" y="0"/>
                    </a:lnTo>
                    <a:lnTo>
                      <a:pt x="0" y="23"/>
                    </a:lnTo>
                    <a:lnTo>
                      <a:pt x="33" y="36"/>
                    </a:lnTo>
                    <a:lnTo>
                      <a:pt x="40" y="36"/>
                    </a:lnTo>
                    <a:lnTo>
                      <a:pt x="20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5" name="Freeform 2047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6" name="Freeform 2048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7" name="Freeform 2049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8" name="Freeform 2050"/>
              <p:cNvSpPr>
                <a:spLocks/>
              </p:cNvSpPr>
              <p:nvPr/>
            </p:nvSpPr>
            <p:spPr bwMode="auto">
              <a:xfrm>
                <a:off x="4214863" y="2550265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23"/>
                  </a:cxn>
                  <a:cxn ang="0">
                    <a:pos x="37" y="0"/>
                  </a:cxn>
                  <a:cxn ang="0">
                    <a:pos x="14" y="23"/>
                  </a:cxn>
                  <a:cxn ang="0">
                    <a:pos x="0" y="33"/>
                  </a:cxn>
                  <a:cxn ang="0">
                    <a:pos x="37" y="23"/>
                  </a:cxn>
                </a:cxnLst>
                <a:rect l="0" t="0" r="r" b="b"/>
                <a:pathLst>
                  <a:path w="37" h="33">
                    <a:moveTo>
                      <a:pt x="37" y="23"/>
                    </a:moveTo>
                    <a:lnTo>
                      <a:pt x="37" y="0"/>
                    </a:lnTo>
                    <a:lnTo>
                      <a:pt x="14" y="23"/>
                    </a:lnTo>
                    <a:lnTo>
                      <a:pt x="0" y="33"/>
                    </a:lnTo>
                    <a:lnTo>
                      <a:pt x="37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19" name="Freeform 2051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0" name="Freeform 2052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1" name="Freeform 2053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2" name="Freeform 2054"/>
              <p:cNvSpPr>
                <a:spLocks/>
              </p:cNvSpPr>
              <p:nvPr/>
            </p:nvSpPr>
            <p:spPr bwMode="auto">
              <a:xfrm>
                <a:off x="4241851" y="2602653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10"/>
                  </a:cxn>
                  <a:cxn ang="0">
                    <a:pos x="0" y="0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10"/>
                    </a:lnTo>
                    <a:lnTo>
                      <a:pt x="0" y="0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3" name="Freeform 2055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4" name="Freeform 2056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5" name="Freeform 2057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6" name="Freeform 2058"/>
              <p:cNvSpPr>
                <a:spLocks/>
              </p:cNvSpPr>
              <p:nvPr/>
            </p:nvSpPr>
            <p:spPr bwMode="auto">
              <a:xfrm>
                <a:off x="1379555" y="3331326"/>
                <a:ext cx="712796" cy="560396"/>
              </a:xfrm>
              <a:custGeom>
                <a:avLst/>
                <a:gdLst/>
                <a:ahLst/>
                <a:cxnLst>
                  <a:cxn ang="0">
                    <a:pos x="21" y="57"/>
                  </a:cxn>
                  <a:cxn ang="0">
                    <a:pos x="14" y="46"/>
                  </a:cxn>
                  <a:cxn ang="0">
                    <a:pos x="13" y="38"/>
                  </a:cxn>
                  <a:cxn ang="0">
                    <a:pos x="7" y="34"/>
                  </a:cxn>
                  <a:cxn ang="0">
                    <a:pos x="3" y="29"/>
                  </a:cxn>
                  <a:cxn ang="0">
                    <a:pos x="8" y="23"/>
                  </a:cxn>
                  <a:cxn ang="0">
                    <a:pos x="3" y="15"/>
                  </a:cxn>
                  <a:cxn ang="0">
                    <a:pos x="0" y="0"/>
                  </a:cxn>
                  <a:cxn ang="0">
                    <a:pos x="17" y="1"/>
                  </a:cxn>
                  <a:cxn ang="0">
                    <a:pos x="24" y="5"/>
                  </a:cxn>
                  <a:cxn ang="0">
                    <a:pos x="42" y="7"/>
                  </a:cxn>
                  <a:cxn ang="0">
                    <a:pos x="52" y="5"/>
                  </a:cxn>
                  <a:cxn ang="0">
                    <a:pos x="57" y="16"/>
                  </a:cxn>
                  <a:cxn ang="0">
                    <a:pos x="64" y="21"/>
                  </a:cxn>
                  <a:cxn ang="0">
                    <a:pos x="73" y="18"/>
                  </a:cxn>
                  <a:cxn ang="0">
                    <a:pos x="78" y="29"/>
                  </a:cxn>
                  <a:cxn ang="0">
                    <a:pos x="83" y="38"/>
                  </a:cxn>
                  <a:cxn ang="0">
                    <a:pos x="86" y="48"/>
                  </a:cxn>
                  <a:cxn ang="0">
                    <a:pos x="82" y="62"/>
                  </a:cxn>
                  <a:cxn ang="0">
                    <a:pos x="86" y="74"/>
                  </a:cxn>
                  <a:cxn ang="0">
                    <a:pos x="88" y="81"/>
                  </a:cxn>
                  <a:cxn ang="0">
                    <a:pos x="94" y="85"/>
                  </a:cxn>
                  <a:cxn ang="0">
                    <a:pos x="104" y="83"/>
                  </a:cxn>
                  <a:cxn ang="0">
                    <a:pos x="110" y="84"/>
                  </a:cxn>
                  <a:cxn ang="0">
                    <a:pos x="111" y="81"/>
                  </a:cxn>
                  <a:cxn ang="0">
                    <a:pos x="117" y="70"/>
                  </a:cxn>
                  <a:cxn ang="0">
                    <a:pos x="132" y="66"/>
                  </a:cxn>
                  <a:cxn ang="0">
                    <a:pos x="136" y="67"/>
                  </a:cxn>
                  <a:cxn ang="0">
                    <a:pos x="131" y="75"/>
                  </a:cxn>
                  <a:cxn ang="0">
                    <a:pos x="131" y="78"/>
                  </a:cxn>
                  <a:cxn ang="0">
                    <a:pos x="128" y="84"/>
                  </a:cxn>
                  <a:cxn ang="0">
                    <a:pos x="126" y="84"/>
                  </a:cxn>
                  <a:cxn ang="0">
                    <a:pos x="112" y="87"/>
                  </a:cxn>
                  <a:cxn ang="0">
                    <a:pos x="111" y="91"/>
                  </a:cxn>
                  <a:cxn ang="0">
                    <a:pos x="108" y="98"/>
                  </a:cxn>
                  <a:cxn ang="0">
                    <a:pos x="103" y="107"/>
                  </a:cxn>
                  <a:cxn ang="0">
                    <a:pos x="94" y="97"/>
                  </a:cxn>
                  <a:cxn ang="0">
                    <a:pos x="94" y="97"/>
                  </a:cxn>
                  <a:cxn ang="0">
                    <a:pos x="91" y="97"/>
                  </a:cxn>
                  <a:cxn ang="0">
                    <a:pos x="82" y="100"/>
                  </a:cxn>
                  <a:cxn ang="0">
                    <a:pos x="71" y="95"/>
                  </a:cxn>
                  <a:cxn ang="0">
                    <a:pos x="59" y="90"/>
                  </a:cxn>
                  <a:cxn ang="0">
                    <a:pos x="52" y="85"/>
                  </a:cxn>
                  <a:cxn ang="0">
                    <a:pos x="45" y="80"/>
                  </a:cxn>
                  <a:cxn ang="0">
                    <a:pos x="40" y="71"/>
                  </a:cxn>
                  <a:cxn ang="0">
                    <a:pos x="42" y="70"/>
                  </a:cxn>
                  <a:cxn ang="0">
                    <a:pos x="42" y="61"/>
                  </a:cxn>
                  <a:cxn ang="0">
                    <a:pos x="38" y="52"/>
                  </a:cxn>
                  <a:cxn ang="0">
                    <a:pos x="36" y="48"/>
                  </a:cxn>
                  <a:cxn ang="0">
                    <a:pos x="32" y="45"/>
                  </a:cxn>
                  <a:cxn ang="0">
                    <a:pos x="28" y="42"/>
                  </a:cxn>
                  <a:cxn ang="0">
                    <a:pos x="28" y="41"/>
                  </a:cxn>
                  <a:cxn ang="0">
                    <a:pos x="28" y="35"/>
                  </a:cxn>
                  <a:cxn ang="0">
                    <a:pos x="24" y="28"/>
                  </a:cxn>
                  <a:cxn ang="0">
                    <a:pos x="19" y="19"/>
                  </a:cxn>
                  <a:cxn ang="0">
                    <a:pos x="17" y="7"/>
                  </a:cxn>
                  <a:cxn ang="0">
                    <a:pos x="10" y="5"/>
                  </a:cxn>
                  <a:cxn ang="0">
                    <a:pos x="18" y="34"/>
                  </a:cxn>
                  <a:cxn ang="0">
                    <a:pos x="19" y="48"/>
                  </a:cxn>
                  <a:cxn ang="0">
                    <a:pos x="24" y="53"/>
                  </a:cxn>
                </a:cxnLst>
                <a:rect l="0" t="0" r="r" b="b"/>
                <a:pathLst>
                  <a:path w="136" h="107">
                    <a:moveTo>
                      <a:pt x="24" y="55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83" y="38"/>
                      <a:pt x="83" y="38"/>
                      <a:pt x="83" y="38"/>
                    </a:cubicBezTo>
                    <a:cubicBezTo>
                      <a:pt x="90" y="40"/>
                      <a:pt x="90" y="40"/>
                      <a:pt x="90" y="40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90" y="81"/>
                      <a:pt x="90" y="81"/>
                      <a:pt x="90" y="81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104" y="83"/>
                      <a:pt x="104" y="83"/>
                      <a:pt x="104" y="83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2" y="81"/>
                      <a:pt x="112" y="81"/>
                      <a:pt x="112" y="81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7" y="70"/>
                      <a:pt x="117" y="70"/>
                      <a:pt x="117" y="70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4" y="65"/>
                      <a:pt x="134" y="65"/>
                      <a:pt x="134" y="65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31" y="75"/>
                      <a:pt x="131" y="75"/>
                      <a:pt x="131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130" y="78"/>
                      <a:pt x="130" y="78"/>
                      <a:pt x="130" y="78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26" y="84"/>
                      <a:pt x="126" y="84"/>
                      <a:pt x="126" y="84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3" y="107"/>
                      <a:pt x="103" y="107"/>
                      <a:pt x="103" y="107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6" y="98"/>
                      <a:pt x="96" y="98"/>
                      <a:pt x="96" y="98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0" y="97"/>
                      <a:pt x="90" y="97"/>
                      <a:pt x="90" y="97"/>
                    </a:cubicBezTo>
                    <a:cubicBezTo>
                      <a:pt x="91" y="97"/>
                      <a:pt x="91" y="97"/>
                      <a:pt x="91" y="97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1" y="95"/>
                      <a:pt x="71" y="95"/>
                      <a:pt x="71" y="95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23"/>
                      <a:pt x="14" y="18"/>
                      <a:pt x="17" y="3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5"/>
                      <a:pt x="24" y="55"/>
                      <a:pt x="24" y="55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7" name="Freeform 2059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8" name="Freeform 2060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29" name="Freeform 2061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0" name="Freeform 2062"/>
              <p:cNvSpPr>
                <a:spLocks/>
              </p:cNvSpPr>
              <p:nvPr/>
            </p:nvSpPr>
            <p:spPr bwMode="auto">
              <a:xfrm>
                <a:off x="2332066" y="3567868"/>
                <a:ext cx="57150" cy="4603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30" y="0"/>
                  </a:cxn>
                  <a:cxn ang="0">
                    <a:pos x="0" y="26"/>
                  </a:cxn>
                  <a:cxn ang="0">
                    <a:pos x="13" y="29"/>
                  </a:cxn>
                  <a:cxn ang="0">
                    <a:pos x="36" y="29"/>
                  </a:cxn>
                </a:cxnLst>
                <a:rect l="0" t="0" r="r" b="b"/>
                <a:pathLst>
                  <a:path w="36" h="29">
                    <a:moveTo>
                      <a:pt x="36" y="29"/>
                    </a:moveTo>
                    <a:lnTo>
                      <a:pt x="30" y="0"/>
                    </a:lnTo>
                    <a:lnTo>
                      <a:pt x="0" y="26"/>
                    </a:lnTo>
                    <a:lnTo>
                      <a:pt x="13" y="29"/>
                    </a:lnTo>
                    <a:lnTo>
                      <a:pt x="36" y="29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1" name="Freeform 2063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2" name="Freeform 2064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3" name="Freeform 2065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4" name="Freeform 2066"/>
              <p:cNvSpPr>
                <a:spLocks/>
              </p:cNvSpPr>
              <p:nvPr/>
            </p:nvSpPr>
            <p:spPr bwMode="auto">
              <a:xfrm>
                <a:off x="2368578" y="358850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36" y="16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36" y="16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5" name="Freeform 2067"/>
              <p:cNvSpPr>
                <a:spLocks/>
              </p:cNvSpPr>
              <p:nvPr/>
            </p:nvSpPr>
            <p:spPr bwMode="auto">
              <a:xfrm>
                <a:off x="1317642" y="2807444"/>
                <a:ext cx="1443054" cy="754073"/>
              </a:xfrm>
              <a:custGeom>
                <a:avLst/>
                <a:gdLst/>
                <a:ahLst/>
                <a:cxnLst>
                  <a:cxn ang="0">
                    <a:pos x="276" y="14"/>
                  </a:cxn>
                  <a:cxn ang="0">
                    <a:pos x="266" y="16"/>
                  </a:cxn>
                  <a:cxn ang="0">
                    <a:pos x="247" y="26"/>
                  </a:cxn>
                  <a:cxn ang="0">
                    <a:pos x="224" y="34"/>
                  </a:cxn>
                  <a:cxn ang="0">
                    <a:pos x="207" y="42"/>
                  </a:cxn>
                  <a:cxn ang="0">
                    <a:pos x="202" y="37"/>
                  </a:cxn>
                  <a:cxn ang="0">
                    <a:pos x="202" y="20"/>
                  </a:cxn>
                  <a:cxn ang="0">
                    <a:pos x="197" y="15"/>
                  </a:cxn>
                  <a:cxn ang="0">
                    <a:pos x="179" y="9"/>
                  </a:cxn>
                  <a:cxn ang="0">
                    <a:pos x="161" y="3"/>
                  </a:cxn>
                  <a:cxn ang="0">
                    <a:pos x="35" y="7"/>
                  </a:cxn>
                  <a:cxn ang="0">
                    <a:pos x="34" y="9"/>
                  </a:cxn>
                  <a:cxn ang="0">
                    <a:pos x="32" y="7"/>
                  </a:cxn>
                  <a:cxn ang="0">
                    <a:pos x="22" y="17"/>
                  </a:cxn>
                  <a:cxn ang="0">
                    <a:pos x="21" y="19"/>
                  </a:cxn>
                  <a:cxn ang="0">
                    <a:pos x="6" y="43"/>
                  </a:cxn>
                  <a:cxn ang="0">
                    <a:pos x="0" y="60"/>
                  </a:cxn>
                  <a:cxn ang="0">
                    <a:pos x="0" y="67"/>
                  </a:cxn>
                  <a:cxn ang="0">
                    <a:pos x="1" y="71"/>
                  </a:cxn>
                  <a:cxn ang="0">
                    <a:pos x="3" y="83"/>
                  </a:cxn>
                  <a:cxn ang="0">
                    <a:pos x="14" y="95"/>
                  </a:cxn>
                  <a:cxn ang="0">
                    <a:pos x="34" y="103"/>
                  </a:cxn>
                  <a:cxn ang="0">
                    <a:pos x="56" y="104"/>
                  </a:cxn>
                  <a:cxn ang="0">
                    <a:pos x="74" y="119"/>
                  </a:cxn>
                  <a:cxn ang="0">
                    <a:pos x="103" y="140"/>
                  </a:cxn>
                  <a:cxn ang="0">
                    <a:pos x="104" y="129"/>
                  </a:cxn>
                  <a:cxn ang="0">
                    <a:pos x="109" y="123"/>
                  </a:cxn>
                  <a:cxn ang="0">
                    <a:pos x="111" y="123"/>
                  </a:cxn>
                  <a:cxn ang="0">
                    <a:pos x="119" y="119"/>
                  </a:cxn>
                  <a:cxn ang="0">
                    <a:pos x="134" y="116"/>
                  </a:cxn>
                  <a:cxn ang="0">
                    <a:pos x="141" y="117"/>
                  </a:cxn>
                  <a:cxn ang="0">
                    <a:pos x="143" y="117"/>
                  </a:cxn>
                  <a:cxn ang="0">
                    <a:pos x="143" y="114"/>
                  </a:cxn>
                  <a:cxn ang="0">
                    <a:pos x="155" y="113"/>
                  </a:cxn>
                  <a:cxn ang="0">
                    <a:pos x="159" y="113"/>
                  </a:cxn>
                  <a:cxn ang="0">
                    <a:pos x="164" y="114"/>
                  </a:cxn>
                  <a:cxn ang="0">
                    <a:pos x="177" y="122"/>
                  </a:cxn>
                  <a:cxn ang="0">
                    <a:pos x="177" y="128"/>
                  </a:cxn>
                  <a:cxn ang="0">
                    <a:pos x="178" y="135"/>
                  </a:cxn>
                  <a:cxn ang="0">
                    <a:pos x="181" y="144"/>
                  </a:cxn>
                  <a:cxn ang="0">
                    <a:pos x="185" y="113"/>
                  </a:cxn>
                  <a:cxn ang="0">
                    <a:pos x="189" y="104"/>
                  </a:cxn>
                  <a:cxn ang="0">
                    <a:pos x="204" y="91"/>
                  </a:cxn>
                  <a:cxn ang="0">
                    <a:pos x="212" y="84"/>
                  </a:cxn>
                  <a:cxn ang="0">
                    <a:pos x="219" y="81"/>
                  </a:cxn>
                  <a:cxn ang="0">
                    <a:pos x="215" y="79"/>
                  </a:cxn>
                  <a:cxn ang="0">
                    <a:pos x="219" y="74"/>
                  </a:cxn>
                  <a:cxn ang="0">
                    <a:pos x="217" y="71"/>
                  </a:cxn>
                  <a:cxn ang="0">
                    <a:pos x="219" y="65"/>
                  </a:cxn>
                  <a:cxn ang="0">
                    <a:pos x="221" y="66"/>
                  </a:cxn>
                  <a:cxn ang="0">
                    <a:pos x="225" y="58"/>
                  </a:cxn>
                  <a:cxn ang="0">
                    <a:pos x="224" y="66"/>
                  </a:cxn>
                  <a:cxn ang="0">
                    <a:pos x="221" y="71"/>
                  </a:cxn>
                  <a:cxn ang="0">
                    <a:pos x="227" y="57"/>
                  </a:cxn>
                  <a:cxn ang="0">
                    <a:pos x="236" y="53"/>
                  </a:cxn>
                  <a:cxn ang="0">
                    <a:pos x="244" y="48"/>
                  </a:cxn>
                  <a:cxn ang="0">
                    <a:pos x="251" y="46"/>
                  </a:cxn>
                  <a:cxn ang="0">
                    <a:pos x="257" y="43"/>
                  </a:cxn>
                  <a:cxn ang="0">
                    <a:pos x="255" y="39"/>
                  </a:cxn>
                  <a:cxn ang="0">
                    <a:pos x="266" y="29"/>
                  </a:cxn>
                </a:cxnLst>
                <a:rect l="0" t="0" r="r" b="b"/>
                <a:pathLst>
                  <a:path w="276" h="144">
                    <a:moveTo>
                      <a:pt x="276" y="27"/>
                    </a:moveTo>
                    <a:cubicBezTo>
                      <a:pt x="276" y="25"/>
                      <a:pt x="276" y="25"/>
                      <a:pt x="276" y="25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4" y="13"/>
                      <a:pt x="274" y="13"/>
                      <a:pt x="274" y="13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4" y="20"/>
                      <a:pt x="264" y="20"/>
                      <a:pt x="264" y="20"/>
                    </a:cubicBezTo>
                    <a:cubicBezTo>
                      <a:pt x="259" y="24"/>
                      <a:pt x="259" y="24"/>
                      <a:pt x="259" y="24"/>
                    </a:cubicBezTo>
                    <a:cubicBezTo>
                      <a:pt x="256" y="26"/>
                      <a:pt x="256" y="26"/>
                      <a:pt x="256" y="26"/>
                    </a:cubicBezTo>
                    <a:cubicBezTo>
                      <a:pt x="247" y="26"/>
                      <a:pt x="247" y="26"/>
                      <a:pt x="247" y="26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3" y="30"/>
                      <a:pt x="233" y="30"/>
                      <a:pt x="233" y="30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24" y="34"/>
                      <a:pt x="224" y="34"/>
                      <a:pt x="224" y="34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7" y="42"/>
                      <a:pt x="207" y="42"/>
                      <a:pt x="207" y="42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205" y="29"/>
                      <a:pt x="205" y="29"/>
                      <a:pt x="205" y="29"/>
                    </a:cubicBezTo>
                    <a:cubicBezTo>
                      <a:pt x="207" y="24"/>
                      <a:pt x="207" y="24"/>
                      <a:pt x="207" y="24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3" y="19"/>
                      <a:pt x="203" y="19"/>
                      <a:pt x="203" y="19"/>
                    </a:cubicBezTo>
                    <a:cubicBezTo>
                      <a:pt x="201" y="19"/>
                      <a:pt x="201" y="19"/>
                      <a:pt x="201" y="19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5" y="7"/>
                      <a:pt x="175" y="7"/>
                      <a:pt x="175" y="7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66" y="5"/>
                      <a:pt x="166" y="5"/>
                      <a:pt x="166" y="5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18" y="3"/>
                      <a:pt x="77" y="3"/>
                      <a:pt x="36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5" y="88"/>
                      <a:pt x="5" y="88"/>
                      <a:pt x="5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4" y="119"/>
                      <a:pt x="74" y="119"/>
                      <a:pt x="74" y="119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80" y="116"/>
                      <a:pt x="80" y="116"/>
                      <a:pt x="80" y="116"/>
                    </a:cubicBezTo>
                    <a:cubicBezTo>
                      <a:pt x="86" y="117"/>
                      <a:pt x="86" y="117"/>
                      <a:pt x="86" y="117"/>
                    </a:cubicBezTo>
                    <a:cubicBezTo>
                      <a:pt x="95" y="130"/>
                      <a:pt x="88" y="139"/>
                      <a:pt x="103" y="140"/>
                    </a:cubicBezTo>
                    <a:cubicBezTo>
                      <a:pt x="101" y="132"/>
                      <a:pt x="101" y="132"/>
                      <a:pt x="101" y="132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09" y="124"/>
                      <a:pt x="109" y="124"/>
                      <a:pt x="109" y="124"/>
                    </a:cubicBezTo>
                    <a:cubicBezTo>
                      <a:pt x="109" y="123"/>
                      <a:pt x="109" y="123"/>
                      <a:pt x="109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7" y="119"/>
                      <a:pt x="117" y="119"/>
                      <a:pt x="117" y="119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19" y="119"/>
                      <a:pt x="119" y="119"/>
                      <a:pt x="119" y="119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4" y="116"/>
                      <a:pt x="134" y="116"/>
                      <a:pt x="134" y="116"/>
                    </a:cubicBezTo>
                    <a:cubicBezTo>
                      <a:pt x="136" y="119"/>
                      <a:pt x="136" y="119"/>
                      <a:pt x="136" y="119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41" y="120"/>
                      <a:pt x="141" y="120"/>
                      <a:pt x="141" y="120"/>
                    </a:cubicBezTo>
                    <a:cubicBezTo>
                      <a:pt x="141" y="117"/>
                      <a:pt x="141" y="117"/>
                      <a:pt x="141" y="117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22"/>
                      <a:pt x="143" y="122"/>
                      <a:pt x="143" y="122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3" y="114"/>
                      <a:pt x="143" y="114"/>
                      <a:pt x="143" y="114"/>
                    </a:cubicBez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7" y="112"/>
                      <a:pt x="157" y="112"/>
                      <a:pt x="157" y="112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5"/>
                      <a:pt x="165" y="115"/>
                      <a:pt x="165" y="115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7"/>
                      <a:pt x="165" y="117"/>
                      <a:pt x="165" y="117"/>
                    </a:cubicBezTo>
                    <a:cubicBezTo>
                      <a:pt x="171" y="114"/>
                      <a:pt x="171" y="114"/>
                      <a:pt x="171" y="114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75" y="130"/>
                      <a:pt x="175" y="130"/>
                      <a:pt x="175" y="130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75" y="131"/>
                      <a:pt x="175" y="131"/>
                      <a:pt x="175" y="131"/>
                    </a:cubicBezTo>
                    <a:cubicBezTo>
                      <a:pt x="177" y="133"/>
                      <a:pt x="177" y="133"/>
                      <a:pt x="177" y="133"/>
                    </a:cubicBezTo>
                    <a:cubicBezTo>
                      <a:pt x="178" y="134"/>
                      <a:pt x="178" y="134"/>
                      <a:pt x="178" y="134"/>
                    </a:cubicBezTo>
                    <a:cubicBezTo>
                      <a:pt x="178" y="135"/>
                      <a:pt x="178" y="135"/>
                      <a:pt x="178" y="135"/>
                    </a:cubicBezTo>
                    <a:cubicBezTo>
                      <a:pt x="179" y="135"/>
                      <a:pt x="179" y="135"/>
                      <a:pt x="179" y="135"/>
                    </a:cubicBezTo>
                    <a:cubicBezTo>
                      <a:pt x="178" y="136"/>
                      <a:pt x="178" y="136"/>
                      <a:pt x="178" y="136"/>
                    </a:cubicBezTo>
                    <a:cubicBezTo>
                      <a:pt x="179" y="140"/>
                      <a:pt x="179" y="140"/>
                      <a:pt x="179" y="140"/>
                    </a:cubicBezTo>
                    <a:cubicBezTo>
                      <a:pt x="181" y="144"/>
                      <a:pt x="181" y="144"/>
                      <a:pt x="181" y="144"/>
                    </a:cubicBezTo>
                    <a:cubicBezTo>
                      <a:pt x="190" y="142"/>
                      <a:pt x="185" y="129"/>
                      <a:pt x="186" y="123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5" y="113"/>
                      <a:pt x="185" y="113"/>
                      <a:pt x="185" y="113"/>
                    </a:cubicBezTo>
                    <a:cubicBezTo>
                      <a:pt x="185" y="109"/>
                      <a:pt x="185" y="109"/>
                      <a:pt x="185" y="109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91" y="100"/>
                      <a:pt x="191" y="100"/>
                      <a:pt x="191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9" y="95"/>
                      <a:pt x="199" y="95"/>
                      <a:pt x="199" y="95"/>
                    </a:cubicBezTo>
                    <a:cubicBezTo>
                      <a:pt x="204" y="91"/>
                      <a:pt x="204" y="91"/>
                      <a:pt x="204" y="91"/>
                    </a:cubicBezTo>
                    <a:cubicBezTo>
                      <a:pt x="207" y="90"/>
                      <a:pt x="207" y="90"/>
                      <a:pt x="207" y="90"/>
                    </a:cubicBezTo>
                    <a:cubicBezTo>
                      <a:pt x="210" y="87"/>
                      <a:pt x="210" y="87"/>
                      <a:pt x="210" y="87"/>
                    </a:cubicBezTo>
                    <a:cubicBezTo>
                      <a:pt x="216" y="85"/>
                      <a:pt x="216" y="85"/>
                      <a:pt x="216" y="85"/>
                    </a:cubicBezTo>
                    <a:cubicBezTo>
                      <a:pt x="212" y="84"/>
                      <a:pt x="212" y="84"/>
                      <a:pt x="212" y="84"/>
                    </a:cubicBezTo>
                    <a:cubicBezTo>
                      <a:pt x="215" y="85"/>
                      <a:pt x="215" y="85"/>
                      <a:pt x="215" y="85"/>
                    </a:cubicBezTo>
                    <a:cubicBezTo>
                      <a:pt x="215" y="83"/>
                      <a:pt x="215" y="83"/>
                      <a:pt x="215" y="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15" y="79"/>
                      <a:pt x="215" y="79"/>
                      <a:pt x="215" y="79"/>
                    </a:cubicBezTo>
                    <a:cubicBezTo>
                      <a:pt x="221" y="79"/>
                      <a:pt x="221" y="79"/>
                      <a:pt x="221" y="79"/>
                    </a:cubicBezTo>
                    <a:cubicBezTo>
                      <a:pt x="221" y="75"/>
                      <a:pt x="221" y="75"/>
                      <a:pt x="221" y="75"/>
                    </a:cubicBezTo>
                    <a:cubicBezTo>
                      <a:pt x="221" y="80"/>
                      <a:pt x="221" y="80"/>
                      <a:pt x="221" y="80"/>
                    </a:cubicBezTo>
                    <a:cubicBezTo>
                      <a:pt x="219" y="74"/>
                      <a:pt x="219" y="74"/>
                      <a:pt x="219" y="74"/>
                    </a:cubicBezTo>
                    <a:cubicBezTo>
                      <a:pt x="217" y="73"/>
                      <a:pt x="217" y="73"/>
                      <a:pt x="217" y="73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9" y="73"/>
                      <a:pt x="219" y="73"/>
                      <a:pt x="219" y="73"/>
                    </a:cubicBezTo>
                    <a:cubicBezTo>
                      <a:pt x="217" y="71"/>
                      <a:pt x="217" y="71"/>
                      <a:pt x="217" y="71"/>
                    </a:cubicBezTo>
                    <a:cubicBezTo>
                      <a:pt x="219" y="71"/>
                      <a:pt x="219" y="71"/>
                      <a:pt x="219" y="71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5"/>
                      <a:pt x="216" y="65"/>
                      <a:pt x="216" y="65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21" y="66"/>
                      <a:pt x="221" y="66"/>
                      <a:pt x="221" y="66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58"/>
                      <a:pt x="225" y="58"/>
                      <a:pt x="225" y="58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3" y="64"/>
                      <a:pt x="223" y="64"/>
                      <a:pt x="223" y="64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23" y="67"/>
                      <a:pt x="223" y="67"/>
                      <a:pt x="223" y="67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71"/>
                      <a:pt x="221" y="71"/>
                      <a:pt x="221" y="71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58"/>
                      <a:pt x="227" y="58"/>
                      <a:pt x="227" y="58"/>
                    </a:cubicBezTo>
                    <a:cubicBezTo>
                      <a:pt x="229" y="56"/>
                      <a:pt x="229" y="56"/>
                      <a:pt x="229" y="56"/>
                    </a:cubicBezTo>
                    <a:cubicBezTo>
                      <a:pt x="227" y="57"/>
                      <a:pt x="227" y="57"/>
                      <a:pt x="227" y="57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6" y="53"/>
                      <a:pt x="236" y="53"/>
                      <a:pt x="236" y="53"/>
                    </a:cubicBezTo>
                    <a:cubicBezTo>
                      <a:pt x="238" y="48"/>
                      <a:pt x="238" y="48"/>
                      <a:pt x="238" y="48"/>
                    </a:cubicBezTo>
                    <a:cubicBezTo>
                      <a:pt x="237" y="51"/>
                      <a:pt x="237" y="51"/>
                      <a:pt x="237" y="5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9" y="47"/>
                      <a:pt x="249" y="47"/>
                      <a:pt x="249" y="47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1" y="46"/>
                      <a:pt x="251" y="46"/>
                      <a:pt x="251" y="46"/>
                    </a:cubicBezTo>
                    <a:cubicBezTo>
                      <a:pt x="253" y="47"/>
                      <a:pt x="253" y="47"/>
                      <a:pt x="253" y="47"/>
                    </a:cubicBezTo>
                    <a:cubicBezTo>
                      <a:pt x="254" y="47"/>
                      <a:pt x="254" y="47"/>
                      <a:pt x="254" y="47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7" y="43"/>
                      <a:pt x="257" y="43"/>
                      <a:pt x="257" y="43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4" y="44"/>
                      <a:pt x="254" y="44"/>
                      <a:pt x="254" y="44"/>
                    </a:cubicBezTo>
                    <a:cubicBezTo>
                      <a:pt x="255" y="40"/>
                      <a:pt x="255" y="40"/>
                      <a:pt x="255" y="40"/>
                    </a:cubicBezTo>
                    <a:cubicBezTo>
                      <a:pt x="255" y="39"/>
                      <a:pt x="255" y="39"/>
                      <a:pt x="255" y="39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70" y="29"/>
                      <a:pt x="270" y="29"/>
                      <a:pt x="270" y="29"/>
                    </a:cubicBezTo>
                    <a:cubicBezTo>
                      <a:pt x="276" y="27"/>
                      <a:pt x="276" y="27"/>
                      <a:pt x="276" y="27"/>
                    </a:cubicBezTo>
                  </a:path>
                </a:pathLst>
              </a:custGeom>
              <a:solidFill>
                <a:srgbClr val="7D7D7D"/>
              </a:solidFill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6" name="Freeform 2068"/>
              <p:cNvSpPr>
                <a:spLocks/>
              </p:cNvSpPr>
              <p:nvPr/>
            </p:nvSpPr>
            <p:spPr bwMode="auto">
              <a:xfrm>
                <a:off x="1317642" y="2807444"/>
                <a:ext cx="1443054" cy="754073"/>
              </a:xfrm>
              <a:custGeom>
                <a:avLst/>
                <a:gdLst/>
                <a:ahLst/>
                <a:cxnLst>
                  <a:cxn ang="0">
                    <a:pos x="276" y="14"/>
                  </a:cxn>
                  <a:cxn ang="0">
                    <a:pos x="266" y="16"/>
                  </a:cxn>
                  <a:cxn ang="0">
                    <a:pos x="247" y="26"/>
                  </a:cxn>
                  <a:cxn ang="0">
                    <a:pos x="224" y="34"/>
                  </a:cxn>
                  <a:cxn ang="0">
                    <a:pos x="207" y="42"/>
                  </a:cxn>
                  <a:cxn ang="0">
                    <a:pos x="202" y="37"/>
                  </a:cxn>
                  <a:cxn ang="0">
                    <a:pos x="202" y="20"/>
                  </a:cxn>
                  <a:cxn ang="0">
                    <a:pos x="197" y="15"/>
                  </a:cxn>
                  <a:cxn ang="0">
                    <a:pos x="179" y="9"/>
                  </a:cxn>
                  <a:cxn ang="0">
                    <a:pos x="161" y="3"/>
                  </a:cxn>
                  <a:cxn ang="0">
                    <a:pos x="35" y="7"/>
                  </a:cxn>
                  <a:cxn ang="0">
                    <a:pos x="34" y="9"/>
                  </a:cxn>
                  <a:cxn ang="0">
                    <a:pos x="32" y="7"/>
                  </a:cxn>
                  <a:cxn ang="0">
                    <a:pos x="22" y="17"/>
                  </a:cxn>
                  <a:cxn ang="0">
                    <a:pos x="21" y="19"/>
                  </a:cxn>
                  <a:cxn ang="0">
                    <a:pos x="6" y="43"/>
                  </a:cxn>
                  <a:cxn ang="0">
                    <a:pos x="0" y="60"/>
                  </a:cxn>
                  <a:cxn ang="0">
                    <a:pos x="0" y="67"/>
                  </a:cxn>
                  <a:cxn ang="0">
                    <a:pos x="1" y="71"/>
                  </a:cxn>
                  <a:cxn ang="0">
                    <a:pos x="3" y="83"/>
                  </a:cxn>
                  <a:cxn ang="0">
                    <a:pos x="14" y="95"/>
                  </a:cxn>
                  <a:cxn ang="0">
                    <a:pos x="34" y="103"/>
                  </a:cxn>
                  <a:cxn ang="0">
                    <a:pos x="56" y="104"/>
                  </a:cxn>
                  <a:cxn ang="0">
                    <a:pos x="74" y="119"/>
                  </a:cxn>
                  <a:cxn ang="0">
                    <a:pos x="103" y="140"/>
                  </a:cxn>
                  <a:cxn ang="0">
                    <a:pos x="104" y="129"/>
                  </a:cxn>
                  <a:cxn ang="0">
                    <a:pos x="109" y="123"/>
                  </a:cxn>
                  <a:cxn ang="0">
                    <a:pos x="111" y="123"/>
                  </a:cxn>
                  <a:cxn ang="0">
                    <a:pos x="119" y="119"/>
                  </a:cxn>
                  <a:cxn ang="0">
                    <a:pos x="134" y="116"/>
                  </a:cxn>
                  <a:cxn ang="0">
                    <a:pos x="141" y="117"/>
                  </a:cxn>
                  <a:cxn ang="0">
                    <a:pos x="143" y="117"/>
                  </a:cxn>
                  <a:cxn ang="0">
                    <a:pos x="143" y="114"/>
                  </a:cxn>
                  <a:cxn ang="0">
                    <a:pos x="155" y="113"/>
                  </a:cxn>
                  <a:cxn ang="0">
                    <a:pos x="159" y="113"/>
                  </a:cxn>
                  <a:cxn ang="0">
                    <a:pos x="164" y="114"/>
                  </a:cxn>
                  <a:cxn ang="0">
                    <a:pos x="177" y="122"/>
                  </a:cxn>
                  <a:cxn ang="0">
                    <a:pos x="177" y="128"/>
                  </a:cxn>
                  <a:cxn ang="0">
                    <a:pos x="178" y="135"/>
                  </a:cxn>
                  <a:cxn ang="0">
                    <a:pos x="181" y="144"/>
                  </a:cxn>
                  <a:cxn ang="0">
                    <a:pos x="185" y="113"/>
                  </a:cxn>
                  <a:cxn ang="0">
                    <a:pos x="189" y="104"/>
                  </a:cxn>
                  <a:cxn ang="0">
                    <a:pos x="204" y="91"/>
                  </a:cxn>
                  <a:cxn ang="0">
                    <a:pos x="212" y="84"/>
                  </a:cxn>
                  <a:cxn ang="0">
                    <a:pos x="219" y="81"/>
                  </a:cxn>
                  <a:cxn ang="0">
                    <a:pos x="215" y="79"/>
                  </a:cxn>
                  <a:cxn ang="0">
                    <a:pos x="219" y="74"/>
                  </a:cxn>
                  <a:cxn ang="0">
                    <a:pos x="217" y="71"/>
                  </a:cxn>
                  <a:cxn ang="0">
                    <a:pos x="219" y="65"/>
                  </a:cxn>
                  <a:cxn ang="0">
                    <a:pos x="221" y="66"/>
                  </a:cxn>
                  <a:cxn ang="0">
                    <a:pos x="225" y="58"/>
                  </a:cxn>
                  <a:cxn ang="0">
                    <a:pos x="224" y="66"/>
                  </a:cxn>
                  <a:cxn ang="0">
                    <a:pos x="221" y="71"/>
                  </a:cxn>
                  <a:cxn ang="0">
                    <a:pos x="227" y="57"/>
                  </a:cxn>
                  <a:cxn ang="0">
                    <a:pos x="236" y="53"/>
                  </a:cxn>
                  <a:cxn ang="0">
                    <a:pos x="244" y="48"/>
                  </a:cxn>
                  <a:cxn ang="0">
                    <a:pos x="251" y="46"/>
                  </a:cxn>
                  <a:cxn ang="0">
                    <a:pos x="257" y="43"/>
                  </a:cxn>
                  <a:cxn ang="0">
                    <a:pos x="255" y="39"/>
                  </a:cxn>
                  <a:cxn ang="0">
                    <a:pos x="266" y="29"/>
                  </a:cxn>
                </a:cxnLst>
                <a:rect l="0" t="0" r="r" b="b"/>
                <a:pathLst>
                  <a:path w="276" h="144">
                    <a:moveTo>
                      <a:pt x="276" y="27"/>
                    </a:moveTo>
                    <a:cubicBezTo>
                      <a:pt x="276" y="25"/>
                      <a:pt x="276" y="25"/>
                      <a:pt x="276" y="25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4" y="13"/>
                      <a:pt x="274" y="13"/>
                      <a:pt x="274" y="13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4" y="20"/>
                      <a:pt x="264" y="20"/>
                      <a:pt x="264" y="20"/>
                    </a:cubicBezTo>
                    <a:cubicBezTo>
                      <a:pt x="259" y="24"/>
                      <a:pt x="259" y="24"/>
                      <a:pt x="259" y="24"/>
                    </a:cubicBezTo>
                    <a:cubicBezTo>
                      <a:pt x="256" y="26"/>
                      <a:pt x="256" y="26"/>
                      <a:pt x="256" y="26"/>
                    </a:cubicBezTo>
                    <a:cubicBezTo>
                      <a:pt x="247" y="26"/>
                      <a:pt x="247" y="26"/>
                      <a:pt x="247" y="26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3" y="30"/>
                      <a:pt x="233" y="30"/>
                      <a:pt x="233" y="30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24" y="34"/>
                      <a:pt x="224" y="34"/>
                      <a:pt x="224" y="34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7" y="42"/>
                      <a:pt x="207" y="42"/>
                      <a:pt x="207" y="42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205" y="29"/>
                      <a:pt x="205" y="29"/>
                      <a:pt x="205" y="29"/>
                    </a:cubicBezTo>
                    <a:cubicBezTo>
                      <a:pt x="207" y="24"/>
                      <a:pt x="207" y="24"/>
                      <a:pt x="207" y="24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3" y="19"/>
                      <a:pt x="203" y="19"/>
                      <a:pt x="203" y="19"/>
                    </a:cubicBezTo>
                    <a:cubicBezTo>
                      <a:pt x="201" y="19"/>
                      <a:pt x="201" y="19"/>
                      <a:pt x="201" y="19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5" y="7"/>
                      <a:pt x="175" y="7"/>
                      <a:pt x="175" y="7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66" y="5"/>
                      <a:pt x="166" y="5"/>
                      <a:pt x="166" y="5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18" y="3"/>
                      <a:pt x="77" y="3"/>
                      <a:pt x="36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5" y="88"/>
                      <a:pt x="5" y="88"/>
                      <a:pt x="5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4" y="119"/>
                      <a:pt x="74" y="119"/>
                      <a:pt x="74" y="119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80" y="116"/>
                      <a:pt x="80" y="116"/>
                      <a:pt x="80" y="116"/>
                    </a:cubicBezTo>
                    <a:cubicBezTo>
                      <a:pt x="86" y="117"/>
                      <a:pt x="86" y="117"/>
                      <a:pt x="86" y="117"/>
                    </a:cubicBezTo>
                    <a:cubicBezTo>
                      <a:pt x="95" y="130"/>
                      <a:pt x="88" y="139"/>
                      <a:pt x="103" y="140"/>
                    </a:cubicBezTo>
                    <a:cubicBezTo>
                      <a:pt x="101" y="132"/>
                      <a:pt x="101" y="132"/>
                      <a:pt x="101" y="132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09" y="124"/>
                      <a:pt x="109" y="124"/>
                      <a:pt x="109" y="124"/>
                    </a:cubicBezTo>
                    <a:cubicBezTo>
                      <a:pt x="109" y="123"/>
                      <a:pt x="109" y="123"/>
                      <a:pt x="109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7" y="119"/>
                      <a:pt x="117" y="119"/>
                      <a:pt x="117" y="119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19" y="119"/>
                      <a:pt x="119" y="119"/>
                      <a:pt x="119" y="119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4" y="116"/>
                      <a:pt x="134" y="116"/>
                      <a:pt x="134" y="116"/>
                    </a:cubicBezTo>
                    <a:cubicBezTo>
                      <a:pt x="136" y="119"/>
                      <a:pt x="136" y="119"/>
                      <a:pt x="136" y="119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41" y="120"/>
                      <a:pt x="141" y="120"/>
                      <a:pt x="141" y="120"/>
                    </a:cubicBezTo>
                    <a:cubicBezTo>
                      <a:pt x="141" y="117"/>
                      <a:pt x="141" y="117"/>
                      <a:pt x="141" y="117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22"/>
                      <a:pt x="143" y="122"/>
                      <a:pt x="143" y="122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3" y="114"/>
                      <a:pt x="143" y="114"/>
                      <a:pt x="143" y="114"/>
                    </a:cubicBez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7" y="112"/>
                      <a:pt x="157" y="112"/>
                      <a:pt x="157" y="112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5"/>
                      <a:pt x="165" y="115"/>
                      <a:pt x="165" y="115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7"/>
                      <a:pt x="165" y="117"/>
                      <a:pt x="165" y="117"/>
                    </a:cubicBezTo>
                    <a:cubicBezTo>
                      <a:pt x="171" y="114"/>
                      <a:pt x="171" y="114"/>
                      <a:pt x="171" y="114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75" y="130"/>
                      <a:pt x="175" y="130"/>
                      <a:pt x="175" y="130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75" y="131"/>
                      <a:pt x="175" y="131"/>
                      <a:pt x="175" y="131"/>
                    </a:cubicBezTo>
                    <a:cubicBezTo>
                      <a:pt x="177" y="133"/>
                      <a:pt x="177" y="133"/>
                      <a:pt x="177" y="133"/>
                    </a:cubicBezTo>
                    <a:cubicBezTo>
                      <a:pt x="178" y="134"/>
                      <a:pt x="178" y="134"/>
                      <a:pt x="178" y="134"/>
                    </a:cubicBezTo>
                    <a:cubicBezTo>
                      <a:pt x="178" y="135"/>
                      <a:pt x="178" y="135"/>
                      <a:pt x="178" y="135"/>
                    </a:cubicBezTo>
                    <a:cubicBezTo>
                      <a:pt x="179" y="135"/>
                      <a:pt x="179" y="135"/>
                      <a:pt x="179" y="135"/>
                    </a:cubicBezTo>
                    <a:cubicBezTo>
                      <a:pt x="178" y="136"/>
                      <a:pt x="178" y="136"/>
                      <a:pt x="178" y="136"/>
                    </a:cubicBezTo>
                    <a:cubicBezTo>
                      <a:pt x="179" y="140"/>
                      <a:pt x="179" y="140"/>
                      <a:pt x="179" y="140"/>
                    </a:cubicBezTo>
                    <a:cubicBezTo>
                      <a:pt x="181" y="144"/>
                      <a:pt x="181" y="144"/>
                      <a:pt x="181" y="144"/>
                    </a:cubicBezTo>
                    <a:cubicBezTo>
                      <a:pt x="190" y="142"/>
                      <a:pt x="185" y="129"/>
                      <a:pt x="186" y="123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5" y="113"/>
                      <a:pt x="185" y="113"/>
                      <a:pt x="185" y="113"/>
                    </a:cubicBezTo>
                    <a:cubicBezTo>
                      <a:pt x="185" y="109"/>
                      <a:pt x="185" y="109"/>
                      <a:pt x="185" y="109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91" y="100"/>
                      <a:pt x="191" y="100"/>
                      <a:pt x="191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9" y="95"/>
                      <a:pt x="199" y="95"/>
                      <a:pt x="199" y="95"/>
                    </a:cubicBezTo>
                    <a:cubicBezTo>
                      <a:pt x="204" y="91"/>
                      <a:pt x="204" y="91"/>
                      <a:pt x="204" y="91"/>
                    </a:cubicBezTo>
                    <a:cubicBezTo>
                      <a:pt x="207" y="90"/>
                      <a:pt x="207" y="90"/>
                      <a:pt x="207" y="90"/>
                    </a:cubicBezTo>
                    <a:cubicBezTo>
                      <a:pt x="210" y="87"/>
                      <a:pt x="210" y="87"/>
                      <a:pt x="210" y="87"/>
                    </a:cubicBezTo>
                    <a:cubicBezTo>
                      <a:pt x="216" y="85"/>
                      <a:pt x="216" y="85"/>
                      <a:pt x="216" y="85"/>
                    </a:cubicBezTo>
                    <a:cubicBezTo>
                      <a:pt x="212" y="84"/>
                      <a:pt x="212" y="84"/>
                      <a:pt x="212" y="84"/>
                    </a:cubicBezTo>
                    <a:cubicBezTo>
                      <a:pt x="215" y="85"/>
                      <a:pt x="215" y="85"/>
                      <a:pt x="215" y="85"/>
                    </a:cubicBezTo>
                    <a:cubicBezTo>
                      <a:pt x="215" y="83"/>
                      <a:pt x="215" y="83"/>
                      <a:pt x="215" y="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15" y="79"/>
                      <a:pt x="215" y="79"/>
                      <a:pt x="215" y="79"/>
                    </a:cubicBezTo>
                    <a:cubicBezTo>
                      <a:pt x="221" y="79"/>
                      <a:pt x="221" y="79"/>
                      <a:pt x="221" y="79"/>
                    </a:cubicBezTo>
                    <a:cubicBezTo>
                      <a:pt x="221" y="75"/>
                      <a:pt x="221" y="75"/>
                      <a:pt x="221" y="75"/>
                    </a:cubicBezTo>
                    <a:cubicBezTo>
                      <a:pt x="221" y="80"/>
                      <a:pt x="221" y="80"/>
                      <a:pt x="221" y="80"/>
                    </a:cubicBezTo>
                    <a:cubicBezTo>
                      <a:pt x="219" y="74"/>
                      <a:pt x="219" y="74"/>
                      <a:pt x="219" y="74"/>
                    </a:cubicBezTo>
                    <a:cubicBezTo>
                      <a:pt x="217" y="73"/>
                      <a:pt x="217" y="73"/>
                      <a:pt x="217" y="73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9" y="73"/>
                      <a:pt x="219" y="73"/>
                      <a:pt x="219" y="73"/>
                    </a:cubicBezTo>
                    <a:cubicBezTo>
                      <a:pt x="217" y="71"/>
                      <a:pt x="217" y="71"/>
                      <a:pt x="217" y="71"/>
                    </a:cubicBezTo>
                    <a:cubicBezTo>
                      <a:pt x="219" y="71"/>
                      <a:pt x="219" y="71"/>
                      <a:pt x="219" y="71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5"/>
                      <a:pt x="216" y="65"/>
                      <a:pt x="216" y="65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21" y="66"/>
                      <a:pt x="221" y="66"/>
                      <a:pt x="221" y="66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58"/>
                      <a:pt x="225" y="58"/>
                      <a:pt x="225" y="58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3" y="64"/>
                      <a:pt x="223" y="64"/>
                      <a:pt x="223" y="64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23" y="67"/>
                      <a:pt x="223" y="67"/>
                      <a:pt x="223" y="67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71"/>
                      <a:pt x="221" y="71"/>
                      <a:pt x="221" y="71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58"/>
                      <a:pt x="227" y="58"/>
                      <a:pt x="227" y="58"/>
                    </a:cubicBezTo>
                    <a:cubicBezTo>
                      <a:pt x="229" y="56"/>
                      <a:pt x="229" y="56"/>
                      <a:pt x="229" y="56"/>
                    </a:cubicBezTo>
                    <a:cubicBezTo>
                      <a:pt x="227" y="57"/>
                      <a:pt x="227" y="57"/>
                      <a:pt x="227" y="57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6" y="53"/>
                      <a:pt x="236" y="53"/>
                      <a:pt x="236" y="53"/>
                    </a:cubicBezTo>
                    <a:cubicBezTo>
                      <a:pt x="238" y="48"/>
                      <a:pt x="238" y="48"/>
                      <a:pt x="238" y="48"/>
                    </a:cubicBezTo>
                    <a:cubicBezTo>
                      <a:pt x="237" y="51"/>
                      <a:pt x="237" y="51"/>
                      <a:pt x="237" y="5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9" y="47"/>
                      <a:pt x="249" y="47"/>
                      <a:pt x="249" y="47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1" y="46"/>
                      <a:pt x="251" y="46"/>
                      <a:pt x="251" y="46"/>
                    </a:cubicBezTo>
                    <a:cubicBezTo>
                      <a:pt x="253" y="47"/>
                      <a:pt x="253" y="47"/>
                      <a:pt x="253" y="47"/>
                    </a:cubicBezTo>
                    <a:cubicBezTo>
                      <a:pt x="254" y="47"/>
                      <a:pt x="254" y="47"/>
                      <a:pt x="254" y="47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7" y="43"/>
                      <a:pt x="257" y="43"/>
                      <a:pt x="257" y="43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4" y="44"/>
                      <a:pt x="254" y="44"/>
                      <a:pt x="254" y="44"/>
                    </a:cubicBezTo>
                    <a:cubicBezTo>
                      <a:pt x="255" y="40"/>
                      <a:pt x="255" y="40"/>
                      <a:pt x="255" y="40"/>
                    </a:cubicBezTo>
                    <a:cubicBezTo>
                      <a:pt x="255" y="39"/>
                      <a:pt x="255" y="39"/>
                      <a:pt x="255" y="39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70" y="29"/>
                      <a:pt x="270" y="29"/>
                      <a:pt x="270" y="29"/>
                    </a:cubicBezTo>
                    <a:cubicBezTo>
                      <a:pt x="276" y="27"/>
                      <a:pt x="276" y="27"/>
                      <a:pt x="276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7" name="Freeform 2070"/>
              <p:cNvSpPr>
                <a:spLocks/>
              </p:cNvSpPr>
              <p:nvPr/>
            </p:nvSpPr>
            <p:spPr bwMode="auto">
              <a:xfrm>
                <a:off x="1317642" y="2807444"/>
                <a:ext cx="1443054" cy="754073"/>
              </a:xfrm>
              <a:custGeom>
                <a:avLst/>
                <a:gdLst/>
                <a:ahLst/>
                <a:cxnLst>
                  <a:cxn ang="0">
                    <a:pos x="276" y="14"/>
                  </a:cxn>
                  <a:cxn ang="0">
                    <a:pos x="266" y="16"/>
                  </a:cxn>
                  <a:cxn ang="0">
                    <a:pos x="247" y="26"/>
                  </a:cxn>
                  <a:cxn ang="0">
                    <a:pos x="224" y="34"/>
                  </a:cxn>
                  <a:cxn ang="0">
                    <a:pos x="207" y="42"/>
                  </a:cxn>
                  <a:cxn ang="0">
                    <a:pos x="202" y="37"/>
                  </a:cxn>
                  <a:cxn ang="0">
                    <a:pos x="202" y="20"/>
                  </a:cxn>
                  <a:cxn ang="0">
                    <a:pos x="197" y="15"/>
                  </a:cxn>
                  <a:cxn ang="0">
                    <a:pos x="179" y="9"/>
                  </a:cxn>
                  <a:cxn ang="0">
                    <a:pos x="161" y="3"/>
                  </a:cxn>
                  <a:cxn ang="0">
                    <a:pos x="35" y="7"/>
                  </a:cxn>
                  <a:cxn ang="0">
                    <a:pos x="34" y="9"/>
                  </a:cxn>
                  <a:cxn ang="0">
                    <a:pos x="32" y="7"/>
                  </a:cxn>
                  <a:cxn ang="0">
                    <a:pos x="22" y="17"/>
                  </a:cxn>
                  <a:cxn ang="0">
                    <a:pos x="21" y="19"/>
                  </a:cxn>
                  <a:cxn ang="0">
                    <a:pos x="6" y="43"/>
                  </a:cxn>
                  <a:cxn ang="0">
                    <a:pos x="0" y="60"/>
                  </a:cxn>
                  <a:cxn ang="0">
                    <a:pos x="0" y="67"/>
                  </a:cxn>
                  <a:cxn ang="0">
                    <a:pos x="1" y="71"/>
                  </a:cxn>
                  <a:cxn ang="0">
                    <a:pos x="3" y="83"/>
                  </a:cxn>
                  <a:cxn ang="0">
                    <a:pos x="14" y="95"/>
                  </a:cxn>
                  <a:cxn ang="0">
                    <a:pos x="34" y="103"/>
                  </a:cxn>
                  <a:cxn ang="0">
                    <a:pos x="56" y="104"/>
                  </a:cxn>
                  <a:cxn ang="0">
                    <a:pos x="74" y="119"/>
                  </a:cxn>
                  <a:cxn ang="0">
                    <a:pos x="103" y="140"/>
                  </a:cxn>
                  <a:cxn ang="0">
                    <a:pos x="104" y="129"/>
                  </a:cxn>
                  <a:cxn ang="0">
                    <a:pos x="109" y="123"/>
                  </a:cxn>
                  <a:cxn ang="0">
                    <a:pos x="111" y="123"/>
                  </a:cxn>
                  <a:cxn ang="0">
                    <a:pos x="119" y="119"/>
                  </a:cxn>
                  <a:cxn ang="0">
                    <a:pos x="134" y="116"/>
                  </a:cxn>
                  <a:cxn ang="0">
                    <a:pos x="141" y="117"/>
                  </a:cxn>
                  <a:cxn ang="0">
                    <a:pos x="143" y="117"/>
                  </a:cxn>
                  <a:cxn ang="0">
                    <a:pos x="143" y="114"/>
                  </a:cxn>
                  <a:cxn ang="0">
                    <a:pos x="155" y="113"/>
                  </a:cxn>
                  <a:cxn ang="0">
                    <a:pos x="159" y="113"/>
                  </a:cxn>
                  <a:cxn ang="0">
                    <a:pos x="164" y="114"/>
                  </a:cxn>
                  <a:cxn ang="0">
                    <a:pos x="177" y="122"/>
                  </a:cxn>
                  <a:cxn ang="0">
                    <a:pos x="177" y="128"/>
                  </a:cxn>
                  <a:cxn ang="0">
                    <a:pos x="178" y="135"/>
                  </a:cxn>
                  <a:cxn ang="0">
                    <a:pos x="181" y="144"/>
                  </a:cxn>
                  <a:cxn ang="0">
                    <a:pos x="185" y="113"/>
                  </a:cxn>
                  <a:cxn ang="0">
                    <a:pos x="189" y="104"/>
                  </a:cxn>
                  <a:cxn ang="0">
                    <a:pos x="204" y="91"/>
                  </a:cxn>
                  <a:cxn ang="0">
                    <a:pos x="212" y="84"/>
                  </a:cxn>
                  <a:cxn ang="0">
                    <a:pos x="219" y="81"/>
                  </a:cxn>
                  <a:cxn ang="0">
                    <a:pos x="215" y="79"/>
                  </a:cxn>
                  <a:cxn ang="0">
                    <a:pos x="219" y="74"/>
                  </a:cxn>
                  <a:cxn ang="0">
                    <a:pos x="217" y="71"/>
                  </a:cxn>
                  <a:cxn ang="0">
                    <a:pos x="219" y="65"/>
                  </a:cxn>
                  <a:cxn ang="0">
                    <a:pos x="221" y="66"/>
                  </a:cxn>
                  <a:cxn ang="0">
                    <a:pos x="225" y="58"/>
                  </a:cxn>
                  <a:cxn ang="0">
                    <a:pos x="224" y="66"/>
                  </a:cxn>
                  <a:cxn ang="0">
                    <a:pos x="221" y="71"/>
                  </a:cxn>
                  <a:cxn ang="0">
                    <a:pos x="227" y="57"/>
                  </a:cxn>
                  <a:cxn ang="0">
                    <a:pos x="236" y="53"/>
                  </a:cxn>
                  <a:cxn ang="0">
                    <a:pos x="244" y="48"/>
                  </a:cxn>
                  <a:cxn ang="0">
                    <a:pos x="251" y="46"/>
                  </a:cxn>
                  <a:cxn ang="0">
                    <a:pos x="257" y="43"/>
                  </a:cxn>
                  <a:cxn ang="0">
                    <a:pos x="255" y="39"/>
                  </a:cxn>
                  <a:cxn ang="0">
                    <a:pos x="266" y="29"/>
                  </a:cxn>
                </a:cxnLst>
                <a:rect l="0" t="0" r="r" b="b"/>
                <a:pathLst>
                  <a:path w="276" h="144">
                    <a:moveTo>
                      <a:pt x="276" y="27"/>
                    </a:moveTo>
                    <a:cubicBezTo>
                      <a:pt x="276" y="25"/>
                      <a:pt x="276" y="25"/>
                      <a:pt x="276" y="25"/>
                    </a:cubicBezTo>
                    <a:cubicBezTo>
                      <a:pt x="274" y="20"/>
                      <a:pt x="274" y="20"/>
                      <a:pt x="274" y="20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4" y="13"/>
                      <a:pt x="274" y="13"/>
                      <a:pt x="274" y="13"/>
                    </a:cubicBezTo>
                    <a:cubicBezTo>
                      <a:pt x="272" y="13"/>
                      <a:pt x="272" y="13"/>
                      <a:pt x="272" y="13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6" y="16"/>
                      <a:pt x="266" y="16"/>
                      <a:pt x="266" y="16"/>
                    </a:cubicBezTo>
                    <a:cubicBezTo>
                      <a:pt x="264" y="20"/>
                      <a:pt x="264" y="20"/>
                      <a:pt x="264" y="20"/>
                    </a:cubicBezTo>
                    <a:cubicBezTo>
                      <a:pt x="259" y="24"/>
                      <a:pt x="259" y="24"/>
                      <a:pt x="259" y="24"/>
                    </a:cubicBezTo>
                    <a:cubicBezTo>
                      <a:pt x="256" y="26"/>
                      <a:pt x="256" y="26"/>
                      <a:pt x="256" y="26"/>
                    </a:cubicBezTo>
                    <a:cubicBezTo>
                      <a:pt x="247" y="26"/>
                      <a:pt x="247" y="26"/>
                      <a:pt x="247" y="26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3" y="30"/>
                      <a:pt x="233" y="30"/>
                      <a:pt x="233" y="30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24" y="34"/>
                      <a:pt x="224" y="34"/>
                      <a:pt x="224" y="34"/>
                    </a:cubicBezTo>
                    <a:cubicBezTo>
                      <a:pt x="217" y="35"/>
                      <a:pt x="217" y="35"/>
                      <a:pt x="217" y="35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7" y="42"/>
                      <a:pt x="207" y="42"/>
                      <a:pt x="207" y="42"/>
                    </a:cubicBezTo>
                    <a:cubicBezTo>
                      <a:pt x="202" y="44"/>
                      <a:pt x="202" y="44"/>
                      <a:pt x="202" y="44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4" y="34"/>
                      <a:pt x="204" y="34"/>
                      <a:pt x="204" y="34"/>
                    </a:cubicBezTo>
                    <a:cubicBezTo>
                      <a:pt x="205" y="29"/>
                      <a:pt x="205" y="29"/>
                      <a:pt x="205" y="29"/>
                    </a:cubicBezTo>
                    <a:cubicBezTo>
                      <a:pt x="207" y="24"/>
                      <a:pt x="207" y="24"/>
                      <a:pt x="207" y="24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3" y="19"/>
                      <a:pt x="203" y="19"/>
                      <a:pt x="203" y="19"/>
                    </a:cubicBezTo>
                    <a:cubicBezTo>
                      <a:pt x="201" y="19"/>
                      <a:pt x="201" y="19"/>
                      <a:pt x="201" y="19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197" y="15"/>
                      <a:pt x="197" y="15"/>
                      <a:pt x="197" y="15"/>
                    </a:cubicBezTo>
                    <a:cubicBezTo>
                      <a:pt x="194" y="12"/>
                      <a:pt x="194" y="12"/>
                      <a:pt x="194" y="12"/>
                    </a:cubicBezTo>
                    <a:cubicBezTo>
                      <a:pt x="189" y="9"/>
                      <a:pt x="189" y="9"/>
                      <a:pt x="189" y="9"/>
                    </a:cubicBezTo>
                    <a:cubicBezTo>
                      <a:pt x="186" y="7"/>
                      <a:pt x="186" y="7"/>
                      <a:pt x="186" y="7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5" y="7"/>
                      <a:pt x="175" y="7"/>
                      <a:pt x="175" y="7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66" y="5"/>
                      <a:pt x="166" y="5"/>
                      <a:pt x="166" y="5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18" y="3"/>
                      <a:pt x="77" y="3"/>
                      <a:pt x="36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5" y="88"/>
                      <a:pt x="5" y="88"/>
                      <a:pt x="5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42" y="107"/>
                      <a:pt x="42" y="107"/>
                      <a:pt x="42" y="107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4" y="119"/>
                      <a:pt x="74" y="119"/>
                      <a:pt x="74" y="119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80" y="116"/>
                      <a:pt x="80" y="116"/>
                      <a:pt x="80" y="116"/>
                    </a:cubicBezTo>
                    <a:cubicBezTo>
                      <a:pt x="86" y="117"/>
                      <a:pt x="86" y="117"/>
                      <a:pt x="86" y="117"/>
                    </a:cubicBezTo>
                    <a:cubicBezTo>
                      <a:pt x="95" y="130"/>
                      <a:pt x="88" y="139"/>
                      <a:pt x="103" y="140"/>
                    </a:cubicBezTo>
                    <a:cubicBezTo>
                      <a:pt x="101" y="132"/>
                      <a:pt x="101" y="132"/>
                      <a:pt x="101" y="132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103" y="131"/>
                      <a:pt x="103" y="131"/>
                      <a:pt x="103" y="131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09" y="124"/>
                      <a:pt x="109" y="124"/>
                      <a:pt x="109" y="124"/>
                    </a:cubicBezTo>
                    <a:cubicBezTo>
                      <a:pt x="109" y="123"/>
                      <a:pt x="109" y="123"/>
                      <a:pt x="109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7" y="119"/>
                      <a:pt x="117" y="119"/>
                      <a:pt x="117" y="119"/>
                    </a:cubicBezTo>
                    <a:cubicBezTo>
                      <a:pt x="117" y="117"/>
                      <a:pt x="117" y="117"/>
                      <a:pt x="117" y="117"/>
                    </a:cubicBezTo>
                    <a:cubicBezTo>
                      <a:pt x="119" y="117"/>
                      <a:pt x="119" y="117"/>
                      <a:pt x="119" y="117"/>
                    </a:cubicBezTo>
                    <a:cubicBezTo>
                      <a:pt x="119" y="119"/>
                      <a:pt x="119" y="119"/>
                      <a:pt x="119" y="119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4" y="116"/>
                      <a:pt x="134" y="116"/>
                      <a:pt x="134" y="116"/>
                    </a:cubicBezTo>
                    <a:cubicBezTo>
                      <a:pt x="136" y="119"/>
                      <a:pt x="136" y="119"/>
                      <a:pt x="136" y="119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41" y="120"/>
                      <a:pt x="141" y="120"/>
                      <a:pt x="141" y="120"/>
                    </a:cubicBezTo>
                    <a:cubicBezTo>
                      <a:pt x="141" y="117"/>
                      <a:pt x="141" y="117"/>
                      <a:pt x="141" y="117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22"/>
                      <a:pt x="143" y="122"/>
                      <a:pt x="143" y="122"/>
                    </a:cubicBezTo>
                    <a:cubicBezTo>
                      <a:pt x="145" y="120"/>
                      <a:pt x="145" y="120"/>
                      <a:pt x="145" y="120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5" y="115"/>
                      <a:pt x="145" y="115"/>
                      <a:pt x="145" y="115"/>
                    </a:cubicBezTo>
                    <a:cubicBezTo>
                      <a:pt x="140" y="114"/>
                      <a:pt x="140" y="114"/>
                      <a:pt x="140" y="114"/>
                    </a:cubicBezTo>
                    <a:cubicBezTo>
                      <a:pt x="143" y="114"/>
                      <a:pt x="143" y="114"/>
                      <a:pt x="143" y="114"/>
                    </a:cubicBez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7" y="112"/>
                      <a:pt x="157" y="112"/>
                      <a:pt x="157" y="112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59" y="113"/>
                      <a:pt x="159" y="113"/>
                      <a:pt x="159" y="113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5"/>
                      <a:pt x="165" y="115"/>
                      <a:pt x="165" y="115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5" y="117"/>
                      <a:pt x="165" y="117"/>
                      <a:pt x="165" y="117"/>
                    </a:cubicBezTo>
                    <a:cubicBezTo>
                      <a:pt x="171" y="114"/>
                      <a:pt x="171" y="114"/>
                      <a:pt x="171" y="114"/>
                    </a:cubicBezTo>
                    <a:cubicBezTo>
                      <a:pt x="175" y="119"/>
                      <a:pt x="175" y="119"/>
                      <a:pt x="175" y="119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75" y="130"/>
                      <a:pt x="175" y="130"/>
                      <a:pt x="175" y="130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5" y="129"/>
                      <a:pt x="175" y="129"/>
                      <a:pt x="175" y="129"/>
                    </a:cubicBezTo>
                    <a:cubicBezTo>
                      <a:pt x="177" y="128"/>
                      <a:pt x="177" y="128"/>
                      <a:pt x="177" y="128"/>
                    </a:cubicBezTo>
                    <a:cubicBezTo>
                      <a:pt x="175" y="131"/>
                      <a:pt x="175" y="131"/>
                      <a:pt x="175" y="131"/>
                    </a:cubicBezTo>
                    <a:cubicBezTo>
                      <a:pt x="177" y="133"/>
                      <a:pt x="177" y="133"/>
                      <a:pt x="177" y="133"/>
                    </a:cubicBezTo>
                    <a:cubicBezTo>
                      <a:pt x="178" y="134"/>
                      <a:pt x="178" y="134"/>
                      <a:pt x="178" y="134"/>
                    </a:cubicBezTo>
                    <a:cubicBezTo>
                      <a:pt x="178" y="135"/>
                      <a:pt x="178" y="135"/>
                      <a:pt x="178" y="135"/>
                    </a:cubicBezTo>
                    <a:cubicBezTo>
                      <a:pt x="179" y="135"/>
                      <a:pt x="179" y="135"/>
                      <a:pt x="179" y="135"/>
                    </a:cubicBezTo>
                    <a:cubicBezTo>
                      <a:pt x="178" y="136"/>
                      <a:pt x="178" y="136"/>
                      <a:pt x="178" y="136"/>
                    </a:cubicBezTo>
                    <a:cubicBezTo>
                      <a:pt x="179" y="140"/>
                      <a:pt x="179" y="140"/>
                      <a:pt x="179" y="140"/>
                    </a:cubicBezTo>
                    <a:cubicBezTo>
                      <a:pt x="181" y="144"/>
                      <a:pt x="181" y="144"/>
                      <a:pt x="181" y="144"/>
                    </a:cubicBezTo>
                    <a:cubicBezTo>
                      <a:pt x="190" y="142"/>
                      <a:pt x="185" y="129"/>
                      <a:pt x="186" y="123"/>
                    </a:cubicBezTo>
                    <a:cubicBezTo>
                      <a:pt x="186" y="128"/>
                      <a:pt x="186" y="128"/>
                      <a:pt x="186" y="128"/>
                    </a:cubicBezTo>
                    <a:cubicBezTo>
                      <a:pt x="186" y="119"/>
                      <a:pt x="186" y="119"/>
                      <a:pt x="186" y="119"/>
                    </a:cubicBezTo>
                    <a:cubicBezTo>
                      <a:pt x="185" y="113"/>
                      <a:pt x="185" y="113"/>
                      <a:pt x="185" y="113"/>
                    </a:cubicBezTo>
                    <a:cubicBezTo>
                      <a:pt x="185" y="109"/>
                      <a:pt x="185" y="109"/>
                      <a:pt x="185" y="109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91" y="100"/>
                      <a:pt x="191" y="100"/>
                      <a:pt x="191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9" y="95"/>
                      <a:pt x="199" y="95"/>
                      <a:pt x="199" y="95"/>
                    </a:cubicBezTo>
                    <a:cubicBezTo>
                      <a:pt x="204" y="91"/>
                      <a:pt x="204" y="91"/>
                      <a:pt x="204" y="91"/>
                    </a:cubicBezTo>
                    <a:cubicBezTo>
                      <a:pt x="207" y="90"/>
                      <a:pt x="207" y="90"/>
                      <a:pt x="207" y="90"/>
                    </a:cubicBezTo>
                    <a:cubicBezTo>
                      <a:pt x="210" y="87"/>
                      <a:pt x="210" y="87"/>
                      <a:pt x="210" y="87"/>
                    </a:cubicBezTo>
                    <a:cubicBezTo>
                      <a:pt x="216" y="85"/>
                      <a:pt x="216" y="85"/>
                      <a:pt x="216" y="85"/>
                    </a:cubicBezTo>
                    <a:cubicBezTo>
                      <a:pt x="212" y="84"/>
                      <a:pt x="212" y="84"/>
                      <a:pt x="212" y="84"/>
                    </a:cubicBezTo>
                    <a:cubicBezTo>
                      <a:pt x="215" y="85"/>
                      <a:pt x="215" y="85"/>
                      <a:pt x="215" y="85"/>
                    </a:cubicBezTo>
                    <a:cubicBezTo>
                      <a:pt x="215" y="83"/>
                      <a:pt x="215" y="83"/>
                      <a:pt x="215" y="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9" y="80"/>
                      <a:pt x="219" y="80"/>
                      <a:pt x="219" y="80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15" y="79"/>
                      <a:pt x="215" y="79"/>
                      <a:pt x="215" y="79"/>
                    </a:cubicBezTo>
                    <a:cubicBezTo>
                      <a:pt x="221" y="79"/>
                      <a:pt x="221" y="79"/>
                      <a:pt x="221" y="79"/>
                    </a:cubicBezTo>
                    <a:cubicBezTo>
                      <a:pt x="221" y="75"/>
                      <a:pt x="221" y="75"/>
                      <a:pt x="221" y="75"/>
                    </a:cubicBezTo>
                    <a:cubicBezTo>
                      <a:pt x="221" y="80"/>
                      <a:pt x="221" y="80"/>
                      <a:pt x="221" y="80"/>
                    </a:cubicBezTo>
                    <a:cubicBezTo>
                      <a:pt x="219" y="74"/>
                      <a:pt x="219" y="74"/>
                      <a:pt x="219" y="74"/>
                    </a:cubicBezTo>
                    <a:cubicBezTo>
                      <a:pt x="217" y="73"/>
                      <a:pt x="217" y="73"/>
                      <a:pt x="217" y="73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9" y="73"/>
                      <a:pt x="219" y="73"/>
                      <a:pt x="219" y="73"/>
                    </a:cubicBezTo>
                    <a:cubicBezTo>
                      <a:pt x="217" y="71"/>
                      <a:pt x="217" y="71"/>
                      <a:pt x="217" y="71"/>
                    </a:cubicBezTo>
                    <a:cubicBezTo>
                      <a:pt x="219" y="71"/>
                      <a:pt x="219" y="71"/>
                      <a:pt x="219" y="71"/>
                    </a:cubicBezTo>
                    <a:cubicBezTo>
                      <a:pt x="217" y="66"/>
                      <a:pt x="217" y="66"/>
                      <a:pt x="217" y="66"/>
                    </a:cubicBezTo>
                    <a:cubicBezTo>
                      <a:pt x="221" y="68"/>
                      <a:pt x="221" y="68"/>
                      <a:pt x="221" y="68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16" y="65"/>
                      <a:pt x="216" y="65"/>
                      <a:pt x="216" y="65"/>
                    </a:cubicBezTo>
                    <a:cubicBezTo>
                      <a:pt x="219" y="63"/>
                      <a:pt x="219" y="63"/>
                      <a:pt x="219" y="63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21" y="66"/>
                      <a:pt x="221" y="66"/>
                      <a:pt x="221" y="66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1" y="60"/>
                      <a:pt x="221" y="60"/>
                      <a:pt x="221" y="60"/>
                    </a:cubicBezTo>
                    <a:cubicBezTo>
                      <a:pt x="225" y="58"/>
                      <a:pt x="225" y="58"/>
                      <a:pt x="225" y="58"/>
                    </a:cubicBezTo>
                    <a:cubicBezTo>
                      <a:pt x="223" y="61"/>
                      <a:pt x="223" y="61"/>
                      <a:pt x="223" y="61"/>
                    </a:cubicBezTo>
                    <a:cubicBezTo>
                      <a:pt x="223" y="64"/>
                      <a:pt x="223" y="64"/>
                      <a:pt x="223" y="64"/>
                    </a:cubicBezTo>
                    <a:cubicBezTo>
                      <a:pt x="221" y="65"/>
                      <a:pt x="221" y="65"/>
                      <a:pt x="221" y="65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23" y="67"/>
                      <a:pt x="223" y="67"/>
                      <a:pt x="223" y="67"/>
                    </a:cubicBezTo>
                    <a:cubicBezTo>
                      <a:pt x="223" y="68"/>
                      <a:pt x="223" y="68"/>
                      <a:pt x="223" y="68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71"/>
                      <a:pt x="221" y="71"/>
                      <a:pt x="221" y="71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58"/>
                      <a:pt x="227" y="58"/>
                      <a:pt x="227" y="58"/>
                    </a:cubicBezTo>
                    <a:cubicBezTo>
                      <a:pt x="229" y="56"/>
                      <a:pt x="229" y="56"/>
                      <a:pt x="229" y="56"/>
                    </a:cubicBezTo>
                    <a:cubicBezTo>
                      <a:pt x="227" y="57"/>
                      <a:pt x="227" y="57"/>
                      <a:pt x="227" y="57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29" y="61"/>
                      <a:pt x="229" y="61"/>
                      <a:pt x="229" y="61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6" y="53"/>
                      <a:pt x="236" y="53"/>
                      <a:pt x="236" y="53"/>
                    </a:cubicBezTo>
                    <a:cubicBezTo>
                      <a:pt x="238" y="48"/>
                      <a:pt x="238" y="48"/>
                      <a:pt x="238" y="48"/>
                    </a:cubicBezTo>
                    <a:cubicBezTo>
                      <a:pt x="237" y="51"/>
                      <a:pt x="237" y="51"/>
                      <a:pt x="237" y="5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9" y="47"/>
                      <a:pt x="249" y="47"/>
                      <a:pt x="249" y="47"/>
                    </a:cubicBezTo>
                    <a:cubicBezTo>
                      <a:pt x="250" y="45"/>
                      <a:pt x="250" y="45"/>
                      <a:pt x="250" y="45"/>
                    </a:cubicBezTo>
                    <a:cubicBezTo>
                      <a:pt x="251" y="45"/>
                      <a:pt x="251" y="45"/>
                      <a:pt x="251" y="45"/>
                    </a:cubicBezTo>
                    <a:cubicBezTo>
                      <a:pt x="251" y="46"/>
                      <a:pt x="251" y="46"/>
                      <a:pt x="251" y="46"/>
                    </a:cubicBezTo>
                    <a:cubicBezTo>
                      <a:pt x="253" y="47"/>
                      <a:pt x="253" y="47"/>
                      <a:pt x="253" y="47"/>
                    </a:cubicBezTo>
                    <a:cubicBezTo>
                      <a:pt x="254" y="47"/>
                      <a:pt x="254" y="47"/>
                      <a:pt x="254" y="47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7" y="43"/>
                      <a:pt x="257" y="43"/>
                      <a:pt x="257" y="43"/>
                    </a:cubicBezTo>
                    <a:cubicBezTo>
                      <a:pt x="257" y="45"/>
                      <a:pt x="257" y="45"/>
                      <a:pt x="257" y="45"/>
                    </a:cubicBezTo>
                    <a:cubicBezTo>
                      <a:pt x="254" y="44"/>
                      <a:pt x="254" y="44"/>
                      <a:pt x="254" y="44"/>
                    </a:cubicBezTo>
                    <a:cubicBezTo>
                      <a:pt x="255" y="40"/>
                      <a:pt x="255" y="40"/>
                      <a:pt x="255" y="40"/>
                    </a:cubicBezTo>
                    <a:cubicBezTo>
                      <a:pt x="255" y="39"/>
                      <a:pt x="255" y="39"/>
                      <a:pt x="255" y="39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2"/>
                      <a:pt x="262" y="32"/>
                      <a:pt x="262" y="32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70" y="29"/>
                      <a:pt x="270" y="29"/>
                      <a:pt x="270" y="29"/>
                    </a:cubicBezTo>
                    <a:cubicBezTo>
                      <a:pt x="276" y="27"/>
                      <a:pt x="276" y="27"/>
                      <a:pt x="276" y="27"/>
                    </a:cubicBez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8" name="Freeform 2071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39" name="Freeform 2072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0" name="Freeform 2073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1" name="Freeform 2074"/>
              <p:cNvSpPr>
                <a:spLocks/>
              </p:cNvSpPr>
              <p:nvPr/>
            </p:nvSpPr>
            <p:spPr bwMode="auto">
              <a:xfrm>
                <a:off x="987437" y="2556615"/>
                <a:ext cx="68263" cy="52388"/>
              </a:xfrm>
              <a:custGeom>
                <a:avLst/>
                <a:gdLst/>
                <a:ahLst/>
                <a:cxnLst>
                  <a:cxn ang="0">
                    <a:pos x="43" y="10"/>
                  </a:cxn>
                  <a:cxn ang="0">
                    <a:pos x="36" y="6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6"/>
                  </a:cxn>
                  <a:cxn ang="0">
                    <a:pos x="20" y="6"/>
                  </a:cxn>
                  <a:cxn ang="0">
                    <a:pos x="13" y="16"/>
                  </a:cxn>
                  <a:cxn ang="0">
                    <a:pos x="13" y="10"/>
                  </a:cxn>
                  <a:cxn ang="0">
                    <a:pos x="3" y="19"/>
                  </a:cxn>
                  <a:cxn ang="0">
                    <a:pos x="0" y="26"/>
                  </a:cxn>
                  <a:cxn ang="0">
                    <a:pos x="3" y="19"/>
                  </a:cxn>
                  <a:cxn ang="0">
                    <a:pos x="3" y="26"/>
                  </a:cxn>
                  <a:cxn ang="0">
                    <a:pos x="0" y="33"/>
                  </a:cxn>
                  <a:cxn ang="0">
                    <a:pos x="10" y="26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43" y="10"/>
                  </a:cxn>
                </a:cxnLst>
                <a:rect l="0" t="0" r="r" b="b"/>
                <a:pathLst>
                  <a:path w="43" h="33">
                    <a:moveTo>
                      <a:pt x="43" y="10"/>
                    </a:move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0" y="6"/>
                    </a:lnTo>
                    <a:lnTo>
                      <a:pt x="13" y="16"/>
                    </a:lnTo>
                    <a:lnTo>
                      <a:pt x="13" y="10"/>
                    </a:lnTo>
                    <a:lnTo>
                      <a:pt x="3" y="19"/>
                    </a:lnTo>
                    <a:lnTo>
                      <a:pt x="0" y="26"/>
                    </a:lnTo>
                    <a:lnTo>
                      <a:pt x="3" y="19"/>
                    </a:lnTo>
                    <a:lnTo>
                      <a:pt x="3" y="26"/>
                    </a:lnTo>
                    <a:lnTo>
                      <a:pt x="0" y="33"/>
                    </a:lnTo>
                    <a:lnTo>
                      <a:pt x="10" y="2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43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2" name="Freeform 2075"/>
              <p:cNvSpPr>
                <a:spLocks/>
              </p:cNvSpPr>
              <p:nvPr/>
            </p:nvSpPr>
            <p:spPr bwMode="auto">
              <a:xfrm>
                <a:off x="820749" y="2399449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3" name="Freeform 2076"/>
              <p:cNvSpPr>
                <a:spLocks/>
              </p:cNvSpPr>
              <p:nvPr/>
            </p:nvSpPr>
            <p:spPr bwMode="auto">
              <a:xfrm>
                <a:off x="820749" y="2399449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4" name="Freeform 2077"/>
              <p:cNvSpPr>
                <a:spLocks/>
              </p:cNvSpPr>
              <p:nvPr/>
            </p:nvSpPr>
            <p:spPr bwMode="auto">
              <a:xfrm>
                <a:off x="820749" y="2399449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5" name="Freeform 2078"/>
              <p:cNvSpPr>
                <a:spLocks/>
              </p:cNvSpPr>
              <p:nvPr/>
            </p:nvSpPr>
            <p:spPr bwMode="auto">
              <a:xfrm>
                <a:off x="820749" y="2399449"/>
                <a:ext cx="61913" cy="52388"/>
              </a:xfrm>
              <a:custGeom>
                <a:avLst/>
                <a:gdLst/>
                <a:ahLst/>
                <a:cxnLst>
                  <a:cxn ang="0">
                    <a:pos x="39" y="13"/>
                  </a:cxn>
                  <a:cxn ang="0">
                    <a:pos x="20" y="33"/>
                  </a:cxn>
                  <a:cxn ang="0">
                    <a:pos x="13" y="6"/>
                  </a:cxn>
                  <a:cxn ang="0">
                    <a:pos x="16" y="13"/>
                  </a:cxn>
                  <a:cxn ang="0">
                    <a:pos x="0" y="13"/>
                  </a:cxn>
                  <a:cxn ang="0">
                    <a:pos x="6" y="0"/>
                  </a:cxn>
                  <a:cxn ang="0">
                    <a:pos x="20" y="0"/>
                  </a:cxn>
                  <a:cxn ang="0">
                    <a:pos x="39" y="13"/>
                  </a:cxn>
                </a:cxnLst>
                <a:rect l="0" t="0" r="r" b="b"/>
                <a:pathLst>
                  <a:path w="39" h="33">
                    <a:moveTo>
                      <a:pt x="39" y="13"/>
                    </a:moveTo>
                    <a:lnTo>
                      <a:pt x="20" y="33"/>
                    </a:lnTo>
                    <a:lnTo>
                      <a:pt x="13" y="6"/>
                    </a:lnTo>
                    <a:lnTo>
                      <a:pt x="16" y="13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20" y="0"/>
                    </a:lnTo>
                    <a:lnTo>
                      <a:pt x="39" y="1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6" name="Freeform 2079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7" name="Freeform 2080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8" name="Freeform 2081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49" name="Freeform 2082"/>
              <p:cNvSpPr>
                <a:spLocks/>
              </p:cNvSpPr>
              <p:nvPr/>
            </p:nvSpPr>
            <p:spPr bwMode="auto">
              <a:xfrm>
                <a:off x="1401780" y="2597891"/>
                <a:ext cx="57150" cy="52388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3" y="33"/>
                  </a:cxn>
                  <a:cxn ang="0">
                    <a:pos x="13" y="26"/>
                  </a:cxn>
                  <a:cxn ang="0">
                    <a:pos x="0" y="23"/>
                  </a:cxn>
                  <a:cxn ang="0">
                    <a:pos x="13" y="20"/>
                  </a:cxn>
                  <a:cxn ang="0">
                    <a:pos x="23" y="17"/>
                  </a:cxn>
                  <a:cxn ang="0">
                    <a:pos x="13" y="17"/>
                  </a:cxn>
                  <a:cxn ang="0">
                    <a:pos x="26" y="10"/>
                  </a:cxn>
                  <a:cxn ang="0">
                    <a:pos x="23" y="3"/>
                  </a:cxn>
                  <a:cxn ang="0">
                    <a:pos x="36" y="0"/>
                  </a:cxn>
                  <a:cxn ang="0">
                    <a:pos x="36" y="17"/>
                  </a:cxn>
                  <a:cxn ang="0">
                    <a:pos x="26" y="20"/>
                  </a:cxn>
                  <a:cxn ang="0">
                    <a:pos x="23" y="33"/>
                  </a:cxn>
                </a:cxnLst>
                <a:rect l="0" t="0" r="r" b="b"/>
                <a:pathLst>
                  <a:path w="36" h="33">
                    <a:moveTo>
                      <a:pt x="23" y="33"/>
                    </a:moveTo>
                    <a:lnTo>
                      <a:pt x="23" y="33"/>
                    </a:lnTo>
                    <a:lnTo>
                      <a:pt x="13" y="26"/>
                    </a:lnTo>
                    <a:lnTo>
                      <a:pt x="0" y="23"/>
                    </a:lnTo>
                    <a:lnTo>
                      <a:pt x="13" y="20"/>
                    </a:lnTo>
                    <a:lnTo>
                      <a:pt x="23" y="17"/>
                    </a:lnTo>
                    <a:lnTo>
                      <a:pt x="13" y="17"/>
                    </a:lnTo>
                    <a:lnTo>
                      <a:pt x="26" y="10"/>
                    </a:lnTo>
                    <a:lnTo>
                      <a:pt x="23" y="3"/>
                    </a:lnTo>
                    <a:lnTo>
                      <a:pt x="36" y="0"/>
                    </a:lnTo>
                    <a:lnTo>
                      <a:pt x="36" y="17"/>
                    </a:lnTo>
                    <a:lnTo>
                      <a:pt x="26" y="20"/>
                    </a:lnTo>
                    <a:lnTo>
                      <a:pt x="23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0" name="Freeform 2083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1" name="Freeform 2084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2" name="Freeform 2085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3" name="Freeform 2086"/>
              <p:cNvSpPr>
                <a:spLocks/>
              </p:cNvSpPr>
              <p:nvPr/>
            </p:nvSpPr>
            <p:spPr bwMode="auto">
              <a:xfrm>
                <a:off x="1422417" y="255026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17"/>
                  </a:cxn>
                  <a:cxn ang="0">
                    <a:pos x="23" y="17"/>
                  </a:cxn>
                  <a:cxn ang="0">
                    <a:pos x="0" y="33"/>
                  </a:cxn>
                  <a:cxn ang="0">
                    <a:pos x="6" y="20"/>
                  </a:cxn>
                  <a:cxn ang="0">
                    <a:pos x="33" y="0"/>
                  </a:cxn>
                  <a:cxn ang="0">
                    <a:pos x="36" y="0"/>
                  </a:cxn>
                  <a:cxn ang="0">
                    <a:pos x="36" y="17"/>
                  </a:cxn>
                </a:cxnLst>
                <a:rect l="0" t="0" r="r" b="b"/>
                <a:pathLst>
                  <a:path w="36" h="33">
                    <a:moveTo>
                      <a:pt x="36" y="17"/>
                    </a:moveTo>
                    <a:lnTo>
                      <a:pt x="23" y="17"/>
                    </a:lnTo>
                    <a:lnTo>
                      <a:pt x="0" y="33"/>
                    </a:lnTo>
                    <a:lnTo>
                      <a:pt x="6" y="2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6" y="1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4" name="Freeform 2087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5" name="Freeform 2088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6" name="Freeform 2089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7" name="Freeform 2090"/>
              <p:cNvSpPr>
                <a:spLocks/>
              </p:cNvSpPr>
              <p:nvPr/>
            </p:nvSpPr>
            <p:spPr bwMode="auto">
              <a:xfrm>
                <a:off x="804874" y="2488352"/>
                <a:ext cx="61913" cy="57151"/>
              </a:xfrm>
              <a:custGeom>
                <a:avLst/>
                <a:gdLst/>
                <a:ahLst/>
                <a:cxnLst>
                  <a:cxn ang="0">
                    <a:pos x="39" y="26"/>
                  </a:cxn>
                  <a:cxn ang="0">
                    <a:pos x="20" y="36"/>
                  </a:cxn>
                  <a:cxn ang="0">
                    <a:pos x="0" y="26"/>
                  </a:cxn>
                  <a:cxn ang="0">
                    <a:pos x="39" y="0"/>
                  </a:cxn>
                  <a:cxn ang="0">
                    <a:pos x="39" y="26"/>
                  </a:cxn>
                </a:cxnLst>
                <a:rect l="0" t="0" r="r" b="b"/>
                <a:pathLst>
                  <a:path w="39" h="36">
                    <a:moveTo>
                      <a:pt x="39" y="26"/>
                    </a:moveTo>
                    <a:lnTo>
                      <a:pt x="20" y="36"/>
                    </a:lnTo>
                    <a:lnTo>
                      <a:pt x="0" y="26"/>
                    </a:lnTo>
                    <a:lnTo>
                      <a:pt x="39" y="0"/>
                    </a:lnTo>
                    <a:lnTo>
                      <a:pt x="39" y="2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8" name="Freeform 2091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59" name="Freeform 2092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0" name="Freeform 2093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1" name="Freeform 2094"/>
              <p:cNvSpPr>
                <a:spLocks/>
              </p:cNvSpPr>
              <p:nvPr/>
            </p:nvSpPr>
            <p:spPr bwMode="auto">
              <a:xfrm>
                <a:off x="1401780" y="2556615"/>
                <a:ext cx="57150" cy="52388"/>
              </a:xfrm>
              <a:custGeom>
                <a:avLst/>
                <a:gdLst/>
                <a:ahLst/>
                <a:cxnLst>
                  <a:cxn ang="0">
                    <a:pos x="26" y="23"/>
                  </a:cxn>
                  <a:cxn ang="0">
                    <a:pos x="26" y="13"/>
                  </a:cxn>
                  <a:cxn ang="0">
                    <a:pos x="23" y="3"/>
                  </a:cxn>
                  <a:cxn ang="0">
                    <a:pos x="36" y="13"/>
                  </a:cxn>
                  <a:cxn ang="0">
                    <a:pos x="36" y="3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13" y="0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6" y="33"/>
                  </a:cxn>
                  <a:cxn ang="0">
                    <a:pos x="13" y="13"/>
                  </a:cxn>
                  <a:cxn ang="0">
                    <a:pos x="26" y="23"/>
                  </a:cxn>
                </a:cxnLst>
                <a:rect l="0" t="0" r="r" b="b"/>
                <a:pathLst>
                  <a:path w="36" h="33">
                    <a:moveTo>
                      <a:pt x="26" y="23"/>
                    </a:moveTo>
                    <a:lnTo>
                      <a:pt x="26" y="13"/>
                    </a:lnTo>
                    <a:lnTo>
                      <a:pt x="23" y="3"/>
                    </a:lnTo>
                    <a:lnTo>
                      <a:pt x="36" y="13"/>
                    </a:lnTo>
                    <a:lnTo>
                      <a:pt x="36" y="3"/>
                    </a:lnTo>
                    <a:lnTo>
                      <a:pt x="26" y="3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6" y="13"/>
                    </a:lnTo>
                    <a:lnTo>
                      <a:pt x="0" y="13"/>
                    </a:lnTo>
                    <a:lnTo>
                      <a:pt x="6" y="33"/>
                    </a:lnTo>
                    <a:lnTo>
                      <a:pt x="13" y="13"/>
                    </a:lnTo>
                    <a:lnTo>
                      <a:pt x="26" y="2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2" name="Freeform 2095"/>
              <p:cNvSpPr>
                <a:spLocks/>
              </p:cNvSpPr>
              <p:nvPr/>
            </p:nvSpPr>
            <p:spPr bwMode="auto">
              <a:xfrm>
                <a:off x="1395430" y="2566141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3" name="Freeform 2096"/>
              <p:cNvSpPr>
                <a:spLocks/>
              </p:cNvSpPr>
              <p:nvPr/>
            </p:nvSpPr>
            <p:spPr bwMode="auto">
              <a:xfrm>
                <a:off x="1395430" y="2566141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4" name="Freeform 2097"/>
              <p:cNvSpPr>
                <a:spLocks/>
              </p:cNvSpPr>
              <p:nvPr/>
            </p:nvSpPr>
            <p:spPr bwMode="auto">
              <a:xfrm>
                <a:off x="1395430" y="2566141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5" name="Freeform 2098"/>
              <p:cNvSpPr>
                <a:spLocks/>
              </p:cNvSpPr>
              <p:nvPr/>
            </p:nvSpPr>
            <p:spPr bwMode="auto">
              <a:xfrm>
                <a:off x="1395430" y="2566141"/>
                <a:ext cx="57150" cy="52388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36" y="0"/>
                  </a:cxn>
                  <a:cxn ang="0">
                    <a:pos x="7" y="7"/>
                  </a:cxn>
                  <a:cxn ang="0">
                    <a:pos x="0" y="33"/>
                  </a:cxn>
                </a:cxnLst>
                <a:rect l="0" t="0" r="r" b="b"/>
                <a:pathLst>
                  <a:path w="36" h="33">
                    <a:moveTo>
                      <a:pt x="0" y="33"/>
                    </a:moveTo>
                    <a:lnTo>
                      <a:pt x="36" y="0"/>
                    </a:lnTo>
                    <a:lnTo>
                      <a:pt x="7" y="7"/>
                    </a:lnTo>
                    <a:lnTo>
                      <a:pt x="0" y="3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6" name="Freeform 2099"/>
              <p:cNvSpPr>
                <a:spLocks/>
              </p:cNvSpPr>
              <p:nvPr/>
            </p:nvSpPr>
            <p:spPr bwMode="auto">
              <a:xfrm>
                <a:off x="1431942" y="2582016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7" name="Freeform 2100"/>
              <p:cNvSpPr>
                <a:spLocks/>
              </p:cNvSpPr>
              <p:nvPr/>
            </p:nvSpPr>
            <p:spPr bwMode="auto">
              <a:xfrm>
                <a:off x="1431942" y="2582016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8" name="Freeform 2101"/>
              <p:cNvSpPr>
                <a:spLocks/>
              </p:cNvSpPr>
              <p:nvPr/>
            </p:nvSpPr>
            <p:spPr bwMode="auto">
              <a:xfrm>
                <a:off x="1431942" y="2582016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69" name="Freeform 2102"/>
              <p:cNvSpPr>
                <a:spLocks/>
              </p:cNvSpPr>
              <p:nvPr/>
            </p:nvSpPr>
            <p:spPr bwMode="auto">
              <a:xfrm>
                <a:off x="1431942" y="2582016"/>
                <a:ext cx="63500" cy="52388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40" y="17"/>
                  </a:cxn>
                  <a:cxn ang="0">
                    <a:pos x="17" y="0"/>
                  </a:cxn>
                  <a:cxn ang="0">
                    <a:pos x="0" y="30"/>
                  </a:cxn>
                  <a:cxn ang="0">
                    <a:pos x="17" y="33"/>
                  </a:cxn>
                  <a:cxn ang="0">
                    <a:pos x="23" y="17"/>
                  </a:cxn>
                  <a:cxn ang="0">
                    <a:pos x="40" y="30"/>
                  </a:cxn>
                </a:cxnLst>
                <a:rect l="0" t="0" r="r" b="b"/>
                <a:pathLst>
                  <a:path w="40" h="33">
                    <a:moveTo>
                      <a:pt x="40" y="30"/>
                    </a:moveTo>
                    <a:lnTo>
                      <a:pt x="40" y="17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33"/>
                    </a:lnTo>
                    <a:lnTo>
                      <a:pt x="23" y="17"/>
                    </a:lnTo>
                    <a:lnTo>
                      <a:pt x="40" y="3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0" name="Freeform 2103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1" name="Freeform 2104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2" name="Freeform 2105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3" name="Freeform 2106"/>
              <p:cNvSpPr>
                <a:spLocks/>
              </p:cNvSpPr>
              <p:nvPr/>
            </p:nvSpPr>
            <p:spPr bwMode="auto">
              <a:xfrm>
                <a:off x="1401780" y="2597891"/>
                <a:ext cx="66675" cy="47625"/>
              </a:xfrm>
              <a:custGeom>
                <a:avLst/>
                <a:gdLst/>
                <a:ahLst/>
                <a:cxnLst>
                  <a:cxn ang="0">
                    <a:pos x="42" y="10"/>
                  </a:cxn>
                  <a:cxn ang="0">
                    <a:pos x="0" y="30"/>
                  </a:cxn>
                  <a:cxn ang="0">
                    <a:pos x="19" y="0"/>
                  </a:cxn>
                  <a:cxn ang="0">
                    <a:pos x="42" y="10"/>
                  </a:cxn>
                </a:cxnLst>
                <a:rect l="0" t="0" r="r" b="b"/>
                <a:pathLst>
                  <a:path w="42" h="30">
                    <a:moveTo>
                      <a:pt x="42" y="10"/>
                    </a:moveTo>
                    <a:lnTo>
                      <a:pt x="0" y="30"/>
                    </a:lnTo>
                    <a:lnTo>
                      <a:pt x="19" y="0"/>
                    </a:lnTo>
                    <a:lnTo>
                      <a:pt x="42" y="1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4" name="Freeform 2107"/>
              <p:cNvSpPr>
                <a:spLocks/>
              </p:cNvSpPr>
              <p:nvPr/>
            </p:nvSpPr>
            <p:spPr bwMode="auto">
              <a:xfrm>
                <a:off x="688984" y="2267685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5" name="Freeform 2108"/>
              <p:cNvSpPr>
                <a:spLocks/>
              </p:cNvSpPr>
              <p:nvPr/>
            </p:nvSpPr>
            <p:spPr bwMode="auto">
              <a:xfrm>
                <a:off x="688984" y="2267685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6" name="Freeform 2109"/>
              <p:cNvSpPr>
                <a:spLocks/>
              </p:cNvSpPr>
              <p:nvPr/>
            </p:nvSpPr>
            <p:spPr bwMode="auto">
              <a:xfrm>
                <a:off x="688984" y="2267685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7" name="Freeform 2110"/>
              <p:cNvSpPr>
                <a:spLocks/>
              </p:cNvSpPr>
              <p:nvPr/>
            </p:nvSpPr>
            <p:spPr bwMode="auto">
              <a:xfrm>
                <a:off x="688984" y="2267685"/>
                <a:ext cx="236540" cy="136526"/>
              </a:xfrm>
              <a:custGeom>
                <a:avLst/>
                <a:gdLst/>
                <a:ahLst/>
                <a:cxnLst>
                  <a:cxn ang="0">
                    <a:pos x="149" y="53"/>
                  </a:cxn>
                  <a:cxn ang="0">
                    <a:pos x="145" y="46"/>
                  </a:cxn>
                  <a:cxn ang="0">
                    <a:pos x="139" y="36"/>
                  </a:cxn>
                  <a:cxn ang="0">
                    <a:pos x="129" y="33"/>
                  </a:cxn>
                  <a:cxn ang="0">
                    <a:pos x="129" y="36"/>
                  </a:cxn>
                  <a:cxn ang="0">
                    <a:pos x="112" y="36"/>
                  </a:cxn>
                  <a:cxn ang="0">
                    <a:pos x="99" y="46"/>
                  </a:cxn>
                  <a:cxn ang="0">
                    <a:pos x="99" y="50"/>
                  </a:cxn>
                  <a:cxn ang="0">
                    <a:pos x="93" y="50"/>
                  </a:cxn>
                  <a:cxn ang="0">
                    <a:pos x="99" y="40"/>
                  </a:cxn>
                  <a:cxn ang="0">
                    <a:pos x="112" y="30"/>
                  </a:cxn>
                  <a:cxn ang="0">
                    <a:pos x="112" y="17"/>
                  </a:cxn>
                  <a:cxn ang="0">
                    <a:pos x="99" y="10"/>
                  </a:cxn>
                  <a:cxn ang="0">
                    <a:pos x="89" y="0"/>
                  </a:cxn>
                  <a:cxn ang="0">
                    <a:pos x="66" y="17"/>
                  </a:cxn>
                  <a:cxn ang="0">
                    <a:pos x="46" y="33"/>
                  </a:cxn>
                  <a:cxn ang="0">
                    <a:pos x="23" y="50"/>
                  </a:cxn>
                  <a:cxn ang="0">
                    <a:pos x="0" y="69"/>
                  </a:cxn>
                  <a:cxn ang="0">
                    <a:pos x="10" y="56"/>
                  </a:cxn>
                  <a:cxn ang="0">
                    <a:pos x="17" y="53"/>
                  </a:cxn>
                  <a:cxn ang="0">
                    <a:pos x="27" y="50"/>
                  </a:cxn>
                  <a:cxn ang="0">
                    <a:pos x="33" y="46"/>
                  </a:cxn>
                  <a:cxn ang="0">
                    <a:pos x="33" y="50"/>
                  </a:cxn>
                  <a:cxn ang="0">
                    <a:pos x="37" y="50"/>
                  </a:cxn>
                  <a:cxn ang="0">
                    <a:pos x="23" y="56"/>
                  </a:cxn>
                  <a:cxn ang="0">
                    <a:pos x="23" y="66"/>
                  </a:cxn>
                  <a:cxn ang="0">
                    <a:pos x="50" y="66"/>
                  </a:cxn>
                  <a:cxn ang="0">
                    <a:pos x="43" y="79"/>
                  </a:cxn>
                  <a:cxn ang="0">
                    <a:pos x="50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70" y="86"/>
                  </a:cxn>
                  <a:cxn ang="0">
                    <a:pos x="73" y="83"/>
                  </a:cxn>
                  <a:cxn ang="0">
                    <a:pos x="73" y="79"/>
                  </a:cxn>
                  <a:cxn ang="0">
                    <a:pos x="93" y="69"/>
                  </a:cxn>
                  <a:cxn ang="0">
                    <a:pos x="99" y="66"/>
                  </a:cxn>
                  <a:cxn ang="0">
                    <a:pos x="99" y="63"/>
                  </a:cxn>
                  <a:cxn ang="0">
                    <a:pos x="103" y="66"/>
                  </a:cxn>
                  <a:cxn ang="0">
                    <a:pos x="112" y="63"/>
                  </a:cxn>
                  <a:cxn ang="0">
                    <a:pos x="119" y="56"/>
                  </a:cxn>
                  <a:cxn ang="0">
                    <a:pos x="129" y="56"/>
                  </a:cxn>
                  <a:cxn ang="0">
                    <a:pos x="149" y="53"/>
                  </a:cxn>
                </a:cxnLst>
                <a:rect l="0" t="0" r="r" b="b"/>
                <a:pathLst>
                  <a:path w="149" h="86">
                    <a:moveTo>
                      <a:pt x="149" y="53"/>
                    </a:moveTo>
                    <a:lnTo>
                      <a:pt x="145" y="46"/>
                    </a:lnTo>
                    <a:lnTo>
                      <a:pt x="139" y="36"/>
                    </a:lnTo>
                    <a:lnTo>
                      <a:pt x="129" y="33"/>
                    </a:lnTo>
                    <a:lnTo>
                      <a:pt x="129" y="36"/>
                    </a:lnTo>
                    <a:lnTo>
                      <a:pt x="112" y="36"/>
                    </a:lnTo>
                    <a:lnTo>
                      <a:pt x="99" y="46"/>
                    </a:lnTo>
                    <a:lnTo>
                      <a:pt x="99" y="50"/>
                    </a:lnTo>
                    <a:lnTo>
                      <a:pt x="93" y="50"/>
                    </a:lnTo>
                    <a:lnTo>
                      <a:pt x="99" y="40"/>
                    </a:lnTo>
                    <a:lnTo>
                      <a:pt x="112" y="30"/>
                    </a:lnTo>
                    <a:lnTo>
                      <a:pt x="112" y="17"/>
                    </a:lnTo>
                    <a:lnTo>
                      <a:pt x="99" y="10"/>
                    </a:lnTo>
                    <a:lnTo>
                      <a:pt x="89" y="0"/>
                    </a:lnTo>
                    <a:lnTo>
                      <a:pt x="66" y="17"/>
                    </a:lnTo>
                    <a:lnTo>
                      <a:pt x="46" y="33"/>
                    </a:lnTo>
                    <a:lnTo>
                      <a:pt x="23" y="50"/>
                    </a:lnTo>
                    <a:lnTo>
                      <a:pt x="0" y="69"/>
                    </a:lnTo>
                    <a:lnTo>
                      <a:pt x="10" y="56"/>
                    </a:lnTo>
                    <a:lnTo>
                      <a:pt x="17" y="53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37" y="50"/>
                    </a:lnTo>
                    <a:lnTo>
                      <a:pt x="23" y="56"/>
                    </a:lnTo>
                    <a:lnTo>
                      <a:pt x="23" y="66"/>
                    </a:lnTo>
                    <a:lnTo>
                      <a:pt x="50" y="66"/>
                    </a:lnTo>
                    <a:lnTo>
                      <a:pt x="43" y="79"/>
                    </a:lnTo>
                    <a:lnTo>
                      <a:pt x="50" y="83"/>
                    </a:lnTo>
                    <a:lnTo>
                      <a:pt x="63" y="83"/>
                    </a:lnTo>
                    <a:lnTo>
                      <a:pt x="60" y="86"/>
                    </a:lnTo>
                    <a:lnTo>
                      <a:pt x="70" y="86"/>
                    </a:lnTo>
                    <a:lnTo>
                      <a:pt x="73" y="83"/>
                    </a:lnTo>
                    <a:lnTo>
                      <a:pt x="73" y="79"/>
                    </a:lnTo>
                    <a:lnTo>
                      <a:pt x="93" y="69"/>
                    </a:lnTo>
                    <a:lnTo>
                      <a:pt x="99" y="66"/>
                    </a:lnTo>
                    <a:lnTo>
                      <a:pt x="99" y="63"/>
                    </a:lnTo>
                    <a:lnTo>
                      <a:pt x="103" y="66"/>
                    </a:lnTo>
                    <a:lnTo>
                      <a:pt x="112" y="63"/>
                    </a:lnTo>
                    <a:lnTo>
                      <a:pt x="119" y="56"/>
                    </a:lnTo>
                    <a:lnTo>
                      <a:pt x="129" y="56"/>
                    </a:lnTo>
                    <a:lnTo>
                      <a:pt x="149" y="53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8" name="Freeform 2111"/>
              <p:cNvSpPr>
                <a:spLocks/>
              </p:cNvSpPr>
              <p:nvPr/>
            </p:nvSpPr>
            <p:spPr bwMode="auto">
              <a:xfrm>
                <a:off x="679459" y="2199422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79" name="Freeform 2112"/>
              <p:cNvSpPr>
                <a:spLocks/>
              </p:cNvSpPr>
              <p:nvPr/>
            </p:nvSpPr>
            <p:spPr bwMode="auto">
              <a:xfrm>
                <a:off x="679459" y="2199422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0" name="Freeform 2113"/>
              <p:cNvSpPr>
                <a:spLocks/>
              </p:cNvSpPr>
              <p:nvPr/>
            </p:nvSpPr>
            <p:spPr bwMode="auto">
              <a:xfrm>
                <a:off x="679459" y="2199422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1" name="Freeform 2114"/>
              <p:cNvSpPr>
                <a:spLocks/>
              </p:cNvSpPr>
              <p:nvPr/>
            </p:nvSpPr>
            <p:spPr bwMode="auto">
              <a:xfrm>
                <a:off x="679459" y="2199422"/>
                <a:ext cx="946161" cy="508008"/>
              </a:xfrm>
              <a:custGeom>
                <a:avLst/>
                <a:gdLst/>
                <a:ahLst/>
                <a:cxnLst>
                  <a:cxn ang="0">
                    <a:pos x="481" y="277"/>
                  </a:cxn>
                  <a:cxn ang="0">
                    <a:pos x="461" y="228"/>
                  </a:cxn>
                  <a:cxn ang="0">
                    <a:pos x="435" y="215"/>
                  </a:cxn>
                  <a:cxn ang="0">
                    <a:pos x="458" y="162"/>
                  </a:cxn>
                  <a:cxn ang="0">
                    <a:pos x="547" y="73"/>
                  </a:cxn>
                  <a:cxn ang="0">
                    <a:pos x="544" y="23"/>
                  </a:cxn>
                  <a:cxn ang="0">
                    <a:pos x="458" y="7"/>
                  </a:cxn>
                  <a:cxn ang="0">
                    <a:pos x="441" y="0"/>
                  </a:cxn>
                  <a:cxn ang="0">
                    <a:pos x="385" y="17"/>
                  </a:cxn>
                  <a:cxn ang="0">
                    <a:pos x="319" y="33"/>
                  </a:cxn>
                  <a:cxn ang="0">
                    <a:pos x="257" y="73"/>
                  </a:cxn>
                  <a:cxn ang="0">
                    <a:pos x="286" y="89"/>
                  </a:cxn>
                  <a:cxn ang="0">
                    <a:pos x="267" y="96"/>
                  </a:cxn>
                  <a:cxn ang="0">
                    <a:pos x="207" y="93"/>
                  </a:cxn>
                  <a:cxn ang="0">
                    <a:pos x="165" y="126"/>
                  </a:cxn>
                  <a:cxn ang="0">
                    <a:pos x="234" y="126"/>
                  </a:cxn>
                  <a:cxn ang="0">
                    <a:pos x="158" y="152"/>
                  </a:cxn>
                  <a:cxn ang="0">
                    <a:pos x="141" y="162"/>
                  </a:cxn>
                  <a:cxn ang="0">
                    <a:pos x="105" y="182"/>
                  </a:cxn>
                  <a:cxn ang="0">
                    <a:pos x="102" y="195"/>
                  </a:cxn>
                  <a:cxn ang="0">
                    <a:pos x="105" y="202"/>
                  </a:cxn>
                  <a:cxn ang="0">
                    <a:pos x="115" y="211"/>
                  </a:cxn>
                  <a:cxn ang="0">
                    <a:pos x="102" y="231"/>
                  </a:cxn>
                  <a:cxn ang="0">
                    <a:pos x="132" y="238"/>
                  </a:cxn>
                  <a:cxn ang="0">
                    <a:pos x="145" y="238"/>
                  </a:cxn>
                  <a:cxn ang="0">
                    <a:pos x="151" y="251"/>
                  </a:cxn>
                  <a:cxn ang="0">
                    <a:pos x="102" y="277"/>
                  </a:cxn>
                  <a:cxn ang="0">
                    <a:pos x="49" y="294"/>
                  </a:cxn>
                  <a:cxn ang="0">
                    <a:pos x="16" y="310"/>
                  </a:cxn>
                  <a:cxn ang="0">
                    <a:pos x="36" y="304"/>
                  </a:cxn>
                  <a:cxn ang="0">
                    <a:pos x="85" y="294"/>
                  </a:cxn>
                  <a:cxn ang="0">
                    <a:pos x="184" y="254"/>
                  </a:cxn>
                  <a:cxn ang="0">
                    <a:pos x="247" y="215"/>
                  </a:cxn>
                  <a:cxn ang="0">
                    <a:pos x="326" y="185"/>
                  </a:cxn>
                  <a:cxn ang="0">
                    <a:pos x="280" y="198"/>
                  </a:cxn>
                  <a:cxn ang="0">
                    <a:pos x="257" y="231"/>
                  </a:cxn>
                  <a:cxn ang="0">
                    <a:pos x="286" y="221"/>
                  </a:cxn>
                  <a:cxn ang="0">
                    <a:pos x="300" y="215"/>
                  </a:cxn>
                  <a:cxn ang="0">
                    <a:pos x="319" y="198"/>
                  </a:cxn>
                  <a:cxn ang="0">
                    <a:pos x="339" y="195"/>
                  </a:cxn>
                  <a:cxn ang="0">
                    <a:pos x="352" y="198"/>
                  </a:cxn>
                  <a:cxn ang="0">
                    <a:pos x="349" y="205"/>
                  </a:cxn>
                  <a:cxn ang="0">
                    <a:pos x="369" y="211"/>
                  </a:cxn>
                  <a:cxn ang="0">
                    <a:pos x="425" y="215"/>
                  </a:cxn>
                  <a:cxn ang="0">
                    <a:pos x="422" y="221"/>
                  </a:cxn>
                  <a:cxn ang="0">
                    <a:pos x="448" y="235"/>
                  </a:cxn>
                  <a:cxn ang="0">
                    <a:pos x="455" y="241"/>
                  </a:cxn>
                  <a:cxn ang="0">
                    <a:pos x="468" y="241"/>
                  </a:cxn>
                  <a:cxn ang="0">
                    <a:pos x="471" y="254"/>
                  </a:cxn>
                  <a:cxn ang="0">
                    <a:pos x="471" y="258"/>
                  </a:cxn>
                  <a:cxn ang="0">
                    <a:pos x="471" y="277"/>
                  </a:cxn>
                  <a:cxn ang="0">
                    <a:pos x="464" y="301"/>
                  </a:cxn>
                  <a:cxn ang="0">
                    <a:pos x="481" y="307"/>
                  </a:cxn>
                </a:cxnLst>
                <a:rect l="0" t="0" r="r" b="b"/>
                <a:pathLst>
                  <a:path w="596" h="320">
                    <a:moveTo>
                      <a:pt x="481" y="307"/>
                    </a:moveTo>
                    <a:lnTo>
                      <a:pt x="494" y="294"/>
                    </a:lnTo>
                    <a:lnTo>
                      <a:pt x="487" y="284"/>
                    </a:lnTo>
                    <a:lnTo>
                      <a:pt x="481" y="277"/>
                    </a:lnTo>
                    <a:lnTo>
                      <a:pt x="481" y="258"/>
                    </a:lnTo>
                    <a:lnTo>
                      <a:pt x="487" y="238"/>
                    </a:lnTo>
                    <a:lnTo>
                      <a:pt x="481" y="218"/>
                    </a:lnTo>
                    <a:lnTo>
                      <a:pt x="461" y="228"/>
                    </a:lnTo>
                    <a:lnTo>
                      <a:pt x="448" y="231"/>
                    </a:lnTo>
                    <a:lnTo>
                      <a:pt x="441" y="235"/>
                    </a:lnTo>
                    <a:lnTo>
                      <a:pt x="441" y="215"/>
                    </a:lnTo>
                    <a:lnTo>
                      <a:pt x="435" y="215"/>
                    </a:lnTo>
                    <a:lnTo>
                      <a:pt x="441" y="205"/>
                    </a:lnTo>
                    <a:lnTo>
                      <a:pt x="415" y="205"/>
                    </a:lnTo>
                    <a:lnTo>
                      <a:pt x="435" y="185"/>
                    </a:lnTo>
                    <a:lnTo>
                      <a:pt x="458" y="162"/>
                    </a:lnTo>
                    <a:lnTo>
                      <a:pt x="481" y="142"/>
                    </a:lnTo>
                    <a:lnTo>
                      <a:pt x="504" y="119"/>
                    </a:lnTo>
                    <a:lnTo>
                      <a:pt x="527" y="96"/>
                    </a:lnTo>
                    <a:lnTo>
                      <a:pt x="547" y="73"/>
                    </a:lnTo>
                    <a:lnTo>
                      <a:pt x="573" y="53"/>
                    </a:lnTo>
                    <a:lnTo>
                      <a:pt x="596" y="30"/>
                    </a:lnTo>
                    <a:lnTo>
                      <a:pt x="567" y="23"/>
                    </a:lnTo>
                    <a:lnTo>
                      <a:pt x="544" y="23"/>
                    </a:lnTo>
                    <a:lnTo>
                      <a:pt x="514" y="17"/>
                    </a:lnTo>
                    <a:lnTo>
                      <a:pt x="481" y="13"/>
                    </a:lnTo>
                    <a:lnTo>
                      <a:pt x="464" y="7"/>
                    </a:lnTo>
                    <a:lnTo>
                      <a:pt x="458" y="7"/>
                    </a:lnTo>
                    <a:lnTo>
                      <a:pt x="455" y="7"/>
                    </a:lnTo>
                    <a:lnTo>
                      <a:pt x="441" y="7"/>
                    </a:lnTo>
                    <a:lnTo>
                      <a:pt x="448" y="0"/>
                    </a:lnTo>
                    <a:lnTo>
                      <a:pt x="441" y="0"/>
                    </a:lnTo>
                    <a:lnTo>
                      <a:pt x="402" y="7"/>
                    </a:lnTo>
                    <a:lnTo>
                      <a:pt x="395" y="7"/>
                    </a:lnTo>
                    <a:lnTo>
                      <a:pt x="385" y="13"/>
                    </a:lnTo>
                    <a:lnTo>
                      <a:pt x="385" y="17"/>
                    </a:lnTo>
                    <a:lnTo>
                      <a:pt x="379" y="23"/>
                    </a:lnTo>
                    <a:lnTo>
                      <a:pt x="382" y="13"/>
                    </a:lnTo>
                    <a:lnTo>
                      <a:pt x="352" y="23"/>
                    </a:lnTo>
                    <a:lnTo>
                      <a:pt x="319" y="33"/>
                    </a:lnTo>
                    <a:lnTo>
                      <a:pt x="293" y="43"/>
                    </a:lnTo>
                    <a:lnTo>
                      <a:pt x="267" y="43"/>
                    </a:lnTo>
                    <a:lnTo>
                      <a:pt x="247" y="53"/>
                    </a:lnTo>
                    <a:lnTo>
                      <a:pt x="257" y="73"/>
                    </a:lnTo>
                    <a:lnTo>
                      <a:pt x="254" y="76"/>
                    </a:lnTo>
                    <a:lnTo>
                      <a:pt x="277" y="79"/>
                    </a:lnTo>
                    <a:lnTo>
                      <a:pt x="267" y="89"/>
                    </a:lnTo>
                    <a:lnTo>
                      <a:pt x="286" y="89"/>
                    </a:lnTo>
                    <a:lnTo>
                      <a:pt x="267" y="89"/>
                    </a:lnTo>
                    <a:lnTo>
                      <a:pt x="267" y="79"/>
                    </a:lnTo>
                    <a:lnTo>
                      <a:pt x="260" y="93"/>
                    </a:lnTo>
                    <a:lnTo>
                      <a:pt x="267" y="96"/>
                    </a:lnTo>
                    <a:lnTo>
                      <a:pt x="257" y="96"/>
                    </a:lnTo>
                    <a:lnTo>
                      <a:pt x="230" y="93"/>
                    </a:lnTo>
                    <a:lnTo>
                      <a:pt x="240" y="86"/>
                    </a:lnTo>
                    <a:lnTo>
                      <a:pt x="207" y="93"/>
                    </a:lnTo>
                    <a:lnTo>
                      <a:pt x="165" y="106"/>
                    </a:lnTo>
                    <a:lnTo>
                      <a:pt x="178" y="112"/>
                    </a:lnTo>
                    <a:lnTo>
                      <a:pt x="165" y="112"/>
                    </a:lnTo>
                    <a:lnTo>
                      <a:pt x="165" y="126"/>
                    </a:lnTo>
                    <a:lnTo>
                      <a:pt x="204" y="126"/>
                    </a:lnTo>
                    <a:lnTo>
                      <a:pt x="207" y="132"/>
                    </a:lnTo>
                    <a:lnTo>
                      <a:pt x="240" y="119"/>
                    </a:lnTo>
                    <a:lnTo>
                      <a:pt x="234" y="126"/>
                    </a:lnTo>
                    <a:lnTo>
                      <a:pt x="224" y="132"/>
                    </a:lnTo>
                    <a:lnTo>
                      <a:pt x="217" y="142"/>
                    </a:lnTo>
                    <a:lnTo>
                      <a:pt x="197" y="145"/>
                    </a:lnTo>
                    <a:lnTo>
                      <a:pt x="158" y="152"/>
                    </a:lnTo>
                    <a:lnTo>
                      <a:pt x="165" y="149"/>
                    </a:lnTo>
                    <a:lnTo>
                      <a:pt x="158" y="152"/>
                    </a:lnTo>
                    <a:lnTo>
                      <a:pt x="138" y="162"/>
                    </a:lnTo>
                    <a:lnTo>
                      <a:pt x="141" y="162"/>
                    </a:lnTo>
                    <a:lnTo>
                      <a:pt x="132" y="165"/>
                    </a:lnTo>
                    <a:lnTo>
                      <a:pt x="112" y="178"/>
                    </a:lnTo>
                    <a:lnTo>
                      <a:pt x="105" y="178"/>
                    </a:lnTo>
                    <a:lnTo>
                      <a:pt x="105" y="182"/>
                    </a:lnTo>
                    <a:lnTo>
                      <a:pt x="99" y="185"/>
                    </a:lnTo>
                    <a:lnTo>
                      <a:pt x="102" y="188"/>
                    </a:lnTo>
                    <a:lnTo>
                      <a:pt x="115" y="182"/>
                    </a:lnTo>
                    <a:lnTo>
                      <a:pt x="102" y="195"/>
                    </a:lnTo>
                    <a:lnTo>
                      <a:pt x="118" y="198"/>
                    </a:lnTo>
                    <a:lnTo>
                      <a:pt x="112" y="198"/>
                    </a:lnTo>
                    <a:lnTo>
                      <a:pt x="115" y="202"/>
                    </a:lnTo>
                    <a:lnTo>
                      <a:pt x="105" y="202"/>
                    </a:lnTo>
                    <a:lnTo>
                      <a:pt x="99" y="198"/>
                    </a:lnTo>
                    <a:lnTo>
                      <a:pt x="85" y="205"/>
                    </a:lnTo>
                    <a:lnTo>
                      <a:pt x="95" y="218"/>
                    </a:lnTo>
                    <a:lnTo>
                      <a:pt x="115" y="211"/>
                    </a:lnTo>
                    <a:lnTo>
                      <a:pt x="132" y="202"/>
                    </a:lnTo>
                    <a:lnTo>
                      <a:pt x="115" y="215"/>
                    </a:lnTo>
                    <a:lnTo>
                      <a:pt x="109" y="228"/>
                    </a:lnTo>
                    <a:lnTo>
                      <a:pt x="102" y="231"/>
                    </a:lnTo>
                    <a:lnTo>
                      <a:pt x="102" y="235"/>
                    </a:lnTo>
                    <a:lnTo>
                      <a:pt x="95" y="241"/>
                    </a:lnTo>
                    <a:lnTo>
                      <a:pt x="125" y="235"/>
                    </a:lnTo>
                    <a:lnTo>
                      <a:pt x="132" y="238"/>
                    </a:lnTo>
                    <a:lnTo>
                      <a:pt x="132" y="248"/>
                    </a:lnTo>
                    <a:lnTo>
                      <a:pt x="148" y="235"/>
                    </a:lnTo>
                    <a:lnTo>
                      <a:pt x="151" y="235"/>
                    </a:lnTo>
                    <a:lnTo>
                      <a:pt x="145" y="238"/>
                    </a:lnTo>
                    <a:lnTo>
                      <a:pt x="145" y="241"/>
                    </a:lnTo>
                    <a:lnTo>
                      <a:pt x="171" y="235"/>
                    </a:lnTo>
                    <a:lnTo>
                      <a:pt x="148" y="251"/>
                    </a:lnTo>
                    <a:lnTo>
                      <a:pt x="151" y="251"/>
                    </a:lnTo>
                    <a:lnTo>
                      <a:pt x="148" y="251"/>
                    </a:lnTo>
                    <a:lnTo>
                      <a:pt x="132" y="261"/>
                    </a:lnTo>
                    <a:lnTo>
                      <a:pt x="125" y="261"/>
                    </a:lnTo>
                    <a:lnTo>
                      <a:pt x="102" y="277"/>
                    </a:lnTo>
                    <a:lnTo>
                      <a:pt x="66" y="291"/>
                    </a:lnTo>
                    <a:lnTo>
                      <a:pt x="62" y="301"/>
                    </a:lnTo>
                    <a:lnTo>
                      <a:pt x="49" y="301"/>
                    </a:lnTo>
                    <a:lnTo>
                      <a:pt x="49" y="294"/>
                    </a:lnTo>
                    <a:lnTo>
                      <a:pt x="39" y="294"/>
                    </a:lnTo>
                    <a:lnTo>
                      <a:pt x="0" y="317"/>
                    </a:lnTo>
                    <a:lnTo>
                      <a:pt x="3" y="317"/>
                    </a:lnTo>
                    <a:lnTo>
                      <a:pt x="16" y="310"/>
                    </a:lnTo>
                    <a:lnTo>
                      <a:pt x="16" y="317"/>
                    </a:lnTo>
                    <a:lnTo>
                      <a:pt x="33" y="304"/>
                    </a:lnTo>
                    <a:lnTo>
                      <a:pt x="39" y="304"/>
                    </a:lnTo>
                    <a:lnTo>
                      <a:pt x="36" y="304"/>
                    </a:lnTo>
                    <a:lnTo>
                      <a:pt x="56" y="304"/>
                    </a:lnTo>
                    <a:lnTo>
                      <a:pt x="66" y="301"/>
                    </a:lnTo>
                    <a:lnTo>
                      <a:pt x="69" y="301"/>
                    </a:lnTo>
                    <a:lnTo>
                      <a:pt x="85" y="294"/>
                    </a:lnTo>
                    <a:lnTo>
                      <a:pt x="92" y="291"/>
                    </a:lnTo>
                    <a:lnTo>
                      <a:pt x="95" y="284"/>
                    </a:lnTo>
                    <a:lnTo>
                      <a:pt x="141" y="268"/>
                    </a:lnTo>
                    <a:lnTo>
                      <a:pt x="184" y="254"/>
                    </a:lnTo>
                    <a:lnTo>
                      <a:pt x="217" y="238"/>
                    </a:lnTo>
                    <a:lnTo>
                      <a:pt x="211" y="231"/>
                    </a:lnTo>
                    <a:lnTo>
                      <a:pt x="240" y="218"/>
                    </a:lnTo>
                    <a:lnTo>
                      <a:pt x="247" y="215"/>
                    </a:lnTo>
                    <a:lnTo>
                      <a:pt x="250" y="211"/>
                    </a:lnTo>
                    <a:lnTo>
                      <a:pt x="277" y="198"/>
                    </a:lnTo>
                    <a:lnTo>
                      <a:pt x="306" y="188"/>
                    </a:lnTo>
                    <a:lnTo>
                      <a:pt x="326" y="185"/>
                    </a:lnTo>
                    <a:lnTo>
                      <a:pt x="306" y="188"/>
                    </a:lnTo>
                    <a:lnTo>
                      <a:pt x="313" y="195"/>
                    </a:lnTo>
                    <a:lnTo>
                      <a:pt x="306" y="195"/>
                    </a:lnTo>
                    <a:lnTo>
                      <a:pt x="280" y="198"/>
                    </a:lnTo>
                    <a:lnTo>
                      <a:pt x="254" y="221"/>
                    </a:lnTo>
                    <a:lnTo>
                      <a:pt x="267" y="218"/>
                    </a:lnTo>
                    <a:lnTo>
                      <a:pt x="247" y="228"/>
                    </a:lnTo>
                    <a:lnTo>
                      <a:pt x="257" y="231"/>
                    </a:lnTo>
                    <a:lnTo>
                      <a:pt x="277" y="218"/>
                    </a:lnTo>
                    <a:lnTo>
                      <a:pt x="273" y="221"/>
                    </a:lnTo>
                    <a:lnTo>
                      <a:pt x="277" y="218"/>
                    </a:lnTo>
                    <a:lnTo>
                      <a:pt x="286" y="221"/>
                    </a:lnTo>
                    <a:lnTo>
                      <a:pt x="286" y="218"/>
                    </a:lnTo>
                    <a:lnTo>
                      <a:pt x="286" y="218"/>
                    </a:lnTo>
                    <a:lnTo>
                      <a:pt x="296" y="215"/>
                    </a:lnTo>
                    <a:lnTo>
                      <a:pt x="300" y="215"/>
                    </a:lnTo>
                    <a:lnTo>
                      <a:pt x="319" y="205"/>
                    </a:lnTo>
                    <a:lnTo>
                      <a:pt x="316" y="205"/>
                    </a:lnTo>
                    <a:lnTo>
                      <a:pt x="326" y="202"/>
                    </a:lnTo>
                    <a:lnTo>
                      <a:pt x="319" y="198"/>
                    </a:lnTo>
                    <a:lnTo>
                      <a:pt x="326" y="195"/>
                    </a:lnTo>
                    <a:lnTo>
                      <a:pt x="342" y="188"/>
                    </a:lnTo>
                    <a:lnTo>
                      <a:pt x="333" y="195"/>
                    </a:lnTo>
                    <a:lnTo>
                      <a:pt x="339" y="195"/>
                    </a:lnTo>
                    <a:lnTo>
                      <a:pt x="339" y="198"/>
                    </a:lnTo>
                    <a:lnTo>
                      <a:pt x="359" y="188"/>
                    </a:lnTo>
                    <a:lnTo>
                      <a:pt x="352" y="195"/>
                    </a:lnTo>
                    <a:lnTo>
                      <a:pt x="352" y="198"/>
                    </a:lnTo>
                    <a:lnTo>
                      <a:pt x="349" y="198"/>
                    </a:lnTo>
                    <a:lnTo>
                      <a:pt x="356" y="198"/>
                    </a:lnTo>
                    <a:lnTo>
                      <a:pt x="356" y="202"/>
                    </a:lnTo>
                    <a:lnTo>
                      <a:pt x="349" y="205"/>
                    </a:lnTo>
                    <a:lnTo>
                      <a:pt x="356" y="205"/>
                    </a:lnTo>
                    <a:lnTo>
                      <a:pt x="372" y="202"/>
                    </a:lnTo>
                    <a:lnTo>
                      <a:pt x="366" y="205"/>
                    </a:lnTo>
                    <a:lnTo>
                      <a:pt x="369" y="211"/>
                    </a:lnTo>
                    <a:lnTo>
                      <a:pt x="389" y="215"/>
                    </a:lnTo>
                    <a:lnTo>
                      <a:pt x="408" y="215"/>
                    </a:lnTo>
                    <a:lnTo>
                      <a:pt x="408" y="218"/>
                    </a:lnTo>
                    <a:lnTo>
                      <a:pt x="425" y="215"/>
                    </a:lnTo>
                    <a:lnTo>
                      <a:pt x="435" y="218"/>
                    </a:lnTo>
                    <a:lnTo>
                      <a:pt x="428" y="221"/>
                    </a:lnTo>
                    <a:lnTo>
                      <a:pt x="431" y="215"/>
                    </a:lnTo>
                    <a:lnTo>
                      <a:pt x="422" y="221"/>
                    </a:lnTo>
                    <a:lnTo>
                      <a:pt x="431" y="235"/>
                    </a:lnTo>
                    <a:lnTo>
                      <a:pt x="441" y="251"/>
                    </a:lnTo>
                    <a:lnTo>
                      <a:pt x="448" y="248"/>
                    </a:lnTo>
                    <a:lnTo>
                      <a:pt x="448" y="235"/>
                    </a:lnTo>
                    <a:lnTo>
                      <a:pt x="448" y="238"/>
                    </a:lnTo>
                    <a:lnTo>
                      <a:pt x="458" y="235"/>
                    </a:lnTo>
                    <a:lnTo>
                      <a:pt x="461" y="235"/>
                    </a:lnTo>
                    <a:lnTo>
                      <a:pt x="455" y="241"/>
                    </a:lnTo>
                    <a:lnTo>
                      <a:pt x="458" y="248"/>
                    </a:lnTo>
                    <a:lnTo>
                      <a:pt x="458" y="251"/>
                    </a:lnTo>
                    <a:lnTo>
                      <a:pt x="471" y="231"/>
                    </a:lnTo>
                    <a:lnTo>
                      <a:pt x="468" y="241"/>
                    </a:lnTo>
                    <a:lnTo>
                      <a:pt x="471" y="251"/>
                    </a:lnTo>
                    <a:lnTo>
                      <a:pt x="474" y="248"/>
                    </a:lnTo>
                    <a:lnTo>
                      <a:pt x="474" y="251"/>
                    </a:lnTo>
                    <a:lnTo>
                      <a:pt x="471" y="254"/>
                    </a:lnTo>
                    <a:lnTo>
                      <a:pt x="481" y="254"/>
                    </a:lnTo>
                    <a:lnTo>
                      <a:pt x="474" y="254"/>
                    </a:lnTo>
                    <a:lnTo>
                      <a:pt x="474" y="261"/>
                    </a:lnTo>
                    <a:lnTo>
                      <a:pt x="471" y="258"/>
                    </a:lnTo>
                    <a:lnTo>
                      <a:pt x="471" y="268"/>
                    </a:lnTo>
                    <a:lnTo>
                      <a:pt x="468" y="268"/>
                    </a:lnTo>
                    <a:lnTo>
                      <a:pt x="468" y="268"/>
                    </a:lnTo>
                    <a:lnTo>
                      <a:pt x="471" y="277"/>
                    </a:lnTo>
                    <a:lnTo>
                      <a:pt x="481" y="291"/>
                    </a:lnTo>
                    <a:lnTo>
                      <a:pt x="471" y="291"/>
                    </a:lnTo>
                    <a:lnTo>
                      <a:pt x="458" y="304"/>
                    </a:lnTo>
                    <a:lnTo>
                      <a:pt x="464" y="301"/>
                    </a:lnTo>
                    <a:lnTo>
                      <a:pt x="481" y="291"/>
                    </a:lnTo>
                    <a:lnTo>
                      <a:pt x="471" y="307"/>
                    </a:lnTo>
                    <a:lnTo>
                      <a:pt x="464" y="310"/>
                    </a:lnTo>
                    <a:lnTo>
                      <a:pt x="481" y="307"/>
                    </a:lnTo>
                    <a:lnTo>
                      <a:pt x="468" y="310"/>
                    </a:lnTo>
                    <a:lnTo>
                      <a:pt x="464" y="320"/>
                    </a:lnTo>
                    <a:lnTo>
                      <a:pt x="481" y="307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2" name="Freeform 2115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3" name="Freeform 2116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4" name="Freeform 2117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5" name="Freeform 2118"/>
              <p:cNvSpPr>
                <a:spLocks/>
              </p:cNvSpPr>
              <p:nvPr/>
            </p:nvSpPr>
            <p:spPr bwMode="auto">
              <a:xfrm>
                <a:off x="7950295" y="5510996"/>
                <a:ext cx="423868" cy="300043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208" y="7"/>
                  </a:cxn>
                  <a:cxn ang="0">
                    <a:pos x="238" y="7"/>
                  </a:cxn>
                  <a:cxn ang="0">
                    <a:pos x="267" y="10"/>
                  </a:cxn>
                  <a:cxn ang="0">
                    <a:pos x="254" y="17"/>
                  </a:cxn>
                  <a:cxn ang="0">
                    <a:pos x="267" y="20"/>
                  </a:cxn>
                  <a:cxn ang="0">
                    <a:pos x="261" y="27"/>
                  </a:cxn>
                  <a:cxn ang="0">
                    <a:pos x="267" y="27"/>
                  </a:cxn>
                  <a:cxn ang="0">
                    <a:pos x="248" y="47"/>
                  </a:cxn>
                  <a:cxn ang="0">
                    <a:pos x="231" y="53"/>
                  </a:cxn>
                  <a:cxn ang="0">
                    <a:pos x="221" y="63"/>
                  </a:cxn>
                  <a:cxn ang="0">
                    <a:pos x="215" y="73"/>
                  </a:cxn>
                  <a:cxn ang="0">
                    <a:pos x="198" y="83"/>
                  </a:cxn>
                  <a:cxn ang="0">
                    <a:pos x="182" y="86"/>
                  </a:cxn>
                  <a:cxn ang="0">
                    <a:pos x="159" y="96"/>
                  </a:cxn>
                  <a:cxn ang="0">
                    <a:pos x="159" y="99"/>
                  </a:cxn>
                  <a:cxn ang="0">
                    <a:pos x="142" y="106"/>
                  </a:cxn>
                  <a:cxn ang="0">
                    <a:pos x="122" y="119"/>
                  </a:cxn>
                  <a:cxn ang="0">
                    <a:pos x="109" y="123"/>
                  </a:cxn>
                  <a:cxn ang="0">
                    <a:pos x="96" y="126"/>
                  </a:cxn>
                  <a:cxn ang="0">
                    <a:pos x="80" y="139"/>
                  </a:cxn>
                  <a:cxn ang="0">
                    <a:pos x="60" y="152"/>
                  </a:cxn>
                  <a:cxn ang="0">
                    <a:pos x="43" y="166"/>
                  </a:cxn>
                  <a:cxn ang="0">
                    <a:pos x="27" y="179"/>
                  </a:cxn>
                  <a:cxn ang="0">
                    <a:pos x="0" y="189"/>
                  </a:cxn>
                  <a:cxn ang="0">
                    <a:pos x="4" y="179"/>
                  </a:cxn>
                  <a:cxn ang="0">
                    <a:pos x="4" y="166"/>
                  </a:cxn>
                  <a:cxn ang="0">
                    <a:pos x="7" y="152"/>
                  </a:cxn>
                  <a:cxn ang="0">
                    <a:pos x="27" y="136"/>
                  </a:cxn>
                  <a:cxn ang="0">
                    <a:pos x="33" y="136"/>
                  </a:cxn>
                  <a:cxn ang="0">
                    <a:pos x="50" y="119"/>
                  </a:cxn>
                  <a:cxn ang="0">
                    <a:pos x="70" y="103"/>
                  </a:cxn>
                  <a:cxn ang="0">
                    <a:pos x="86" y="93"/>
                  </a:cxn>
                  <a:cxn ang="0">
                    <a:pos x="80" y="93"/>
                  </a:cxn>
                  <a:cxn ang="0">
                    <a:pos x="89" y="80"/>
                  </a:cxn>
                  <a:cxn ang="0">
                    <a:pos x="103" y="66"/>
                  </a:cxn>
                  <a:cxn ang="0">
                    <a:pos x="119" y="53"/>
                  </a:cxn>
                  <a:cxn ang="0">
                    <a:pos x="119" y="50"/>
                  </a:cxn>
                  <a:cxn ang="0">
                    <a:pos x="129" y="40"/>
                  </a:cxn>
                  <a:cxn ang="0">
                    <a:pos x="136" y="47"/>
                  </a:cxn>
                  <a:cxn ang="0">
                    <a:pos x="152" y="47"/>
                  </a:cxn>
                  <a:cxn ang="0">
                    <a:pos x="155" y="33"/>
                  </a:cxn>
                  <a:cxn ang="0">
                    <a:pos x="168" y="27"/>
                  </a:cxn>
                  <a:cxn ang="0">
                    <a:pos x="178" y="27"/>
                  </a:cxn>
                  <a:cxn ang="0">
                    <a:pos x="188" y="27"/>
                  </a:cxn>
                  <a:cxn ang="0">
                    <a:pos x="188" y="10"/>
                  </a:cxn>
                  <a:cxn ang="0">
                    <a:pos x="205" y="0"/>
                  </a:cxn>
                </a:cxnLst>
                <a:rect l="0" t="0" r="r" b="b"/>
                <a:pathLst>
                  <a:path w="267" h="189">
                    <a:moveTo>
                      <a:pt x="205" y="0"/>
                    </a:moveTo>
                    <a:lnTo>
                      <a:pt x="208" y="7"/>
                    </a:lnTo>
                    <a:lnTo>
                      <a:pt x="238" y="7"/>
                    </a:lnTo>
                    <a:lnTo>
                      <a:pt x="267" y="10"/>
                    </a:lnTo>
                    <a:lnTo>
                      <a:pt x="254" y="17"/>
                    </a:lnTo>
                    <a:lnTo>
                      <a:pt x="267" y="20"/>
                    </a:lnTo>
                    <a:lnTo>
                      <a:pt x="261" y="27"/>
                    </a:lnTo>
                    <a:lnTo>
                      <a:pt x="267" y="27"/>
                    </a:lnTo>
                    <a:lnTo>
                      <a:pt x="248" y="47"/>
                    </a:lnTo>
                    <a:lnTo>
                      <a:pt x="231" y="53"/>
                    </a:lnTo>
                    <a:lnTo>
                      <a:pt x="221" y="63"/>
                    </a:lnTo>
                    <a:lnTo>
                      <a:pt x="215" y="73"/>
                    </a:lnTo>
                    <a:lnTo>
                      <a:pt x="198" y="83"/>
                    </a:lnTo>
                    <a:lnTo>
                      <a:pt x="182" y="86"/>
                    </a:lnTo>
                    <a:lnTo>
                      <a:pt x="159" y="96"/>
                    </a:lnTo>
                    <a:lnTo>
                      <a:pt x="159" y="99"/>
                    </a:lnTo>
                    <a:lnTo>
                      <a:pt x="142" y="106"/>
                    </a:lnTo>
                    <a:lnTo>
                      <a:pt x="122" y="119"/>
                    </a:lnTo>
                    <a:lnTo>
                      <a:pt x="109" y="123"/>
                    </a:lnTo>
                    <a:lnTo>
                      <a:pt x="96" y="126"/>
                    </a:lnTo>
                    <a:lnTo>
                      <a:pt x="80" y="139"/>
                    </a:lnTo>
                    <a:lnTo>
                      <a:pt x="60" y="152"/>
                    </a:lnTo>
                    <a:lnTo>
                      <a:pt x="43" y="166"/>
                    </a:lnTo>
                    <a:lnTo>
                      <a:pt x="27" y="179"/>
                    </a:lnTo>
                    <a:lnTo>
                      <a:pt x="0" y="189"/>
                    </a:lnTo>
                    <a:lnTo>
                      <a:pt x="4" y="179"/>
                    </a:lnTo>
                    <a:lnTo>
                      <a:pt x="4" y="166"/>
                    </a:lnTo>
                    <a:lnTo>
                      <a:pt x="7" y="152"/>
                    </a:lnTo>
                    <a:lnTo>
                      <a:pt x="27" y="136"/>
                    </a:lnTo>
                    <a:lnTo>
                      <a:pt x="33" y="136"/>
                    </a:lnTo>
                    <a:lnTo>
                      <a:pt x="50" y="119"/>
                    </a:lnTo>
                    <a:lnTo>
                      <a:pt x="70" y="103"/>
                    </a:lnTo>
                    <a:lnTo>
                      <a:pt x="86" y="93"/>
                    </a:lnTo>
                    <a:lnTo>
                      <a:pt x="80" y="93"/>
                    </a:lnTo>
                    <a:lnTo>
                      <a:pt x="89" y="80"/>
                    </a:lnTo>
                    <a:lnTo>
                      <a:pt x="103" y="66"/>
                    </a:lnTo>
                    <a:lnTo>
                      <a:pt x="119" y="53"/>
                    </a:lnTo>
                    <a:lnTo>
                      <a:pt x="119" y="50"/>
                    </a:lnTo>
                    <a:lnTo>
                      <a:pt x="129" y="40"/>
                    </a:lnTo>
                    <a:lnTo>
                      <a:pt x="136" y="47"/>
                    </a:lnTo>
                    <a:lnTo>
                      <a:pt x="152" y="47"/>
                    </a:lnTo>
                    <a:lnTo>
                      <a:pt x="155" y="33"/>
                    </a:lnTo>
                    <a:lnTo>
                      <a:pt x="168" y="27"/>
                    </a:lnTo>
                    <a:lnTo>
                      <a:pt x="178" y="27"/>
                    </a:lnTo>
                    <a:lnTo>
                      <a:pt x="188" y="27"/>
                    </a:lnTo>
                    <a:lnTo>
                      <a:pt x="188" y="10"/>
                    </a:lnTo>
                    <a:lnTo>
                      <a:pt x="205" y="0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6" name="Line 2119"/>
              <p:cNvSpPr>
                <a:spLocks noChangeShapeType="1"/>
              </p:cNvSpPr>
              <p:nvPr/>
            </p:nvSpPr>
            <p:spPr bwMode="auto">
              <a:xfrm>
                <a:off x="2201890" y="3415465"/>
                <a:ext cx="1588" cy="1588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7" name="Line 2120"/>
              <p:cNvSpPr>
                <a:spLocks noChangeShapeType="1"/>
              </p:cNvSpPr>
              <p:nvPr/>
            </p:nvSpPr>
            <p:spPr bwMode="auto">
              <a:xfrm>
                <a:off x="2201890" y="3415465"/>
                <a:ext cx="1588" cy="1588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8" name="Freeform 2122"/>
              <p:cNvSpPr>
                <a:spLocks/>
              </p:cNvSpPr>
              <p:nvPr/>
            </p:nvSpPr>
            <p:spPr bwMode="auto">
              <a:xfrm>
                <a:off x="7161298" y="4301304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89" name="Line 2124"/>
              <p:cNvSpPr>
                <a:spLocks noChangeShapeType="1"/>
              </p:cNvSpPr>
              <p:nvPr/>
            </p:nvSpPr>
            <p:spPr bwMode="auto">
              <a:xfrm>
                <a:off x="5675380" y="3536118"/>
                <a:ext cx="1588" cy="4763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0" name="Line 2126"/>
              <p:cNvSpPr>
                <a:spLocks noChangeShapeType="1"/>
              </p:cNvSpPr>
              <p:nvPr/>
            </p:nvSpPr>
            <p:spPr bwMode="auto">
              <a:xfrm flipH="1">
                <a:off x="3724320" y="3829809"/>
                <a:ext cx="4763" cy="1588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1" name="Line 2128"/>
              <p:cNvSpPr>
                <a:spLocks noChangeShapeType="1"/>
              </p:cNvSpPr>
              <p:nvPr/>
            </p:nvSpPr>
            <p:spPr bwMode="auto">
              <a:xfrm>
                <a:off x="2509868" y="3950462"/>
                <a:ext cx="4763" cy="9525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2" name="Freeform 2130"/>
              <p:cNvSpPr>
                <a:spLocks/>
              </p:cNvSpPr>
              <p:nvPr/>
            </p:nvSpPr>
            <p:spPr bwMode="auto">
              <a:xfrm>
                <a:off x="1987575" y="389807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3" name="Freeform 2132"/>
              <p:cNvSpPr>
                <a:spLocks/>
              </p:cNvSpPr>
              <p:nvPr/>
            </p:nvSpPr>
            <p:spPr bwMode="auto">
              <a:xfrm>
                <a:off x="1987575" y="389807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4" name="Freeform 2134"/>
              <p:cNvSpPr>
                <a:spLocks/>
              </p:cNvSpPr>
              <p:nvPr/>
            </p:nvSpPr>
            <p:spPr bwMode="auto">
              <a:xfrm>
                <a:off x="2306666" y="3777421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5" name="Freeform 2136"/>
              <p:cNvSpPr>
                <a:spLocks/>
              </p:cNvSpPr>
              <p:nvPr/>
            </p:nvSpPr>
            <p:spPr bwMode="auto">
              <a:xfrm>
                <a:off x="2306666" y="3777421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6" name="Freeform 2138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7" name="Freeform 2140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8" name="Line 2142"/>
              <p:cNvSpPr>
                <a:spLocks noChangeShapeType="1"/>
              </p:cNvSpPr>
              <p:nvPr/>
            </p:nvSpPr>
            <p:spPr bwMode="auto">
              <a:xfrm flipH="1">
                <a:off x="7667717" y="3331326"/>
                <a:ext cx="6350" cy="1588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199" name="Freeform 2144"/>
              <p:cNvSpPr>
                <a:spLocks/>
              </p:cNvSpPr>
              <p:nvPr/>
            </p:nvSpPr>
            <p:spPr bwMode="auto">
              <a:xfrm>
                <a:off x="5251514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0" name="Freeform 2146"/>
              <p:cNvSpPr>
                <a:spLocks/>
              </p:cNvSpPr>
              <p:nvPr/>
            </p:nvSpPr>
            <p:spPr bwMode="auto">
              <a:xfrm>
                <a:off x="5251514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1" name="Freeform 2148"/>
              <p:cNvSpPr>
                <a:spLocks/>
              </p:cNvSpPr>
              <p:nvPr/>
            </p:nvSpPr>
            <p:spPr bwMode="auto">
              <a:xfrm>
                <a:off x="4827646" y="2597891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2" name="Freeform 2150"/>
              <p:cNvSpPr>
                <a:spLocks/>
              </p:cNvSpPr>
              <p:nvPr/>
            </p:nvSpPr>
            <p:spPr bwMode="auto">
              <a:xfrm>
                <a:off x="4654606" y="2251810"/>
                <a:ext cx="36513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</a:cxnLst>
                <a:rect l="0" t="0" r="r" b="b"/>
                <a:pathLst>
                  <a:path w="23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3" name="Line 2152"/>
              <p:cNvSpPr>
                <a:spLocks noChangeShapeType="1"/>
              </p:cNvSpPr>
              <p:nvPr/>
            </p:nvSpPr>
            <p:spPr bwMode="auto">
              <a:xfrm>
                <a:off x="4592693" y="2875707"/>
                <a:ext cx="1588" cy="4763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4" name="Freeform 2154"/>
              <p:cNvSpPr>
                <a:spLocks/>
              </p:cNvSpPr>
              <p:nvPr/>
            </p:nvSpPr>
            <p:spPr bwMode="auto">
              <a:xfrm>
                <a:off x="7893145" y="292809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5" name="Freeform 2156"/>
              <p:cNvSpPr>
                <a:spLocks/>
              </p:cNvSpPr>
              <p:nvPr/>
            </p:nvSpPr>
            <p:spPr bwMode="auto">
              <a:xfrm>
                <a:off x="7893145" y="292809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6" name="Freeform 2158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7" name="Freeform 2160"/>
              <p:cNvSpPr>
                <a:spLocks/>
              </p:cNvSpPr>
              <p:nvPr/>
            </p:nvSpPr>
            <p:spPr bwMode="auto">
              <a:xfrm>
                <a:off x="4189463" y="2639166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8" name="Freeform 2555"/>
              <p:cNvSpPr>
                <a:spLocks/>
              </p:cNvSpPr>
              <p:nvPr/>
            </p:nvSpPr>
            <p:spPr bwMode="auto">
              <a:xfrm>
                <a:off x="7161298" y="4301303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33"/>
                  </a:cxn>
                  <a:cxn ang="0">
                    <a:pos x="0" y="33"/>
                  </a:cxn>
                  <a:cxn ang="0">
                    <a:pos x="0" y="0"/>
                  </a:cxn>
                  <a:cxn ang="0">
                    <a:pos x="36" y="33"/>
                  </a:cxn>
                </a:cxnLst>
                <a:rect l="0" t="0" r="r" b="b"/>
                <a:pathLst>
                  <a:path w="36" h="33">
                    <a:moveTo>
                      <a:pt x="36" y="33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6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09" name="Line 2557"/>
              <p:cNvSpPr>
                <a:spLocks noChangeShapeType="1"/>
              </p:cNvSpPr>
              <p:nvPr/>
            </p:nvSpPr>
            <p:spPr bwMode="auto">
              <a:xfrm>
                <a:off x="5675380" y="3536117"/>
                <a:ext cx="1588" cy="4763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0" name="Line 2559"/>
              <p:cNvSpPr>
                <a:spLocks noChangeShapeType="1"/>
              </p:cNvSpPr>
              <p:nvPr/>
            </p:nvSpPr>
            <p:spPr bwMode="auto">
              <a:xfrm flipH="1">
                <a:off x="3724319" y="3829809"/>
                <a:ext cx="4763" cy="1588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1" name="Line 2561"/>
              <p:cNvSpPr>
                <a:spLocks noChangeShapeType="1"/>
              </p:cNvSpPr>
              <p:nvPr/>
            </p:nvSpPr>
            <p:spPr bwMode="auto">
              <a:xfrm>
                <a:off x="2509868" y="3950460"/>
                <a:ext cx="4763" cy="9525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2" name="Freeform 2563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3" name="Freeform 2565"/>
              <p:cNvSpPr>
                <a:spLocks/>
              </p:cNvSpPr>
              <p:nvPr/>
            </p:nvSpPr>
            <p:spPr bwMode="auto">
              <a:xfrm>
                <a:off x="1987575" y="389807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9"/>
                  </a:cxn>
                  <a:cxn ang="0">
                    <a:pos x="29" y="33"/>
                  </a:cxn>
                  <a:cxn ang="0">
                    <a:pos x="23" y="33"/>
                  </a:cxn>
                  <a:cxn ang="0">
                    <a:pos x="10" y="23"/>
                  </a:cxn>
                  <a:cxn ang="0">
                    <a:pos x="0" y="16"/>
                  </a:cxn>
                  <a:cxn ang="0">
                    <a:pos x="10" y="0"/>
                  </a:cxn>
                  <a:cxn ang="0">
                    <a:pos x="23" y="10"/>
                  </a:cxn>
                  <a:cxn ang="0">
                    <a:pos x="36" y="10"/>
                  </a:cxn>
                  <a:cxn ang="0">
                    <a:pos x="36" y="29"/>
                  </a:cxn>
                </a:cxnLst>
                <a:rect l="0" t="0" r="r" b="b"/>
                <a:pathLst>
                  <a:path w="36" h="33">
                    <a:moveTo>
                      <a:pt x="36" y="29"/>
                    </a:moveTo>
                    <a:lnTo>
                      <a:pt x="29" y="33"/>
                    </a:lnTo>
                    <a:lnTo>
                      <a:pt x="23" y="33"/>
                    </a:lnTo>
                    <a:lnTo>
                      <a:pt x="10" y="23"/>
                    </a:lnTo>
                    <a:lnTo>
                      <a:pt x="0" y="16"/>
                    </a:lnTo>
                    <a:lnTo>
                      <a:pt x="10" y="0"/>
                    </a:lnTo>
                    <a:lnTo>
                      <a:pt x="23" y="10"/>
                    </a:lnTo>
                    <a:lnTo>
                      <a:pt x="36" y="10"/>
                    </a:lnTo>
                    <a:lnTo>
                      <a:pt x="36" y="29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4" name="Freeform 2567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5" name="Freeform 2569"/>
              <p:cNvSpPr>
                <a:spLocks/>
              </p:cNvSpPr>
              <p:nvPr/>
            </p:nvSpPr>
            <p:spPr bwMode="auto">
              <a:xfrm>
                <a:off x="2306665" y="3777420"/>
                <a:ext cx="57150" cy="5238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3"/>
                  </a:cxn>
                  <a:cxn ang="0">
                    <a:pos x="16" y="33"/>
                  </a:cxn>
                  <a:cxn ang="0">
                    <a:pos x="36" y="33"/>
                  </a:cxn>
                  <a:cxn ang="0">
                    <a:pos x="13" y="0"/>
                  </a:cxn>
                </a:cxnLst>
                <a:rect l="0" t="0" r="r" b="b"/>
                <a:pathLst>
                  <a:path w="36" h="33">
                    <a:moveTo>
                      <a:pt x="13" y="0"/>
                    </a:moveTo>
                    <a:lnTo>
                      <a:pt x="0" y="13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13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6" name="Freeform 2571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7" name="Freeform 2573"/>
              <p:cNvSpPr>
                <a:spLocks/>
              </p:cNvSpPr>
              <p:nvPr/>
            </p:nvSpPr>
            <p:spPr bwMode="auto">
              <a:xfrm>
                <a:off x="7824880" y="3153524"/>
                <a:ext cx="58738" cy="52388"/>
              </a:xfrm>
              <a:custGeom>
                <a:avLst/>
                <a:gdLst/>
                <a:ahLst/>
                <a:cxnLst>
                  <a:cxn ang="0">
                    <a:pos x="37" y="33"/>
                  </a:cxn>
                  <a:cxn ang="0">
                    <a:pos x="37" y="0"/>
                  </a:cxn>
                  <a:cxn ang="0">
                    <a:pos x="0" y="33"/>
                  </a:cxn>
                  <a:cxn ang="0">
                    <a:pos x="37" y="33"/>
                  </a:cxn>
                </a:cxnLst>
                <a:rect l="0" t="0" r="r" b="b"/>
                <a:pathLst>
                  <a:path w="37" h="33">
                    <a:moveTo>
                      <a:pt x="37" y="33"/>
                    </a:moveTo>
                    <a:lnTo>
                      <a:pt x="37" y="0"/>
                    </a:lnTo>
                    <a:lnTo>
                      <a:pt x="0" y="33"/>
                    </a:lnTo>
                    <a:lnTo>
                      <a:pt x="37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8" name="Line 2575"/>
              <p:cNvSpPr>
                <a:spLocks noChangeShapeType="1"/>
              </p:cNvSpPr>
              <p:nvPr/>
            </p:nvSpPr>
            <p:spPr bwMode="auto">
              <a:xfrm flipH="1">
                <a:off x="7667717" y="3331326"/>
                <a:ext cx="6350" cy="1588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19" name="Freeform 2577"/>
              <p:cNvSpPr>
                <a:spLocks/>
              </p:cNvSpPr>
              <p:nvPr/>
            </p:nvSpPr>
            <p:spPr bwMode="auto">
              <a:xfrm>
                <a:off x="5251513" y="3263063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0" name="Freeform 2579"/>
              <p:cNvSpPr>
                <a:spLocks/>
              </p:cNvSpPr>
              <p:nvPr/>
            </p:nvSpPr>
            <p:spPr bwMode="auto">
              <a:xfrm>
                <a:off x="5251513" y="3263062"/>
                <a:ext cx="57150" cy="58738"/>
              </a:xfrm>
              <a:custGeom>
                <a:avLst/>
                <a:gdLst/>
                <a:ahLst/>
                <a:cxnLst>
                  <a:cxn ang="0">
                    <a:pos x="30" y="17"/>
                  </a:cxn>
                  <a:cxn ang="0">
                    <a:pos x="10" y="30"/>
                  </a:cxn>
                  <a:cxn ang="0">
                    <a:pos x="0" y="37"/>
                  </a:cxn>
                  <a:cxn ang="0">
                    <a:pos x="10" y="17"/>
                  </a:cxn>
                  <a:cxn ang="0">
                    <a:pos x="16" y="0"/>
                  </a:cxn>
                  <a:cxn ang="0">
                    <a:pos x="36" y="4"/>
                  </a:cxn>
                  <a:cxn ang="0">
                    <a:pos x="30" y="17"/>
                  </a:cxn>
                </a:cxnLst>
                <a:rect l="0" t="0" r="r" b="b"/>
                <a:pathLst>
                  <a:path w="36" h="37">
                    <a:moveTo>
                      <a:pt x="30" y="17"/>
                    </a:moveTo>
                    <a:lnTo>
                      <a:pt x="10" y="30"/>
                    </a:lnTo>
                    <a:lnTo>
                      <a:pt x="0" y="37"/>
                    </a:lnTo>
                    <a:lnTo>
                      <a:pt x="10" y="17"/>
                    </a:lnTo>
                    <a:lnTo>
                      <a:pt x="16" y="0"/>
                    </a:lnTo>
                    <a:lnTo>
                      <a:pt x="36" y="4"/>
                    </a:lnTo>
                    <a:lnTo>
                      <a:pt x="30" y="17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1" name="Freeform 2581"/>
              <p:cNvSpPr>
                <a:spLocks/>
              </p:cNvSpPr>
              <p:nvPr/>
            </p:nvSpPr>
            <p:spPr bwMode="auto">
              <a:xfrm>
                <a:off x="4827646" y="2597890"/>
                <a:ext cx="125415" cy="68263"/>
              </a:xfrm>
              <a:custGeom>
                <a:avLst/>
                <a:gdLst/>
                <a:ahLst/>
                <a:cxnLst>
                  <a:cxn ang="0">
                    <a:pos x="3" y="30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26" y="3"/>
                  </a:cxn>
                  <a:cxn ang="0">
                    <a:pos x="49" y="0"/>
                  </a:cxn>
                  <a:cxn ang="0">
                    <a:pos x="79" y="13"/>
                  </a:cxn>
                  <a:cxn ang="0">
                    <a:pos x="56" y="30"/>
                  </a:cxn>
                  <a:cxn ang="0">
                    <a:pos x="36" y="43"/>
                  </a:cxn>
                  <a:cxn ang="0">
                    <a:pos x="23" y="40"/>
                  </a:cxn>
                  <a:cxn ang="0">
                    <a:pos x="23" y="33"/>
                  </a:cxn>
                  <a:cxn ang="0">
                    <a:pos x="13" y="33"/>
                  </a:cxn>
                  <a:cxn ang="0">
                    <a:pos x="3" y="30"/>
                  </a:cxn>
                </a:cxnLst>
                <a:rect l="0" t="0" r="r" b="b"/>
                <a:pathLst>
                  <a:path w="79" h="43">
                    <a:moveTo>
                      <a:pt x="3" y="3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26" y="3"/>
                    </a:lnTo>
                    <a:lnTo>
                      <a:pt x="49" y="0"/>
                    </a:lnTo>
                    <a:lnTo>
                      <a:pt x="79" y="13"/>
                    </a:lnTo>
                    <a:lnTo>
                      <a:pt x="56" y="30"/>
                    </a:lnTo>
                    <a:lnTo>
                      <a:pt x="36" y="43"/>
                    </a:lnTo>
                    <a:lnTo>
                      <a:pt x="23" y="40"/>
                    </a:lnTo>
                    <a:lnTo>
                      <a:pt x="23" y="33"/>
                    </a:lnTo>
                    <a:lnTo>
                      <a:pt x="13" y="33"/>
                    </a:lnTo>
                    <a:lnTo>
                      <a:pt x="3" y="3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2" name="Freeform 2583"/>
              <p:cNvSpPr>
                <a:spLocks/>
              </p:cNvSpPr>
              <p:nvPr/>
            </p:nvSpPr>
            <p:spPr bwMode="auto">
              <a:xfrm>
                <a:off x="4654606" y="2251810"/>
                <a:ext cx="36513" cy="5238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0" y="33"/>
                  </a:cxn>
                  <a:cxn ang="0">
                    <a:pos x="0" y="33"/>
                  </a:cxn>
                  <a:cxn ang="0">
                    <a:pos x="23" y="33"/>
                  </a:cxn>
                </a:cxnLst>
                <a:rect l="0" t="0" r="r" b="b"/>
                <a:pathLst>
                  <a:path w="23" h="33">
                    <a:moveTo>
                      <a:pt x="23" y="0"/>
                    </a:moveTo>
                    <a:lnTo>
                      <a:pt x="10" y="33"/>
                    </a:lnTo>
                    <a:lnTo>
                      <a:pt x="0" y="33"/>
                    </a:lnTo>
                    <a:lnTo>
                      <a:pt x="23" y="33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3" name="Line 2585"/>
              <p:cNvSpPr>
                <a:spLocks noChangeShapeType="1"/>
              </p:cNvSpPr>
              <p:nvPr/>
            </p:nvSpPr>
            <p:spPr bwMode="auto">
              <a:xfrm>
                <a:off x="4592693" y="2875707"/>
                <a:ext cx="1588" cy="4763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4" name="Freeform 2587"/>
              <p:cNvSpPr>
                <a:spLocks/>
              </p:cNvSpPr>
              <p:nvPr/>
            </p:nvSpPr>
            <p:spPr bwMode="auto">
              <a:xfrm>
                <a:off x="7893145" y="2928095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5" name="Freeform 2589"/>
              <p:cNvSpPr>
                <a:spLocks/>
              </p:cNvSpPr>
              <p:nvPr/>
            </p:nvSpPr>
            <p:spPr bwMode="auto">
              <a:xfrm>
                <a:off x="7893145" y="2928099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7" y="10"/>
                  </a:cxn>
                  <a:cxn ang="0">
                    <a:pos x="0" y="33"/>
                  </a:cxn>
                  <a:cxn ang="0">
                    <a:pos x="17" y="23"/>
                  </a:cxn>
                  <a:cxn ang="0">
                    <a:pos x="36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33">
                    <a:moveTo>
                      <a:pt x="36" y="0"/>
                    </a:moveTo>
                    <a:lnTo>
                      <a:pt x="7" y="10"/>
                    </a:lnTo>
                    <a:lnTo>
                      <a:pt x="0" y="33"/>
                    </a:lnTo>
                    <a:lnTo>
                      <a:pt x="17" y="23"/>
                    </a:lnTo>
                    <a:lnTo>
                      <a:pt x="36" y="3"/>
                    </a:lnTo>
                    <a:lnTo>
                      <a:pt x="3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6" name="Freeform 2591"/>
              <p:cNvSpPr>
                <a:spLocks/>
              </p:cNvSpPr>
              <p:nvPr/>
            </p:nvSpPr>
            <p:spPr bwMode="auto">
              <a:xfrm>
                <a:off x="4189451" y="263916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  <p:sp>
            <p:nvSpPr>
              <p:cNvPr id="2227" name="Freeform 2593"/>
              <p:cNvSpPr>
                <a:spLocks/>
              </p:cNvSpPr>
              <p:nvPr/>
            </p:nvSpPr>
            <p:spPr bwMode="auto">
              <a:xfrm>
                <a:off x="4189425" y="2639152"/>
                <a:ext cx="57150" cy="52388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3" y="14"/>
                  </a:cxn>
                  <a:cxn ang="0">
                    <a:pos x="23" y="0"/>
                  </a:cxn>
                  <a:cxn ang="0">
                    <a:pos x="10" y="7"/>
                  </a:cxn>
                  <a:cxn ang="0">
                    <a:pos x="0" y="20"/>
                  </a:cxn>
                  <a:cxn ang="0">
                    <a:pos x="10" y="27"/>
                  </a:cxn>
                  <a:cxn ang="0">
                    <a:pos x="16" y="20"/>
                  </a:cxn>
                  <a:cxn ang="0">
                    <a:pos x="23" y="33"/>
                  </a:cxn>
                  <a:cxn ang="0">
                    <a:pos x="36" y="20"/>
                  </a:cxn>
                </a:cxnLst>
                <a:rect l="0" t="0" r="r" b="b"/>
                <a:pathLst>
                  <a:path w="36" h="33">
                    <a:moveTo>
                      <a:pt x="36" y="20"/>
                    </a:moveTo>
                    <a:lnTo>
                      <a:pt x="33" y="14"/>
                    </a:lnTo>
                    <a:lnTo>
                      <a:pt x="23" y="0"/>
                    </a:lnTo>
                    <a:lnTo>
                      <a:pt x="10" y="7"/>
                    </a:lnTo>
                    <a:lnTo>
                      <a:pt x="0" y="20"/>
                    </a:lnTo>
                    <a:lnTo>
                      <a:pt x="10" y="27"/>
                    </a:lnTo>
                    <a:lnTo>
                      <a:pt x="16" y="20"/>
                    </a:lnTo>
                    <a:lnTo>
                      <a:pt x="23" y="33"/>
                    </a:lnTo>
                    <a:lnTo>
                      <a:pt x="36" y="2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4276" tIns="37138" rIns="74276" bIns="3713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7717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</a:endParaRPr>
              </a:p>
            </p:txBody>
          </p:sp>
        </p:grpSp>
        <p:sp>
          <p:nvSpPr>
            <p:cNvPr id="63" name="Oval 2921"/>
            <p:cNvSpPr>
              <a:spLocks noChangeArrowheads="1"/>
            </p:cNvSpPr>
            <p:nvPr/>
          </p:nvSpPr>
          <p:spPr bwMode="auto">
            <a:xfrm>
              <a:off x="2080213" y="2928608"/>
              <a:ext cx="64475" cy="68344"/>
            </a:xfrm>
            <a:prstGeom prst="ellipse">
              <a:avLst/>
            </a:prstGeom>
            <a:solidFill>
              <a:srgbClr val="7D7D7D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  <p:sp>
          <p:nvSpPr>
            <p:cNvPr id="64" name="Oval 2921"/>
            <p:cNvSpPr>
              <a:spLocks noChangeArrowheads="1"/>
            </p:cNvSpPr>
            <p:nvPr/>
          </p:nvSpPr>
          <p:spPr bwMode="auto">
            <a:xfrm>
              <a:off x="2714402" y="4330668"/>
              <a:ext cx="64475" cy="68344"/>
            </a:xfrm>
            <a:prstGeom prst="ellipse">
              <a:avLst/>
            </a:pr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  <p:sp>
          <p:nvSpPr>
            <p:cNvPr id="65" name="Oval 2921"/>
            <p:cNvSpPr>
              <a:spLocks noChangeArrowheads="1"/>
            </p:cNvSpPr>
            <p:nvPr/>
          </p:nvSpPr>
          <p:spPr bwMode="auto">
            <a:xfrm>
              <a:off x="3957588" y="4600178"/>
              <a:ext cx="64475" cy="68344"/>
            </a:xfrm>
            <a:prstGeom prst="ellipse">
              <a:avLst/>
            </a:prstGeom>
            <a:solidFill>
              <a:srgbClr val="7D7D7D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  <p:sp>
          <p:nvSpPr>
            <p:cNvPr id="66" name="Oval 2921"/>
            <p:cNvSpPr>
              <a:spLocks noChangeArrowheads="1"/>
            </p:cNvSpPr>
            <p:nvPr/>
          </p:nvSpPr>
          <p:spPr bwMode="auto">
            <a:xfrm>
              <a:off x="2792760" y="4005064"/>
              <a:ext cx="64475" cy="68344"/>
            </a:xfrm>
            <a:prstGeom prst="ellipse">
              <a:avLst/>
            </a:prstGeom>
            <a:solidFill>
              <a:srgbClr val="7D7D7D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  <p:sp>
          <p:nvSpPr>
            <p:cNvPr id="67" name="Oval 2921"/>
            <p:cNvSpPr>
              <a:spLocks noChangeArrowheads="1"/>
            </p:cNvSpPr>
            <p:nvPr/>
          </p:nvSpPr>
          <p:spPr bwMode="auto">
            <a:xfrm>
              <a:off x="5149974" y="3576680"/>
              <a:ext cx="64475" cy="68344"/>
            </a:xfrm>
            <a:prstGeom prst="ellipse">
              <a:avLst/>
            </a:prstGeom>
            <a:solidFill>
              <a:srgbClr val="7D7D7D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  <p:sp>
          <p:nvSpPr>
            <p:cNvPr id="68" name="자유형 67"/>
            <p:cNvSpPr/>
            <p:nvPr/>
          </p:nvSpPr>
          <p:spPr>
            <a:xfrm>
              <a:off x="2127250" y="2959100"/>
              <a:ext cx="1803400" cy="1708150"/>
            </a:xfrm>
            <a:custGeom>
              <a:avLst/>
              <a:gdLst>
                <a:gd name="connsiteX0" fmla="*/ 0 w 1803400"/>
                <a:gd name="connsiteY0" fmla="*/ 0 h 1708150"/>
                <a:gd name="connsiteX1" fmla="*/ 19050 w 1803400"/>
                <a:gd name="connsiteY1" fmla="*/ 31750 h 1708150"/>
                <a:gd name="connsiteX2" fmla="*/ 31750 w 1803400"/>
                <a:gd name="connsiteY2" fmla="*/ 50800 h 1708150"/>
                <a:gd name="connsiteX3" fmla="*/ 38100 w 1803400"/>
                <a:gd name="connsiteY3" fmla="*/ 82550 h 1708150"/>
                <a:gd name="connsiteX4" fmla="*/ 50800 w 1803400"/>
                <a:gd name="connsiteY4" fmla="*/ 114300 h 1708150"/>
                <a:gd name="connsiteX5" fmla="*/ 57150 w 1803400"/>
                <a:gd name="connsiteY5" fmla="*/ 139700 h 1708150"/>
                <a:gd name="connsiteX6" fmla="*/ 69850 w 1803400"/>
                <a:gd name="connsiteY6" fmla="*/ 177800 h 1708150"/>
                <a:gd name="connsiteX7" fmla="*/ 76200 w 1803400"/>
                <a:gd name="connsiteY7" fmla="*/ 203200 h 1708150"/>
                <a:gd name="connsiteX8" fmla="*/ 88900 w 1803400"/>
                <a:gd name="connsiteY8" fmla="*/ 222250 h 1708150"/>
                <a:gd name="connsiteX9" fmla="*/ 95250 w 1803400"/>
                <a:gd name="connsiteY9" fmla="*/ 241300 h 1708150"/>
                <a:gd name="connsiteX10" fmla="*/ 107950 w 1803400"/>
                <a:gd name="connsiteY10" fmla="*/ 266700 h 1708150"/>
                <a:gd name="connsiteX11" fmla="*/ 114300 w 1803400"/>
                <a:gd name="connsiteY11" fmla="*/ 292100 h 1708150"/>
                <a:gd name="connsiteX12" fmla="*/ 127000 w 1803400"/>
                <a:gd name="connsiteY12" fmla="*/ 311150 h 1708150"/>
                <a:gd name="connsiteX13" fmla="*/ 139700 w 1803400"/>
                <a:gd name="connsiteY13" fmla="*/ 349250 h 1708150"/>
                <a:gd name="connsiteX14" fmla="*/ 165100 w 1803400"/>
                <a:gd name="connsiteY14" fmla="*/ 393700 h 1708150"/>
                <a:gd name="connsiteX15" fmla="*/ 177800 w 1803400"/>
                <a:gd name="connsiteY15" fmla="*/ 419100 h 1708150"/>
                <a:gd name="connsiteX16" fmla="*/ 203200 w 1803400"/>
                <a:gd name="connsiteY16" fmla="*/ 457200 h 1708150"/>
                <a:gd name="connsiteX17" fmla="*/ 234950 w 1803400"/>
                <a:gd name="connsiteY17" fmla="*/ 514350 h 1708150"/>
                <a:gd name="connsiteX18" fmla="*/ 254000 w 1803400"/>
                <a:gd name="connsiteY18" fmla="*/ 533400 h 1708150"/>
                <a:gd name="connsiteX19" fmla="*/ 273050 w 1803400"/>
                <a:gd name="connsiteY19" fmla="*/ 558800 h 1708150"/>
                <a:gd name="connsiteX20" fmla="*/ 304800 w 1803400"/>
                <a:gd name="connsiteY20" fmla="*/ 603250 h 1708150"/>
                <a:gd name="connsiteX21" fmla="*/ 355600 w 1803400"/>
                <a:gd name="connsiteY21" fmla="*/ 647700 h 1708150"/>
                <a:gd name="connsiteX22" fmla="*/ 374650 w 1803400"/>
                <a:gd name="connsiteY22" fmla="*/ 666750 h 1708150"/>
                <a:gd name="connsiteX23" fmla="*/ 393700 w 1803400"/>
                <a:gd name="connsiteY23" fmla="*/ 679450 h 1708150"/>
                <a:gd name="connsiteX24" fmla="*/ 419100 w 1803400"/>
                <a:gd name="connsiteY24" fmla="*/ 704850 h 1708150"/>
                <a:gd name="connsiteX25" fmla="*/ 444500 w 1803400"/>
                <a:gd name="connsiteY25" fmla="*/ 717550 h 1708150"/>
                <a:gd name="connsiteX26" fmla="*/ 476250 w 1803400"/>
                <a:gd name="connsiteY26" fmla="*/ 736600 h 1708150"/>
                <a:gd name="connsiteX27" fmla="*/ 520700 w 1803400"/>
                <a:gd name="connsiteY27" fmla="*/ 762000 h 1708150"/>
                <a:gd name="connsiteX28" fmla="*/ 533400 w 1803400"/>
                <a:gd name="connsiteY28" fmla="*/ 781050 h 1708150"/>
                <a:gd name="connsiteX29" fmla="*/ 584200 w 1803400"/>
                <a:gd name="connsiteY29" fmla="*/ 812800 h 1708150"/>
                <a:gd name="connsiteX30" fmla="*/ 603250 w 1803400"/>
                <a:gd name="connsiteY30" fmla="*/ 825500 h 1708150"/>
                <a:gd name="connsiteX31" fmla="*/ 628650 w 1803400"/>
                <a:gd name="connsiteY31" fmla="*/ 844550 h 1708150"/>
                <a:gd name="connsiteX32" fmla="*/ 654050 w 1803400"/>
                <a:gd name="connsiteY32" fmla="*/ 882650 h 1708150"/>
                <a:gd name="connsiteX33" fmla="*/ 685800 w 1803400"/>
                <a:gd name="connsiteY33" fmla="*/ 927100 h 1708150"/>
                <a:gd name="connsiteX34" fmla="*/ 704850 w 1803400"/>
                <a:gd name="connsiteY34" fmla="*/ 965200 h 1708150"/>
                <a:gd name="connsiteX35" fmla="*/ 723900 w 1803400"/>
                <a:gd name="connsiteY35" fmla="*/ 977900 h 1708150"/>
                <a:gd name="connsiteX36" fmla="*/ 762000 w 1803400"/>
                <a:gd name="connsiteY36" fmla="*/ 1041400 h 1708150"/>
                <a:gd name="connsiteX37" fmla="*/ 781050 w 1803400"/>
                <a:gd name="connsiteY37" fmla="*/ 1060450 h 1708150"/>
                <a:gd name="connsiteX38" fmla="*/ 787400 w 1803400"/>
                <a:gd name="connsiteY38" fmla="*/ 1123950 h 1708150"/>
                <a:gd name="connsiteX39" fmla="*/ 838200 w 1803400"/>
                <a:gd name="connsiteY39" fmla="*/ 1206500 h 1708150"/>
                <a:gd name="connsiteX40" fmla="*/ 857250 w 1803400"/>
                <a:gd name="connsiteY40" fmla="*/ 1225550 h 1708150"/>
                <a:gd name="connsiteX41" fmla="*/ 895350 w 1803400"/>
                <a:gd name="connsiteY41" fmla="*/ 1257300 h 1708150"/>
                <a:gd name="connsiteX42" fmla="*/ 933450 w 1803400"/>
                <a:gd name="connsiteY42" fmla="*/ 1282700 h 1708150"/>
                <a:gd name="connsiteX43" fmla="*/ 965200 w 1803400"/>
                <a:gd name="connsiteY43" fmla="*/ 1308100 h 1708150"/>
                <a:gd name="connsiteX44" fmla="*/ 1003300 w 1803400"/>
                <a:gd name="connsiteY44" fmla="*/ 1320800 h 1708150"/>
                <a:gd name="connsiteX45" fmla="*/ 1022350 w 1803400"/>
                <a:gd name="connsiteY45" fmla="*/ 1333500 h 1708150"/>
                <a:gd name="connsiteX46" fmla="*/ 1047750 w 1803400"/>
                <a:gd name="connsiteY46" fmla="*/ 1339850 h 1708150"/>
                <a:gd name="connsiteX47" fmla="*/ 1098550 w 1803400"/>
                <a:gd name="connsiteY47" fmla="*/ 1365250 h 1708150"/>
                <a:gd name="connsiteX48" fmla="*/ 1117600 w 1803400"/>
                <a:gd name="connsiteY48" fmla="*/ 1371600 h 1708150"/>
                <a:gd name="connsiteX49" fmla="*/ 1136650 w 1803400"/>
                <a:gd name="connsiteY49" fmla="*/ 1384300 h 1708150"/>
                <a:gd name="connsiteX50" fmla="*/ 1200150 w 1803400"/>
                <a:gd name="connsiteY50" fmla="*/ 1409700 h 1708150"/>
                <a:gd name="connsiteX51" fmla="*/ 1225550 w 1803400"/>
                <a:gd name="connsiteY51" fmla="*/ 1422400 h 1708150"/>
                <a:gd name="connsiteX52" fmla="*/ 1244600 w 1803400"/>
                <a:gd name="connsiteY52" fmla="*/ 1428750 h 1708150"/>
                <a:gd name="connsiteX53" fmla="*/ 1289050 w 1803400"/>
                <a:gd name="connsiteY53" fmla="*/ 1454150 h 1708150"/>
                <a:gd name="connsiteX54" fmla="*/ 1346200 w 1803400"/>
                <a:gd name="connsiteY54" fmla="*/ 1479550 h 1708150"/>
                <a:gd name="connsiteX55" fmla="*/ 1403350 w 1803400"/>
                <a:gd name="connsiteY55" fmla="*/ 1504950 h 1708150"/>
                <a:gd name="connsiteX56" fmla="*/ 1441450 w 1803400"/>
                <a:gd name="connsiteY56" fmla="*/ 1524000 h 1708150"/>
                <a:gd name="connsiteX57" fmla="*/ 1479550 w 1803400"/>
                <a:gd name="connsiteY57" fmla="*/ 1549400 h 1708150"/>
                <a:gd name="connsiteX58" fmla="*/ 1517650 w 1803400"/>
                <a:gd name="connsiteY58" fmla="*/ 1562100 h 1708150"/>
                <a:gd name="connsiteX59" fmla="*/ 1536700 w 1803400"/>
                <a:gd name="connsiteY59" fmla="*/ 1568450 h 1708150"/>
                <a:gd name="connsiteX60" fmla="*/ 1562100 w 1803400"/>
                <a:gd name="connsiteY60" fmla="*/ 1574800 h 1708150"/>
                <a:gd name="connsiteX61" fmla="*/ 1644650 w 1803400"/>
                <a:gd name="connsiteY61" fmla="*/ 1612900 h 1708150"/>
                <a:gd name="connsiteX62" fmla="*/ 1739900 w 1803400"/>
                <a:gd name="connsiteY62" fmla="*/ 1631950 h 1708150"/>
                <a:gd name="connsiteX63" fmla="*/ 1752600 w 1803400"/>
                <a:gd name="connsiteY63" fmla="*/ 1651000 h 1708150"/>
                <a:gd name="connsiteX64" fmla="*/ 1771650 w 1803400"/>
                <a:gd name="connsiteY64" fmla="*/ 1657350 h 1708150"/>
                <a:gd name="connsiteX65" fmla="*/ 1778000 w 1803400"/>
                <a:gd name="connsiteY65" fmla="*/ 1676400 h 1708150"/>
                <a:gd name="connsiteX66" fmla="*/ 1797050 w 1803400"/>
                <a:gd name="connsiteY66" fmla="*/ 1689100 h 1708150"/>
                <a:gd name="connsiteX67" fmla="*/ 1803400 w 1803400"/>
                <a:gd name="connsiteY67" fmla="*/ 1708150 h 170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803400" h="1708150">
                  <a:moveTo>
                    <a:pt x="0" y="0"/>
                  </a:moveTo>
                  <a:cubicBezTo>
                    <a:pt x="6350" y="10583"/>
                    <a:pt x="12509" y="21284"/>
                    <a:pt x="19050" y="31750"/>
                  </a:cubicBezTo>
                  <a:cubicBezTo>
                    <a:pt x="23095" y="38222"/>
                    <a:pt x="29070" y="43654"/>
                    <a:pt x="31750" y="50800"/>
                  </a:cubicBezTo>
                  <a:cubicBezTo>
                    <a:pt x="35540" y="60906"/>
                    <a:pt x="34999" y="72212"/>
                    <a:pt x="38100" y="82550"/>
                  </a:cubicBezTo>
                  <a:cubicBezTo>
                    <a:pt x="41375" y="93468"/>
                    <a:pt x="47195" y="103486"/>
                    <a:pt x="50800" y="114300"/>
                  </a:cubicBezTo>
                  <a:cubicBezTo>
                    <a:pt x="53560" y="122579"/>
                    <a:pt x="54642" y="131341"/>
                    <a:pt x="57150" y="139700"/>
                  </a:cubicBezTo>
                  <a:cubicBezTo>
                    <a:pt x="60997" y="152522"/>
                    <a:pt x="66603" y="164813"/>
                    <a:pt x="69850" y="177800"/>
                  </a:cubicBezTo>
                  <a:cubicBezTo>
                    <a:pt x="71967" y="186267"/>
                    <a:pt x="72762" y="195178"/>
                    <a:pt x="76200" y="203200"/>
                  </a:cubicBezTo>
                  <a:cubicBezTo>
                    <a:pt x="79206" y="210215"/>
                    <a:pt x="85487" y="215424"/>
                    <a:pt x="88900" y="222250"/>
                  </a:cubicBezTo>
                  <a:cubicBezTo>
                    <a:pt x="91893" y="228237"/>
                    <a:pt x="92613" y="235148"/>
                    <a:pt x="95250" y="241300"/>
                  </a:cubicBezTo>
                  <a:cubicBezTo>
                    <a:pt x="98979" y="250001"/>
                    <a:pt x="104626" y="257837"/>
                    <a:pt x="107950" y="266700"/>
                  </a:cubicBezTo>
                  <a:cubicBezTo>
                    <a:pt x="111014" y="274872"/>
                    <a:pt x="110862" y="284078"/>
                    <a:pt x="114300" y="292100"/>
                  </a:cubicBezTo>
                  <a:cubicBezTo>
                    <a:pt x="117306" y="299115"/>
                    <a:pt x="123900" y="304176"/>
                    <a:pt x="127000" y="311150"/>
                  </a:cubicBezTo>
                  <a:cubicBezTo>
                    <a:pt x="132437" y="323383"/>
                    <a:pt x="133713" y="337276"/>
                    <a:pt x="139700" y="349250"/>
                  </a:cubicBezTo>
                  <a:cubicBezTo>
                    <a:pt x="178078" y="426007"/>
                    <a:pt x="129198" y="330872"/>
                    <a:pt x="165100" y="393700"/>
                  </a:cubicBezTo>
                  <a:cubicBezTo>
                    <a:pt x="169796" y="401919"/>
                    <a:pt x="172930" y="410983"/>
                    <a:pt x="177800" y="419100"/>
                  </a:cubicBezTo>
                  <a:cubicBezTo>
                    <a:pt x="185653" y="432188"/>
                    <a:pt x="196374" y="443548"/>
                    <a:pt x="203200" y="457200"/>
                  </a:cubicBezTo>
                  <a:cubicBezTo>
                    <a:pt x="212247" y="475293"/>
                    <a:pt x="222990" y="498403"/>
                    <a:pt x="234950" y="514350"/>
                  </a:cubicBezTo>
                  <a:cubicBezTo>
                    <a:pt x="240338" y="521534"/>
                    <a:pt x="248156" y="526582"/>
                    <a:pt x="254000" y="533400"/>
                  </a:cubicBezTo>
                  <a:cubicBezTo>
                    <a:pt x="260888" y="541435"/>
                    <a:pt x="266899" y="550188"/>
                    <a:pt x="273050" y="558800"/>
                  </a:cubicBezTo>
                  <a:cubicBezTo>
                    <a:pt x="286221" y="577239"/>
                    <a:pt x="288659" y="584803"/>
                    <a:pt x="304800" y="603250"/>
                  </a:cubicBezTo>
                  <a:cubicBezTo>
                    <a:pt x="336082" y="639001"/>
                    <a:pt x="322037" y="618931"/>
                    <a:pt x="355600" y="647700"/>
                  </a:cubicBezTo>
                  <a:cubicBezTo>
                    <a:pt x="362418" y="653544"/>
                    <a:pt x="367751" y="661001"/>
                    <a:pt x="374650" y="666750"/>
                  </a:cubicBezTo>
                  <a:cubicBezTo>
                    <a:pt x="380513" y="671636"/>
                    <a:pt x="387906" y="674483"/>
                    <a:pt x="393700" y="679450"/>
                  </a:cubicBezTo>
                  <a:cubicBezTo>
                    <a:pt x="402791" y="687242"/>
                    <a:pt x="409521" y="697666"/>
                    <a:pt x="419100" y="704850"/>
                  </a:cubicBezTo>
                  <a:cubicBezTo>
                    <a:pt x="426673" y="710530"/>
                    <a:pt x="436225" y="712953"/>
                    <a:pt x="444500" y="717550"/>
                  </a:cubicBezTo>
                  <a:cubicBezTo>
                    <a:pt x="455289" y="723544"/>
                    <a:pt x="465981" y="729754"/>
                    <a:pt x="476250" y="736600"/>
                  </a:cubicBezTo>
                  <a:cubicBezTo>
                    <a:pt x="514693" y="762229"/>
                    <a:pt x="486747" y="750682"/>
                    <a:pt x="520700" y="762000"/>
                  </a:cubicBezTo>
                  <a:cubicBezTo>
                    <a:pt x="524933" y="768350"/>
                    <a:pt x="527441" y="776282"/>
                    <a:pt x="533400" y="781050"/>
                  </a:cubicBezTo>
                  <a:cubicBezTo>
                    <a:pt x="548993" y="793524"/>
                    <a:pt x="567585" y="801723"/>
                    <a:pt x="584200" y="812800"/>
                  </a:cubicBezTo>
                  <a:cubicBezTo>
                    <a:pt x="590550" y="817033"/>
                    <a:pt x="597040" y="821064"/>
                    <a:pt x="603250" y="825500"/>
                  </a:cubicBezTo>
                  <a:cubicBezTo>
                    <a:pt x="611862" y="831651"/>
                    <a:pt x="621619" y="836640"/>
                    <a:pt x="628650" y="844550"/>
                  </a:cubicBezTo>
                  <a:cubicBezTo>
                    <a:pt x="638791" y="855958"/>
                    <a:pt x="644892" y="870439"/>
                    <a:pt x="654050" y="882650"/>
                  </a:cubicBezTo>
                  <a:cubicBezTo>
                    <a:pt x="658364" y="888403"/>
                    <a:pt x="681157" y="917815"/>
                    <a:pt x="685800" y="927100"/>
                  </a:cubicBezTo>
                  <a:cubicBezTo>
                    <a:pt x="696129" y="947758"/>
                    <a:pt x="686652" y="947002"/>
                    <a:pt x="704850" y="965200"/>
                  </a:cubicBezTo>
                  <a:cubicBezTo>
                    <a:pt x="710246" y="970596"/>
                    <a:pt x="717550" y="973667"/>
                    <a:pt x="723900" y="977900"/>
                  </a:cubicBezTo>
                  <a:cubicBezTo>
                    <a:pt x="733922" y="997943"/>
                    <a:pt x="746675" y="1026075"/>
                    <a:pt x="762000" y="1041400"/>
                  </a:cubicBezTo>
                  <a:lnTo>
                    <a:pt x="781050" y="1060450"/>
                  </a:lnTo>
                  <a:cubicBezTo>
                    <a:pt x="783167" y="1081617"/>
                    <a:pt x="781707" y="1103454"/>
                    <a:pt x="787400" y="1123950"/>
                  </a:cubicBezTo>
                  <a:cubicBezTo>
                    <a:pt x="796107" y="1155297"/>
                    <a:pt x="817263" y="1182571"/>
                    <a:pt x="838200" y="1206500"/>
                  </a:cubicBezTo>
                  <a:cubicBezTo>
                    <a:pt x="844114" y="1213258"/>
                    <a:pt x="852030" y="1218242"/>
                    <a:pt x="857250" y="1225550"/>
                  </a:cubicBezTo>
                  <a:cubicBezTo>
                    <a:pt x="882515" y="1260921"/>
                    <a:pt x="852780" y="1246658"/>
                    <a:pt x="895350" y="1257300"/>
                  </a:cubicBezTo>
                  <a:cubicBezTo>
                    <a:pt x="908050" y="1265767"/>
                    <a:pt x="921106" y="1273722"/>
                    <a:pt x="933450" y="1282700"/>
                  </a:cubicBezTo>
                  <a:cubicBezTo>
                    <a:pt x="944411" y="1290672"/>
                    <a:pt x="953302" y="1301610"/>
                    <a:pt x="965200" y="1308100"/>
                  </a:cubicBezTo>
                  <a:cubicBezTo>
                    <a:pt x="976952" y="1314510"/>
                    <a:pt x="991067" y="1315363"/>
                    <a:pt x="1003300" y="1320800"/>
                  </a:cubicBezTo>
                  <a:cubicBezTo>
                    <a:pt x="1010274" y="1323900"/>
                    <a:pt x="1015335" y="1330494"/>
                    <a:pt x="1022350" y="1333500"/>
                  </a:cubicBezTo>
                  <a:cubicBezTo>
                    <a:pt x="1030372" y="1336938"/>
                    <a:pt x="1039694" y="1336493"/>
                    <a:pt x="1047750" y="1339850"/>
                  </a:cubicBezTo>
                  <a:cubicBezTo>
                    <a:pt x="1065226" y="1347132"/>
                    <a:pt x="1081315" y="1357416"/>
                    <a:pt x="1098550" y="1365250"/>
                  </a:cubicBezTo>
                  <a:cubicBezTo>
                    <a:pt x="1104644" y="1368020"/>
                    <a:pt x="1111613" y="1368607"/>
                    <a:pt x="1117600" y="1371600"/>
                  </a:cubicBezTo>
                  <a:cubicBezTo>
                    <a:pt x="1124426" y="1375013"/>
                    <a:pt x="1129721" y="1381102"/>
                    <a:pt x="1136650" y="1384300"/>
                  </a:cubicBezTo>
                  <a:cubicBezTo>
                    <a:pt x="1157349" y="1393853"/>
                    <a:pt x="1179760" y="1399505"/>
                    <a:pt x="1200150" y="1409700"/>
                  </a:cubicBezTo>
                  <a:cubicBezTo>
                    <a:pt x="1208617" y="1413933"/>
                    <a:pt x="1216849" y="1418671"/>
                    <a:pt x="1225550" y="1422400"/>
                  </a:cubicBezTo>
                  <a:cubicBezTo>
                    <a:pt x="1231702" y="1425037"/>
                    <a:pt x="1238448" y="1426113"/>
                    <a:pt x="1244600" y="1428750"/>
                  </a:cubicBezTo>
                  <a:cubicBezTo>
                    <a:pt x="1322528" y="1462148"/>
                    <a:pt x="1225277" y="1422264"/>
                    <a:pt x="1289050" y="1454150"/>
                  </a:cubicBezTo>
                  <a:cubicBezTo>
                    <a:pt x="1359697" y="1489473"/>
                    <a:pt x="1285602" y="1445884"/>
                    <a:pt x="1346200" y="1479550"/>
                  </a:cubicBezTo>
                  <a:cubicBezTo>
                    <a:pt x="1391140" y="1504517"/>
                    <a:pt x="1361941" y="1494598"/>
                    <a:pt x="1403350" y="1504950"/>
                  </a:cubicBezTo>
                  <a:cubicBezTo>
                    <a:pt x="1487920" y="1561330"/>
                    <a:pt x="1362580" y="1480183"/>
                    <a:pt x="1441450" y="1524000"/>
                  </a:cubicBezTo>
                  <a:cubicBezTo>
                    <a:pt x="1454793" y="1531413"/>
                    <a:pt x="1465070" y="1544573"/>
                    <a:pt x="1479550" y="1549400"/>
                  </a:cubicBezTo>
                  <a:lnTo>
                    <a:pt x="1517650" y="1562100"/>
                  </a:lnTo>
                  <a:cubicBezTo>
                    <a:pt x="1524000" y="1564217"/>
                    <a:pt x="1530206" y="1566827"/>
                    <a:pt x="1536700" y="1568450"/>
                  </a:cubicBezTo>
                  <a:cubicBezTo>
                    <a:pt x="1545167" y="1570567"/>
                    <a:pt x="1554044" y="1571443"/>
                    <a:pt x="1562100" y="1574800"/>
                  </a:cubicBezTo>
                  <a:cubicBezTo>
                    <a:pt x="1576719" y="1580891"/>
                    <a:pt x="1623244" y="1607863"/>
                    <a:pt x="1644650" y="1612900"/>
                  </a:cubicBezTo>
                  <a:cubicBezTo>
                    <a:pt x="1785414" y="1646021"/>
                    <a:pt x="1681355" y="1612435"/>
                    <a:pt x="1739900" y="1631950"/>
                  </a:cubicBezTo>
                  <a:cubicBezTo>
                    <a:pt x="1744133" y="1638300"/>
                    <a:pt x="1746641" y="1646232"/>
                    <a:pt x="1752600" y="1651000"/>
                  </a:cubicBezTo>
                  <a:cubicBezTo>
                    <a:pt x="1757827" y="1655181"/>
                    <a:pt x="1766917" y="1652617"/>
                    <a:pt x="1771650" y="1657350"/>
                  </a:cubicBezTo>
                  <a:cubicBezTo>
                    <a:pt x="1776383" y="1662083"/>
                    <a:pt x="1773819" y="1671173"/>
                    <a:pt x="1778000" y="1676400"/>
                  </a:cubicBezTo>
                  <a:cubicBezTo>
                    <a:pt x="1782768" y="1682359"/>
                    <a:pt x="1790700" y="1684867"/>
                    <a:pt x="1797050" y="1689100"/>
                  </a:cubicBezTo>
                  <a:lnTo>
                    <a:pt x="1803400" y="1708150"/>
                  </a:lnTo>
                </a:path>
              </a:pathLst>
            </a:custGeom>
            <a:noFill/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24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70" name="Oval 2921"/>
            <p:cNvSpPr>
              <a:spLocks noChangeArrowheads="1"/>
            </p:cNvSpPr>
            <p:nvPr/>
          </p:nvSpPr>
          <p:spPr bwMode="auto">
            <a:xfrm>
              <a:off x="4490385" y="4365104"/>
              <a:ext cx="64475" cy="68344"/>
            </a:xfrm>
            <a:prstGeom prst="ellipse">
              <a:avLst/>
            </a:prstGeom>
            <a:solidFill>
              <a:srgbClr val="C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  <p:sp>
          <p:nvSpPr>
            <p:cNvPr id="71" name="자유형 70"/>
            <p:cNvSpPr/>
            <p:nvPr/>
          </p:nvSpPr>
          <p:spPr>
            <a:xfrm>
              <a:off x="2114550" y="2965450"/>
              <a:ext cx="3067050" cy="1746250"/>
            </a:xfrm>
            <a:custGeom>
              <a:avLst/>
              <a:gdLst>
                <a:gd name="connsiteX0" fmla="*/ 0 w 3067050"/>
                <a:gd name="connsiteY0" fmla="*/ 0 h 1746250"/>
                <a:gd name="connsiteX1" fmla="*/ 44450 w 3067050"/>
                <a:gd name="connsiteY1" fmla="*/ 50800 h 1746250"/>
                <a:gd name="connsiteX2" fmla="*/ 50800 w 3067050"/>
                <a:gd name="connsiteY2" fmla="*/ 69850 h 1746250"/>
                <a:gd name="connsiteX3" fmla="*/ 76200 w 3067050"/>
                <a:gd name="connsiteY3" fmla="*/ 107950 h 1746250"/>
                <a:gd name="connsiteX4" fmla="*/ 88900 w 3067050"/>
                <a:gd name="connsiteY4" fmla="*/ 133350 h 1746250"/>
                <a:gd name="connsiteX5" fmla="*/ 114300 w 3067050"/>
                <a:gd name="connsiteY5" fmla="*/ 171450 h 1746250"/>
                <a:gd name="connsiteX6" fmla="*/ 133350 w 3067050"/>
                <a:gd name="connsiteY6" fmla="*/ 196850 h 1746250"/>
                <a:gd name="connsiteX7" fmla="*/ 146050 w 3067050"/>
                <a:gd name="connsiteY7" fmla="*/ 222250 h 1746250"/>
                <a:gd name="connsiteX8" fmla="*/ 190500 w 3067050"/>
                <a:gd name="connsiteY8" fmla="*/ 279400 h 1746250"/>
                <a:gd name="connsiteX9" fmla="*/ 209550 w 3067050"/>
                <a:gd name="connsiteY9" fmla="*/ 323850 h 1746250"/>
                <a:gd name="connsiteX10" fmla="*/ 222250 w 3067050"/>
                <a:gd name="connsiteY10" fmla="*/ 342900 h 1746250"/>
                <a:gd name="connsiteX11" fmla="*/ 247650 w 3067050"/>
                <a:gd name="connsiteY11" fmla="*/ 368300 h 1746250"/>
                <a:gd name="connsiteX12" fmla="*/ 273050 w 3067050"/>
                <a:gd name="connsiteY12" fmla="*/ 406400 h 1746250"/>
                <a:gd name="connsiteX13" fmla="*/ 317500 w 3067050"/>
                <a:gd name="connsiteY13" fmla="*/ 444500 h 1746250"/>
                <a:gd name="connsiteX14" fmla="*/ 330200 w 3067050"/>
                <a:gd name="connsiteY14" fmla="*/ 469900 h 1746250"/>
                <a:gd name="connsiteX15" fmla="*/ 361950 w 3067050"/>
                <a:gd name="connsiteY15" fmla="*/ 508000 h 1746250"/>
                <a:gd name="connsiteX16" fmla="*/ 381000 w 3067050"/>
                <a:gd name="connsiteY16" fmla="*/ 514350 h 1746250"/>
                <a:gd name="connsiteX17" fmla="*/ 406400 w 3067050"/>
                <a:gd name="connsiteY17" fmla="*/ 546100 h 1746250"/>
                <a:gd name="connsiteX18" fmla="*/ 444500 w 3067050"/>
                <a:gd name="connsiteY18" fmla="*/ 584200 h 1746250"/>
                <a:gd name="connsiteX19" fmla="*/ 469900 w 3067050"/>
                <a:gd name="connsiteY19" fmla="*/ 609600 h 1746250"/>
                <a:gd name="connsiteX20" fmla="*/ 488950 w 3067050"/>
                <a:gd name="connsiteY20" fmla="*/ 622300 h 1746250"/>
                <a:gd name="connsiteX21" fmla="*/ 501650 w 3067050"/>
                <a:gd name="connsiteY21" fmla="*/ 641350 h 1746250"/>
                <a:gd name="connsiteX22" fmla="*/ 558800 w 3067050"/>
                <a:gd name="connsiteY22" fmla="*/ 698500 h 1746250"/>
                <a:gd name="connsiteX23" fmla="*/ 584200 w 3067050"/>
                <a:gd name="connsiteY23" fmla="*/ 736600 h 1746250"/>
                <a:gd name="connsiteX24" fmla="*/ 654050 w 3067050"/>
                <a:gd name="connsiteY24" fmla="*/ 800100 h 1746250"/>
                <a:gd name="connsiteX25" fmla="*/ 673100 w 3067050"/>
                <a:gd name="connsiteY25" fmla="*/ 819150 h 1746250"/>
                <a:gd name="connsiteX26" fmla="*/ 704850 w 3067050"/>
                <a:gd name="connsiteY26" fmla="*/ 857250 h 1746250"/>
                <a:gd name="connsiteX27" fmla="*/ 730250 w 3067050"/>
                <a:gd name="connsiteY27" fmla="*/ 901700 h 1746250"/>
                <a:gd name="connsiteX28" fmla="*/ 762000 w 3067050"/>
                <a:gd name="connsiteY28" fmla="*/ 939800 h 1746250"/>
                <a:gd name="connsiteX29" fmla="*/ 781050 w 3067050"/>
                <a:gd name="connsiteY29" fmla="*/ 990600 h 1746250"/>
                <a:gd name="connsiteX30" fmla="*/ 793750 w 3067050"/>
                <a:gd name="connsiteY30" fmla="*/ 1028700 h 1746250"/>
                <a:gd name="connsiteX31" fmla="*/ 812800 w 3067050"/>
                <a:gd name="connsiteY31" fmla="*/ 1085850 h 1746250"/>
                <a:gd name="connsiteX32" fmla="*/ 819150 w 3067050"/>
                <a:gd name="connsiteY32" fmla="*/ 1104900 h 1746250"/>
                <a:gd name="connsiteX33" fmla="*/ 844550 w 3067050"/>
                <a:gd name="connsiteY33" fmla="*/ 1143000 h 1746250"/>
                <a:gd name="connsiteX34" fmla="*/ 850900 w 3067050"/>
                <a:gd name="connsiteY34" fmla="*/ 1168400 h 1746250"/>
                <a:gd name="connsiteX35" fmla="*/ 889000 w 3067050"/>
                <a:gd name="connsiteY35" fmla="*/ 1219200 h 1746250"/>
                <a:gd name="connsiteX36" fmla="*/ 933450 w 3067050"/>
                <a:gd name="connsiteY36" fmla="*/ 1276350 h 1746250"/>
                <a:gd name="connsiteX37" fmla="*/ 946150 w 3067050"/>
                <a:gd name="connsiteY37" fmla="*/ 1308100 h 1746250"/>
                <a:gd name="connsiteX38" fmla="*/ 971550 w 3067050"/>
                <a:gd name="connsiteY38" fmla="*/ 1333500 h 1746250"/>
                <a:gd name="connsiteX39" fmla="*/ 990600 w 3067050"/>
                <a:gd name="connsiteY39" fmla="*/ 1358900 h 1746250"/>
                <a:gd name="connsiteX40" fmla="*/ 1028700 w 3067050"/>
                <a:gd name="connsiteY40" fmla="*/ 1416050 h 1746250"/>
                <a:gd name="connsiteX41" fmla="*/ 1047750 w 3067050"/>
                <a:gd name="connsiteY41" fmla="*/ 1435100 h 1746250"/>
                <a:gd name="connsiteX42" fmla="*/ 1060450 w 3067050"/>
                <a:gd name="connsiteY42" fmla="*/ 1454150 h 1746250"/>
                <a:gd name="connsiteX43" fmla="*/ 1079500 w 3067050"/>
                <a:gd name="connsiteY43" fmla="*/ 1485900 h 1746250"/>
                <a:gd name="connsiteX44" fmla="*/ 1098550 w 3067050"/>
                <a:gd name="connsiteY44" fmla="*/ 1498600 h 1746250"/>
                <a:gd name="connsiteX45" fmla="*/ 1219200 w 3067050"/>
                <a:gd name="connsiteY45" fmla="*/ 1568450 h 1746250"/>
                <a:gd name="connsiteX46" fmla="*/ 1270000 w 3067050"/>
                <a:gd name="connsiteY46" fmla="*/ 1593850 h 1746250"/>
                <a:gd name="connsiteX47" fmla="*/ 1314450 w 3067050"/>
                <a:gd name="connsiteY47" fmla="*/ 1606550 h 1746250"/>
                <a:gd name="connsiteX48" fmla="*/ 1384300 w 3067050"/>
                <a:gd name="connsiteY48" fmla="*/ 1625600 h 1746250"/>
                <a:gd name="connsiteX49" fmla="*/ 1511300 w 3067050"/>
                <a:gd name="connsiteY49" fmla="*/ 1631950 h 1746250"/>
                <a:gd name="connsiteX50" fmla="*/ 1536700 w 3067050"/>
                <a:gd name="connsiteY50" fmla="*/ 1638300 h 1746250"/>
                <a:gd name="connsiteX51" fmla="*/ 1631950 w 3067050"/>
                <a:gd name="connsiteY51" fmla="*/ 1651000 h 1746250"/>
                <a:gd name="connsiteX52" fmla="*/ 1670050 w 3067050"/>
                <a:gd name="connsiteY52" fmla="*/ 1663700 h 1746250"/>
                <a:gd name="connsiteX53" fmla="*/ 1714500 w 3067050"/>
                <a:gd name="connsiteY53" fmla="*/ 1682750 h 1746250"/>
                <a:gd name="connsiteX54" fmla="*/ 1746250 w 3067050"/>
                <a:gd name="connsiteY54" fmla="*/ 1689100 h 1746250"/>
                <a:gd name="connsiteX55" fmla="*/ 1765300 w 3067050"/>
                <a:gd name="connsiteY55" fmla="*/ 1695450 h 1746250"/>
                <a:gd name="connsiteX56" fmla="*/ 1790700 w 3067050"/>
                <a:gd name="connsiteY56" fmla="*/ 1701800 h 1746250"/>
                <a:gd name="connsiteX57" fmla="*/ 1828800 w 3067050"/>
                <a:gd name="connsiteY57" fmla="*/ 1714500 h 1746250"/>
                <a:gd name="connsiteX58" fmla="*/ 1885950 w 3067050"/>
                <a:gd name="connsiteY58" fmla="*/ 1727200 h 1746250"/>
                <a:gd name="connsiteX59" fmla="*/ 1936750 w 3067050"/>
                <a:gd name="connsiteY59" fmla="*/ 1739900 h 1746250"/>
                <a:gd name="connsiteX60" fmla="*/ 1987550 w 3067050"/>
                <a:gd name="connsiteY60" fmla="*/ 1746250 h 1746250"/>
                <a:gd name="connsiteX61" fmla="*/ 2025650 w 3067050"/>
                <a:gd name="connsiteY61" fmla="*/ 1739900 h 1746250"/>
                <a:gd name="connsiteX62" fmla="*/ 2044700 w 3067050"/>
                <a:gd name="connsiteY62" fmla="*/ 1720850 h 1746250"/>
                <a:gd name="connsiteX63" fmla="*/ 2101850 w 3067050"/>
                <a:gd name="connsiteY63" fmla="*/ 1657350 h 1746250"/>
                <a:gd name="connsiteX64" fmla="*/ 2266950 w 3067050"/>
                <a:gd name="connsiteY64" fmla="*/ 1593850 h 1746250"/>
                <a:gd name="connsiteX65" fmla="*/ 2286000 w 3067050"/>
                <a:gd name="connsiteY65" fmla="*/ 1581150 h 1746250"/>
                <a:gd name="connsiteX66" fmla="*/ 2292350 w 3067050"/>
                <a:gd name="connsiteY66" fmla="*/ 1555750 h 1746250"/>
                <a:gd name="connsiteX67" fmla="*/ 2286000 w 3067050"/>
                <a:gd name="connsiteY67" fmla="*/ 1504950 h 1746250"/>
                <a:gd name="connsiteX68" fmla="*/ 2273300 w 3067050"/>
                <a:gd name="connsiteY68" fmla="*/ 1447800 h 1746250"/>
                <a:gd name="connsiteX69" fmla="*/ 2311400 w 3067050"/>
                <a:gd name="connsiteY69" fmla="*/ 1409700 h 1746250"/>
                <a:gd name="connsiteX70" fmla="*/ 2317750 w 3067050"/>
                <a:gd name="connsiteY70" fmla="*/ 1384300 h 1746250"/>
                <a:gd name="connsiteX71" fmla="*/ 2330450 w 3067050"/>
                <a:gd name="connsiteY71" fmla="*/ 1301750 h 1746250"/>
                <a:gd name="connsiteX72" fmla="*/ 2349500 w 3067050"/>
                <a:gd name="connsiteY72" fmla="*/ 1282700 h 1746250"/>
                <a:gd name="connsiteX73" fmla="*/ 2355850 w 3067050"/>
                <a:gd name="connsiteY73" fmla="*/ 1257300 h 1746250"/>
                <a:gd name="connsiteX74" fmla="*/ 2374900 w 3067050"/>
                <a:gd name="connsiteY74" fmla="*/ 1238250 h 1746250"/>
                <a:gd name="connsiteX75" fmla="*/ 2400300 w 3067050"/>
                <a:gd name="connsiteY75" fmla="*/ 1136650 h 1746250"/>
                <a:gd name="connsiteX76" fmla="*/ 2470150 w 3067050"/>
                <a:gd name="connsiteY76" fmla="*/ 1079500 h 1746250"/>
                <a:gd name="connsiteX77" fmla="*/ 2508250 w 3067050"/>
                <a:gd name="connsiteY77" fmla="*/ 1047750 h 1746250"/>
                <a:gd name="connsiteX78" fmla="*/ 2571750 w 3067050"/>
                <a:gd name="connsiteY78" fmla="*/ 1009650 h 1746250"/>
                <a:gd name="connsiteX79" fmla="*/ 2597150 w 3067050"/>
                <a:gd name="connsiteY79" fmla="*/ 939800 h 1746250"/>
                <a:gd name="connsiteX80" fmla="*/ 2647950 w 3067050"/>
                <a:gd name="connsiteY80" fmla="*/ 901700 h 1746250"/>
                <a:gd name="connsiteX81" fmla="*/ 2686050 w 3067050"/>
                <a:gd name="connsiteY81" fmla="*/ 876300 h 1746250"/>
                <a:gd name="connsiteX82" fmla="*/ 2743200 w 3067050"/>
                <a:gd name="connsiteY82" fmla="*/ 844550 h 1746250"/>
                <a:gd name="connsiteX83" fmla="*/ 2762250 w 3067050"/>
                <a:gd name="connsiteY83" fmla="*/ 825500 h 1746250"/>
                <a:gd name="connsiteX84" fmla="*/ 2794000 w 3067050"/>
                <a:gd name="connsiteY84" fmla="*/ 800100 h 1746250"/>
                <a:gd name="connsiteX85" fmla="*/ 2819400 w 3067050"/>
                <a:gd name="connsiteY85" fmla="*/ 774700 h 1746250"/>
                <a:gd name="connsiteX86" fmla="*/ 2857500 w 3067050"/>
                <a:gd name="connsiteY86" fmla="*/ 762000 h 1746250"/>
                <a:gd name="connsiteX87" fmla="*/ 2901950 w 3067050"/>
                <a:gd name="connsiteY87" fmla="*/ 730250 h 1746250"/>
                <a:gd name="connsiteX88" fmla="*/ 2946400 w 3067050"/>
                <a:gd name="connsiteY88" fmla="*/ 717550 h 1746250"/>
                <a:gd name="connsiteX89" fmla="*/ 2984500 w 3067050"/>
                <a:gd name="connsiteY89" fmla="*/ 698500 h 1746250"/>
                <a:gd name="connsiteX90" fmla="*/ 3041650 w 3067050"/>
                <a:gd name="connsiteY90" fmla="*/ 685800 h 1746250"/>
                <a:gd name="connsiteX91" fmla="*/ 3067050 w 3067050"/>
                <a:gd name="connsiteY91" fmla="*/ 679450 h 174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067050" h="1746250">
                  <a:moveTo>
                    <a:pt x="0" y="0"/>
                  </a:moveTo>
                  <a:cubicBezTo>
                    <a:pt x="14817" y="16933"/>
                    <a:pt x="31216" y="32603"/>
                    <a:pt x="44450" y="50800"/>
                  </a:cubicBezTo>
                  <a:cubicBezTo>
                    <a:pt x="48387" y="56213"/>
                    <a:pt x="47549" y="63999"/>
                    <a:pt x="50800" y="69850"/>
                  </a:cubicBezTo>
                  <a:cubicBezTo>
                    <a:pt x="58213" y="83193"/>
                    <a:pt x="69374" y="94298"/>
                    <a:pt x="76200" y="107950"/>
                  </a:cubicBezTo>
                  <a:cubicBezTo>
                    <a:pt x="80433" y="116417"/>
                    <a:pt x="84030" y="125233"/>
                    <a:pt x="88900" y="133350"/>
                  </a:cubicBezTo>
                  <a:cubicBezTo>
                    <a:pt x="96753" y="146438"/>
                    <a:pt x="105142" y="159239"/>
                    <a:pt x="114300" y="171450"/>
                  </a:cubicBezTo>
                  <a:cubicBezTo>
                    <a:pt x="120650" y="179917"/>
                    <a:pt x="127741" y="187875"/>
                    <a:pt x="133350" y="196850"/>
                  </a:cubicBezTo>
                  <a:cubicBezTo>
                    <a:pt x="138367" y="204877"/>
                    <a:pt x="141180" y="214133"/>
                    <a:pt x="146050" y="222250"/>
                  </a:cubicBezTo>
                  <a:cubicBezTo>
                    <a:pt x="168836" y="260227"/>
                    <a:pt x="165126" y="254026"/>
                    <a:pt x="190500" y="279400"/>
                  </a:cubicBezTo>
                  <a:cubicBezTo>
                    <a:pt x="197624" y="300772"/>
                    <a:pt x="196995" y="301879"/>
                    <a:pt x="209550" y="323850"/>
                  </a:cubicBezTo>
                  <a:cubicBezTo>
                    <a:pt x="213336" y="330476"/>
                    <a:pt x="217283" y="337106"/>
                    <a:pt x="222250" y="342900"/>
                  </a:cubicBezTo>
                  <a:cubicBezTo>
                    <a:pt x="230042" y="351991"/>
                    <a:pt x="240170" y="358950"/>
                    <a:pt x="247650" y="368300"/>
                  </a:cubicBezTo>
                  <a:cubicBezTo>
                    <a:pt x="257185" y="380219"/>
                    <a:pt x="260839" y="397242"/>
                    <a:pt x="273050" y="406400"/>
                  </a:cubicBezTo>
                  <a:cubicBezTo>
                    <a:pt x="286391" y="416406"/>
                    <a:pt x="307295" y="430213"/>
                    <a:pt x="317500" y="444500"/>
                  </a:cubicBezTo>
                  <a:cubicBezTo>
                    <a:pt x="323002" y="452203"/>
                    <a:pt x="325504" y="461681"/>
                    <a:pt x="330200" y="469900"/>
                  </a:cubicBezTo>
                  <a:cubicBezTo>
                    <a:pt x="337409" y="482515"/>
                    <a:pt x="349827" y="499918"/>
                    <a:pt x="361950" y="508000"/>
                  </a:cubicBezTo>
                  <a:cubicBezTo>
                    <a:pt x="367519" y="511713"/>
                    <a:pt x="374650" y="512233"/>
                    <a:pt x="381000" y="514350"/>
                  </a:cubicBezTo>
                  <a:cubicBezTo>
                    <a:pt x="392036" y="547459"/>
                    <a:pt x="379189" y="521913"/>
                    <a:pt x="406400" y="546100"/>
                  </a:cubicBezTo>
                  <a:cubicBezTo>
                    <a:pt x="419824" y="558032"/>
                    <a:pt x="431800" y="571500"/>
                    <a:pt x="444500" y="584200"/>
                  </a:cubicBezTo>
                  <a:cubicBezTo>
                    <a:pt x="452967" y="592667"/>
                    <a:pt x="459937" y="602958"/>
                    <a:pt x="469900" y="609600"/>
                  </a:cubicBezTo>
                  <a:lnTo>
                    <a:pt x="488950" y="622300"/>
                  </a:lnTo>
                  <a:cubicBezTo>
                    <a:pt x="493183" y="628650"/>
                    <a:pt x="496493" y="635724"/>
                    <a:pt x="501650" y="641350"/>
                  </a:cubicBezTo>
                  <a:cubicBezTo>
                    <a:pt x="519855" y="661209"/>
                    <a:pt x="543856" y="676084"/>
                    <a:pt x="558800" y="698500"/>
                  </a:cubicBezTo>
                  <a:cubicBezTo>
                    <a:pt x="567267" y="711200"/>
                    <a:pt x="571989" y="727442"/>
                    <a:pt x="584200" y="736600"/>
                  </a:cubicBezTo>
                  <a:cubicBezTo>
                    <a:pt x="626363" y="768222"/>
                    <a:pt x="602116" y="748166"/>
                    <a:pt x="654050" y="800100"/>
                  </a:cubicBezTo>
                  <a:cubicBezTo>
                    <a:pt x="660400" y="806450"/>
                    <a:pt x="668119" y="811678"/>
                    <a:pt x="673100" y="819150"/>
                  </a:cubicBezTo>
                  <a:cubicBezTo>
                    <a:pt x="704632" y="866448"/>
                    <a:pt x="664106" y="808357"/>
                    <a:pt x="704850" y="857250"/>
                  </a:cubicBezTo>
                  <a:cubicBezTo>
                    <a:pt x="734847" y="893246"/>
                    <a:pt x="699196" y="858224"/>
                    <a:pt x="730250" y="901700"/>
                  </a:cubicBezTo>
                  <a:cubicBezTo>
                    <a:pt x="767774" y="954234"/>
                    <a:pt x="733205" y="889408"/>
                    <a:pt x="762000" y="939800"/>
                  </a:cubicBezTo>
                  <a:cubicBezTo>
                    <a:pt x="779930" y="971177"/>
                    <a:pt x="771181" y="957702"/>
                    <a:pt x="781050" y="990600"/>
                  </a:cubicBezTo>
                  <a:cubicBezTo>
                    <a:pt x="784897" y="1003422"/>
                    <a:pt x="789517" y="1016000"/>
                    <a:pt x="793750" y="1028700"/>
                  </a:cubicBezTo>
                  <a:lnTo>
                    <a:pt x="812800" y="1085850"/>
                  </a:lnTo>
                  <a:cubicBezTo>
                    <a:pt x="814917" y="1092200"/>
                    <a:pt x="815437" y="1099331"/>
                    <a:pt x="819150" y="1104900"/>
                  </a:cubicBezTo>
                  <a:lnTo>
                    <a:pt x="844550" y="1143000"/>
                  </a:lnTo>
                  <a:cubicBezTo>
                    <a:pt x="846667" y="1151467"/>
                    <a:pt x="847462" y="1160378"/>
                    <a:pt x="850900" y="1168400"/>
                  </a:cubicBezTo>
                  <a:cubicBezTo>
                    <a:pt x="855437" y="1178985"/>
                    <a:pt x="886681" y="1216550"/>
                    <a:pt x="889000" y="1219200"/>
                  </a:cubicBezTo>
                  <a:cubicBezTo>
                    <a:pt x="908813" y="1241844"/>
                    <a:pt x="920116" y="1243014"/>
                    <a:pt x="933450" y="1276350"/>
                  </a:cubicBezTo>
                  <a:cubicBezTo>
                    <a:pt x="937683" y="1286933"/>
                    <a:pt x="939827" y="1298616"/>
                    <a:pt x="946150" y="1308100"/>
                  </a:cubicBezTo>
                  <a:cubicBezTo>
                    <a:pt x="952792" y="1318063"/>
                    <a:pt x="963665" y="1324489"/>
                    <a:pt x="971550" y="1333500"/>
                  </a:cubicBezTo>
                  <a:cubicBezTo>
                    <a:pt x="978519" y="1341465"/>
                    <a:pt x="984729" y="1350094"/>
                    <a:pt x="990600" y="1358900"/>
                  </a:cubicBezTo>
                  <a:cubicBezTo>
                    <a:pt x="1011917" y="1390875"/>
                    <a:pt x="1004970" y="1388365"/>
                    <a:pt x="1028700" y="1416050"/>
                  </a:cubicBezTo>
                  <a:cubicBezTo>
                    <a:pt x="1034544" y="1422868"/>
                    <a:pt x="1042001" y="1428201"/>
                    <a:pt x="1047750" y="1435100"/>
                  </a:cubicBezTo>
                  <a:cubicBezTo>
                    <a:pt x="1052636" y="1440963"/>
                    <a:pt x="1056405" y="1447678"/>
                    <a:pt x="1060450" y="1454150"/>
                  </a:cubicBezTo>
                  <a:cubicBezTo>
                    <a:pt x="1066991" y="1464616"/>
                    <a:pt x="1071468" y="1476529"/>
                    <a:pt x="1079500" y="1485900"/>
                  </a:cubicBezTo>
                  <a:cubicBezTo>
                    <a:pt x="1084467" y="1491694"/>
                    <a:pt x="1092445" y="1494021"/>
                    <a:pt x="1098550" y="1498600"/>
                  </a:cubicBezTo>
                  <a:cubicBezTo>
                    <a:pt x="1179659" y="1559432"/>
                    <a:pt x="1127659" y="1531834"/>
                    <a:pt x="1219200" y="1568450"/>
                  </a:cubicBezTo>
                  <a:cubicBezTo>
                    <a:pt x="1329066" y="1612396"/>
                    <a:pt x="1193909" y="1555804"/>
                    <a:pt x="1270000" y="1593850"/>
                  </a:cubicBezTo>
                  <a:cubicBezTo>
                    <a:pt x="1280670" y="1599185"/>
                    <a:pt x="1304277" y="1603498"/>
                    <a:pt x="1314450" y="1606550"/>
                  </a:cubicBezTo>
                  <a:cubicBezTo>
                    <a:pt x="1339751" y="1614140"/>
                    <a:pt x="1357996" y="1623496"/>
                    <a:pt x="1384300" y="1625600"/>
                  </a:cubicBezTo>
                  <a:cubicBezTo>
                    <a:pt x="1426551" y="1628980"/>
                    <a:pt x="1468967" y="1629833"/>
                    <a:pt x="1511300" y="1631950"/>
                  </a:cubicBezTo>
                  <a:cubicBezTo>
                    <a:pt x="1519767" y="1634067"/>
                    <a:pt x="1528114" y="1636739"/>
                    <a:pt x="1536700" y="1638300"/>
                  </a:cubicBezTo>
                  <a:cubicBezTo>
                    <a:pt x="1555979" y="1641805"/>
                    <a:pt x="1614259" y="1648789"/>
                    <a:pt x="1631950" y="1651000"/>
                  </a:cubicBezTo>
                  <a:cubicBezTo>
                    <a:pt x="1644650" y="1655233"/>
                    <a:pt x="1658076" y="1657713"/>
                    <a:pt x="1670050" y="1663700"/>
                  </a:cubicBezTo>
                  <a:cubicBezTo>
                    <a:pt x="1688223" y="1672787"/>
                    <a:pt x="1695813" y="1678078"/>
                    <a:pt x="1714500" y="1682750"/>
                  </a:cubicBezTo>
                  <a:cubicBezTo>
                    <a:pt x="1724971" y="1685368"/>
                    <a:pt x="1735779" y="1686482"/>
                    <a:pt x="1746250" y="1689100"/>
                  </a:cubicBezTo>
                  <a:cubicBezTo>
                    <a:pt x="1752744" y="1690723"/>
                    <a:pt x="1758864" y="1693611"/>
                    <a:pt x="1765300" y="1695450"/>
                  </a:cubicBezTo>
                  <a:cubicBezTo>
                    <a:pt x="1773691" y="1697848"/>
                    <a:pt x="1782341" y="1699292"/>
                    <a:pt x="1790700" y="1701800"/>
                  </a:cubicBezTo>
                  <a:cubicBezTo>
                    <a:pt x="1803522" y="1705647"/>
                    <a:pt x="1815813" y="1711253"/>
                    <a:pt x="1828800" y="1714500"/>
                  </a:cubicBezTo>
                  <a:cubicBezTo>
                    <a:pt x="1916820" y="1736505"/>
                    <a:pt x="1781150" y="1703015"/>
                    <a:pt x="1885950" y="1727200"/>
                  </a:cubicBezTo>
                  <a:cubicBezTo>
                    <a:pt x="1902957" y="1731125"/>
                    <a:pt x="1919430" y="1737735"/>
                    <a:pt x="1936750" y="1739900"/>
                  </a:cubicBezTo>
                  <a:lnTo>
                    <a:pt x="1987550" y="1746250"/>
                  </a:lnTo>
                  <a:cubicBezTo>
                    <a:pt x="2000250" y="1744133"/>
                    <a:pt x="2013885" y="1745129"/>
                    <a:pt x="2025650" y="1739900"/>
                  </a:cubicBezTo>
                  <a:cubicBezTo>
                    <a:pt x="2033856" y="1736253"/>
                    <a:pt x="2039187" y="1727939"/>
                    <a:pt x="2044700" y="1720850"/>
                  </a:cubicBezTo>
                  <a:cubicBezTo>
                    <a:pt x="2065218" y="1694470"/>
                    <a:pt x="2069192" y="1671865"/>
                    <a:pt x="2101850" y="1657350"/>
                  </a:cubicBezTo>
                  <a:cubicBezTo>
                    <a:pt x="2139727" y="1640516"/>
                    <a:pt x="2218383" y="1621603"/>
                    <a:pt x="2266950" y="1593850"/>
                  </a:cubicBezTo>
                  <a:cubicBezTo>
                    <a:pt x="2273576" y="1590064"/>
                    <a:pt x="2279650" y="1585383"/>
                    <a:pt x="2286000" y="1581150"/>
                  </a:cubicBezTo>
                  <a:cubicBezTo>
                    <a:pt x="2288117" y="1572683"/>
                    <a:pt x="2292350" y="1564477"/>
                    <a:pt x="2292350" y="1555750"/>
                  </a:cubicBezTo>
                  <a:cubicBezTo>
                    <a:pt x="2292350" y="1538685"/>
                    <a:pt x="2288595" y="1521817"/>
                    <a:pt x="2286000" y="1504950"/>
                  </a:cubicBezTo>
                  <a:cubicBezTo>
                    <a:pt x="2282775" y="1483990"/>
                    <a:pt x="2278356" y="1468026"/>
                    <a:pt x="2273300" y="1447800"/>
                  </a:cubicBezTo>
                  <a:cubicBezTo>
                    <a:pt x="2286000" y="1435100"/>
                    <a:pt x="2307044" y="1427124"/>
                    <a:pt x="2311400" y="1409700"/>
                  </a:cubicBezTo>
                  <a:cubicBezTo>
                    <a:pt x="2313517" y="1401233"/>
                    <a:pt x="2316233" y="1392894"/>
                    <a:pt x="2317750" y="1384300"/>
                  </a:cubicBezTo>
                  <a:cubicBezTo>
                    <a:pt x="2322588" y="1356883"/>
                    <a:pt x="2322146" y="1328323"/>
                    <a:pt x="2330450" y="1301750"/>
                  </a:cubicBezTo>
                  <a:cubicBezTo>
                    <a:pt x="2333129" y="1293179"/>
                    <a:pt x="2343150" y="1289050"/>
                    <a:pt x="2349500" y="1282700"/>
                  </a:cubicBezTo>
                  <a:cubicBezTo>
                    <a:pt x="2351617" y="1274233"/>
                    <a:pt x="2351520" y="1264877"/>
                    <a:pt x="2355850" y="1257300"/>
                  </a:cubicBezTo>
                  <a:cubicBezTo>
                    <a:pt x="2360305" y="1249503"/>
                    <a:pt x="2371795" y="1246677"/>
                    <a:pt x="2374900" y="1238250"/>
                  </a:cubicBezTo>
                  <a:cubicBezTo>
                    <a:pt x="2386968" y="1205493"/>
                    <a:pt x="2385855" y="1168430"/>
                    <a:pt x="2400300" y="1136650"/>
                  </a:cubicBezTo>
                  <a:cubicBezTo>
                    <a:pt x="2414901" y="1104527"/>
                    <a:pt x="2445144" y="1097686"/>
                    <a:pt x="2470150" y="1079500"/>
                  </a:cubicBezTo>
                  <a:cubicBezTo>
                    <a:pt x="2483520" y="1069777"/>
                    <a:pt x="2495025" y="1057669"/>
                    <a:pt x="2508250" y="1047750"/>
                  </a:cubicBezTo>
                  <a:cubicBezTo>
                    <a:pt x="2538901" y="1024762"/>
                    <a:pt x="2542202" y="1024424"/>
                    <a:pt x="2571750" y="1009650"/>
                  </a:cubicBezTo>
                  <a:cubicBezTo>
                    <a:pt x="2577427" y="992619"/>
                    <a:pt x="2593020" y="945056"/>
                    <a:pt x="2597150" y="939800"/>
                  </a:cubicBezTo>
                  <a:cubicBezTo>
                    <a:pt x="2610227" y="923156"/>
                    <a:pt x="2630726" y="914003"/>
                    <a:pt x="2647950" y="901700"/>
                  </a:cubicBezTo>
                  <a:cubicBezTo>
                    <a:pt x="2660370" y="892828"/>
                    <a:pt x="2672962" y="884153"/>
                    <a:pt x="2686050" y="876300"/>
                  </a:cubicBezTo>
                  <a:cubicBezTo>
                    <a:pt x="2716205" y="858207"/>
                    <a:pt x="2711526" y="868305"/>
                    <a:pt x="2743200" y="844550"/>
                  </a:cubicBezTo>
                  <a:cubicBezTo>
                    <a:pt x="2750384" y="839162"/>
                    <a:pt x="2755492" y="831414"/>
                    <a:pt x="2762250" y="825500"/>
                  </a:cubicBezTo>
                  <a:cubicBezTo>
                    <a:pt x="2772450" y="816575"/>
                    <a:pt x="2783870" y="809104"/>
                    <a:pt x="2794000" y="800100"/>
                  </a:cubicBezTo>
                  <a:cubicBezTo>
                    <a:pt x="2802949" y="792145"/>
                    <a:pt x="2809133" y="780860"/>
                    <a:pt x="2819400" y="774700"/>
                  </a:cubicBezTo>
                  <a:cubicBezTo>
                    <a:pt x="2830879" y="767812"/>
                    <a:pt x="2844800" y="766233"/>
                    <a:pt x="2857500" y="762000"/>
                  </a:cubicBezTo>
                  <a:cubicBezTo>
                    <a:pt x="2863253" y="757686"/>
                    <a:pt x="2892665" y="734893"/>
                    <a:pt x="2901950" y="730250"/>
                  </a:cubicBezTo>
                  <a:cubicBezTo>
                    <a:pt x="2920422" y="721014"/>
                    <a:pt x="2926055" y="725688"/>
                    <a:pt x="2946400" y="717550"/>
                  </a:cubicBezTo>
                  <a:cubicBezTo>
                    <a:pt x="2959583" y="712277"/>
                    <a:pt x="2971525" y="704267"/>
                    <a:pt x="2984500" y="698500"/>
                  </a:cubicBezTo>
                  <a:cubicBezTo>
                    <a:pt x="3005942" y="688970"/>
                    <a:pt x="3015841" y="691535"/>
                    <a:pt x="3041650" y="685800"/>
                  </a:cubicBezTo>
                  <a:cubicBezTo>
                    <a:pt x="3073237" y="678781"/>
                    <a:pt x="3050677" y="679450"/>
                    <a:pt x="3067050" y="679450"/>
                  </a:cubicBezTo>
                </a:path>
              </a:pathLst>
            </a:custGeom>
            <a:noFill/>
            <a:ln w="28575">
              <a:solidFill>
                <a:srgbClr val="FFB600"/>
              </a:solidFill>
              <a:prstDash val="lgDash"/>
            </a:ln>
            <a:effectLst/>
          </p:spPr>
          <p:txBody>
            <a:bodyPr rtlCol="0" anchor="ctr"/>
            <a:lstStyle/>
            <a:p>
              <a:pPr marL="0" marR="0" lvl="0" indent="0" algn="ctr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24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72" name="자유형 71"/>
            <p:cNvSpPr/>
            <p:nvPr/>
          </p:nvSpPr>
          <p:spPr>
            <a:xfrm>
              <a:off x="2120900" y="2965450"/>
              <a:ext cx="3029511" cy="1752600"/>
            </a:xfrm>
            <a:custGeom>
              <a:avLst/>
              <a:gdLst>
                <a:gd name="connsiteX0" fmla="*/ 0 w 3029511"/>
                <a:gd name="connsiteY0" fmla="*/ 0 h 1752600"/>
                <a:gd name="connsiteX1" fmla="*/ 31750 w 3029511"/>
                <a:gd name="connsiteY1" fmla="*/ 76200 h 1752600"/>
                <a:gd name="connsiteX2" fmla="*/ 63500 w 3029511"/>
                <a:gd name="connsiteY2" fmla="*/ 120650 h 1752600"/>
                <a:gd name="connsiteX3" fmla="*/ 76200 w 3029511"/>
                <a:gd name="connsiteY3" fmla="*/ 146050 h 1752600"/>
                <a:gd name="connsiteX4" fmla="*/ 120650 w 3029511"/>
                <a:gd name="connsiteY4" fmla="*/ 190500 h 1752600"/>
                <a:gd name="connsiteX5" fmla="*/ 158750 w 3029511"/>
                <a:gd name="connsiteY5" fmla="*/ 234950 h 1752600"/>
                <a:gd name="connsiteX6" fmla="*/ 234950 w 3029511"/>
                <a:gd name="connsiteY6" fmla="*/ 330200 h 1752600"/>
                <a:gd name="connsiteX7" fmla="*/ 285750 w 3029511"/>
                <a:gd name="connsiteY7" fmla="*/ 393700 h 1752600"/>
                <a:gd name="connsiteX8" fmla="*/ 304800 w 3029511"/>
                <a:gd name="connsiteY8" fmla="*/ 425450 h 1752600"/>
                <a:gd name="connsiteX9" fmla="*/ 330200 w 3029511"/>
                <a:gd name="connsiteY9" fmla="*/ 438150 h 1752600"/>
                <a:gd name="connsiteX10" fmla="*/ 368300 w 3029511"/>
                <a:gd name="connsiteY10" fmla="*/ 482600 h 1752600"/>
                <a:gd name="connsiteX11" fmla="*/ 393700 w 3029511"/>
                <a:gd name="connsiteY11" fmla="*/ 508000 h 1752600"/>
                <a:gd name="connsiteX12" fmla="*/ 438150 w 3029511"/>
                <a:gd name="connsiteY12" fmla="*/ 539750 h 1752600"/>
                <a:gd name="connsiteX13" fmla="*/ 450850 w 3029511"/>
                <a:gd name="connsiteY13" fmla="*/ 558800 h 1752600"/>
                <a:gd name="connsiteX14" fmla="*/ 469900 w 3029511"/>
                <a:gd name="connsiteY14" fmla="*/ 571500 h 1752600"/>
                <a:gd name="connsiteX15" fmla="*/ 495300 w 3029511"/>
                <a:gd name="connsiteY15" fmla="*/ 590550 h 1752600"/>
                <a:gd name="connsiteX16" fmla="*/ 527050 w 3029511"/>
                <a:gd name="connsiteY16" fmla="*/ 615950 h 1752600"/>
                <a:gd name="connsiteX17" fmla="*/ 539750 w 3029511"/>
                <a:gd name="connsiteY17" fmla="*/ 635000 h 1752600"/>
                <a:gd name="connsiteX18" fmla="*/ 584200 w 3029511"/>
                <a:gd name="connsiteY18" fmla="*/ 666750 h 1752600"/>
                <a:gd name="connsiteX19" fmla="*/ 609600 w 3029511"/>
                <a:gd name="connsiteY19" fmla="*/ 704850 h 1752600"/>
                <a:gd name="connsiteX20" fmla="*/ 660400 w 3029511"/>
                <a:gd name="connsiteY20" fmla="*/ 768350 h 1752600"/>
                <a:gd name="connsiteX21" fmla="*/ 679450 w 3029511"/>
                <a:gd name="connsiteY21" fmla="*/ 793750 h 1752600"/>
                <a:gd name="connsiteX22" fmla="*/ 692150 w 3029511"/>
                <a:gd name="connsiteY22" fmla="*/ 812800 h 1752600"/>
                <a:gd name="connsiteX23" fmla="*/ 711200 w 3029511"/>
                <a:gd name="connsiteY23" fmla="*/ 844550 h 1752600"/>
                <a:gd name="connsiteX24" fmla="*/ 730250 w 3029511"/>
                <a:gd name="connsiteY24" fmla="*/ 857250 h 1752600"/>
                <a:gd name="connsiteX25" fmla="*/ 742950 w 3029511"/>
                <a:gd name="connsiteY25" fmla="*/ 882650 h 1752600"/>
                <a:gd name="connsiteX26" fmla="*/ 762000 w 3029511"/>
                <a:gd name="connsiteY26" fmla="*/ 901700 h 1752600"/>
                <a:gd name="connsiteX27" fmla="*/ 768350 w 3029511"/>
                <a:gd name="connsiteY27" fmla="*/ 927100 h 1752600"/>
                <a:gd name="connsiteX28" fmla="*/ 787400 w 3029511"/>
                <a:gd name="connsiteY28" fmla="*/ 996950 h 1752600"/>
                <a:gd name="connsiteX29" fmla="*/ 774700 w 3029511"/>
                <a:gd name="connsiteY29" fmla="*/ 1250950 h 1752600"/>
                <a:gd name="connsiteX30" fmla="*/ 768350 w 3029511"/>
                <a:gd name="connsiteY30" fmla="*/ 1276350 h 1752600"/>
                <a:gd name="connsiteX31" fmla="*/ 762000 w 3029511"/>
                <a:gd name="connsiteY31" fmla="*/ 1384300 h 1752600"/>
                <a:gd name="connsiteX32" fmla="*/ 755650 w 3029511"/>
                <a:gd name="connsiteY32" fmla="*/ 1409700 h 1752600"/>
                <a:gd name="connsiteX33" fmla="*/ 723900 w 3029511"/>
                <a:gd name="connsiteY33" fmla="*/ 1454150 h 1752600"/>
                <a:gd name="connsiteX34" fmla="*/ 704850 w 3029511"/>
                <a:gd name="connsiteY34" fmla="*/ 1466850 h 1752600"/>
                <a:gd name="connsiteX35" fmla="*/ 679450 w 3029511"/>
                <a:gd name="connsiteY35" fmla="*/ 1524000 h 1752600"/>
                <a:gd name="connsiteX36" fmla="*/ 685800 w 3029511"/>
                <a:gd name="connsiteY36" fmla="*/ 1587500 h 1752600"/>
                <a:gd name="connsiteX37" fmla="*/ 717550 w 3029511"/>
                <a:gd name="connsiteY37" fmla="*/ 1625600 h 1752600"/>
                <a:gd name="connsiteX38" fmla="*/ 736600 w 3029511"/>
                <a:gd name="connsiteY38" fmla="*/ 1631950 h 1752600"/>
                <a:gd name="connsiteX39" fmla="*/ 762000 w 3029511"/>
                <a:gd name="connsiteY39" fmla="*/ 1651000 h 1752600"/>
                <a:gd name="connsiteX40" fmla="*/ 882650 w 3029511"/>
                <a:gd name="connsiteY40" fmla="*/ 1670050 h 1752600"/>
                <a:gd name="connsiteX41" fmla="*/ 977900 w 3029511"/>
                <a:gd name="connsiteY41" fmla="*/ 1689100 h 1752600"/>
                <a:gd name="connsiteX42" fmla="*/ 1009650 w 3029511"/>
                <a:gd name="connsiteY42" fmla="*/ 1695450 h 1752600"/>
                <a:gd name="connsiteX43" fmla="*/ 1098550 w 3029511"/>
                <a:gd name="connsiteY43" fmla="*/ 1701800 h 1752600"/>
                <a:gd name="connsiteX44" fmla="*/ 1117600 w 3029511"/>
                <a:gd name="connsiteY44" fmla="*/ 1708150 h 1752600"/>
                <a:gd name="connsiteX45" fmla="*/ 1212850 w 3029511"/>
                <a:gd name="connsiteY45" fmla="*/ 1720850 h 1752600"/>
                <a:gd name="connsiteX46" fmla="*/ 1263650 w 3029511"/>
                <a:gd name="connsiteY46" fmla="*/ 1733550 h 1752600"/>
                <a:gd name="connsiteX47" fmla="*/ 1320800 w 3029511"/>
                <a:gd name="connsiteY47" fmla="*/ 1739900 h 1752600"/>
                <a:gd name="connsiteX48" fmla="*/ 1358900 w 3029511"/>
                <a:gd name="connsiteY48" fmla="*/ 1746250 h 1752600"/>
                <a:gd name="connsiteX49" fmla="*/ 1752600 w 3029511"/>
                <a:gd name="connsiteY49" fmla="*/ 1752600 h 1752600"/>
                <a:gd name="connsiteX50" fmla="*/ 1993900 w 3029511"/>
                <a:gd name="connsiteY50" fmla="*/ 1746250 h 1752600"/>
                <a:gd name="connsiteX51" fmla="*/ 2025650 w 3029511"/>
                <a:gd name="connsiteY51" fmla="*/ 1739900 h 1752600"/>
                <a:gd name="connsiteX52" fmla="*/ 2082800 w 3029511"/>
                <a:gd name="connsiteY52" fmla="*/ 1733550 h 1752600"/>
                <a:gd name="connsiteX53" fmla="*/ 2120900 w 3029511"/>
                <a:gd name="connsiteY53" fmla="*/ 1727200 h 1752600"/>
                <a:gd name="connsiteX54" fmla="*/ 2178050 w 3029511"/>
                <a:gd name="connsiteY54" fmla="*/ 1714500 h 1752600"/>
                <a:gd name="connsiteX55" fmla="*/ 2197100 w 3029511"/>
                <a:gd name="connsiteY55" fmla="*/ 1708150 h 1752600"/>
                <a:gd name="connsiteX56" fmla="*/ 2273300 w 3029511"/>
                <a:gd name="connsiteY56" fmla="*/ 1695450 h 1752600"/>
                <a:gd name="connsiteX57" fmla="*/ 2292350 w 3029511"/>
                <a:gd name="connsiteY57" fmla="*/ 1689100 h 1752600"/>
                <a:gd name="connsiteX58" fmla="*/ 2343150 w 3029511"/>
                <a:gd name="connsiteY58" fmla="*/ 1676400 h 1752600"/>
                <a:gd name="connsiteX59" fmla="*/ 2368550 w 3029511"/>
                <a:gd name="connsiteY59" fmla="*/ 1670050 h 1752600"/>
                <a:gd name="connsiteX60" fmla="*/ 2393950 w 3029511"/>
                <a:gd name="connsiteY60" fmla="*/ 1663700 h 1752600"/>
                <a:gd name="connsiteX61" fmla="*/ 2413000 w 3029511"/>
                <a:gd name="connsiteY61" fmla="*/ 1651000 h 1752600"/>
                <a:gd name="connsiteX62" fmla="*/ 2489200 w 3029511"/>
                <a:gd name="connsiteY62" fmla="*/ 1631950 h 1752600"/>
                <a:gd name="connsiteX63" fmla="*/ 2527300 w 3029511"/>
                <a:gd name="connsiteY63" fmla="*/ 1612900 h 1752600"/>
                <a:gd name="connsiteX64" fmla="*/ 2590800 w 3029511"/>
                <a:gd name="connsiteY64" fmla="*/ 1574800 h 1752600"/>
                <a:gd name="connsiteX65" fmla="*/ 2641600 w 3029511"/>
                <a:gd name="connsiteY65" fmla="*/ 1555750 h 1752600"/>
                <a:gd name="connsiteX66" fmla="*/ 2705100 w 3029511"/>
                <a:gd name="connsiteY66" fmla="*/ 1498600 h 1752600"/>
                <a:gd name="connsiteX67" fmla="*/ 2724150 w 3029511"/>
                <a:gd name="connsiteY67" fmla="*/ 1479550 h 1752600"/>
                <a:gd name="connsiteX68" fmla="*/ 2762250 w 3029511"/>
                <a:gd name="connsiteY68" fmla="*/ 1454150 h 1752600"/>
                <a:gd name="connsiteX69" fmla="*/ 2806700 w 3029511"/>
                <a:gd name="connsiteY69" fmla="*/ 1390650 h 1752600"/>
                <a:gd name="connsiteX70" fmla="*/ 2825750 w 3029511"/>
                <a:gd name="connsiteY70" fmla="*/ 1371600 h 1752600"/>
                <a:gd name="connsiteX71" fmla="*/ 2857500 w 3029511"/>
                <a:gd name="connsiteY71" fmla="*/ 1314450 h 1752600"/>
                <a:gd name="connsiteX72" fmla="*/ 2870200 w 3029511"/>
                <a:gd name="connsiteY72" fmla="*/ 1282700 h 1752600"/>
                <a:gd name="connsiteX73" fmla="*/ 2895600 w 3029511"/>
                <a:gd name="connsiteY73" fmla="*/ 1219200 h 1752600"/>
                <a:gd name="connsiteX74" fmla="*/ 2901950 w 3029511"/>
                <a:gd name="connsiteY74" fmla="*/ 1181100 h 1752600"/>
                <a:gd name="connsiteX75" fmla="*/ 2914650 w 3029511"/>
                <a:gd name="connsiteY75" fmla="*/ 1130300 h 1752600"/>
                <a:gd name="connsiteX76" fmla="*/ 2921000 w 3029511"/>
                <a:gd name="connsiteY76" fmla="*/ 1092200 h 1752600"/>
                <a:gd name="connsiteX77" fmla="*/ 2940050 w 3029511"/>
                <a:gd name="connsiteY77" fmla="*/ 1035050 h 1752600"/>
                <a:gd name="connsiteX78" fmla="*/ 2946400 w 3029511"/>
                <a:gd name="connsiteY78" fmla="*/ 1003300 h 1752600"/>
                <a:gd name="connsiteX79" fmla="*/ 2959100 w 3029511"/>
                <a:gd name="connsiteY79" fmla="*/ 952500 h 1752600"/>
                <a:gd name="connsiteX80" fmla="*/ 2965450 w 3029511"/>
                <a:gd name="connsiteY80" fmla="*/ 927100 h 1752600"/>
                <a:gd name="connsiteX81" fmla="*/ 2971800 w 3029511"/>
                <a:gd name="connsiteY81" fmla="*/ 895350 h 1752600"/>
                <a:gd name="connsiteX82" fmla="*/ 2978150 w 3029511"/>
                <a:gd name="connsiteY82" fmla="*/ 876300 h 1752600"/>
                <a:gd name="connsiteX83" fmla="*/ 2984500 w 3029511"/>
                <a:gd name="connsiteY83" fmla="*/ 850900 h 1752600"/>
                <a:gd name="connsiteX84" fmla="*/ 2997200 w 3029511"/>
                <a:gd name="connsiteY84" fmla="*/ 812800 h 1752600"/>
                <a:gd name="connsiteX85" fmla="*/ 3003550 w 3029511"/>
                <a:gd name="connsiteY85" fmla="*/ 787400 h 1752600"/>
                <a:gd name="connsiteX86" fmla="*/ 3016250 w 3029511"/>
                <a:gd name="connsiteY86" fmla="*/ 749300 h 1752600"/>
                <a:gd name="connsiteX87" fmla="*/ 3022600 w 3029511"/>
                <a:gd name="connsiteY87" fmla="*/ 730250 h 1752600"/>
                <a:gd name="connsiteX88" fmla="*/ 3028950 w 3029511"/>
                <a:gd name="connsiteY88" fmla="*/ 704850 h 1752600"/>
                <a:gd name="connsiteX89" fmla="*/ 3028950 w 3029511"/>
                <a:gd name="connsiteY89" fmla="*/ 66675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3029511" h="1752600">
                  <a:moveTo>
                    <a:pt x="0" y="0"/>
                  </a:moveTo>
                  <a:cubicBezTo>
                    <a:pt x="11289" y="33867"/>
                    <a:pt x="12972" y="44904"/>
                    <a:pt x="31750" y="76200"/>
                  </a:cubicBezTo>
                  <a:cubicBezTo>
                    <a:pt x="72637" y="144345"/>
                    <a:pt x="32485" y="66373"/>
                    <a:pt x="63500" y="120650"/>
                  </a:cubicBezTo>
                  <a:cubicBezTo>
                    <a:pt x="68196" y="128869"/>
                    <a:pt x="70206" y="138724"/>
                    <a:pt x="76200" y="146050"/>
                  </a:cubicBezTo>
                  <a:cubicBezTo>
                    <a:pt x="89469" y="162267"/>
                    <a:pt x="109027" y="173065"/>
                    <a:pt x="120650" y="190500"/>
                  </a:cubicBezTo>
                  <a:cubicBezTo>
                    <a:pt x="139992" y="219513"/>
                    <a:pt x="127954" y="204154"/>
                    <a:pt x="158750" y="234950"/>
                  </a:cubicBezTo>
                  <a:cubicBezTo>
                    <a:pt x="188017" y="308118"/>
                    <a:pt x="149078" y="222860"/>
                    <a:pt x="234950" y="330200"/>
                  </a:cubicBezTo>
                  <a:cubicBezTo>
                    <a:pt x="251883" y="351367"/>
                    <a:pt x="271804" y="370456"/>
                    <a:pt x="285750" y="393700"/>
                  </a:cubicBezTo>
                  <a:cubicBezTo>
                    <a:pt x="292100" y="404283"/>
                    <a:pt x="296073" y="416723"/>
                    <a:pt x="304800" y="425450"/>
                  </a:cubicBezTo>
                  <a:cubicBezTo>
                    <a:pt x="311493" y="432143"/>
                    <a:pt x="321733" y="433917"/>
                    <a:pt x="330200" y="438150"/>
                  </a:cubicBezTo>
                  <a:cubicBezTo>
                    <a:pt x="341605" y="472364"/>
                    <a:pt x="329766" y="448348"/>
                    <a:pt x="368300" y="482600"/>
                  </a:cubicBezTo>
                  <a:cubicBezTo>
                    <a:pt x="377249" y="490555"/>
                    <a:pt x="384609" y="500208"/>
                    <a:pt x="393700" y="508000"/>
                  </a:cubicBezTo>
                  <a:cubicBezTo>
                    <a:pt x="418939" y="529633"/>
                    <a:pt x="410274" y="511874"/>
                    <a:pt x="438150" y="539750"/>
                  </a:cubicBezTo>
                  <a:cubicBezTo>
                    <a:pt x="443546" y="545146"/>
                    <a:pt x="445454" y="553404"/>
                    <a:pt x="450850" y="558800"/>
                  </a:cubicBezTo>
                  <a:cubicBezTo>
                    <a:pt x="456246" y="564196"/>
                    <a:pt x="463690" y="567064"/>
                    <a:pt x="469900" y="571500"/>
                  </a:cubicBezTo>
                  <a:cubicBezTo>
                    <a:pt x="478512" y="577651"/>
                    <a:pt x="487816" y="583066"/>
                    <a:pt x="495300" y="590550"/>
                  </a:cubicBezTo>
                  <a:cubicBezTo>
                    <a:pt x="524023" y="619273"/>
                    <a:pt x="489964" y="603588"/>
                    <a:pt x="527050" y="615950"/>
                  </a:cubicBezTo>
                  <a:cubicBezTo>
                    <a:pt x="531283" y="622300"/>
                    <a:pt x="534354" y="629604"/>
                    <a:pt x="539750" y="635000"/>
                  </a:cubicBezTo>
                  <a:cubicBezTo>
                    <a:pt x="547626" y="642876"/>
                    <a:pt x="573383" y="659539"/>
                    <a:pt x="584200" y="666750"/>
                  </a:cubicBezTo>
                  <a:cubicBezTo>
                    <a:pt x="592667" y="679450"/>
                    <a:pt x="600065" y="692931"/>
                    <a:pt x="609600" y="704850"/>
                  </a:cubicBezTo>
                  <a:cubicBezTo>
                    <a:pt x="626533" y="726017"/>
                    <a:pt x="643653" y="747036"/>
                    <a:pt x="660400" y="768350"/>
                  </a:cubicBezTo>
                  <a:cubicBezTo>
                    <a:pt x="666939" y="776672"/>
                    <a:pt x="673579" y="784944"/>
                    <a:pt x="679450" y="793750"/>
                  </a:cubicBezTo>
                  <a:cubicBezTo>
                    <a:pt x="683683" y="800100"/>
                    <a:pt x="688105" y="806328"/>
                    <a:pt x="692150" y="812800"/>
                  </a:cubicBezTo>
                  <a:cubicBezTo>
                    <a:pt x="698691" y="823266"/>
                    <a:pt x="703168" y="835179"/>
                    <a:pt x="711200" y="844550"/>
                  </a:cubicBezTo>
                  <a:cubicBezTo>
                    <a:pt x="716167" y="850344"/>
                    <a:pt x="723900" y="853017"/>
                    <a:pt x="730250" y="857250"/>
                  </a:cubicBezTo>
                  <a:cubicBezTo>
                    <a:pt x="734483" y="865717"/>
                    <a:pt x="737448" y="874947"/>
                    <a:pt x="742950" y="882650"/>
                  </a:cubicBezTo>
                  <a:cubicBezTo>
                    <a:pt x="748170" y="889958"/>
                    <a:pt x="757545" y="893903"/>
                    <a:pt x="762000" y="901700"/>
                  </a:cubicBezTo>
                  <a:cubicBezTo>
                    <a:pt x="766330" y="909277"/>
                    <a:pt x="765842" y="918741"/>
                    <a:pt x="768350" y="927100"/>
                  </a:cubicBezTo>
                  <a:cubicBezTo>
                    <a:pt x="787686" y="991552"/>
                    <a:pt x="775826" y="939082"/>
                    <a:pt x="787400" y="996950"/>
                  </a:cubicBezTo>
                  <a:cubicBezTo>
                    <a:pt x="785185" y="1065606"/>
                    <a:pt x="786912" y="1171571"/>
                    <a:pt x="774700" y="1250950"/>
                  </a:cubicBezTo>
                  <a:cubicBezTo>
                    <a:pt x="773373" y="1259576"/>
                    <a:pt x="770467" y="1267883"/>
                    <a:pt x="768350" y="1276350"/>
                  </a:cubicBezTo>
                  <a:cubicBezTo>
                    <a:pt x="766233" y="1312333"/>
                    <a:pt x="765417" y="1348417"/>
                    <a:pt x="762000" y="1384300"/>
                  </a:cubicBezTo>
                  <a:cubicBezTo>
                    <a:pt x="761173" y="1392988"/>
                    <a:pt x="759088" y="1401678"/>
                    <a:pt x="755650" y="1409700"/>
                  </a:cubicBezTo>
                  <a:cubicBezTo>
                    <a:pt x="752946" y="1416010"/>
                    <a:pt x="725526" y="1452524"/>
                    <a:pt x="723900" y="1454150"/>
                  </a:cubicBezTo>
                  <a:cubicBezTo>
                    <a:pt x="718504" y="1459546"/>
                    <a:pt x="711200" y="1462617"/>
                    <a:pt x="704850" y="1466850"/>
                  </a:cubicBezTo>
                  <a:cubicBezTo>
                    <a:pt x="689737" y="1512190"/>
                    <a:pt x="699576" y="1493811"/>
                    <a:pt x="679450" y="1524000"/>
                  </a:cubicBezTo>
                  <a:cubicBezTo>
                    <a:pt x="681567" y="1545167"/>
                    <a:pt x="681017" y="1566773"/>
                    <a:pt x="685800" y="1587500"/>
                  </a:cubicBezTo>
                  <a:cubicBezTo>
                    <a:pt x="687930" y="1596729"/>
                    <a:pt x="711403" y="1621502"/>
                    <a:pt x="717550" y="1625600"/>
                  </a:cubicBezTo>
                  <a:cubicBezTo>
                    <a:pt x="723119" y="1629313"/>
                    <a:pt x="730250" y="1629833"/>
                    <a:pt x="736600" y="1631950"/>
                  </a:cubicBezTo>
                  <a:cubicBezTo>
                    <a:pt x="745067" y="1638300"/>
                    <a:pt x="752365" y="1646621"/>
                    <a:pt x="762000" y="1651000"/>
                  </a:cubicBezTo>
                  <a:cubicBezTo>
                    <a:pt x="799595" y="1668089"/>
                    <a:pt x="842969" y="1666743"/>
                    <a:pt x="882650" y="1670050"/>
                  </a:cubicBezTo>
                  <a:cubicBezTo>
                    <a:pt x="947135" y="1691545"/>
                    <a:pt x="895702" y="1677357"/>
                    <a:pt x="977900" y="1689100"/>
                  </a:cubicBezTo>
                  <a:cubicBezTo>
                    <a:pt x="988584" y="1690626"/>
                    <a:pt x="998916" y="1694320"/>
                    <a:pt x="1009650" y="1695450"/>
                  </a:cubicBezTo>
                  <a:cubicBezTo>
                    <a:pt x="1039196" y="1698560"/>
                    <a:pt x="1068917" y="1699683"/>
                    <a:pt x="1098550" y="1701800"/>
                  </a:cubicBezTo>
                  <a:cubicBezTo>
                    <a:pt x="1104900" y="1703917"/>
                    <a:pt x="1111036" y="1706837"/>
                    <a:pt x="1117600" y="1708150"/>
                  </a:cubicBezTo>
                  <a:cubicBezTo>
                    <a:pt x="1132206" y="1711071"/>
                    <a:pt x="1200488" y="1719305"/>
                    <a:pt x="1212850" y="1720850"/>
                  </a:cubicBezTo>
                  <a:cubicBezTo>
                    <a:pt x="1235011" y="1728237"/>
                    <a:pt x="1236831" y="1729719"/>
                    <a:pt x="1263650" y="1733550"/>
                  </a:cubicBezTo>
                  <a:cubicBezTo>
                    <a:pt x="1282625" y="1736261"/>
                    <a:pt x="1301801" y="1737367"/>
                    <a:pt x="1320800" y="1739900"/>
                  </a:cubicBezTo>
                  <a:cubicBezTo>
                    <a:pt x="1333562" y="1741602"/>
                    <a:pt x="1346030" y="1745871"/>
                    <a:pt x="1358900" y="1746250"/>
                  </a:cubicBezTo>
                  <a:cubicBezTo>
                    <a:pt x="1490094" y="1750109"/>
                    <a:pt x="1621367" y="1750483"/>
                    <a:pt x="1752600" y="1752600"/>
                  </a:cubicBezTo>
                  <a:cubicBezTo>
                    <a:pt x="1833033" y="1750483"/>
                    <a:pt x="1913526" y="1749988"/>
                    <a:pt x="1993900" y="1746250"/>
                  </a:cubicBezTo>
                  <a:cubicBezTo>
                    <a:pt x="2004681" y="1745749"/>
                    <a:pt x="2014966" y="1741426"/>
                    <a:pt x="2025650" y="1739900"/>
                  </a:cubicBezTo>
                  <a:cubicBezTo>
                    <a:pt x="2044625" y="1737189"/>
                    <a:pt x="2063801" y="1736083"/>
                    <a:pt x="2082800" y="1733550"/>
                  </a:cubicBezTo>
                  <a:cubicBezTo>
                    <a:pt x="2095562" y="1731848"/>
                    <a:pt x="2108232" y="1729503"/>
                    <a:pt x="2120900" y="1727200"/>
                  </a:cubicBezTo>
                  <a:cubicBezTo>
                    <a:pt x="2138905" y="1723926"/>
                    <a:pt x="2160214" y="1719596"/>
                    <a:pt x="2178050" y="1714500"/>
                  </a:cubicBezTo>
                  <a:cubicBezTo>
                    <a:pt x="2184486" y="1712661"/>
                    <a:pt x="2190536" y="1709463"/>
                    <a:pt x="2197100" y="1708150"/>
                  </a:cubicBezTo>
                  <a:cubicBezTo>
                    <a:pt x="2250863" y="1697397"/>
                    <a:pt x="2227862" y="1706809"/>
                    <a:pt x="2273300" y="1695450"/>
                  </a:cubicBezTo>
                  <a:cubicBezTo>
                    <a:pt x="2279794" y="1693827"/>
                    <a:pt x="2285892" y="1690861"/>
                    <a:pt x="2292350" y="1689100"/>
                  </a:cubicBezTo>
                  <a:cubicBezTo>
                    <a:pt x="2309189" y="1684507"/>
                    <a:pt x="2326217" y="1680633"/>
                    <a:pt x="2343150" y="1676400"/>
                  </a:cubicBezTo>
                  <a:lnTo>
                    <a:pt x="2368550" y="1670050"/>
                  </a:lnTo>
                  <a:lnTo>
                    <a:pt x="2393950" y="1663700"/>
                  </a:lnTo>
                  <a:cubicBezTo>
                    <a:pt x="2400300" y="1659467"/>
                    <a:pt x="2405760" y="1653413"/>
                    <a:pt x="2413000" y="1651000"/>
                  </a:cubicBezTo>
                  <a:cubicBezTo>
                    <a:pt x="2467219" y="1632927"/>
                    <a:pt x="2435856" y="1658622"/>
                    <a:pt x="2489200" y="1631950"/>
                  </a:cubicBezTo>
                  <a:cubicBezTo>
                    <a:pt x="2501900" y="1625600"/>
                    <a:pt x="2514924" y="1619861"/>
                    <a:pt x="2527300" y="1612900"/>
                  </a:cubicBezTo>
                  <a:cubicBezTo>
                    <a:pt x="2548814" y="1600798"/>
                    <a:pt x="2566853" y="1580787"/>
                    <a:pt x="2590800" y="1574800"/>
                  </a:cubicBezTo>
                  <a:cubicBezTo>
                    <a:pt x="2615179" y="1568705"/>
                    <a:pt x="2619463" y="1569586"/>
                    <a:pt x="2641600" y="1555750"/>
                  </a:cubicBezTo>
                  <a:cubicBezTo>
                    <a:pt x="2668112" y="1539180"/>
                    <a:pt x="2682013" y="1521687"/>
                    <a:pt x="2705100" y="1498600"/>
                  </a:cubicBezTo>
                  <a:cubicBezTo>
                    <a:pt x="2711450" y="1492250"/>
                    <a:pt x="2716678" y="1484531"/>
                    <a:pt x="2724150" y="1479550"/>
                  </a:cubicBezTo>
                  <a:lnTo>
                    <a:pt x="2762250" y="1454150"/>
                  </a:lnTo>
                  <a:cubicBezTo>
                    <a:pt x="2773179" y="1437756"/>
                    <a:pt x="2792596" y="1407105"/>
                    <a:pt x="2806700" y="1390650"/>
                  </a:cubicBezTo>
                  <a:cubicBezTo>
                    <a:pt x="2812544" y="1383832"/>
                    <a:pt x="2819400" y="1377950"/>
                    <a:pt x="2825750" y="1371600"/>
                  </a:cubicBezTo>
                  <a:cubicBezTo>
                    <a:pt x="2840574" y="1327127"/>
                    <a:pt x="2820069" y="1383073"/>
                    <a:pt x="2857500" y="1314450"/>
                  </a:cubicBezTo>
                  <a:cubicBezTo>
                    <a:pt x="2862958" y="1304443"/>
                    <a:pt x="2865571" y="1293116"/>
                    <a:pt x="2870200" y="1282700"/>
                  </a:cubicBezTo>
                  <a:cubicBezTo>
                    <a:pt x="2881255" y="1257826"/>
                    <a:pt x="2890700" y="1248603"/>
                    <a:pt x="2895600" y="1219200"/>
                  </a:cubicBezTo>
                  <a:cubicBezTo>
                    <a:pt x="2897717" y="1206500"/>
                    <a:pt x="2899252" y="1193689"/>
                    <a:pt x="2901950" y="1181100"/>
                  </a:cubicBezTo>
                  <a:cubicBezTo>
                    <a:pt x="2905607" y="1164033"/>
                    <a:pt x="2911781" y="1147517"/>
                    <a:pt x="2914650" y="1130300"/>
                  </a:cubicBezTo>
                  <a:cubicBezTo>
                    <a:pt x="2916767" y="1117600"/>
                    <a:pt x="2917683" y="1104640"/>
                    <a:pt x="2921000" y="1092200"/>
                  </a:cubicBezTo>
                  <a:cubicBezTo>
                    <a:pt x="2926174" y="1072798"/>
                    <a:pt x="2936112" y="1054741"/>
                    <a:pt x="2940050" y="1035050"/>
                  </a:cubicBezTo>
                  <a:cubicBezTo>
                    <a:pt x="2942167" y="1024467"/>
                    <a:pt x="2943973" y="1013817"/>
                    <a:pt x="2946400" y="1003300"/>
                  </a:cubicBezTo>
                  <a:cubicBezTo>
                    <a:pt x="2950325" y="986293"/>
                    <a:pt x="2954867" y="969433"/>
                    <a:pt x="2959100" y="952500"/>
                  </a:cubicBezTo>
                  <a:cubicBezTo>
                    <a:pt x="2961217" y="944033"/>
                    <a:pt x="2963738" y="935658"/>
                    <a:pt x="2965450" y="927100"/>
                  </a:cubicBezTo>
                  <a:cubicBezTo>
                    <a:pt x="2967567" y="916517"/>
                    <a:pt x="2969182" y="905821"/>
                    <a:pt x="2971800" y="895350"/>
                  </a:cubicBezTo>
                  <a:cubicBezTo>
                    <a:pt x="2973423" y="888856"/>
                    <a:pt x="2976311" y="882736"/>
                    <a:pt x="2978150" y="876300"/>
                  </a:cubicBezTo>
                  <a:cubicBezTo>
                    <a:pt x="2980548" y="867909"/>
                    <a:pt x="2981992" y="859259"/>
                    <a:pt x="2984500" y="850900"/>
                  </a:cubicBezTo>
                  <a:cubicBezTo>
                    <a:pt x="2988347" y="838078"/>
                    <a:pt x="2993953" y="825787"/>
                    <a:pt x="2997200" y="812800"/>
                  </a:cubicBezTo>
                  <a:cubicBezTo>
                    <a:pt x="2999317" y="804333"/>
                    <a:pt x="3001042" y="795759"/>
                    <a:pt x="3003550" y="787400"/>
                  </a:cubicBezTo>
                  <a:cubicBezTo>
                    <a:pt x="3007397" y="774578"/>
                    <a:pt x="3012017" y="762000"/>
                    <a:pt x="3016250" y="749300"/>
                  </a:cubicBezTo>
                  <a:cubicBezTo>
                    <a:pt x="3018367" y="742950"/>
                    <a:pt x="3020977" y="736744"/>
                    <a:pt x="3022600" y="730250"/>
                  </a:cubicBezTo>
                  <a:cubicBezTo>
                    <a:pt x="3024717" y="721783"/>
                    <a:pt x="3028082" y="713534"/>
                    <a:pt x="3028950" y="704850"/>
                  </a:cubicBezTo>
                  <a:cubicBezTo>
                    <a:pt x="3030214" y="692213"/>
                    <a:pt x="3028950" y="679450"/>
                    <a:pt x="3028950" y="666750"/>
                  </a:cubicBezTo>
                </a:path>
              </a:pathLst>
            </a:custGeom>
            <a:noFill/>
            <a:ln w="28575">
              <a:solidFill>
                <a:srgbClr val="4B06B2"/>
              </a:solidFill>
              <a:prstDash val="lgDash"/>
            </a:ln>
            <a:effectLst/>
          </p:spPr>
          <p:txBody>
            <a:bodyPr rtlCol="0" anchor="ctr"/>
            <a:lstStyle/>
            <a:p>
              <a:pPr marL="0" marR="0" lvl="0" indent="0" algn="ctr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24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31" name="직사각형 30"/>
          <p:cNvSpPr/>
          <p:nvPr/>
        </p:nvSpPr>
        <p:spPr>
          <a:xfrm>
            <a:off x="6941980" y="2312876"/>
            <a:ext cx="2499425" cy="33336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① 국제 제재 대상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6941981" y="2649329"/>
            <a:ext cx="2499425" cy="886280"/>
          </a:xfrm>
          <a:prstGeom prst="rect">
            <a:avLst/>
          </a:prstGeom>
          <a:noFill/>
          <a:ln w="3175">
            <a:solidFill>
              <a:srgbClr val="4472C4"/>
            </a:solidFill>
          </a:ln>
          <a:effectLst/>
        </p:spPr>
        <p:txBody>
          <a:bodyPr tIns="108000" rtlCol="0" anchor="t"/>
          <a:lstStyle/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예상 경로를 벗어나 국제 제재 대상 국가 에 근접</a:t>
            </a:r>
            <a:endParaRPr lang="en-US" altLang="ko-KR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적항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항항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목적항 等 국제 제재 대상 항구에 입항 또는 출항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6941980" y="3968302"/>
            <a:ext cx="2499423" cy="900858"/>
          </a:xfrm>
          <a:prstGeom prst="rect">
            <a:avLst/>
          </a:prstGeom>
          <a:noFill/>
          <a:ln w="3175">
            <a:solidFill>
              <a:srgbClr val="4472C4"/>
            </a:solidFill>
          </a:ln>
          <a:effectLst/>
        </p:spPr>
        <p:txBody>
          <a:bodyPr tIns="108000" rtlCol="0" anchor="t"/>
          <a:lstStyle/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중용도 물품과 관련된 수출입거래</a:t>
            </a:r>
            <a:endParaRPr lang="en-US" altLang="ko-KR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 물품이 포함된 거래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석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다이아몬드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等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4" name="순서도: 자기 디스크 33"/>
          <p:cNvSpPr/>
          <p:nvPr/>
        </p:nvSpPr>
        <p:spPr>
          <a:xfrm>
            <a:off x="5238161" y="5662961"/>
            <a:ext cx="1287527" cy="427311"/>
          </a:xfrm>
          <a:prstGeom prst="flowChartMagneticDisk">
            <a:avLst/>
          </a:prstGeom>
          <a:solidFill>
            <a:srgbClr val="FFFFFF">
              <a:lumMod val="85000"/>
            </a:srgbClr>
          </a:solidFill>
          <a:ln>
            <a:solidFill>
              <a:srgbClr val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선박 식별 정보</a:t>
            </a:r>
          </a:p>
        </p:txBody>
      </p:sp>
      <p:grpSp>
        <p:nvGrpSpPr>
          <p:cNvPr id="36" name="그룹 35"/>
          <p:cNvGrpSpPr/>
          <p:nvPr/>
        </p:nvGrpSpPr>
        <p:grpSpPr>
          <a:xfrm>
            <a:off x="1030219" y="5270572"/>
            <a:ext cx="4993853" cy="360510"/>
            <a:chOff x="1174235" y="5176665"/>
            <a:chExt cx="4993853" cy="342644"/>
          </a:xfrm>
          <a:solidFill>
            <a:srgbClr val="D04A02"/>
          </a:solidFill>
        </p:grpSpPr>
        <p:sp>
          <p:nvSpPr>
            <p:cNvPr id="58" name="위쪽/아래쪽 화살표 57"/>
            <p:cNvSpPr/>
            <p:nvPr/>
          </p:nvSpPr>
          <p:spPr>
            <a:xfrm>
              <a:off x="1174235" y="5176665"/>
              <a:ext cx="291840" cy="330494"/>
            </a:xfrm>
            <a:prstGeom prst="upDownArrow">
              <a:avLst/>
            </a:prstGeom>
            <a:solidFill>
              <a:srgbClr val="038CDC"/>
            </a:solidFill>
            <a:ln w="6350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anchor="ctr"/>
            <a:lstStyle/>
            <a:p>
              <a:pPr algn="ctr"/>
              <a:endPara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59" name="위쪽/아래쪽 화살표 58"/>
            <p:cNvSpPr/>
            <p:nvPr/>
          </p:nvSpPr>
          <p:spPr>
            <a:xfrm>
              <a:off x="2736837" y="5188815"/>
              <a:ext cx="291840" cy="330494"/>
            </a:xfrm>
            <a:prstGeom prst="upDownArrow">
              <a:avLst/>
            </a:prstGeom>
            <a:solidFill>
              <a:srgbClr val="038CDC"/>
            </a:solidFill>
            <a:ln w="6350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anchor="ctr"/>
            <a:lstStyle/>
            <a:p>
              <a:pPr algn="ctr"/>
              <a:endPara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60" name="위쪽/아래쪽 화살표 59"/>
            <p:cNvSpPr/>
            <p:nvPr/>
          </p:nvSpPr>
          <p:spPr>
            <a:xfrm>
              <a:off x="4313991" y="5180782"/>
              <a:ext cx="291840" cy="330494"/>
            </a:xfrm>
            <a:prstGeom prst="upDownArrow">
              <a:avLst/>
            </a:prstGeom>
            <a:solidFill>
              <a:srgbClr val="038CDC"/>
            </a:solidFill>
            <a:ln w="6350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anchor="ctr"/>
            <a:lstStyle/>
            <a:p>
              <a:pPr algn="ctr"/>
              <a:endPara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  <p:sp>
          <p:nvSpPr>
            <p:cNvPr id="61" name="위쪽/아래쪽 화살표 60"/>
            <p:cNvSpPr/>
            <p:nvPr/>
          </p:nvSpPr>
          <p:spPr>
            <a:xfrm>
              <a:off x="5876248" y="5180782"/>
              <a:ext cx="291840" cy="330494"/>
            </a:xfrm>
            <a:prstGeom prst="upDownArrow">
              <a:avLst/>
            </a:prstGeom>
            <a:solidFill>
              <a:srgbClr val="038CDC"/>
            </a:solidFill>
            <a:ln w="6350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anchor="ctr"/>
            <a:lstStyle/>
            <a:p>
              <a:pPr algn="ctr"/>
              <a:endPara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endParaRPr>
            </a:p>
          </p:txBody>
        </p:sp>
      </p:grpSp>
      <p:sp>
        <p:nvSpPr>
          <p:cNvPr id="37" name="직사각형 36"/>
          <p:cNvSpPr/>
          <p:nvPr/>
        </p:nvSpPr>
        <p:spPr>
          <a:xfrm>
            <a:off x="4100714" y="3582913"/>
            <a:ext cx="1202455" cy="1116380"/>
          </a:xfrm>
          <a:prstGeom prst="rect">
            <a:avLst/>
          </a:prstGeom>
          <a:noFill/>
          <a:ln w="28575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771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4631801" y="4761148"/>
            <a:ext cx="1380850" cy="436029"/>
            <a:chOff x="4288430" y="992375"/>
            <a:chExt cx="1380850" cy="517956"/>
          </a:xfrm>
        </p:grpSpPr>
        <p:sp>
          <p:nvSpPr>
            <p:cNvPr id="52" name="직사각형 51"/>
            <p:cNvSpPr/>
            <p:nvPr/>
          </p:nvSpPr>
          <p:spPr>
            <a:xfrm>
              <a:off x="4288430" y="992375"/>
              <a:ext cx="1380850" cy="51795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tlCol="0" anchor="ctr"/>
            <a:lstStyle/>
            <a:p>
              <a:pPr marL="172800" marR="0" lvl="0" indent="-17280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예상 경로</a:t>
              </a:r>
              <a:endPara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2800" marR="0" lvl="0" indent="-17280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실제 경로</a:t>
              </a:r>
              <a:endPara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2800" marR="0" lvl="0" indent="-17280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항구</a:t>
              </a:r>
              <a:endPara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  <a:p>
              <a:pPr marL="172800" marR="0" lvl="0" indent="-17280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Sanction </a:t>
              </a: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대상</a:t>
              </a:r>
              <a:endPara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cxnSp>
          <p:nvCxnSpPr>
            <p:cNvPr id="53" name="직선 연결선 52"/>
            <p:cNvCxnSpPr/>
            <p:nvPr/>
          </p:nvCxnSpPr>
          <p:spPr>
            <a:xfrm>
              <a:off x="5257859" y="1069557"/>
              <a:ext cx="360000" cy="0"/>
            </a:xfrm>
            <a:prstGeom prst="line">
              <a:avLst/>
            </a:prstGeom>
            <a:noFill/>
            <a:ln w="28575" cap="sq" cmpd="sng" algn="ctr">
              <a:solidFill>
                <a:srgbClr val="FFB600"/>
              </a:solidFill>
              <a:prstDash val="lgDash"/>
            </a:ln>
            <a:effectLst/>
          </p:spPr>
        </p:cxnSp>
        <p:cxnSp>
          <p:nvCxnSpPr>
            <p:cNvPr id="55" name="직선 연결선 54"/>
            <p:cNvCxnSpPr/>
            <p:nvPr/>
          </p:nvCxnSpPr>
          <p:spPr>
            <a:xfrm>
              <a:off x="5257859" y="1196752"/>
              <a:ext cx="360000" cy="0"/>
            </a:xfrm>
            <a:prstGeom prst="line">
              <a:avLst/>
            </a:prstGeom>
            <a:noFill/>
            <a:ln w="28575" cap="sq" cmpd="sng" algn="ctr">
              <a:solidFill>
                <a:srgbClr val="4B06B2"/>
              </a:solidFill>
              <a:prstDash val="lgDash"/>
            </a:ln>
            <a:effectLst/>
          </p:spPr>
        </p:cxnSp>
        <p:sp>
          <p:nvSpPr>
            <p:cNvPr id="56" name="Oval 2921"/>
            <p:cNvSpPr>
              <a:spLocks noChangeArrowheads="1"/>
            </p:cNvSpPr>
            <p:nvPr/>
          </p:nvSpPr>
          <p:spPr bwMode="auto">
            <a:xfrm>
              <a:off x="5405622" y="1271502"/>
              <a:ext cx="64475" cy="68344"/>
            </a:xfrm>
            <a:prstGeom prst="ellipse">
              <a:avLst/>
            </a:prstGeom>
            <a:solidFill>
              <a:srgbClr val="7D7D7D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  <p:sp>
          <p:nvSpPr>
            <p:cNvPr id="57" name="Oval 2921"/>
            <p:cNvSpPr>
              <a:spLocks noChangeArrowheads="1"/>
            </p:cNvSpPr>
            <p:nvPr/>
          </p:nvSpPr>
          <p:spPr bwMode="auto">
            <a:xfrm>
              <a:off x="5403241" y="1391343"/>
              <a:ext cx="64475" cy="68344"/>
            </a:xfrm>
            <a:prstGeom prst="ellipse">
              <a:avLst/>
            </a:prstGeom>
            <a:solidFill>
              <a:srgbClr val="C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4276" tIns="37138" rIns="74276" bIns="3713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771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</a:endParaRPr>
            </a:p>
          </p:txBody>
        </p:sp>
      </p:grpSp>
      <p:sp>
        <p:nvSpPr>
          <p:cNvPr id="44" name="Oval 2921"/>
          <p:cNvSpPr>
            <a:spLocks noChangeArrowheads="1"/>
          </p:cNvSpPr>
          <p:nvPr/>
        </p:nvSpPr>
        <p:spPr bwMode="auto">
          <a:xfrm>
            <a:off x="4880992" y="4142678"/>
            <a:ext cx="64475" cy="57534"/>
          </a:xfrm>
          <a:prstGeom prst="ellipse">
            <a:avLst/>
          </a:pr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 vert="horz" wrap="square" lIns="74276" tIns="37138" rIns="74276" bIns="37138" numCol="1" anchor="t" anchorCtr="0" compatLnSpc="1">
            <a:prstTxWarp prst="textNoShape">
              <a:avLst/>
            </a:prstTxWarp>
          </a:bodyPr>
          <a:lstStyle/>
          <a:p>
            <a:pPr defTabSz="977172"/>
            <a:endParaRPr lang="en-GB" sz="1462" dirty="0">
              <a:solidFill>
                <a:srgbClr val="000000"/>
              </a:solidFill>
              <a:latin typeface="Arial"/>
              <a:ea typeface="맑은 고딕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6941980" y="3643621"/>
            <a:ext cx="2499423" cy="33336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② 무역 거래 물품 </a:t>
            </a:r>
            <a:r>
              <a:rPr lang="ko-KR" altLang="en-US" sz="1200" kern="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등</a:t>
            </a:r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228" name="직사각형 2227"/>
          <p:cNvSpPr/>
          <p:nvPr/>
        </p:nvSpPr>
        <p:spPr>
          <a:xfrm>
            <a:off x="6941980" y="5301853"/>
            <a:ext cx="2499423" cy="844745"/>
          </a:xfrm>
          <a:prstGeom prst="rect">
            <a:avLst/>
          </a:prstGeom>
          <a:noFill/>
          <a:ln w="3175">
            <a:solidFill>
              <a:srgbClr val="4472C4"/>
            </a:solidFill>
          </a:ln>
          <a:effectLst/>
        </p:spPr>
        <p:txBody>
          <a:bodyPr tIns="108000" rtlCol="0" anchor="t"/>
          <a:lstStyle/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출입 거래 상대방 및 상대방 은행</a:t>
            </a:r>
            <a:endParaRPr lang="en-US" altLang="ko-KR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와 관련된 대리인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개인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</a:t>
            </a:r>
            <a:endParaRPr lang="en-US" altLang="ko-KR" sz="1100" kern="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 defTabSz="977172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박 명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사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주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박 </a:t>
            </a:r>
            <a:r>
              <a:rPr lang="en-US" altLang="ko-KR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flag </a:t>
            </a:r>
            <a:r>
              <a:rPr lang="ko-KR" altLang="en-US" sz="1100" kern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</a:t>
            </a:r>
          </a:p>
        </p:txBody>
      </p:sp>
      <p:sp>
        <p:nvSpPr>
          <p:cNvPr id="2229" name="직사각형 2228"/>
          <p:cNvSpPr/>
          <p:nvPr/>
        </p:nvSpPr>
        <p:spPr>
          <a:xfrm>
            <a:off x="6941980" y="4977172"/>
            <a:ext cx="2499423" cy="333363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③ 거래 관계인</a:t>
            </a:r>
          </a:p>
        </p:txBody>
      </p:sp>
      <p:sp>
        <p:nvSpPr>
          <p:cNvPr id="223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23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23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2233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05674" y="2296852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34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759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5.7 </a:t>
            </a:r>
            <a:r>
              <a:rPr lang="ko-KR" altLang="en-US" dirty="0"/>
              <a:t>무역거래 </a:t>
            </a:r>
            <a:r>
              <a:rPr lang="en-US" altLang="ko-KR" dirty="0"/>
              <a:t>Sanctions Screening </a:t>
            </a:r>
            <a:r>
              <a:rPr lang="ko-KR" altLang="en-US" dirty="0"/>
              <a:t>대상 정의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4959691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거래 유형에 따라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anctions Screening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대상을 식별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검토 항목을 정의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무역거래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anctions Screening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대상 정의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5" name="직사각형 14"/>
          <p:cNvSpPr/>
          <p:nvPr/>
        </p:nvSpPr>
        <p:spPr>
          <a:xfrm>
            <a:off x="345281" y="2080563"/>
            <a:ext cx="9215437" cy="431505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28" name="직사각형 127"/>
          <p:cNvSpPr/>
          <p:nvPr/>
        </p:nvSpPr>
        <p:spPr bwMode="ltGray">
          <a:xfrm>
            <a:off x="596516" y="2723210"/>
            <a:ext cx="2714272" cy="505921"/>
          </a:xfrm>
          <a:prstGeom prst="rect">
            <a:avLst/>
          </a:prstGeom>
          <a:solidFill>
            <a:srgbClr val="D04A02">
              <a:lumMod val="20000"/>
              <a:lumOff val="80000"/>
            </a:srgbClr>
          </a:solidFill>
          <a:ln w="28575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구조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9" name="직사각형 128"/>
          <p:cNvSpPr/>
          <p:nvPr/>
        </p:nvSpPr>
        <p:spPr bwMode="ltGray">
          <a:xfrm>
            <a:off x="596516" y="4109937"/>
            <a:ext cx="2714272" cy="505921"/>
          </a:xfrm>
          <a:prstGeom prst="rect">
            <a:avLst/>
          </a:prstGeom>
          <a:solidFill>
            <a:srgbClr val="D04A02"/>
          </a:solidFill>
          <a:ln w="28575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Payment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흐름의 합법성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0" name="직사각형 129"/>
          <p:cNvSpPr/>
          <p:nvPr/>
        </p:nvSpPr>
        <p:spPr bwMode="ltGray">
          <a:xfrm>
            <a:off x="596516" y="3272261"/>
            <a:ext cx="2714272" cy="505921"/>
          </a:xfrm>
          <a:prstGeom prst="rect">
            <a:avLst/>
          </a:prstGeom>
          <a:solidFill>
            <a:srgbClr val="D04A02">
              <a:lumMod val="20000"/>
              <a:lumOff val="80000"/>
            </a:srgbClr>
          </a:solidFill>
          <a:ln w="28575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선적항 추가 정보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1" name="직사각형 130"/>
          <p:cNvSpPr/>
          <p:nvPr/>
        </p:nvSpPr>
        <p:spPr bwMode="ltGray">
          <a:xfrm>
            <a:off x="596516" y="5504957"/>
            <a:ext cx="2714272" cy="505921"/>
          </a:xfrm>
          <a:prstGeom prst="rect">
            <a:avLst/>
          </a:prstGeom>
          <a:solidFill>
            <a:srgbClr val="E0301E">
              <a:lumMod val="75000"/>
            </a:srgbClr>
          </a:solidFill>
          <a:ln w="28575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Dual Use goods</a:t>
            </a:r>
          </a:p>
        </p:txBody>
      </p:sp>
      <p:sp>
        <p:nvSpPr>
          <p:cNvPr id="132" name="이등변 삼각형 131"/>
          <p:cNvSpPr/>
          <p:nvPr/>
        </p:nvSpPr>
        <p:spPr bwMode="ltGray">
          <a:xfrm rot="5400000">
            <a:off x="3222263" y="3189963"/>
            <a:ext cx="1050277" cy="16459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cxnSp>
        <p:nvCxnSpPr>
          <p:cNvPr id="135" name="직선 연결선 134"/>
          <p:cNvCxnSpPr/>
          <p:nvPr/>
        </p:nvCxnSpPr>
        <p:spPr>
          <a:xfrm>
            <a:off x="4055343" y="3942279"/>
            <a:ext cx="4786089" cy="0"/>
          </a:xfrm>
          <a:prstGeom prst="line">
            <a:avLst/>
          </a:prstGeom>
          <a:noFill/>
          <a:ln w="9525" cap="flat" cmpd="sng" algn="ctr">
            <a:solidFill>
              <a:srgbClr val="DC69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136" name="이등변 삼각형 135"/>
          <p:cNvSpPr/>
          <p:nvPr/>
        </p:nvSpPr>
        <p:spPr bwMode="ltGray">
          <a:xfrm rot="5400000">
            <a:off x="3222263" y="4568428"/>
            <a:ext cx="1050277" cy="16459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sp>
        <p:nvSpPr>
          <p:cNvPr id="137" name="직사각형 136"/>
          <p:cNvSpPr/>
          <p:nvPr/>
        </p:nvSpPr>
        <p:spPr bwMode="ltGray">
          <a:xfrm>
            <a:off x="596516" y="4663543"/>
            <a:ext cx="2714272" cy="505921"/>
          </a:xfrm>
          <a:prstGeom prst="rect">
            <a:avLst/>
          </a:prstGeom>
          <a:solidFill>
            <a:srgbClr val="D04A02"/>
          </a:solidFill>
          <a:ln w="28575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외부 공개 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ource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추가 확인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38" name="직선 연결선 137"/>
          <p:cNvCxnSpPr/>
          <p:nvPr/>
        </p:nvCxnSpPr>
        <p:spPr>
          <a:xfrm>
            <a:off x="4055343" y="5384822"/>
            <a:ext cx="4786089" cy="0"/>
          </a:xfrm>
          <a:prstGeom prst="line">
            <a:avLst/>
          </a:prstGeom>
          <a:noFill/>
          <a:ln w="9525" cap="flat" cmpd="sng" algn="ctr">
            <a:solidFill>
              <a:srgbClr val="DC69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139" name="이등변 삼각형 138"/>
          <p:cNvSpPr/>
          <p:nvPr/>
        </p:nvSpPr>
        <p:spPr bwMode="ltGray">
          <a:xfrm rot="5400000">
            <a:off x="3494440" y="5694834"/>
            <a:ext cx="505921" cy="16459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3970765" y="2723211"/>
            <a:ext cx="5096966" cy="1054972"/>
          </a:xfrm>
          <a:prstGeom prst="rect">
            <a:avLst/>
          </a:prstGeom>
          <a:noFill/>
        </p:spPr>
        <p:txBody>
          <a:bodyPr wrap="square" lIns="72000" tIns="72000" rIns="0" bIns="0" rtlCol="0">
            <a:noAutofit/>
          </a:bodyPr>
          <a:lstStyle/>
          <a:p>
            <a:pPr defTabSz="914400">
              <a:spcAft>
                <a:spcPts val="200"/>
              </a:spcAft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출입 거래자와 관계인에 대한 확인</a:t>
            </a:r>
            <a:endParaRPr lang="en-US" altLang="ko-KR" sz="1200" dirty="0" smtClean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358775" indent="-179388" defTabSz="91440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의 고객 및 기타 거래와 연관된 이해관계자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Agent, Shipping lines)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 소유자 등에 대한 검토</a:t>
            </a:r>
            <a:endParaRPr lang="en-US" altLang="ko-KR" sz="12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defTabSz="914400">
              <a:spcAft>
                <a:spcPts val="200"/>
              </a:spcAft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선박의 선적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하역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환적지 等 확인</a:t>
            </a:r>
            <a:endParaRPr lang="en-US" altLang="ko-KR" sz="1200" dirty="0" smtClean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358775" indent="-179388" defTabSz="91440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환적 지점 및 최종 목적지를 포함한 선적 경로에 대한 검토</a:t>
            </a:r>
            <a:endParaRPr lang="en-US" altLang="ko-KR" sz="12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3970765" y="4113828"/>
            <a:ext cx="5096966" cy="1227660"/>
          </a:xfrm>
          <a:prstGeom prst="rect">
            <a:avLst/>
          </a:prstGeom>
          <a:noFill/>
        </p:spPr>
        <p:txBody>
          <a:bodyPr wrap="square" lIns="72000" tIns="72000" rIns="0" bIns="0" rtlCol="0">
            <a:noAutofit/>
          </a:bodyPr>
          <a:lstStyle/>
          <a:p>
            <a:pPr defTabSz="914400">
              <a:spcAft>
                <a:spcPts val="200"/>
              </a:spcAft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 흐름과 관련된 당사자에 대한 확인</a:t>
            </a:r>
            <a:endParaRPr lang="en-US" altLang="ko-KR" sz="12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358775" indent="-179388" defTabSz="91440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 자금의 수익자의 국적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업 국가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실제 소유자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표자 등에 대한 검토</a:t>
            </a:r>
            <a:endParaRPr lang="en-US" altLang="ko-KR" sz="4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defTabSz="914400">
              <a:spcAft>
                <a:spcPts val="200"/>
              </a:spcAft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출입 관련 서류에 대한 확인</a:t>
            </a:r>
            <a:endParaRPr lang="en-US" altLang="ko-KR" sz="12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358775" indent="-179388" defTabSz="91440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선하 증권</a:t>
            </a:r>
            <a:r>
              <a:rPr lang="en-US" altLang="ko-KR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원자재 가격</a:t>
            </a:r>
            <a:r>
              <a:rPr lang="en-US" altLang="ko-KR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운송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비스 등 확인</a:t>
            </a:r>
            <a:endParaRPr lang="en-US" altLang="ko-KR" sz="12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8775" indent="-179388" defTabSz="91440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 품목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 단가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 수량 등에 대한 확인</a:t>
            </a:r>
            <a:endParaRPr lang="en-US" altLang="ko-KR" sz="12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3970765" y="5505585"/>
            <a:ext cx="5096966" cy="731727"/>
          </a:xfrm>
          <a:prstGeom prst="rect">
            <a:avLst/>
          </a:prstGeom>
          <a:noFill/>
        </p:spPr>
        <p:txBody>
          <a:bodyPr wrap="square" lIns="72000" tIns="72000" rIns="0" bIns="0" rtlCol="0">
            <a:noAutofit/>
          </a:bodyPr>
          <a:lstStyle/>
          <a:p>
            <a:pPr defTabSz="914400">
              <a:spcAft>
                <a:spcPts val="200"/>
              </a:spcAft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 품목에 대한 이중용도 물품</a:t>
            </a:r>
            <a:r>
              <a:rPr lang="en-US" altLang="ko-KR" sz="1200" b="1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DUG)</a:t>
            </a:r>
            <a:r>
              <a:rPr lang="ko-KR" altLang="en-US" sz="1200" b="1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확인</a:t>
            </a:r>
            <a:endParaRPr lang="en-US" altLang="ko-KR" sz="1200" b="1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358775" indent="-179388" defTabSz="91440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One Source DUG List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검토</a:t>
            </a:r>
            <a:endParaRPr lang="en-US" altLang="ko-KR" sz="12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8775" indent="-179388" defTabSz="914400"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DUG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 품목의 수출입 목적에 대한 확인</a:t>
            </a:r>
            <a:endParaRPr lang="en-US" altLang="ko-KR" sz="12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51" name="직사각형 150"/>
          <p:cNvSpPr/>
          <p:nvPr/>
        </p:nvSpPr>
        <p:spPr bwMode="ltGray">
          <a:xfrm>
            <a:off x="415274" y="2204864"/>
            <a:ext cx="3112990" cy="38523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무역거래 유형</a:t>
            </a:r>
          </a:p>
        </p:txBody>
      </p:sp>
      <p:sp>
        <p:nvSpPr>
          <p:cNvPr id="152" name="직사각형 151"/>
          <p:cNvSpPr/>
          <p:nvPr/>
        </p:nvSpPr>
        <p:spPr bwMode="ltGray">
          <a:xfrm>
            <a:off x="3970765" y="2204864"/>
            <a:ext cx="5198029" cy="385232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Sanctions Screening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대상</a:t>
            </a:r>
          </a:p>
        </p:txBody>
      </p:sp>
      <p:pic>
        <p:nvPicPr>
          <p:cNvPr id="33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58844" y="2279647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5646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5.8 </a:t>
            </a:r>
            <a:r>
              <a:rPr lang="ko-KR" altLang="en-US" dirty="0"/>
              <a:t>무역거래 </a:t>
            </a:r>
            <a:r>
              <a:rPr lang="en-US" altLang="ko-KR" dirty="0"/>
              <a:t>Screening Scenario </a:t>
            </a:r>
            <a:r>
              <a:rPr lang="ko-KR" altLang="en-US" dirty="0"/>
              <a:t>구성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8734763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거래에 대한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creening Scenario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를 도출하여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무역거래에 대한 고객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거래관계자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거래 상품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선박 등 위험요인을 모니터링 하도록 체계를 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무역거래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creening Scenario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구성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778" y="2204864"/>
            <a:ext cx="9181372" cy="4121253"/>
          </a:xfrm>
          <a:prstGeom prst="rect">
            <a:avLst/>
          </a:prstGeom>
        </p:spPr>
      </p:pic>
      <p:sp>
        <p:nvSpPr>
          <p:cNvPr id="1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44387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5 </a:t>
            </a:r>
            <a:r>
              <a:rPr lang="ko-KR" altLang="en-US" sz="10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환거래 은행 및 무역거래 관리</a:t>
            </a:r>
            <a:endParaRPr lang="en-US" altLang="ko-KR" sz="10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21" name="Picture 88" descr="예시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73269" y="210139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619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3.6 </a:t>
            </a:r>
            <a:r>
              <a:rPr lang="ko-KR" altLang="en-US" dirty="0"/>
              <a:t>의심거래 모니터링 구축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변화된 금융환경 및 감독방향에 대한 반영과 업권 공통 룰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신사례 기반 신규 룰 설계를 통하여 모델을 강화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다 선진화된 거래 모니터링 체계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의심거래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니터링 구축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66" name="Rectangle 108"/>
          <p:cNvSpPr>
            <a:spLocks noChangeArrowheads="1"/>
          </p:cNvSpPr>
          <p:nvPr/>
        </p:nvSpPr>
        <p:spPr bwMode="auto">
          <a:xfrm>
            <a:off x="3008658" y="2394134"/>
            <a:ext cx="3885914" cy="327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ko-KR" altLang="en-US" sz="1100" u="sng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의심거래 모니터링 룰 모델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요</a:t>
            </a:r>
          </a:p>
        </p:txBody>
      </p:sp>
      <p:pic>
        <p:nvPicPr>
          <p:cNvPr id="67" name="Picture 57" descr="5"/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8231" y="2910679"/>
            <a:ext cx="2449495" cy="80091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Text Box 91"/>
          <p:cNvSpPr txBox="1">
            <a:spLocks noChangeAspect="1" noChangeArrowheads="1"/>
          </p:cNvSpPr>
          <p:nvPr/>
        </p:nvSpPr>
        <p:spPr bwMode="auto">
          <a:xfrm>
            <a:off x="3739576" y="3176972"/>
            <a:ext cx="22268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kumimoji="0" lang="ko-KR" altLang="en-US" sz="12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고객 </a:t>
            </a:r>
            <a:r>
              <a:rPr kumimoji="0" lang="en-US" altLang="ko-KR" sz="12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/ </a:t>
            </a:r>
            <a:r>
              <a:rPr kumimoji="0" lang="ko-KR" altLang="en-US" sz="12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계좌 </a:t>
            </a:r>
            <a:r>
              <a:rPr kumimoji="0" lang="en-US" altLang="ko-KR" sz="12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/ </a:t>
            </a:r>
            <a:r>
              <a:rPr kumimoji="0" lang="ko-KR" altLang="en-US" sz="1200" spc="-10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거래 데이터</a:t>
            </a:r>
          </a:p>
        </p:txBody>
      </p:sp>
      <p:sp>
        <p:nvSpPr>
          <p:cNvPr id="69" name="Rectangle 66"/>
          <p:cNvSpPr>
            <a:spLocks noChangeArrowheads="1"/>
          </p:cNvSpPr>
          <p:nvPr/>
        </p:nvSpPr>
        <p:spPr bwMode="auto">
          <a:xfrm>
            <a:off x="3499950" y="4268232"/>
            <a:ext cx="2482927" cy="1509806"/>
          </a:xfrm>
          <a:prstGeom prst="rect">
            <a:avLst/>
          </a:prstGeom>
          <a:noFill/>
          <a:ln w="9525">
            <a:solidFill>
              <a:srgbClr val="C5A059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endParaRPr kumimoji="0" lang="en-US" altLang="ko-KR" sz="1062" spc="-100" dirty="0">
              <a:latin typeface="KoPub돋움체 Light" panose="02020603020101020101" pitchFamily="18" charset="-127"/>
              <a:ea typeface="KoPub돋움체 Light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0" name="Rectangle 67"/>
          <p:cNvSpPr>
            <a:spLocks noChangeArrowheads="1"/>
          </p:cNvSpPr>
          <p:nvPr/>
        </p:nvSpPr>
        <p:spPr bwMode="auto">
          <a:xfrm>
            <a:off x="3639651" y="4368373"/>
            <a:ext cx="457988" cy="34856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신</a:t>
            </a:r>
          </a:p>
        </p:txBody>
      </p:sp>
      <p:sp>
        <p:nvSpPr>
          <p:cNvPr id="71" name="Rectangle 69"/>
          <p:cNvSpPr>
            <a:spLocks noChangeArrowheads="1"/>
          </p:cNvSpPr>
          <p:nvPr/>
        </p:nvSpPr>
        <p:spPr bwMode="auto">
          <a:xfrm>
            <a:off x="3639651" y="4803598"/>
            <a:ext cx="457988" cy="34856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신</a:t>
            </a:r>
          </a:p>
        </p:txBody>
      </p:sp>
      <p:sp>
        <p:nvSpPr>
          <p:cNvPr id="72" name="Rectangle 71"/>
          <p:cNvSpPr>
            <a:spLocks noChangeArrowheads="1"/>
          </p:cNvSpPr>
          <p:nvPr/>
        </p:nvSpPr>
        <p:spPr bwMode="auto">
          <a:xfrm>
            <a:off x="3639651" y="5240748"/>
            <a:ext cx="457988" cy="34856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골드바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3" name="Oval 74"/>
          <p:cNvSpPr>
            <a:spLocks noChangeArrowheads="1"/>
          </p:cNvSpPr>
          <p:nvPr/>
        </p:nvSpPr>
        <p:spPr bwMode="auto">
          <a:xfrm>
            <a:off x="4672283" y="5637456"/>
            <a:ext cx="67690" cy="86660"/>
          </a:xfrm>
          <a:prstGeom prst="ellipse">
            <a:avLst/>
          </a:prstGeom>
          <a:solidFill>
            <a:srgbClr val="B2B2B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endParaRPr kumimoji="0" lang="en-US" altLang="ko-KR" sz="1062" spc="-100" dirty="0">
              <a:latin typeface="KoPub돋움체 Light" panose="02020603020101020101" pitchFamily="18" charset="-127"/>
              <a:ea typeface="KoPub돋움체 Light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4" name="Oval 75"/>
          <p:cNvSpPr>
            <a:spLocks noChangeArrowheads="1"/>
          </p:cNvSpPr>
          <p:nvPr/>
        </p:nvSpPr>
        <p:spPr bwMode="auto">
          <a:xfrm>
            <a:off x="4799022" y="5639384"/>
            <a:ext cx="67690" cy="86660"/>
          </a:xfrm>
          <a:prstGeom prst="ellipse">
            <a:avLst/>
          </a:prstGeom>
          <a:solidFill>
            <a:srgbClr val="B2B2B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endParaRPr kumimoji="0" lang="en-US" altLang="ko-KR" sz="1062" spc="-100" dirty="0">
              <a:latin typeface="KoPub돋움체 Light" panose="02020603020101020101" pitchFamily="18" charset="-127"/>
              <a:ea typeface="KoPub돋움체 Light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5" name="Oval 76"/>
          <p:cNvSpPr>
            <a:spLocks noChangeArrowheads="1"/>
          </p:cNvSpPr>
          <p:nvPr/>
        </p:nvSpPr>
        <p:spPr bwMode="auto">
          <a:xfrm>
            <a:off x="4930082" y="5639384"/>
            <a:ext cx="67689" cy="86660"/>
          </a:xfrm>
          <a:prstGeom prst="ellipse">
            <a:avLst/>
          </a:prstGeom>
          <a:solidFill>
            <a:srgbClr val="B2B2B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endParaRPr kumimoji="0" lang="en-US" altLang="ko-KR" sz="1062" spc="-100" dirty="0">
              <a:latin typeface="KoPub돋움체 Light" panose="02020603020101020101" pitchFamily="18" charset="-127"/>
              <a:ea typeface="KoPub돋움체 Light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6" name="Line 94"/>
          <p:cNvSpPr>
            <a:spLocks noChangeShapeType="1"/>
          </p:cNvSpPr>
          <p:nvPr/>
        </p:nvSpPr>
        <p:spPr bwMode="auto">
          <a:xfrm>
            <a:off x="5614838" y="3653911"/>
            <a:ext cx="0" cy="960962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7" name="Line 95"/>
          <p:cNvSpPr>
            <a:spLocks noChangeShapeType="1"/>
          </p:cNvSpPr>
          <p:nvPr/>
        </p:nvSpPr>
        <p:spPr bwMode="auto">
          <a:xfrm>
            <a:off x="5609810" y="4603657"/>
            <a:ext cx="620539" cy="0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8" name="Line 97"/>
          <p:cNvSpPr>
            <a:spLocks noChangeShapeType="1"/>
          </p:cNvSpPr>
          <p:nvPr/>
        </p:nvSpPr>
        <p:spPr bwMode="auto">
          <a:xfrm>
            <a:off x="4299949" y="3686422"/>
            <a:ext cx="0" cy="2221954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9" name="Line 98"/>
          <p:cNvSpPr>
            <a:spLocks noChangeShapeType="1"/>
          </p:cNvSpPr>
          <p:nvPr/>
        </p:nvSpPr>
        <p:spPr bwMode="auto">
          <a:xfrm>
            <a:off x="5286116" y="3692029"/>
            <a:ext cx="0" cy="1309527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0" name="Line 100"/>
          <p:cNvSpPr>
            <a:spLocks noChangeShapeType="1"/>
          </p:cNvSpPr>
          <p:nvPr/>
        </p:nvSpPr>
        <p:spPr bwMode="auto">
          <a:xfrm>
            <a:off x="5292233" y="4995947"/>
            <a:ext cx="946220" cy="0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1" name="Line 101"/>
          <p:cNvSpPr>
            <a:spLocks noChangeShapeType="1"/>
          </p:cNvSpPr>
          <p:nvPr/>
        </p:nvSpPr>
        <p:spPr bwMode="auto">
          <a:xfrm>
            <a:off x="4957394" y="3708852"/>
            <a:ext cx="0" cy="1675572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2" name="Line 102"/>
          <p:cNvSpPr>
            <a:spLocks noChangeShapeType="1"/>
          </p:cNvSpPr>
          <p:nvPr/>
        </p:nvSpPr>
        <p:spPr bwMode="auto">
          <a:xfrm>
            <a:off x="4952120" y="5390538"/>
            <a:ext cx="1273738" cy="0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3" name="Line 103"/>
          <p:cNvSpPr>
            <a:spLocks noChangeShapeType="1"/>
          </p:cNvSpPr>
          <p:nvPr/>
        </p:nvSpPr>
        <p:spPr bwMode="auto">
          <a:xfrm>
            <a:off x="4628671" y="3697638"/>
            <a:ext cx="0" cy="2221954"/>
          </a:xfrm>
          <a:prstGeom prst="line">
            <a:avLst/>
          </a:prstGeom>
          <a:noFill/>
          <a:ln w="28575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6909" tIns="45192" rIns="86909" bIns="45192" anchor="ctr"/>
          <a:lstStyle/>
          <a:p>
            <a:endParaRPr lang="ko-KR" altLang="en-US" sz="2317" spc="-1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4" name="AutoShape 104"/>
          <p:cNvSpPr>
            <a:spLocks noChangeArrowheads="1"/>
          </p:cNvSpPr>
          <p:nvPr/>
        </p:nvSpPr>
        <p:spPr bwMode="auto">
          <a:xfrm>
            <a:off x="6270485" y="4355968"/>
            <a:ext cx="805139" cy="1309527"/>
          </a:xfrm>
          <a:prstGeom prst="irregularSeal1">
            <a:avLst/>
          </a:prstGeom>
          <a:solidFill>
            <a:srgbClr val="79C9F9"/>
          </a:solidFill>
          <a:ln>
            <a:noFill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/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lert</a:t>
            </a:r>
          </a:p>
        </p:txBody>
      </p:sp>
      <p:sp>
        <p:nvSpPr>
          <p:cNvPr id="85" name="Text Box 106"/>
          <p:cNvSpPr txBox="1">
            <a:spLocks noChangeAspect="1" noChangeArrowheads="1"/>
          </p:cNvSpPr>
          <p:nvPr/>
        </p:nvSpPr>
        <p:spPr bwMode="auto">
          <a:xfrm>
            <a:off x="3926254" y="5964370"/>
            <a:ext cx="1059997" cy="272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kumimoji="0" lang="ko-KR" altLang="en-US" sz="1062" spc="-100" dirty="0"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anose="020B0604020202020204" pitchFamily="34" charset="0"/>
              </a:rPr>
              <a:t>정상거래</a:t>
            </a:r>
          </a:p>
        </p:txBody>
      </p:sp>
      <p:sp>
        <p:nvSpPr>
          <p:cNvPr id="86" name="Rectangle 92"/>
          <p:cNvSpPr>
            <a:spLocks noChangeArrowheads="1"/>
          </p:cNvSpPr>
          <p:nvPr/>
        </p:nvSpPr>
        <p:spPr bwMode="auto">
          <a:xfrm>
            <a:off x="2968513" y="4239346"/>
            <a:ext cx="504074" cy="1571431"/>
          </a:xfrm>
          <a:prstGeom prst="rect">
            <a:avLst/>
          </a:prstGeom>
          <a:solidFill>
            <a:srgbClr val="D3EDFD"/>
          </a:solidFill>
          <a:ln w="3175" cap="rnd">
            <a:solidFill>
              <a:schemeClr val="bg1">
                <a:lumMod val="50000"/>
              </a:schemeClr>
            </a:solidFill>
            <a:prstDash val="sysDot"/>
            <a:miter lim="800000"/>
            <a:headEnd/>
            <a:tailEnd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ule</a:t>
            </a:r>
          </a:p>
          <a:p>
            <a:pPr algn="ctr" latinLnBrk="0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Based</a:t>
            </a:r>
          </a:p>
          <a:p>
            <a:pPr algn="ctr" latinLnBrk="0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odel</a:t>
            </a:r>
          </a:p>
        </p:txBody>
      </p:sp>
      <p:sp>
        <p:nvSpPr>
          <p:cNvPr id="87" name="Rectangle 70"/>
          <p:cNvSpPr>
            <a:spLocks noChangeArrowheads="1"/>
          </p:cNvSpPr>
          <p:nvPr/>
        </p:nvSpPr>
        <p:spPr bwMode="auto">
          <a:xfrm>
            <a:off x="4162448" y="4803598"/>
            <a:ext cx="1698011" cy="348564"/>
          </a:xfrm>
          <a:prstGeom prst="rect">
            <a:avLst/>
          </a:prstGeom>
          <a:solidFill>
            <a:schemeClr val="bg1">
              <a:alpha val="15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출금액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&gt;5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억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ND ….</a:t>
            </a:r>
          </a:p>
        </p:txBody>
      </p:sp>
      <p:sp>
        <p:nvSpPr>
          <p:cNvPr id="88" name="Rectangle 72"/>
          <p:cNvSpPr>
            <a:spLocks noChangeArrowheads="1"/>
          </p:cNvSpPr>
          <p:nvPr/>
        </p:nvSpPr>
        <p:spPr bwMode="auto">
          <a:xfrm>
            <a:off x="4162448" y="5240748"/>
            <a:ext cx="1698011" cy="348565"/>
          </a:xfrm>
          <a:prstGeom prst="rect">
            <a:avLst/>
          </a:prstGeom>
          <a:solidFill>
            <a:schemeClr val="bg1">
              <a:alpha val="15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구입금액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&gt;3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억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OR ….</a:t>
            </a:r>
          </a:p>
        </p:txBody>
      </p:sp>
      <p:sp>
        <p:nvSpPr>
          <p:cNvPr id="89" name="Rectangle 68"/>
          <p:cNvSpPr>
            <a:spLocks noChangeArrowheads="1"/>
          </p:cNvSpPr>
          <p:nvPr/>
        </p:nvSpPr>
        <p:spPr bwMode="auto">
          <a:xfrm>
            <a:off x="4162448" y="4368373"/>
            <a:ext cx="1698011" cy="348564"/>
          </a:xfrm>
          <a:prstGeom prst="rect">
            <a:avLst/>
          </a:prstGeom>
          <a:solidFill>
            <a:schemeClr val="bg1">
              <a:alpha val="15000"/>
            </a:schemeClr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86909" tIns="45192" rIns="86909" bIns="45192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금액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&gt;1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억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ND ….</a:t>
            </a:r>
          </a:p>
        </p:txBody>
      </p:sp>
      <p:sp>
        <p:nvSpPr>
          <p:cNvPr id="64" name="직사각형 63"/>
          <p:cNvSpPr/>
          <p:nvPr/>
        </p:nvSpPr>
        <p:spPr bwMode="ltGray">
          <a:xfrm>
            <a:off x="513036" y="2622395"/>
            <a:ext cx="2264572" cy="3614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129" tIns="106129" rIns="141506" bIns="106129" rtlCol="0" anchor="ctr"/>
          <a:lstStyle/>
          <a:p>
            <a:pPr marL="176285" indent="-176285" defTabSz="883334">
              <a:spcBef>
                <a:spcPts val="1179"/>
              </a:spcBef>
              <a:buFont typeface="+mj-lt"/>
              <a:buAutoNum type="arabicPeriod"/>
              <a:defRPr/>
            </a:pP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감독기관 요구사항 대응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352568" lvl="1" indent="-176285" defTabSz="883334">
              <a:spcBef>
                <a:spcPts val="59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기적인 거래 모니터링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ule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델 검증 및 개선 요구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59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변화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oFIU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행평가 대응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617774" lvl="1" indent="-168484" defTabSz="883334">
              <a:buFont typeface="Arial" panose="020B0604020202020204" pitchFamily="34" charset="0"/>
              <a:buChar char="•"/>
              <a:defRPr/>
            </a:pPr>
            <a:endParaRPr lang="en-US" altLang="ko-KR" sz="1032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6285" indent="-176285" defTabSz="883334">
              <a:spcBef>
                <a:spcPts val="1179"/>
              </a:spcBef>
              <a:buFont typeface="+mj-lt"/>
              <a:buAutoNum type="arabicPeriod"/>
              <a:defRPr/>
            </a:pP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ML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운영 효율성 제고</a:t>
            </a:r>
          </a:p>
          <a:p>
            <a:pPr marL="352568" lvl="1" indent="-176285" defTabSz="883334">
              <a:spcBef>
                <a:spcPts val="59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불필요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ert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생으로 인한 업무 부담 경감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59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특정 업무에 대한 거래모니터링 누락 위험 가능성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59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효율적인 모델 관리 체계 수립 필요</a:t>
            </a:r>
          </a:p>
          <a:p>
            <a:pPr marL="168484" indent="-168484" defTabSz="883334">
              <a:buFont typeface="Arial" panose="020B0604020202020204" pitchFamily="34" charset="0"/>
              <a:buChar char="•"/>
              <a:defRPr/>
            </a:pPr>
            <a:endParaRPr lang="en-US" altLang="ko-KR" sz="1081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5" name="직사각형 64"/>
          <p:cNvSpPr/>
          <p:nvPr/>
        </p:nvSpPr>
        <p:spPr bwMode="ltGray">
          <a:xfrm>
            <a:off x="520695" y="2292100"/>
            <a:ext cx="2257476" cy="302006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의심거래 모니터링 모델 개선 필요성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0" name="직사각형 59"/>
          <p:cNvSpPr/>
          <p:nvPr/>
        </p:nvSpPr>
        <p:spPr bwMode="ltGray">
          <a:xfrm>
            <a:off x="2827607" y="2292099"/>
            <a:ext cx="4248017" cy="3944549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129" tIns="106129" rIns="141506" bIns="106129" rtlCol="0" anchor="ctr"/>
          <a:lstStyle/>
          <a:p>
            <a:pPr marL="168484" indent="-168484" defTabSz="883334">
              <a:buFont typeface="Arial" panose="020B0604020202020204" pitchFamily="34" charset="0"/>
              <a:buChar char="•"/>
              <a:defRPr/>
            </a:pPr>
            <a:endParaRPr lang="en-US" altLang="ko-KR" sz="1081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2" name="직사각형 61"/>
          <p:cNvSpPr/>
          <p:nvPr/>
        </p:nvSpPr>
        <p:spPr bwMode="ltGray">
          <a:xfrm>
            <a:off x="7122391" y="2622394"/>
            <a:ext cx="2264572" cy="36142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129" tIns="106129" rIns="141506" bIns="106129" rtlCol="0" anchor="ctr"/>
          <a:lstStyle/>
          <a:p>
            <a:pPr marL="176285" indent="-176285" defTabSz="883334">
              <a:spcBef>
                <a:spcPts val="1179"/>
              </a:spcBef>
              <a:buFont typeface="+mj-lt"/>
              <a:buAutoNum type="arabicPeriod"/>
              <a:defRPr/>
            </a:pP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의심거래 모니터링을 위한 룰 모델 진단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(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기존 룰 최적화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)</a:t>
            </a:r>
          </a:p>
          <a:p>
            <a:pPr marL="352568" lvl="1" indent="-176285" defTabSz="883334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의 생산성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사성 안정성 분석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Threshold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분석</a:t>
            </a:r>
            <a:endParaRPr lang="en-US" altLang="ko-KR" sz="1032" spc="-100" dirty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6285" indent="-176285" defTabSz="883334">
              <a:spcBef>
                <a:spcPts val="1179"/>
              </a:spcBef>
              <a:buFont typeface="+mj-lt"/>
              <a:buAutoNum type="arabicPeriod"/>
              <a:defRPr/>
            </a:pP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최신 사례 및 감독 방향 반영 신규 룰 추가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352568" lvl="1" indent="-176285" defTabSz="883334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례기반 시나리오 도출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규 룰 정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</a:t>
            </a:r>
            <a:endParaRPr lang="en-US" altLang="ko-KR" sz="1032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6285" indent="-176285" defTabSz="883334">
              <a:spcBef>
                <a:spcPts val="1179"/>
              </a:spcBef>
              <a:buFont typeface="+mj-lt"/>
              <a:buAutoNum type="arabicPeriod"/>
              <a:defRPr/>
            </a:pP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의심거래보고 업무절차 등 프로세스 개선 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352568" lvl="1" indent="-176285" defTabSz="883334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절차 검토 및 개선안 도출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업점 보고제외 거래 모니터링 절차 구축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심거래 테마점검 기능 구축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352568" lvl="1" indent="-176285" defTabSz="883334">
              <a:spcBef>
                <a:spcPts val="300"/>
              </a:spcBef>
              <a:buFont typeface="Wingdings" panose="05000000000000000000" pitchFamily="2" charset="2"/>
              <a:buChar char="ü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상거래탐지시스템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FDS)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거래 보고 검토 절차 마련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3" name="직사각형 62"/>
          <p:cNvSpPr/>
          <p:nvPr/>
        </p:nvSpPr>
        <p:spPr bwMode="ltGray">
          <a:xfrm>
            <a:off x="7130050" y="2292099"/>
            <a:ext cx="2257476" cy="302006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의심거래 모니터링 개선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Task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06338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4835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1 </a:t>
            </a:r>
            <a:r>
              <a:rPr lang="ko-KR" altLang="en-US" dirty="0"/>
              <a:t>의심거래 모니터링을 위한 룰 모델 진단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룰 모델 고도화는 다음과 같은 절차에 따라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의심거래 모니터링을 위한 룰 모델 진단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7" name="TextBox 46"/>
          <p:cNvSpPr txBox="1"/>
          <p:nvPr/>
        </p:nvSpPr>
        <p:spPr>
          <a:xfrm>
            <a:off x="2454484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232559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010635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788709" y="5358614"/>
            <a:ext cx="1580673" cy="8732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endParaRPr lang="ko-KR" altLang="en-US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51" name="그룹 50"/>
          <p:cNvGrpSpPr/>
          <p:nvPr/>
        </p:nvGrpSpPr>
        <p:grpSpPr>
          <a:xfrm>
            <a:off x="2473693" y="5472613"/>
            <a:ext cx="6979807" cy="651141"/>
            <a:chOff x="2774290" y="5298481"/>
            <a:chExt cx="5960707" cy="590550"/>
          </a:xfrm>
        </p:grpSpPr>
        <p:sp>
          <p:nvSpPr>
            <p:cNvPr id="52" name="직사각형 51"/>
            <p:cNvSpPr/>
            <p:nvPr/>
          </p:nvSpPr>
          <p:spPr bwMode="auto">
            <a:xfrm>
              <a:off x="2774290" y="5298481"/>
              <a:ext cx="1351872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룰 모델 현황분석 보고서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3" name="직사각형 52"/>
            <p:cNvSpPr/>
            <p:nvPr/>
          </p:nvSpPr>
          <p:spPr bwMode="auto">
            <a:xfrm>
              <a:off x="4320045" y="5298481"/>
              <a:ext cx="1292625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룰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델 유효성 검증 보고서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5725" indent="-85725" latinLnBrk="0">
                <a:spcBef>
                  <a:spcPct val="50000"/>
                </a:spcBef>
                <a:buFont typeface="Wingdings" pitchFamily="2" charset="2"/>
                <a:buChar char="§"/>
                <a:defRPr/>
              </a:pPr>
              <a:endParaRPr lang="ko-KR" altLang="en-US" sz="1000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 bwMode="auto">
            <a:xfrm>
              <a:off x="5860522" y="5298481"/>
              <a:ext cx="1259068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룰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델 테스트 결과서 </a:t>
              </a:r>
            </a:p>
          </p:txBody>
        </p:sp>
        <p:sp>
          <p:nvSpPr>
            <p:cNvPr id="56" name="직사각형 55"/>
            <p:cNvSpPr/>
            <p:nvPr/>
          </p:nvSpPr>
          <p:spPr bwMode="auto">
            <a:xfrm>
              <a:off x="7344302" y="5298481"/>
              <a:ext cx="1390695" cy="590550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36000"/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o-Be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룰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델 정의서</a:t>
              </a:r>
              <a:endPara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델 적용방안</a:t>
              </a:r>
            </a:p>
          </p:txBody>
        </p:sp>
      </p:grpSp>
      <p:sp>
        <p:nvSpPr>
          <p:cNvPr id="57" name="직사각형 56"/>
          <p:cNvSpPr/>
          <p:nvPr/>
        </p:nvSpPr>
        <p:spPr bwMode="ltGray">
          <a:xfrm>
            <a:off x="518331" y="2304994"/>
            <a:ext cx="1662539" cy="3926880"/>
          </a:xfrm>
          <a:prstGeom prst="rect">
            <a:avLst/>
          </a:prstGeom>
          <a:solidFill>
            <a:srgbClr val="D3EDFD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이터 분석에 기반한 객관적이고 실효성 있는 </a:t>
            </a: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심거래 모니터링 </a:t>
            </a: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룰 모델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발</a:t>
            </a:r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를 위해</a:t>
            </a:r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algn="ctr"/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산은행 內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축적된 </a:t>
            </a: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고 데이터와 </a:t>
            </a:r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oFIU</a:t>
            </a: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공 데이터를</a:t>
            </a:r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계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석하여</a:t>
            </a:r>
            <a:endParaRPr lang="en-US" altLang="ko-KR" sz="12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o-Be </a:t>
            </a: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심거래 모니터링 </a:t>
            </a:r>
            <a: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룰 모델을 </a:t>
            </a: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적화 함</a:t>
            </a:r>
          </a:p>
        </p:txBody>
      </p:sp>
      <p:sp>
        <p:nvSpPr>
          <p:cNvPr id="90" name="직사각형 89"/>
          <p:cNvSpPr/>
          <p:nvPr/>
        </p:nvSpPr>
        <p:spPr>
          <a:xfrm>
            <a:off x="2473693" y="2944739"/>
            <a:ext cx="1568041" cy="351175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List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및 상세정의 자료 수집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세 룰 정의서 및 추출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로직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분석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최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룰 운영자료 수집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건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 건 집계 등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 수집 기간은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은행과의 협의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하여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정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룰 운영현황 분석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운영 상의 이슈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출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1" name="오각형 90"/>
          <p:cNvSpPr/>
          <p:nvPr/>
        </p:nvSpPr>
        <p:spPr bwMode="ltGray">
          <a:xfrm>
            <a:off x="2406390" y="2303910"/>
            <a:ext cx="1771919" cy="477018"/>
          </a:xfrm>
          <a:prstGeom prst="homePlate">
            <a:avLst>
              <a:gd name="adj" fmla="val 23753"/>
            </a:avLst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현황분석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430743" y="2370945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3" name="갈매기형 수장 92"/>
          <p:cNvSpPr/>
          <p:nvPr/>
        </p:nvSpPr>
        <p:spPr bwMode="ltGray">
          <a:xfrm>
            <a:off x="4191528" y="2303910"/>
            <a:ext cx="1748908" cy="477018"/>
          </a:xfrm>
          <a:prstGeom prst="chevron">
            <a:avLst>
              <a:gd name="adj" fmla="val 23752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유효성 검증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4248142" y="2370945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4295791" y="2944739"/>
            <a:ext cx="1564812" cy="30836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룰 생산성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분석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roductive Alert Analysis)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룰 추출 데이터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집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룰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사성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분석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데이터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운영지표 데이터 수집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룰 안정성 분석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Threshold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분석</a:t>
            </a:r>
          </a:p>
        </p:txBody>
      </p:sp>
      <p:cxnSp>
        <p:nvCxnSpPr>
          <p:cNvPr id="96" name="직선 연결선 95"/>
          <p:cNvCxnSpPr/>
          <p:nvPr/>
        </p:nvCxnSpPr>
        <p:spPr>
          <a:xfrm>
            <a:off x="4155044" y="2900856"/>
            <a:ext cx="0" cy="230222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갈매기형 수장 96"/>
          <p:cNvSpPr/>
          <p:nvPr/>
        </p:nvSpPr>
        <p:spPr bwMode="ltGray">
          <a:xfrm>
            <a:off x="5948976" y="2304995"/>
            <a:ext cx="1748907" cy="477018"/>
          </a:xfrm>
          <a:prstGeom prst="chevron">
            <a:avLst>
              <a:gd name="adj" fmla="val 23752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화 방안 도출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6029943" y="2370945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6067097" y="2944739"/>
            <a:ext cx="1564812" cy="30836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생산성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분석 결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반의 개선방안 도출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–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ert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생 건 대비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율이 낮은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ule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경우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ule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삭제 및 통합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려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사성 분석 결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반의 개선방안 도출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– 2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 이상의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ule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서 추출되는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ert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 유사성이 높을 경우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ule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합 고려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안정성 분석 결과 기반의 개선방안 도출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0" name="직선 연결선 99"/>
          <p:cNvCxnSpPr/>
          <p:nvPr/>
        </p:nvCxnSpPr>
        <p:spPr>
          <a:xfrm>
            <a:off x="5911055" y="2890970"/>
            <a:ext cx="0" cy="230222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갈매기형 수장 100"/>
          <p:cNvSpPr/>
          <p:nvPr/>
        </p:nvSpPr>
        <p:spPr bwMode="ltGray">
          <a:xfrm>
            <a:off x="7704593" y="2304993"/>
            <a:ext cx="1748907" cy="477018"/>
          </a:xfrm>
          <a:prstGeom prst="chevron">
            <a:avLst>
              <a:gd name="adj" fmla="val 23752"/>
            </a:avLst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리뷰 및</a:t>
            </a:r>
          </a:p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관련 근거 마련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7785561" y="2370943"/>
            <a:ext cx="230120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7822713" y="2944739"/>
            <a:ext cx="1599575" cy="30836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출된 개선방안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최적화 등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 대한 업무담당자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뷰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가적인 담당자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요구사항 반영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선방안 적용에 따른 관련 근거 마련 및 유관부서와의 협의</a:t>
            </a:r>
          </a:p>
          <a:p>
            <a:pPr marL="174625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산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을 위한 상세 요건 정의서 작성</a:t>
            </a:r>
          </a:p>
        </p:txBody>
      </p:sp>
      <p:cxnSp>
        <p:nvCxnSpPr>
          <p:cNvPr id="104" name="직선 연결선 103"/>
          <p:cNvCxnSpPr/>
          <p:nvPr/>
        </p:nvCxnSpPr>
        <p:spPr>
          <a:xfrm>
            <a:off x="7666672" y="2890968"/>
            <a:ext cx="0" cy="230222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064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2 </a:t>
            </a:r>
            <a:r>
              <a:rPr lang="ko-KR" altLang="en-US" dirty="0"/>
              <a:t>보유 룰 현황분석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유 룰 현황분석은 관련 기초데이터를 수집하고 분석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nsight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를 도출하는 과정으로 수행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의심거래 모니터링을 위한 룰 모델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진단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보유 룰 현황분석</a:t>
              </a:r>
              <a:endParaRPr lang="en-US" altLang="ko-KR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25" name="오각형 124"/>
          <p:cNvSpPr/>
          <p:nvPr/>
        </p:nvSpPr>
        <p:spPr bwMode="ltGray">
          <a:xfrm>
            <a:off x="488505" y="2303910"/>
            <a:ext cx="2247982" cy="477018"/>
          </a:xfrm>
          <a:prstGeom prst="homePlate">
            <a:avLst>
              <a:gd name="adj" fmla="val 23753"/>
            </a:avLst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현황분석</a:t>
            </a:r>
            <a:endParaRPr lang="ko-KR" altLang="en-US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519401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7" name="갈매기형 수장 126"/>
          <p:cNvSpPr/>
          <p:nvPr/>
        </p:nvSpPr>
        <p:spPr bwMode="ltGray">
          <a:xfrm>
            <a:off x="2753258" y="2303910"/>
            <a:ext cx="2218789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유효성 검증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2825083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9" name="갈매기형 수장 128"/>
          <p:cNvSpPr/>
          <p:nvPr/>
        </p:nvSpPr>
        <p:spPr bwMode="ltGray">
          <a:xfrm>
            <a:off x="4982881" y="2304995"/>
            <a:ext cx="2218788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화 방안 도출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5085601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1" name="갈매기형 수장 130"/>
          <p:cNvSpPr/>
          <p:nvPr/>
        </p:nvSpPr>
        <p:spPr bwMode="ltGray">
          <a:xfrm>
            <a:off x="7210181" y="2304993"/>
            <a:ext cx="2218788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리뷰 및</a:t>
            </a:r>
          </a:p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관련 근거 마련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312903" y="2370943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4" name="원통 133"/>
          <p:cNvSpPr/>
          <p:nvPr/>
        </p:nvSpPr>
        <p:spPr bwMode="ltGray">
          <a:xfrm>
            <a:off x="607989" y="5023204"/>
            <a:ext cx="710252" cy="484698"/>
          </a:xfrm>
          <a:prstGeom prst="can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룰 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List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상세정의</a:t>
            </a:r>
          </a:p>
        </p:txBody>
      </p:sp>
      <p:sp>
        <p:nvSpPr>
          <p:cNvPr id="135" name="원통 134"/>
          <p:cNvSpPr/>
          <p:nvPr/>
        </p:nvSpPr>
        <p:spPr bwMode="ltGray">
          <a:xfrm>
            <a:off x="1365436" y="5023204"/>
            <a:ext cx="710252" cy="484698"/>
          </a:xfrm>
          <a:prstGeom prst="can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룰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 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ata</a:t>
            </a:r>
            <a:endParaRPr lang="ko-KR" altLang="en-US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6" name="원통 135"/>
          <p:cNvSpPr/>
          <p:nvPr/>
        </p:nvSpPr>
        <p:spPr bwMode="ltGray">
          <a:xfrm>
            <a:off x="2116059" y="5023204"/>
            <a:ext cx="710252" cy="484698"/>
          </a:xfrm>
          <a:prstGeom prst="can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성과 </a:t>
            </a:r>
            <a:r>
              <a:rPr lang="en-US" altLang="ko-KR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ata</a:t>
            </a:r>
            <a:endParaRPr lang="ko-KR" altLang="en-US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2826310" y="5200435"/>
            <a:ext cx="471251" cy="30746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dirty="0" smtClean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1051702" y="4545124"/>
            <a:ext cx="1908577" cy="19726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900"/>
              </a:spcAft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황분석을 위한 기초데이터</a:t>
            </a:r>
          </a:p>
        </p:txBody>
      </p:sp>
      <p:cxnSp>
        <p:nvCxnSpPr>
          <p:cNvPr id="139" name="꺾인 연결선 138"/>
          <p:cNvCxnSpPr>
            <a:stCxn id="138" idx="2"/>
            <a:endCxn id="134" idx="1"/>
          </p:cNvCxnSpPr>
          <p:nvPr/>
        </p:nvCxnSpPr>
        <p:spPr>
          <a:xfrm rot="5400000">
            <a:off x="1344144" y="4361358"/>
            <a:ext cx="280818" cy="1042876"/>
          </a:xfrm>
          <a:prstGeom prst="bentConnector3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꺾인 연결선 139"/>
          <p:cNvCxnSpPr>
            <a:stCxn id="138" idx="2"/>
            <a:endCxn id="135" idx="1"/>
          </p:cNvCxnSpPr>
          <p:nvPr/>
        </p:nvCxnSpPr>
        <p:spPr>
          <a:xfrm rot="5400000">
            <a:off x="1722868" y="4740081"/>
            <a:ext cx="280818" cy="285429"/>
          </a:xfrm>
          <a:prstGeom prst="bentConnector3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꺾인 연결선 140"/>
          <p:cNvCxnSpPr>
            <a:stCxn id="138" idx="2"/>
            <a:endCxn id="136" idx="1"/>
          </p:cNvCxnSpPr>
          <p:nvPr/>
        </p:nvCxnSpPr>
        <p:spPr>
          <a:xfrm rot="16200000" flipH="1">
            <a:off x="2098179" y="4650197"/>
            <a:ext cx="280818" cy="465195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꺾인 연결선 141"/>
          <p:cNvCxnSpPr>
            <a:stCxn id="138" idx="2"/>
            <a:endCxn id="137" idx="0"/>
          </p:cNvCxnSpPr>
          <p:nvPr/>
        </p:nvCxnSpPr>
        <p:spPr>
          <a:xfrm rot="16200000" flipH="1">
            <a:off x="2304938" y="4443438"/>
            <a:ext cx="458050" cy="1055947"/>
          </a:xfrm>
          <a:prstGeom prst="bentConnector3">
            <a:avLst>
              <a:gd name="adj1" fmla="val 29562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직사각형 142"/>
          <p:cNvSpPr/>
          <p:nvPr/>
        </p:nvSpPr>
        <p:spPr bwMode="ltGray">
          <a:xfrm>
            <a:off x="488504" y="2920482"/>
            <a:ext cx="2805717" cy="43833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OLLECT</a:t>
            </a: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분석을 위한 기초데이터 수집 </a:t>
            </a:r>
          </a:p>
        </p:txBody>
      </p:sp>
      <p:sp>
        <p:nvSpPr>
          <p:cNvPr id="144" name="직사각형 143"/>
          <p:cNvSpPr/>
          <p:nvPr/>
        </p:nvSpPr>
        <p:spPr bwMode="ltGray">
          <a:xfrm>
            <a:off x="488504" y="3442894"/>
            <a:ext cx="2805717" cy="2794419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sz="1600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544889" y="3594476"/>
            <a:ext cx="2712134" cy="94306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85725" indent="-85725" algn="l" latinLnBrk="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재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ML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스템에서 운영 중인 룰에 대한 기초데이터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집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정의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List,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념적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상세정의 등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데이터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성과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데이터 등</a:t>
            </a:r>
          </a:p>
        </p:txBody>
      </p:sp>
      <p:sp>
        <p:nvSpPr>
          <p:cNvPr id="146" name="직사각형 145"/>
          <p:cNvSpPr/>
          <p:nvPr/>
        </p:nvSpPr>
        <p:spPr bwMode="ltGray">
          <a:xfrm>
            <a:off x="3506551" y="2920482"/>
            <a:ext cx="2805717" cy="43833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NALYZE</a:t>
            </a: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에 대한 현황분석 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3600134" y="3597091"/>
            <a:ext cx="2610753" cy="87602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85725" indent="-85725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유 룰 추출현황에 대한 기초분석 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초분석결과 보유 룰의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형화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과다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과소 룰 또는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무추출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 등</a:t>
            </a:r>
          </a:p>
        </p:txBody>
      </p:sp>
      <p:sp>
        <p:nvSpPr>
          <p:cNvPr id="148" name="직사각형 147"/>
          <p:cNvSpPr/>
          <p:nvPr/>
        </p:nvSpPr>
        <p:spPr bwMode="ltGray">
          <a:xfrm>
            <a:off x="6547994" y="2920482"/>
            <a:ext cx="2805717" cy="438339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INSIGHT</a:t>
            </a:r>
          </a:p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현황분석에 기반한 이슈 도출 </a:t>
            </a:r>
          </a:p>
        </p:txBody>
      </p:sp>
      <p:sp>
        <p:nvSpPr>
          <p:cNvPr id="149" name="직사각형 148"/>
          <p:cNvSpPr/>
          <p:nvPr/>
        </p:nvSpPr>
        <p:spPr bwMode="ltGray">
          <a:xfrm>
            <a:off x="6547994" y="3442894"/>
            <a:ext cx="2805717" cy="92582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sz="1600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6641577" y="3591757"/>
            <a:ext cx="2610753" cy="5933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85725" indent="-85725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운영현황에 대한 인터뷰 결과 정리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초분석 및 인터뷰 결과에 기반한 최적화 방향에 대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nsight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출 </a:t>
            </a:r>
          </a:p>
        </p:txBody>
      </p:sp>
      <p:sp>
        <p:nvSpPr>
          <p:cNvPr id="151" name="위쪽/아래쪽 화살표 150"/>
          <p:cNvSpPr/>
          <p:nvPr/>
        </p:nvSpPr>
        <p:spPr bwMode="ltGray">
          <a:xfrm>
            <a:off x="1383532" y="5530314"/>
            <a:ext cx="204979" cy="225249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2" name="위쪽/아래쪽 화살표 151"/>
          <p:cNvSpPr/>
          <p:nvPr/>
        </p:nvSpPr>
        <p:spPr bwMode="ltGray">
          <a:xfrm>
            <a:off x="1950795" y="5530314"/>
            <a:ext cx="204979" cy="225249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53" name="그룹 152"/>
          <p:cNvGrpSpPr/>
          <p:nvPr/>
        </p:nvGrpSpPr>
        <p:grpSpPr>
          <a:xfrm>
            <a:off x="963115" y="5778864"/>
            <a:ext cx="1621587" cy="319699"/>
            <a:chOff x="758128" y="5923025"/>
            <a:chExt cx="2080322" cy="392050"/>
          </a:xfrm>
        </p:grpSpPr>
        <p:sp>
          <p:nvSpPr>
            <p:cNvPr id="176" name="원통 175"/>
            <p:cNvSpPr/>
            <p:nvPr/>
          </p:nvSpPr>
          <p:spPr bwMode="ltGray">
            <a:xfrm>
              <a:off x="758128" y="5923025"/>
              <a:ext cx="670330" cy="392050"/>
            </a:xfrm>
            <a:prstGeom prst="can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9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객</a:t>
              </a:r>
            </a:p>
          </p:txBody>
        </p:sp>
        <p:sp>
          <p:nvSpPr>
            <p:cNvPr id="177" name="원통 176"/>
            <p:cNvSpPr/>
            <p:nvPr/>
          </p:nvSpPr>
          <p:spPr bwMode="ltGray">
            <a:xfrm>
              <a:off x="1462978" y="5923025"/>
              <a:ext cx="670330" cy="392050"/>
            </a:xfrm>
            <a:prstGeom prst="can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9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계좌</a:t>
              </a:r>
            </a:p>
          </p:txBody>
        </p:sp>
        <p:sp>
          <p:nvSpPr>
            <p:cNvPr id="178" name="원통 177"/>
            <p:cNvSpPr/>
            <p:nvPr/>
          </p:nvSpPr>
          <p:spPr bwMode="ltGray">
            <a:xfrm>
              <a:off x="2168120" y="5923025"/>
              <a:ext cx="670330" cy="392050"/>
            </a:xfrm>
            <a:prstGeom prst="can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9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거래</a:t>
              </a:r>
            </a:p>
          </p:txBody>
        </p:sp>
      </p:grpSp>
      <p:sp>
        <p:nvSpPr>
          <p:cNvPr id="154" name="위쪽/아래쪽 화살표 153"/>
          <p:cNvSpPr/>
          <p:nvPr/>
        </p:nvSpPr>
        <p:spPr bwMode="ltGray">
          <a:xfrm>
            <a:off x="1671813" y="5530314"/>
            <a:ext cx="204979" cy="225249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55" name="그림 154"/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90989" y="4537540"/>
            <a:ext cx="2488889" cy="161720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56" name="직사각형 155"/>
          <p:cNvSpPr/>
          <p:nvPr/>
        </p:nvSpPr>
        <p:spPr bwMode="ltGray">
          <a:xfrm>
            <a:off x="3506551" y="3442894"/>
            <a:ext cx="2805717" cy="2794419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sz="1600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57" name="직사각형 156"/>
          <p:cNvSpPr/>
          <p:nvPr/>
        </p:nvSpPr>
        <p:spPr bwMode="ltGray">
          <a:xfrm>
            <a:off x="6312268" y="4511752"/>
            <a:ext cx="3041443" cy="172556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sz="1600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58" name="직선 연결선 157"/>
          <p:cNvCxnSpPr/>
          <p:nvPr/>
        </p:nvCxnSpPr>
        <p:spPr>
          <a:xfrm>
            <a:off x="6312268" y="4511752"/>
            <a:ext cx="0" cy="1725561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직사각형 158"/>
          <p:cNvSpPr/>
          <p:nvPr/>
        </p:nvSpPr>
        <p:spPr bwMode="ltGray">
          <a:xfrm>
            <a:off x="6686900" y="4846984"/>
            <a:ext cx="911342" cy="37399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추출과다 룰</a:t>
            </a:r>
          </a:p>
        </p:txBody>
      </p:sp>
      <p:sp>
        <p:nvSpPr>
          <p:cNvPr id="160" name="직사각형 159"/>
          <p:cNvSpPr/>
          <p:nvPr/>
        </p:nvSpPr>
        <p:spPr bwMode="ltGray">
          <a:xfrm>
            <a:off x="6686900" y="5291734"/>
            <a:ext cx="911342" cy="37399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추출과소 룰</a:t>
            </a:r>
          </a:p>
        </p:txBody>
      </p:sp>
      <p:sp>
        <p:nvSpPr>
          <p:cNvPr id="161" name="직사각형 160"/>
          <p:cNvSpPr/>
          <p:nvPr/>
        </p:nvSpPr>
        <p:spPr bwMode="ltGray">
          <a:xfrm>
            <a:off x="6686900" y="5726375"/>
            <a:ext cx="911342" cy="37399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무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추출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룰</a:t>
            </a:r>
          </a:p>
        </p:txBody>
      </p:sp>
      <p:cxnSp>
        <p:nvCxnSpPr>
          <p:cNvPr id="162" name="직선 화살표 연결선 161"/>
          <p:cNvCxnSpPr>
            <a:endCxn id="159" idx="1"/>
          </p:cNvCxnSpPr>
          <p:nvPr/>
        </p:nvCxnSpPr>
        <p:spPr>
          <a:xfrm>
            <a:off x="6210887" y="4909122"/>
            <a:ext cx="476014" cy="124860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화살표 연결선 162"/>
          <p:cNvCxnSpPr>
            <a:endCxn id="159" idx="1"/>
          </p:cNvCxnSpPr>
          <p:nvPr/>
        </p:nvCxnSpPr>
        <p:spPr>
          <a:xfrm>
            <a:off x="6210887" y="4979027"/>
            <a:ext cx="476014" cy="54955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직선 화살표 연결선 163"/>
          <p:cNvCxnSpPr>
            <a:endCxn id="159" idx="1"/>
          </p:cNvCxnSpPr>
          <p:nvPr/>
        </p:nvCxnSpPr>
        <p:spPr>
          <a:xfrm flipV="1">
            <a:off x="6210887" y="5033982"/>
            <a:ext cx="476014" cy="1066388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직선 화살표 연결선 164"/>
          <p:cNvCxnSpPr>
            <a:endCxn id="160" idx="1"/>
          </p:cNvCxnSpPr>
          <p:nvPr/>
        </p:nvCxnSpPr>
        <p:spPr>
          <a:xfrm>
            <a:off x="6179878" y="5377209"/>
            <a:ext cx="507023" cy="101523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직선 화살표 연결선 165"/>
          <p:cNvCxnSpPr>
            <a:endCxn id="161" idx="1"/>
          </p:cNvCxnSpPr>
          <p:nvPr/>
        </p:nvCxnSpPr>
        <p:spPr>
          <a:xfrm>
            <a:off x="6192288" y="5300349"/>
            <a:ext cx="494612" cy="613024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직선 화살표 연결선 166"/>
          <p:cNvCxnSpPr>
            <a:endCxn id="160" idx="1"/>
          </p:cNvCxnSpPr>
          <p:nvPr/>
        </p:nvCxnSpPr>
        <p:spPr>
          <a:xfrm flipV="1">
            <a:off x="6179878" y="5478731"/>
            <a:ext cx="507023" cy="550922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직선 연결선 167"/>
          <p:cNvCxnSpPr/>
          <p:nvPr/>
        </p:nvCxnSpPr>
        <p:spPr>
          <a:xfrm>
            <a:off x="6686900" y="4772394"/>
            <a:ext cx="911342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/>
          <p:cNvSpPr txBox="1"/>
          <p:nvPr/>
        </p:nvSpPr>
        <p:spPr>
          <a:xfrm>
            <a:off x="6686900" y="4576375"/>
            <a:ext cx="911342" cy="17506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추출유형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70" name="꺾인 연결선 169"/>
          <p:cNvCxnSpPr>
            <a:stCxn id="159" idx="3"/>
            <a:endCxn id="174" idx="2"/>
          </p:cNvCxnSpPr>
          <p:nvPr/>
        </p:nvCxnSpPr>
        <p:spPr>
          <a:xfrm>
            <a:off x="7598242" y="5033982"/>
            <a:ext cx="409206" cy="438715"/>
          </a:xfrm>
          <a:prstGeom prst="bentConnector3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꺾인 연결선 170"/>
          <p:cNvCxnSpPr>
            <a:stCxn id="160" idx="3"/>
            <a:endCxn id="174" idx="2"/>
          </p:cNvCxnSpPr>
          <p:nvPr/>
        </p:nvCxnSpPr>
        <p:spPr>
          <a:xfrm flipV="1">
            <a:off x="7598242" y="5472697"/>
            <a:ext cx="409206" cy="6035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꺾인 연결선 171"/>
          <p:cNvCxnSpPr>
            <a:stCxn id="161" idx="3"/>
            <a:endCxn id="174" idx="2"/>
          </p:cNvCxnSpPr>
          <p:nvPr/>
        </p:nvCxnSpPr>
        <p:spPr>
          <a:xfrm flipV="1">
            <a:off x="7598242" y="5472697"/>
            <a:ext cx="409206" cy="440676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위쪽 화살표 172"/>
          <p:cNvSpPr/>
          <p:nvPr/>
        </p:nvSpPr>
        <p:spPr bwMode="ltGray">
          <a:xfrm>
            <a:off x="8224941" y="4273174"/>
            <a:ext cx="791663" cy="635949"/>
          </a:xfrm>
          <a:prstGeom prst="upArrow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4" name="타원 173"/>
          <p:cNvSpPr/>
          <p:nvPr/>
        </p:nvSpPr>
        <p:spPr bwMode="ltGray">
          <a:xfrm>
            <a:off x="8007448" y="4888101"/>
            <a:ext cx="1244881" cy="1169191"/>
          </a:xfrm>
          <a:prstGeom prst="ellipse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인 및 이슈 파악을 위한 담당자 인터뷰</a:t>
            </a:r>
          </a:p>
        </p:txBody>
      </p:sp>
      <p:sp>
        <p:nvSpPr>
          <p:cNvPr id="6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7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pic>
        <p:nvPicPr>
          <p:cNvPr id="66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1584" y="216995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68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945513" y="4444114"/>
            <a:ext cx="326834" cy="178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475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3 </a:t>
            </a:r>
            <a:r>
              <a:rPr lang="ko-KR" altLang="en-US" dirty="0"/>
              <a:t>보유 룰 유효성 검증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유 룰의 유효성을 검증하기 위해 룰에 대한 생산성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유사성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정성 등의 다차원 분석을 수행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의심거래 모니터링을 위한 룰 모델 진단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보유 룰 유효성 검증</a:t>
              </a:r>
              <a:endParaRPr lang="en-US" altLang="ko-KR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4" name="오각형 43"/>
          <p:cNvSpPr/>
          <p:nvPr/>
        </p:nvSpPr>
        <p:spPr bwMode="ltGray">
          <a:xfrm>
            <a:off x="513036" y="2303910"/>
            <a:ext cx="2247982" cy="477018"/>
          </a:xfrm>
          <a:prstGeom prst="homePlate">
            <a:avLst>
              <a:gd name="adj" fmla="val 23753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현황분석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39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갈매기형 수장 45"/>
          <p:cNvSpPr/>
          <p:nvPr/>
        </p:nvSpPr>
        <p:spPr bwMode="ltGray">
          <a:xfrm>
            <a:off x="2777789" y="2303910"/>
            <a:ext cx="2218789" cy="477018"/>
          </a:xfrm>
          <a:prstGeom prst="chevron">
            <a:avLst>
              <a:gd name="adj" fmla="val 23752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유효성 검증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849614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9" name="갈매기형 수장 58"/>
          <p:cNvSpPr/>
          <p:nvPr/>
        </p:nvSpPr>
        <p:spPr bwMode="ltGray">
          <a:xfrm>
            <a:off x="5007412" y="2304995"/>
            <a:ext cx="2218788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화 방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1101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1" name="갈매기형 수장 60"/>
          <p:cNvSpPr/>
          <p:nvPr/>
        </p:nvSpPr>
        <p:spPr bwMode="ltGray">
          <a:xfrm>
            <a:off x="7234712" y="2304993"/>
            <a:ext cx="2218788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리뷰 및</a:t>
            </a:r>
          </a:p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관련 근거 마련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337434" y="2370943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437247" y="2814036"/>
            <a:ext cx="3167677" cy="52621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Bef>
                <a:spcPts val="600"/>
              </a:spcBef>
            </a:pPr>
            <a:r>
              <a:rPr lang="ko-KR" altLang="en-US" sz="12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다차원적인 룰 모델 유효성 검증</a:t>
            </a:r>
          </a:p>
        </p:txBody>
      </p:sp>
      <p:pic>
        <p:nvPicPr>
          <p:cNvPr id="26" name="Picture 37" descr="바닦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3" t="6535"/>
          <a:stretch>
            <a:fillRect/>
          </a:stretch>
        </p:blipFill>
        <p:spPr bwMode="gray">
          <a:xfrm>
            <a:off x="560812" y="3186928"/>
            <a:ext cx="8821716" cy="2733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직사각형 26"/>
          <p:cNvSpPr/>
          <p:nvPr/>
        </p:nvSpPr>
        <p:spPr bwMode="ltGray">
          <a:xfrm>
            <a:off x="524508" y="3690078"/>
            <a:ext cx="2644072" cy="154461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 bwMode="ltGray">
          <a:xfrm>
            <a:off x="3653127" y="3690078"/>
            <a:ext cx="2644072" cy="154461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9" name="직사각형 28"/>
          <p:cNvSpPr/>
          <p:nvPr/>
        </p:nvSpPr>
        <p:spPr bwMode="ltGray">
          <a:xfrm>
            <a:off x="6729165" y="3690078"/>
            <a:ext cx="2644072" cy="154461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2424584" y="2928358"/>
            <a:ext cx="5108283" cy="959786"/>
            <a:chOff x="2838994" y="2472970"/>
            <a:chExt cx="4225926" cy="1472366"/>
          </a:xfrm>
        </p:grpSpPr>
        <p:pic>
          <p:nvPicPr>
            <p:cNvPr id="31" name="Picture 14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38994" y="2472970"/>
              <a:ext cx="4225926" cy="1018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2" descr="화살표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679018" y="3036257"/>
              <a:ext cx="2549754" cy="909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TextBox 32"/>
          <p:cNvSpPr txBox="1"/>
          <p:nvPr/>
        </p:nvSpPr>
        <p:spPr>
          <a:xfrm>
            <a:off x="993980" y="3730970"/>
            <a:ext cx="2165311" cy="4728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Bef>
                <a:spcPts val="600"/>
              </a:spcBef>
              <a:spcAft>
                <a:spcPts val="0"/>
              </a:spcAft>
            </a:pP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의 생산성 분석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Productive Alert Analysis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4" name="직사각형 33"/>
          <p:cNvSpPr/>
          <p:nvPr/>
        </p:nvSpPr>
        <p:spPr bwMode="ltGray">
          <a:xfrm>
            <a:off x="617403" y="3745234"/>
            <a:ext cx="404446" cy="403973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</a:t>
            </a:r>
            <a:endParaRPr lang="ko-KR" altLang="en-US" sz="14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106010" y="3730970"/>
            <a:ext cx="2165311" cy="4728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Bef>
                <a:spcPts val="600"/>
              </a:spcBef>
            </a:pP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의 유사성 분석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Similarity Analysis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6" name="직사각형 35"/>
          <p:cNvSpPr/>
          <p:nvPr/>
        </p:nvSpPr>
        <p:spPr bwMode="ltGray">
          <a:xfrm>
            <a:off x="3729434" y="3745234"/>
            <a:ext cx="404446" cy="403973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</a:t>
            </a:r>
            <a:endParaRPr lang="ko-KR" altLang="en-US" sz="14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171592" y="3730970"/>
            <a:ext cx="2165311" cy="4728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Bef>
                <a:spcPts val="600"/>
              </a:spcBef>
              <a:spcAft>
                <a:spcPts val="0"/>
              </a:spcAft>
            </a:pP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의 안정성 분석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Stability Analysis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8" name="직사각형 37"/>
          <p:cNvSpPr/>
          <p:nvPr/>
        </p:nvSpPr>
        <p:spPr bwMode="ltGray">
          <a:xfrm>
            <a:off x="6795016" y="3745234"/>
            <a:ext cx="404446" cy="403973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</a:t>
            </a:r>
            <a:endParaRPr lang="ko-KR" altLang="en-US" sz="14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cxnSp>
        <p:nvCxnSpPr>
          <p:cNvPr id="47" name="직선 연결선 46"/>
          <p:cNvCxnSpPr/>
          <p:nvPr/>
        </p:nvCxnSpPr>
        <p:spPr>
          <a:xfrm>
            <a:off x="598824" y="4243633"/>
            <a:ext cx="2493569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47"/>
          <p:cNvCxnSpPr/>
          <p:nvPr/>
        </p:nvCxnSpPr>
        <p:spPr>
          <a:xfrm>
            <a:off x="3710854" y="4243633"/>
            <a:ext cx="2493569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연결선 48"/>
          <p:cNvCxnSpPr/>
          <p:nvPr/>
        </p:nvCxnSpPr>
        <p:spPr>
          <a:xfrm>
            <a:off x="6813596" y="4243633"/>
            <a:ext cx="2493569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직사각형 49"/>
          <p:cNvSpPr/>
          <p:nvPr/>
        </p:nvSpPr>
        <p:spPr bwMode="ltGray">
          <a:xfrm>
            <a:off x="2335436" y="5382621"/>
            <a:ext cx="5226197" cy="85469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dirty="0" smtClean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919867" y="5590984"/>
            <a:ext cx="1306168" cy="47284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hreshold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분석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/>
            </a:r>
            <a:b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(Statistical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nalysis </a:t>
            </a:r>
            <a:r>
              <a: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/>
            </a:r>
            <a:br>
              <a: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</a:br>
            <a:r>
              <a:rPr lang="en-US" altLang="ko-KR" sz="11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for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hreshold)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52" name="직사각형 51"/>
          <p:cNvSpPr/>
          <p:nvPr/>
        </p:nvSpPr>
        <p:spPr bwMode="ltGray">
          <a:xfrm>
            <a:off x="2455035" y="5621594"/>
            <a:ext cx="404446" cy="403973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4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4</a:t>
            </a:r>
            <a:endParaRPr lang="ko-KR" altLang="en-US" sz="14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cxnSp>
        <p:nvCxnSpPr>
          <p:cNvPr id="53" name="직선 연결선 52"/>
          <p:cNvCxnSpPr/>
          <p:nvPr/>
        </p:nvCxnSpPr>
        <p:spPr>
          <a:xfrm>
            <a:off x="4295303" y="5536496"/>
            <a:ext cx="0" cy="57600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617403" y="4317154"/>
            <a:ext cx="2493569" cy="76011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85725" indent="-85725" latinLnBrk="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 추출건수 대비 보고건수에 대한 비율을 측정하여 생산성을 분석함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 latinLnBrk="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건수 대비 보고건수가 특정 비율 이하인 경우 룰의 삭제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지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정 등의 조치 필요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813596" y="4317154"/>
            <a:ext cx="2493569" cy="80754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85725" indent="-85725" latinLnBrk="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 모니터링 지표인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ert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생률 변동성에 대한 추세분석을 통해 룰에 대한 안정성이 특정 범위를 벗어나는지 여부를 파악함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 latinLnBrk="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의 안정성 왜곡이 발생한 원인파악 및 사후조치가 필요함 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4429135" y="5490043"/>
            <a:ext cx="3195367" cy="68847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85725" indent="-85725" latinLnBrk="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량지표에 대한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Threshold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별 추출분포를 분석함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 latinLnBrk="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생산성 분석결과에 따라 사후분석을 위해 수행함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 latinLnBrk="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안정성 분석결과에 따라 사후분석을 위해 수행함 </a:t>
            </a:r>
          </a:p>
        </p:txBody>
      </p:sp>
      <p:cxnSp>
        <p:nvCxnSpPr>
          <p:cNvPr id="63" name="꺾인 연결선 62"/>
          <p:cNvCxnSpPr>
            <a:stCxn id="27" idx="2"/>
            <a:endCxn id="50" idx="1"/>
          </p:cNvCxnSpPr>
          <p:nvPr/>
        </p:nvCxnSpPr>
        <p:spPr>
          <a:xfrm rot="16200000" flipH="1">
            <a:off x="1803351" y="5277881"/>
            <a:ext cx="575279" cy="488892"/>
          </a:xfrm>
          <a:prstGeom prst="bentConnector2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꺾인 연결선 63"/>
          <p:cNvCxnSpPr>
            <a:stCxn id="29" idx="2"/>
            <a:endCxn id="50" idx="3"/>
          </p:cNvCxnSpPr>
          <p:nvPr/>
        </p:nvCxnSpPr>
        <p:spPr>
          <a:xfrm rot="5400000">
            <a:off x="7518778" y="5277543"/>
            <a:ext cx="575279" cy="489568"/>
          </a:xfrm>
          <a:prstGeom prst="bentConnector2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3720143" y="4317154"/>
            <a:ext cx="2485326" cy="65139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85725" indent="-85725" latinLnBrk="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의 추출결과를 기준으로 추출 단위 별 유사 정도를 측정함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 latinLnBrk="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사성에 대한 비율이 높을수록 통합을 통한 제거가 가능함</a:t>
            </a:r>
          </a:p>
        </p:txBody>
      </p:sp>
      <p:sp>
        <p:nvSpPr>
          <p:cNvPr id="6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07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4 </a:t>
            </a:r>
            <a:r>
              <a:rPr lang="ko-KR" altLang="en-US" dirty="0"/>
              <a:t>룰 최적화 방안 도출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유효성 검증결과에 기반한 최적화 방안 도출절차 및 내용은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의심거래 모니터링을 위한 룰 모델 진단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최적화 방안 도출</a:t>
              </a:r>
              <a:endParaRPr lang="en-US" altLang="ko-KR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4" name="오각형 43"/>
          <p:cNvSpPr/>
          <p:nvPr/>
        </p:nvSpPr>
        <p:spPr bwMode="ltGray">
          <a:xfrm>
            <a:off x="513036" y="2303910"/>
            <a:ext cx="2247982" cy="477018"/>
          </a:xfrm>
          <a:prstGeom prst="homePlate">
            <a:avLst>
              <a:gd name="adj" fmla="val 23753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현황분석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39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갈매기형 수장 45"/>
          <p:cNvSpPr/>
          <p:nvPr/>
        </p:nvSpPr>
        <p:spPr bwMode="ltGray">
          <a:xfrm>
            <a:off x="2777789" y="2303910"/>
            <a:ext cx="2218789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유효성 검증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849614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9" name="갈매기형 수장 58"/>
          <p:cNvSpPr/>
          <p:nvPr/>
        </p:nvSpPr>
        <p:spPr bwMode="ltGray">
          <a:xfrm>
            <a:off x="5007412" y="2304995"/>
            <a:ext cx="2218788" cy="477018"/>
          </a:xfrm>
          <a:prstGeom prst="chevron">
            <a:avLst>
              <a:gd name="adj" fmla="val 23752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화 방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1101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1" name="갈매기형 수장 60"/>
          <p:cNvSpPr/>
          <p:nvPr/>
        </p:nvSpPr>
        <p:spPr bwMode="ltGray">
          <a:xfrm>
            <a:off x="7234712" y="2304993"/>
            <a:ext cx="2218788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리뷰 및</a:t>
            </a:r>
          </a:p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관련 근거 마련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337434" y="2370943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4844988" y="3159951"/>
            <a:ext cx="4536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899453" y="2750431"/>
            <a:ext cx="4542926" cy="48520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spcBef>
                <a:spcPts val="1200"/>
              </a:spcBef>
              <a:spcAft>
                <a:spcPts val="900"/>
              </a:spcAft>
              <a:defRPr sz="1000" spc="-7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defRPr>
            </a:lvl1pPr>
          </a:lstStyle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효성 결과 기반의 최적화 </a:t>
            </a:r>
            <a:r>
              <a:rPr lang="en-US" altLang="ko-KR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Decision Map </a:t>
            </a:r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시</a:t>
            </a:r>
          </a:p>
        </p:txBody>
      </p:sp>
      <p:sp>
        <p:nvSpPr>
          <p:cNvPr id="29" name="직사각형 28"/>
          <p:cNvSpPr/>
          <p:nvPr/>
        </p:nvSpPr>
        <p:spPr bwMode="ltGray">
          <a:xfrm>
            <a:off x="4817861" y="3621172"/>
            <a:ext cx="378395" cy="1871880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석 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결과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형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0" name="직사각형 29"/>
          <p:cNvSpPr/>
          <p:nvPr/>
        </p:nvSpPr>
        <p:spPr bwMode="ltGray">
          <a:xfrm>
            <a:off x="5272062" y="3621172"/>
            <a:ext cx="717067" cy="55988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</a:p>
        </p:txBody>
      </p:sp>
      <p:sp>
        <p:nvSpPr>
          <p:cNvPr id="31" name="직사각형 30"/>
          <p:cNvSpPr/>
          <p:nvPr/>
        </p:nvSpPr>
        <p:spPr bwMode="ltGray">
          <a:xfrm>
            <a:off x="5272062" y="4277168"/>
            <a:ext cx="717067" cy="55988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감소</a:t>
            </a:r>
          </a:p>
        </p:txBody>
      </p:sp>
      <p:sp>
        <p:nvSpPr>
          <p:cNvPr id="32" name="직사각형 31"/>
          <p:cNvSpPr/>
          <p:nvPr/>
        </p:nvSpPr>
        <p:spPr bwMode="ltGray">
          <a:xfrm>
            <a:off x="5272062" y="4933165"/>
            <a:ext cx="717067" cy="55988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불규칙한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편차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3" name="직사각형 32"/>
          <p:cNvSpPr/>
          <p:nvPr/>
        </p:nvSpPr>
        <p:spPr bwMode="ltGray">
          <a:xfrm>
            <a:off x="8094688" y="3621172"/>
            <a:ext cx="1293444" cy="55988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hreshold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강화</a:t>
            </a:r>
          </a:p>
        </p:txBody>
      </p:sp>
      <p:sp>
        <p:nvSpPr>
          <p:cNvPr id="34" name="직사각형 33"/>
          <p:cNvSpPr/>
          <p:nvPr/>
        </p:nvSpPr>
        <p:spPr bwMode="ltGray">
          <a:xfrm>
            <a:off x="8094688" y="4277168"/>
            <a:ext cx="1293444" cy="55988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hreshold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완화</a:t>
            </a:r>
          </a:p>
        </p:txBody>
      </p:sp>
      <p:sp>
        <p:nvSpPr>
          <p:cNvPr id="35" name="직사각형 34"/>
          <p:cNvSpPr/>
          <p:nvPr/>
        </p:nvSpPr>
        <p:spPr bwMode="ltGray">
          <a:xfrm>
            <a:off x="8094688" y="4933165"/>
            <a:ext cx="1293444" cy="55988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hreshold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분석</a:t>
            </a:r>
          </a:p>
        </p:txBody>
      </p:sp>
      <p:cxnSp>
        <p:nvCxnSpPr>
          <p:cNvPr id="36" name="직선 연결선 35"/>
          <p:cNvCxnSpPr/>
          <p:nvPr/>
        </p:nvCxnSpPr>
        <p:spPr>
          <a:xfrm>
            <a:off x="8101917" y="3538255"/>
            <a:ext cx="1286215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6"/>
          <p:cNvCxnSpPr/>
          <p:nvPr/>
        </p:nvCxnSpPr>
        <p:spPr>
          <a:xfrm>
            <a:off x="6178402" y="3538256"/>
            <a:ext cx="726183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직사각형 37"/>
          <p:cNvSpPr/>
          <p:nvPr/>
        </p:nvSpPr>
        <p:spPr bwMode="ltGray">
          <a:xfrm>
            <a:off x="6126956" y="3621172"/>
            <a:ext cx="854626" cy="5598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47" name="직사각형 46"/>
          <p:cNvSpPr/>
          <p:nvPr/>
        </p:nvSpPr>
        <p:spPr bwMode="ltGray">
          <a:xfrm>
            <a:off x="6126956" y="4277168"/>
            <a:ext cx="854626" cy="5598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48" name="직사각형 47"/>
          <p:cNvSpPr/>
          <p:nvPr/>
        </p:nvSpPr>
        <p:spPr bwMode="ltGray">
          <a:xfrm>
            <a:off x="6126956" y="4933165"/>
            <a:ext cx="854626" cy="559888"/>
          </a:xfrm>
          <a:prstGeom prst="rect">
            <a:avLst/>
          </a:prstGeom>
          <a:solidFill>
            <a:srgbClr val="E4E4E4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49" name="직사각형 48"/>
          <p:cNvSpPr/>
          <p:nvPr/>
        </p:nvSpPr>
        <p:spPr bwMode="ltGray">
          <a:xfrm>
            <a:off x="7058015" y="3621172"/>
            <a:ext cx="854626" cy="5598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50" name="직사각형 49"/>
          <p:cNvSpPr/>
          <p:nvPr/>
        </p:nvSpPr>
        <p:spPr bwMode="ltGray">
          <a:xfrm>
            <a:off x="7058015" y="4277168"/>
            <a:ext cx="854626" cy="55988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r>
              <a:rPr lang="ko-KR" altLang="en-US" sz="9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51" name="직사각형 50"/>
          <p:cNvSpPr/>
          <p:nvPr/>
        </p:nvSpPr>
        <p:spPr bwMode="ltGray">
          <a:xfrm>
            <a:off x="7058015" y="4933165"/>
            <a:ext cx="854626" cy="559888"/>
          </a:xfrm>
          <a:prstGeom prst="rect">
            <a:avLst/>
          </a:prstGeom>
          <a:solidFill>
            <a:srgbClr val="E4E4E4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 sz="9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52" name="직선 연결선 51"/>
          <p:cNvCxnSpPr/>
          <p:nvPr/>
        </p:nvCxnSpPr>
        <p:spPr>
          <a:xfrm>
            <a:off x="7114365" y="3538256"/>
            <a:ext cx="726183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>
            <a:off x="6178402" y="3313161"/>
            <a:ext cx="726183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연결선 54"/>
          <p:cNvCxnSpPr/>
          <p:nvPr/>
        </p:nvCxnSpPr>
        <p:spPr>
          <a:xfrm>
            <a:off x="7099625" y="3313161"/>
            <a:ext cx="726183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6178402" y="3345316"/>
            <a:ext cx="803180" cy="19293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lert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변동률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7099625" y="3345316"/>
            <a:ext cx="803180" cy="19293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변동률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8138765" y="3345316"/>
            <a:ext cx="1213777" cy="19293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적화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안</a:t>
            </a:r>
          </a:p>
        </p:txBody>
      </p:sp>
      <p:sp>
        <p:nvSpPr>
          <p:cNvPr id="64" name="모서리가 둥근 직사각형 63"/>
          <p:cNvSpPr/>
          <p:nvPr/>
        </p:nvSpPr>
        <p:spPr bwMode="ltGray">
          <a:xfrm>
            <a:off x="4817861" y="3230807"/>
            <a:ext cx="1171269" cy="307448"/>
          </a:xfrm>
          <a:prstGeom prst="round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안정성 분석결과</a:t>
            </a:r>
          </a:p>
        </p:txBody>
      </p:sp>
      <p:sp>
        <p:nvSpPr>
          <p:cNvPr id="65" name="직사각형 64"/>
          <p:cNvSpPr/>
          <p:nvPr/>
        </p:nvSpPr>
        <p:spPr bwMode="ltGray">
          <a:xfrm>
            <a:off x="4694627" y="5965832"/>
            <a:ext cx="4592710" cy="319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6" name="직사각형 65"/>
          <p:cNvSpPr/>
          <p:nvPr/>
        </p:nvSpPr>
        <p:spPr bwMode="ltGray">
          <a:xfrm>
            <a:off x="4739834" y="5903579"/>
            <a:ext cx="4592710" cy="319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7" name="직사각형 66"/>
          <p:cNvSpPr/>
          <p:nvPr/>
        </p:nvSpPr>
        <p:spPr bwMode="ltGray">
          <a:xfrm>
            <a:off x="4803127" y="5848244"/>
            <a:ext cx="4592710" cy="31974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8" name="한쪽 모서리가 잘린 사각형 67"/>
          <p:cNvSpPr/>
          <p:nvPr/>
        </p:nvSpPr>
        <p:spPr bwMode="ltGray">
          <a:xfrm>
            <a:off x="4893545" y="5781994"/>
            <a:ext cx="4592710" cy="319741"/>
          </a:xfrm>
          <a:prstGeom prst="snip1Rect">
            <a:avLst>
              <a:gd name="adj" fmla="val 41702"/>
            </a:avLst>
          </a:prstGeom>
          <a:solidFill>
            <a:srgbClr val="E4E4E4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4887006" y="5793942"/>
            <a:ext cx="4508832" cy="318178"/>
          </a:xfrm>
          <a:prstGeom prst="rect">
            <a:avLst/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효성 결과 조합별 </a:t>
            </a:r>
            <a:r>
              <a:rPr lang="en-US" altLang="ko-KR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Decision Map </a:t>
            </a:r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성</a:t>
            </a:r>
          </a:p>
        </p:txBody>
      </p:sp>
      <p:pic>
        <p:nvPicPr>
          <p:cNvPr id="70" name="그림 138" descr="그림1.png"/>
          <p:cNvPicPr>
            <a:picLocks noChangeAspect="1"/>
          </p:cNvPicPr>
          <p:nvPr/>
        </p:nvPicPr>
        <p:blipFill>
          <a:blip r:embed="rId2" cstate="print">
            <a:grayscl/>
          </a:blip>
          <a:srcRect/>
          <a:stretch>
            <a:fillRect/>
          </a:stretch>
        </p:blipFill>
        <p:spPr bwMode="auto">
          <a:xfrm rot="5400000">
            <a:off x="7035515" y="4449131"/>
            <a:ext cx="270757" cy="2363531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sp>
        <p:nvSpPr>
          <p:cNvPr id="71" name="직사각형 70"/>
          <p:cNvSpPr/>
          <p:nvPr/>
        </p:nvSpPr>
        <p:spPr bwMode="ltGray">
          <a:xfrm>
            <a:off x="513366" y="3272816"/>
            <a:ext cx="1583686" cy="70528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적화 대상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ool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구성</a:t>
            </a:r>
          </a:p>
        </p:txBody>
      </p:sp>
      <p:sp>
        <p:nvSpPr>
          <p:cNvPr id="72" name="직사각형 71"/>
          <p:cNvSpPr/>
          <p:nvPr/>
        </p:nvSpPr>
        <p:spPr bwMode="ltGray">
          <a:xfrm>
            <a:off x="513366" y="4063507"/>
            <a:ext cx="1583686" cy="570689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효성 결과조합 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atrix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성</a:t>
            </a:r>
          </a:p>
        </p:txBody>
      </p:sp>
      <p:cxnSp>
        <p:nvCxnSpPr>
          <p:cNvPr id="73" name="직선 연결선 72"/>
          <p:cNvCxnSpPr/>
          <p:nvPr/>
        </p:nvCxnSpPr>
        <p:spPr>
          <a:xfrm>
            <a:off x="524507" y="3159951"/>
            <a:ext cx="1548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직사각형 73"/>
          <p:cNvSpPr/>
          <p:nvPr/>
        </p:nvSpPr>
        <p:spPr bwMode="ltGray">
          <a:xfrm>
            <a:off x="513366" y="4709807"/>
            <a:ext cx="1583686" cy="723834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결과조합별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적화 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Decision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ap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성</a:t>
            </a:r>
          </a:p>
        </p:txBody>
      </p:sp>
      <p:sp>
        <p:nvSpPr>
          <p:cNvPr id="75" name="직사각형 74"/>
          <p:cNvSpPr/>
          <p:nvPr/>
        </p:nvSpPr>
        <p:spPr bwMode="ltGray">
          <a:xfrm>
            <a:off x="513366" y="5496965"/>
            <a:ext cx="1583686" cy="738892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룰별 최적화 방안 도출</a:t>
            </a:r>
          </a:p>
        </p:txBody>
      </p:sp>
      <p:sp>
        <p:nvSpPr>
          <p:cNvPr id="76" name="직사각형 75"/>
          <p:cNvSpPr/>
          <p:nvPr/>
        </p:nvSpPr>
        <p:spPr bwMode="ltGray">
          <a:xfrm>
            <a:off x="2190317" y="3272816"/>
            <a:ext cx="2080067" cy="70528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 분석결과 기반 최적화 대상 취합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5725" indent="-857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 최적화 대상 원천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Flag</a:t>
            </a:r>
            <a:endParaRPr lang="ko-KR" altLang="en-US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7" name="직사각형 76"/>
          <p:cNvSpPr/>
          <p:nvPr/>
        </p:nvSpPr>
        <p:spPr bwMode="ltGray">
          <a:xfrm>
            <a:off x="2190317" y="4063507"/>
            <a:ext cx="2080067" cy="57068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 최적화 대상 원천 조합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atrix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생성</a:t>
            </a:r>
          </a:p>
        </p:txBody>
      </p:sp>
      <p:sp>
        <p:nvSpPr>
          <p:cNvPr id="78" name="직사각형 77"/>
          <p:cNvSpPr/>
          <p:nvPr/>
        </p:nvSpPr>
        <p:spPr bwMode="ltGray">
          <a:xfrm>
            <a:off x="2190317" y="4709807"/>
            <a:ext cx="2080067" cy="72383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각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과조합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즉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Matrix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구성요소별 최적화에 대한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Decision Map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생성</a:t>
            </a:r>
          </a:p>
        </p:txBody>
      </p:sp>
      <p:sp>
        <p:nvSpPr>
          <p:cNvPr id="79" name="직사각형 78"/>
          <p:cNvSpPr/>
          <p:nvPr/>
        </p:nvSpPr>
        <p:spPr bwMode="ltGray">
          <a:xfrm>
            <a:off x="2190317" y="5496965"/>
            <a:ext cx="2080067" cy="73889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룰별 최적화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상 원천조합과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Decision Map Mapping</a:t>
            </a:r>
          </a:p>
          <a:p>
            <a:pPr marL="85725" indent="-857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최적화 방안 도출 및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eview</a:t>
            </a:r>
            <a:endParaRPr lang="ko-KR" altLang="en-US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80" name="직선 연결선 79"/>
          <p:cNvCxnSpPr/>
          <p:nvPr/>
        </p:nvCxnSpPr>
        <p:spPr>
          <a:xfrm>
            <a:off x="2196458" y="3159951"/>
            <a:ext cx="20520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2253884" y="2750431"/>
            <a:ext cx="1999905" cy="48520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1200"/>
              </a:spcBef>
              <a:spcAft>
                <a:spcPts val="900"/>
              </a:spcAft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세부내용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73768" y="2750431"/>
            <a:ext cx="1496828" cy="48520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spcBef>
                <a:spcPts val="1200"/>
              </a:spcBef>
              <a:spcAft>
                <a:spcPts val="900"/>
              </a:spcAft>
              <a:defRPr sz="1000" spc="-7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defRPr>
            </a:lvl1pPr>
          </a:lstStyle>
          <a:p>
            <a:r>
              <a:rPr lang="ko-KR" altLang="en-US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구분</a:t>
            </a:r>
          </a:p>
        </p:txBody>
      </p:sp>
      <p:sp>
        <p:nvSpPr>
          <p:cNvPr id="8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8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pic>
        <p:nvPicPr>
          <p:cNvPr id="86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1584" y="2169955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6399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5 </a:t>
            </a:r>
            <a:r>
              <a:rPr lang="ko-KR" altLang="en-US" dirty="0"/>
              <a:t>룰 최적화에 대한 결과 분석 및 근거 마련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석결과 및 최적화 방안에 대한 결과를 분석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채택한 최적화 방안에 대해 자금세탁 위험성 등을 고려한 논리적 근거를 마련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의심거래 모니터링을 위한 룰 모델 진단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&gt;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결과 리뷰 및 관련 근거 마련</a:t>
              </a:r>
              <a:endParaRPr lang="en-US" altLang="ko-KR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4" name="오각형 43"/>
          <p:cNvSpPr/>
          <p:nvPr/>
        </p:nvSpPr>
        <p:spPr bwMode="ltGray">
          <a:xfrm>
            <a:off x="513036" y="2303910"/>
            <a:ext cx="2247982" cy="477018"/>
          </a:xfrm>
          <a:prstGeom prst="homePlate">
            <a:avLst>
              <a:gd name="adj" fmla="val 23753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현황분석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39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갈매기형 수장 45"/>
          <p:cNvSpPr/>
          <p:nvPr/>
        </p:nvSpPr>
        <p:spPr bwMode="ltGray">
          <a:xfrm>
            <a:off x="2777789" y="2303910"/>
            <a:ext cx="2218789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유 룰 유효성 검증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849614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9" name="갈매기형 수장 58"/>
          <p:cNvSpPr/>
          <p:nvPr/>
        </p:nvSpPr>
        <p:spPr bwMode="ltGray">
          <a:xfrm>
            <a:off x="5007412" y="2304995"/>
            <a:ext cx="2218788" cy="477018"/>
          </a:xfrm>
          <a:prstGeom prst="chevron">
            <a:avLst>
              <a:gd name="adj" fmla="val 23752"/>
            </a:avLst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화 방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110132" y="2370945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1" name="갈매기형 수장 60"/>
          <p:cNvSpPr/>
          <p:nvPr/>
        </p:nvSpPr>
        <p:spPr bwMode="ltGray">
          <a:xfrm>
            <a:off x="7234712" y="2304993"/>
            <a:ext cx="2218788" cy="477018"/>
          </a:xfrm>
          <a:prstGeom prst="chevron">
            <a:avLst>
              <a:gd name="adj" fmla="val 23752"/>
            </a:avLst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과 리뷰 및</a:t>
            </a:r>
          </a:p>
          <a:p>
            <a:pPr algn="ctr"/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관련 근거 마련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337434" y="2370943"/>
            <a:ext cx="291947" cy="3280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 latinLnBrk="0">
              <a:spcAft>
                <a:spcPts val="900"/>
              </a:spcAft>
            </a:pPr>
            <a:r>
              <a:rPr lang="en-US" altLang="ko-KR" sz="2400" i="1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endParaRPr lang="ko-KR" altLang="en-US" sz="2400" i="1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5" name="직사각형 24"/>
          <p:cNvSpPr/>
          <p:nvPr/>
        </p:nvSpPr>
        <p:spPr bwMode="ltGray">
          <a:xfrm>
            <a:off x="2227895" y="3996309"/>
            <a:ext cx="1146828" cy="677817"/>
          </a:xfrm>
          <a:prstGeom prst="rect">
            <a:avLst/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 삭제 </a:t>
            </a:r>
          </a:p>
        </p:txBody>
      </p:sp>
      <p:sp>
        <p:nvSpPr>
          <p:cNvPr id="26" name="직사각형 25"/>
          <p:cNvSpPr/>
          <p:nvPr/>
        </p:nvSpPr>
        <p:spPr bwMode="ltGray">
          <a:xfrm>
            <a:off x="2227895" y="4781151"/>
            <a:ext cx="1146828" cy="677817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 정교화 </a:t>
            </a:r>
          </a:p>
        </p:txBody>
      </p:sp>
      <p:sp>
        <p:nvSpPr>
          <p:cNvPr id="27" name="직사각형 26"/>
          <p:cNvSpPr/>
          <p:nvPr/>
        </p:nvSpPr>
        <p:spPr bwMode="ltGray">
          <a:xfrm>
            <a:off x="2227895" y="5548156"/>
            <a:ext cx="1146828" cy="677817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 통합 </a:t>
            </a:r>
          </a:p>
        </p:txBody>
      </p:sp>
      <p:cxnSp>
        <p:nvCxnSpPr>
          <p:cNvPr id="28" name="직선 연결선 27"/>
          <p:cNvCxnSpPr/>
          <p:nvPr/>
        </p:nvCxnSpPr>
        <p:spPr>
          <a:xfrm>
            <a:off x="2227894" y="3901767"/>
            <a:ext cx="1146829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227896" y="3597067"/>
            <a:ext cx="1146828" cy="3634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69574" algn="ctr" fontAlgn="auto">
              <a:spcBef>
                <a:spcPts val="0"/>
              </a:spcBef>
              <a:spcAft>
                <a:spcPts val="884"/>
              </a:spcAft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화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유형</a:t>
            </a:r>
          </a:p>
        </p:txBody>
      </p:sp>
      <p:cxnSp>
        <p:nvCxnSpPr>
          <p:cNvPr id="30" name="직선 연결선 29"/>
          <p:cNvCxnSpPr/>
          <p:nvPr/>
        </p:nvCxnSpPr>
        <p:spPr>
          <a:xfrm>
            <a:off x="3448728" y="3901767"/>
            <a:ext cx="703877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3448730" y="3597067"/>
            <a:ext cx="703876" cy="3634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69574" algn="ctr">
              <a:spcAft>
                <a:spcPts val="884"/>
              </a:spcAft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0000800000000000000" pitchFamily="2" charset="-127"/>
                <a:ea typeface="KoPub돋움체 Bold" panose="00000800000000000000" pitchFamily="2" charset="-127"/>
              </a:rPr>
              <a:t>ID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2" name="직사각형 31"/>
          <p:cNvSpPr/>
          <p:nvPr/>
        </p:nvSpPr>
        <p:spPr bwMode="ltGray">
          <a:xfrm>
            <a:off x="3438963" y="3996307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S081</a:t>
            </a:r>
            <a:endParaRPr kumimoji="0" lang="ko-KR" altLang="en-US" sz="800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" name="직사각형 32"/>
          <p:cNvSpPr/>
          <p:nvPr/>
        </p:nvSpPr>
        <p:spPr bwMode="ltGray">
          <a:xfrm>
            <a:off x="3438963" y="4140301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S029</a:t>
            </a:r>
            <a:endParaRPr kumimoji="0" lang="ko-KR" altLang="en-US" sz="800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" name="직사각형 33"/>
          <p:cNvSpPr/>
          <p:nvPr/>
        </p:nvSpPr>
        <p:spPr bwMode="ltGray">
          <a:xfrm>
            <a:off x="3438963" y="4283280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YS017</a:t>
            </a:r>
            <a:endParaRPr kumimoji="0" lang="ko-KR" altLang="en-US" sz="800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 bwMode="ltGray">
          <a:xfrm>
            <a:off x="3438963" y="4426450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SS003</a:t>
            </a:r>
            <a:endParaRPr kumimoji="0" lang="ko-KR" altLang="en-US" sz="800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6" name="직사각형 35"/>
          <p:cNvSpPr/>
          <p:nvPr/>
        </p:nvSpPr>
        <p:spPr bwMode="ltGray">
          <a:xfrm>
            <a:off x="3438963" y="4569429"/>
            <a:ext cx="782010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1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800" b="1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7" name="직사각형 36"/>
          <p:cNvSpPr/>
          <p:nvPr/>
        </p:nvSpPr>
        <p:spPr bwMode="ltGray">
          <a:xfrm>
            <a:off x="3438963" y="4778217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SS036</a:t>
            </a:r>
            <a:endParaRPr kumimoji="0" lang="ko-KR" altLang="en-US" sz="800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8" name="직사각형 37"/>
          <p:cNvSpPr/>
          <p:nvPr/>
        </p:nvSpPr>
        <p:spPr bwMode="ltGray">
          <a:xfrm>
            <a:off x="3438963" y="4922211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GT009</a:t>
            </a:r>
            <a:r>
              <a:rPr kumimoji="0" lang="ko-KR" altLang="en-US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47" name="직사각형 46"/>
          <p:cNvSpPr/>
          <p:nvPr/>
        </p:nvSpPr>
        <p:spPr bwMode="ltGray">
          <a:xfrm>
            <a:off x="3438963" y="5068724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SS044</a:t>
            </a:r>
            <a:r>
              <a:rPr kumimoji="0" lang="ko-KR" altLang="en-US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48" name="직사각형 47"/>
          <p:cNvSpPr/>
          <p:nvPr/>
        </p:nvSpPr>
        <p:spPr bwMode="ltGray">
          <a:xfrm>
            <a:off x="3438963" y="5211893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YH004</a:t>
            </a:r>
            <a:r>
              <a:rPr kumimoji="0" lang="ko-KR" altLang="en-US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49" name="직사각형 48"/>
          <p:cNvSpPr/>
          <p:nvPr/>
        </p:nvSpPr>
        <p:spPr bwMode="ltGray">
          <a:xfrm>
            <a:off x="3438963" y="5351339"/>
            <a:ext cx="782010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1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800" b="1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0" name="직사각형 49"/>
          <p:cNvSpPr/>
          <p:nvPr/>
        </p:nvSpPr>
        <p:spPr bwMode="ltGray">
          <a:xfrm>
            <a:off x="3438963" y="5547909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S003</a:t>
            </a:r>
            <a:endParaRPr kumimoji="0" lang="ko-KR" altLang="en-US" sz="800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1" name="직사각형 50"/>
          <p:cNvSpPr/>
          <p:nvPr/>
        </p:nvSpPr>
        <p:spPr bwMode="ltGray">
          <a:xfrm>
            <a:off x="3438963" y="5691904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S044</a:t>
            </a:r>
            <a:r>
              <a:rPr kumimoji="0" lang="ko-KR" altLang="en-US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52" name="직사각형 51"/>
          <p:cNvSpPr/>
          <p:nvPr/>
        </p:nvSpPr>
        <p:spPr bwMode="ltGray">
          <a:xfrm>
            <a:off x="3438963" y="5838417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SS026</a:t>
            </a:r>
            <a:r>
              <a:rPr kumimoji="0" lang="ko-KR" altLang="en-US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53" name="직사각형 52"/>
          <p:cNvSpPr/>
          <p:nvPr/>
        </p:nvSpPr>
        <p:spPr bwMode="ltGray">
          <a:xfrm>
            <a:off x="3438963" y="5981586"/>
            <a:ext cx="78201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YH015</a:t>
            </a:r>
            <a:r>
              <a:rPr kumimoji="0" lang="ko-KR" altLang="en-US" sz="800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55" name="직사각형 54"/>
          <p:cNvSpPr/>
          <p:nvPr/>
        </p:nvSpPr>
        <p:spPr bwMode="ltGray">
          <a:xfrm>
            <a:off x="3438963" y="6121031"/>
            <a:ext cx="782010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1" spc="-100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800" b="1" spc="-100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202719" y="2913649"/>
            <a:ext cx="7184806" cy="569327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1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룰에</a:t>
            </a:r>
            <a:r>
              <a:rPr lang="en-US" altLang="ko-KR" sz="12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한 유효성 검증결과 및 자금세탁 위험성을 종합적으로 고려하여</a:t>
            </a:r>
            <a:endParaRPr lang="en-US" altLang="ko-KR" sz="120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r>
              <a:rPr lang="ko-KR" altLang="en-US" sz="12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최적화에 대한 논리적 근거를 마련함 </a:t>
            </a:r>
          </a:p>
        </p:txBody>
      </p:sp>
      <p:cxnSp>
        <p:nvCxnSpPr>
          <p:cNvPr id="57" name="직선 연결선 56"/>
          <p:cNvCxnSpPr/>
          <p:nvPr/>
        </p:nvCxnSpPr>
        <p:spPr>
          <a:xfrm>
            <a:off x="4374951" y="3901767"/>
            <a:ext cx="10997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4374954" y="3427452"/>
            <a:ext cx="1099720" cy="3634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69574" algn="ctr">
              <a:spcAft>
                <a:spcPts val="884"/>
              </a:spcAft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유효성 검증결과</a:t>
            </a:r>
          </a:p>
        </p:txBody>
      </p:sp>
      <p:sp>
        <p:nvSpPr>
          <p:cNvPr id="64" name="직사각형 63"/>
          <p:cNvSpPr/>
          <p:nvPr/>
        </p:nvSpPr>
        <p:spPr bwMode="ltGray">
          <a:xfrm>
            <a:off x="4327729" y="399630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65" name="직사각형 64"/>
          <p:cNvSpPr/>
          <p:nvPr/>
        </p:nvSpPr>
        <p:spPr bwMode="ltGray">
          <a:xfrm>
            <a:off x="4327729" y="4140301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66" name="직사각형 65"/>
          <p:cNvSpPr/>
          <p:nvPr/>
        </p:nvSpPr>
        <p:spPr bwMode="ltGray">
          <a:xfrm>
            <a:off x="4327729" y="427974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67" name="직사각형 66"/>
          <p:cNvSpPr/>
          <p:nvPr/>
        </p:nvSpPr>
        <p:spPr bwMode="ltGray">
          <a:xfrm>
            <a:off x="4327729" y="4421938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68" name="직사각형 67"/>
          <p:cNvSpPr/>
          <p:nvPr/>
        </p:nvSpPr>
        <p:spPr bwMode="ltGray">
          <a:xfrm>
            <a:off x="4546239" y="4569429"/>
            <a:ext cx="782010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900" b="1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69" name="직사각형 68"/>
          <p:cNvSpPr/>
          <p:nvPr/>
        </p:nvSpPr>
        <p:spPr bwMode="ltGray">
          <a:xfrm>
            <a:off x="4327729" y="477821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0" name="직사각형 69"/>
          <p:cNvSpPr/>
          <p:nvPr/>
        </p:nvSpPr>
        <p:spPr bwMode="ltGray">
          <a:xfrm>
            <a:off x="4327729" y="4922211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1" name="직사각형 70"/>
          <p:cNvSpPr/>
          <p:nvPr/>
        </p:nvSpPr>
        <p:spPr bwMode="ltGray">
          <a:xfrm>
            <a:off x="4327729" y="5065190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2" name="직사각형 71"/>
          <p:cNvSpPr/>
          <p:nvPr/>
        </p:nvSpPr>
        <p:spPr bwMode="ltGray">
          <a:xfrm>
            <a:off x="4327729" y="5211893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3" name="직사각형 72"/>
          <p:cNvSpPr/>
          <p:nvPr/>
        </p:nvSpPr>
        <p:spPr bwMode="ltGray">
          <a:xfrm>
            <a:off x="4546239" y="5351339"/>
            <a:ext cx="782010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900" b="1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4" name="직사각형 73"/>
          <p:cNvSpPr/>
          <p:nvPr/>
        </p:nvSpPr>
        <p:spPr bwMode="ltGray">
          <a:xfrm>
            <a:off x="4327729" y="5547909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5" name="직사각형 74"/>
          <p:cNvSpPr/>
          <p:nvPr/>
        </p:nvSpPr>
        <p:spPr bwMode="ltGray">
          <a:xfrm>
            <a:off x="4327729" y="5691904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6" name="직사각형 75"/>
          <p:cNvSpPr/>
          <p:nvPr/>
        </p:nvSpPr>
        <p:spPr bwMode="ltGray">
          <a:xfrm>
            <a:off x="4327729" y="583841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7" name="직사각형 76"/>
          <p:cNvSpPr/>
          <p:nvPr/>
        </p:nvSpPr>
        <p:spPr bwMode="ltGray">
          <a:xfrm>
            <a:off x="4327729" y="5981586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78" name="직사각형 77"/>
          <p:cNvSpPr/>
          <p:nvPr/>
        </p:nvSpPr>
        <p:spPr bwMode="ltGray">
          <a:xfrm>
            <a:off x="4546239" y="6121031"/>
            <a:ext cx="782010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900" b="1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79" name="직사각형 78"/>
          <p:cNvSpPr/>
          <p:nvPr/>
        </p:nvSpPr>
        <p:spPr bwMode="ltGray">
          <a:xfrm>
            <a:off x="4739458" y="399630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80" name="직사각형 79"/>
          <p:cNvSpPr/>
          <p:nvPr/>
        </p:nvSpPr>
        <p:spPr bwMode="ltGray">
          <a:xfrm>
            <a:off x="4739458" y="4140301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81" name="직사각형 80"/>
          <p:cNvSpPr/>
          <p:nvPr/>
        </p:nvSpPr>
        <p:spPr bwMode="ltGray">
          <a:xfrm>
            <a:off x="4739458" y="427974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82" name="직사각형 81"/>
          <p:cNvSpPr/>
          <p:nvPr/>
        </p:nvSpPr>
        <p:spPr bwMode="ltGray">
          <a:xfrm>
            <a:off x="4739458" y="4421938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83" name="직사각형 82"/>
          <p:cNvSpPr/>
          <p:nvPr/>
        </p:nvSpPr>
        <p:spPr bwMode="ltGray">
          <a:xfrm>
            <a:off x="5151188" y="399630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84" name="직사각형 83"/>
          <p:cNvSpPr/>
          <p:nvPr/>
        </p:nvSpPr>
        <p:spPr bwMode="ltGray">
          <a:xfrm>
            <a:off x="5151188" y="4140301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85" name="직사각형 84"/>
          <p:cNvSpPr/>
          <p:nvPr/>
        </p:nvSpPr>
        <p:spPr bwMode="ltGray">
          <a:xfrm>
            <a:off x="5151188" y="427974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86" name="직사각형 85"/>
          <p:cNvSpPr/>
          <p:nvPr/>
        </p:nvSpPr>
        <p:spPr bwMode="ltGray">
          <a:xfrm>
            <a:off x="5151188" y="4421938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87" name="직사각형 86"/>
          <p:cNvSpPr/>
          <p:nvPr/>
        </p:nvSpPr>
        <p:spPr bwMode="ltGray">
          <a:xfrm>
            <a:off x="4739457" y="477821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88" name="직사각형 87"/>
          <p:cNvSpPr/>
          <p:nvPr/>
        </p:nvSpPr>
        <p:spPr bwMode="ltGray">
          <a:xfrm>
            <a:off x="4739457" y="4922211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89" name="직사각형 88"/>
          <p:cNvSpPr/>
          <p:nvPr/>
        </p:nvSpPr>
        <p:spPr bwMode="ltGray">
          <a:xfrm>
            <a:off x="4739457" y="5065190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90" name="직사각형 89"/>
          <p:cNvSpPr/>
          <p:nvPr/>
        </p:nvSpPr>
        <p:spPr bwMode="ltGray">
          <a:xfrm>
            <a:off x="4739457" y="5211893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91" name="직사각형 90"/>
          <p:cNvSpPr/>
          <p:nvPr/>
        </p:nvSpPr>
        <p:spPr bwMode="ltGray">
          <a:xfrm>
            <a:off x="5151186" y="477821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92" name="직사각형 91"/>
          <p:cNvSpPr/>
          <p:nvPr/>
        </p:nvSpPr>
        <p:spPr bwMode="ltGray">
          <a:xfrm>
            <a:off x="5151186" y="4922211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93" name="직사각형 92"/>
          <p:cNvSpPr/>
          <p:nvPr/>
        </p:nvSpPr>
        <p:spPr bwMode="ltGray">
          <a:xfrm>
            <a:off x="5151186" y="5065190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94" name="직사각형 93"/>
          <p:cNvSpPr/>
          <p:nvPr/>
        </p:nvSpPr>
        <p:spPr bwMode="ltGray">
          <a:xfrm>
            <a:off x="5151186" y="5211893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95" name="직사각형 94"/>
          <p:cNvSpPr/>
          <p:nvPr/>
        </p:nvSpPr>
        <p:spPr bwMode="ltGray">
          <a:xfrm>
            <a:off x="4743746" y="5547909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96" name="직사각형 95"/>
          <p:cNvSpPr/>
          <p:nvPr/>
        </p:nvSpPr>
        <p:spPr bwMode="ltGray">
          <a:xfrm>
            <a:off x="4743746" y="5691904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97" name="직사각형 96"/>
          <p:cNvSpPr/>
          <p:nvPr/>
        </p:nvSpPr>
        <p:spPr bwMode="ltGray">
          <a:xfrm>
            <a:off x="4743746" y="583841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98" name="직사각형 97"/>
          <p:cNvSpPr/>
          <p:nvPr/>
        </p:nvSpPr>
        <p:spPr bwMode="ltGray">
          <a:xfrm>
            <a:off x="4743746" y="5981586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↑</a:t>
            </a:r>
          </a:p>
        </p:txBody>
      </p:sp>
      <p:sp>
        <p:nvSpPr>
          <p:cNvPr id="99" name="직사각형 98"/>
          <p:cNvSpPr/>
          <p:nvPr/>
        </p:nvSpPr>
        <p:spPr bwMode="ltGray">
          <a:xfrm>
            <a:off x="5155475" y="5547909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100" name="직사각형 99"/>
          <p:cNvSpPr/>
          <p:nvPr/>
        </p:nvSpPr>
        <p:spPr bwMode="ltGray">
          <a:xfrm>
            <a:off x="5155475" y="5691904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101" name="직사각형 100"/>
          <p:cNvSpPr/>
          <p:nvPr/>
        </p:nvSpPr>
        <p:spPr bwMode="ltGray">
          <a:xfrm>
            <a:off x="5155475" y="5838417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102" name="직사각형 101"/>
          <p:cNvSpPr/>
          <p:nvPr/>
        </p:nvSpPr>
        <p:spPr bwMode="ltGray">
          <a:xfrm>
            <a:off x="5155475" y="5981586"/>
            <a:ext cx="388360" cy="1225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↓</a:t>
            </a:r>
          </a:p>
        </p:txBody>
      </p:sp>
      <p:sp>
        <p:nvSpPr>
          <p:cNvPr id="103" name="직사각형 102"/>
          <p:cNvSpPr/>
          <p:nvPr/>
        </p:nvSpPr>
        <p:spPr bwMode="ltGray">
          <a:xfrm>
            <a:off x="5663134" y="3996307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04" name="직사각형 103"/>
          <p:cNvSpPr/>
          <p:nvPr/>
        </p:nvSpPr>
        <p:spPr bwMode="ltGray">
          <a:xfrm>
            <a:off x="5663134" y="4140301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05" name="직사각형 104"/>
          <p:cNvSpPr/>
          <p:nvPr/>
        </p:nvSpPr>
        <p:spPr bwMode="ltGray">
          <a:xfrm>
            <a:off x="5663134" y="4279747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06" name="직사각형 105"/>
          <p:cNvSpPr/>
          <p:nvPr/>
        </p:nvSpPr>
        <p:spPr bwMode="ltGray">
          <a:xfrm>
            <a:off x="5663134" y="4421938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07" name="직사각형 106"/>
          <p:cNvSpPr/>
          <p:nvPr/>
        </p:nvSpPr>
        <p:spPr bwMode="ltGray">
          <a:xfrm>
            <a:off x="5663133" y="4778217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08" name="직사각형 107"/>
          <p:cNvSpPr/>
          <p:nvPr/>
        </p:nvSpPr>
        <p:spPr bwMode="ltGray">
          <a:xfrm>
            <a:off x="5663133" y="4922211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09" name="직사각형 108"/>
          <p:cNvSpPr/>
          <p:nvPr/>
        </p:nvSpPr>
        <p:spPr bwMode="ltGray">
          <a:xfrm>
            <a:off x="5663133" y="5065190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10" name="직사각형 109"/>
          <p:cNvSpPr/>
          <p:nvPr/>
        </p:nvSpPr>
        <p:spPr bwMode="ltGray">
          <a:xfrm>
            <a:off x="5663133" y="5211893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11" name="직사각형 110"/>
          <p:cNvSpPr/>
          <p:nvPr/>
        </p:nvSpPr>
        <p:spPr bwMode="ltGray">
          <a:xfrm>
            <a:off x="5667421" y="5547909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12" name="직사각형 111"/>
          <p:cNvSpPr/>
          <p:nvPr/>
        </p:nvSpPr>
        <p:spPr bwMode="ltGray">
          <a:xfrm>
            <a:off x="5667421" y="5691904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13" name="직사각형 112"/>
          <p:cNvSpPr/>
          <p:nvPr/>
        </p:nvSpPr>
        <p:spPr bwMode="ltGray">
          <a:xfrm>
            <a:off x="5667421" y="5838417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sp>
        <p:nvSpPr>
          <p:cNvPr id="114" name="직사각형 113"/>
          <p:cNvSpPr/>
          <p:nvPr/>
        </p:nvSpPr>
        <p:spPr bwMode="ltGray">
          <a:xfrm>
            <a:off x="5667421" y="5981586"/>
            <a:ext cx="582540" cy="122533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↓</a:t>
            </a:r>
          </a:p>
        </p:txBody>
      </p:sp>
      <p:cxnSp>
        <p:nvCxnSpPr>
          <p:cNvPr id="115" name="직선 연결선 114"/>
          <p:cNvCxnSpPr/>
          <p:nvPr/>
        </p:nvCxnSpPr>
        <p:spPr>
          <a:xfrm>
            <a:off x="5679791" y="3901767"/>
            <a:ext cx="576097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5567063" y="3597067"/>
            <a:ext cx="801559" cy="36340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69574" algn="ctr">
              <a:spcAft>
                <a:spcPts val="884"/>
              </a:spcAft>
            </a:pP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ML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위험성</a:t>
            </a:r>
          </a:p>
        </p:txBody>
      </p:sp>
      <p:sp>
        <p:nvSpPr>
          <p:cNvPr id="117" name="직사각형 116"/>
          <p:cNvSpPr/>
          <p:nvPr/>
        </p:nvSpPr>
        <p:spPr bwMode="ltGray">
          <a:xfrm>
            <a:off x="6368623" y="3990883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근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 생산성 급격히 하락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SAS08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사성이 매우 높음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</a:t>
            </a:r>
          </a:p>
        </p:txBody>
      </p:sp>
      <p:sp>
        <p:nvSpPr>
          <p:cNvPr id="118" name="직사각형 117"/>
          <p:cNvSpPr/>
          <p:nvPr/>
        </p:nvSpPr>
        <p:spPr bwMode="ltGray">
          <a:xfrm>
            <a:off x="6368623" y="4135582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성이 매우 낮은데 반해 생산성과 안정성이 매우 낮음 등</a:t>
            </a:r>
          </a:p>
        </p:txBody>
      </p:sp>
      <p:sp>
        <p:nvSpPr>
          <p:cNvPr id="119" name="직사각형 118"/>
          <p:cNvSpPr/>
          <p:nvPr/>
        </p:nvSpPr>
        <p:spPr bwMode="ltGray">
          <a:xfrm>
            <a:off x="6368623" y="4280281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YS00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Alert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결과 일치율이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00%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며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성이 매우 </a:t>
            </a:r>
          </a:p>
        </p:txBody>
      </p:sp>
      <p:sp>
        <p:nvSpPr>
          <p:cNvPr id="120" name="직사각형 119"/>
          <p:cNvSpPr/>
          <p:nvPr/>
        </p:nvSpPr>
        <p:spPr bwMode="ltGray">
          <a:xfrm>
            <a:off x="6368623" y="4424979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근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간 추출이 발생하지 않고 해당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Business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규모가 축소</a:t>
            </a:r>
          </a:p>
        </p:txBody>
      </p:sp>
      <p:sp>
        <p:nvSpPr>
          <p:cNvPr id="121" name="직사각형 120"/>
          <p:cNvSpPr/>
          <p:nvPr/>
        </p:nvSpPr>
        <p:spPr bwMode="ltGray">
          <a:xfrm>
            <a:off x="6368621" y="4772792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근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 생산성 급격히 하락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SAS08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사성이 매우 높음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</a:t>
            </a:r>
          </a:p>
        </p:txBody>
      </p:sp>
      <p:sp>
        <p:nvSpPr>
          <p:cNvPr id="122" name="직사각형 121"/>
          <p:cNvSpPr/>
          <p:nvPr/>
        </p:nvSpPr>
        <p:spPr bwMode="ltGray">
          <a:xfrm>
            <a:off x="6368621" y="4916786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성이 매우 낮은데 반해 생산성과 안정성이 매우 낮음 등</a:t>
            </a:r>
          </a:p>
        </p:txBody>
      </p:sp>
      <p:sp>
        <p:nvSpPr>
          <p:cNvPr id="123" name="직사각형 122"/>
          <p:cNvSpPr/>
          <p:nvPr/>
        </p:nvSpPr>
        <p:spPr bwMode="ltGray">
          <a:xfrm>
            <a:off x="6368621" y="5059766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YS00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Alert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결과 일치율이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00%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며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성이 매우</a:t>
            </a:r>
          </a:p>
        </p:txBody>
      </p:sp>
      <p:sp>
        <p:nvSpPr>
          <p:cNvPr id="124" name="직사각형 123"/>
          <p:cNvSpPr/>
          <p:nvPr/>
        </p:nvSpPr>
        <p:spPr bwMode="ltGray">
          <a:xfrm>
            <a:off x="6368621" y="5206469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근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간 추출이 발생하지 않고 해당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Business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규모가 축소</a:t>
            </a:r>
          </a:p>
        </p:txBody>
      </p:sp>
      <p:sp>
        <p:nvSpPr>
          <p:cNvPr id="125" name="직사각형 124"/>
          <p:cNvSpPr/>
          <p:nvPr/>
        </p:nvSpPr>
        <p:spPr bwMode="ltGray">
          <a:xfrm>
            <a:off x="6378325" y="5542485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근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 생산성 급격히 하락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SAS08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사성이 매우 높음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</a:t>
            </a:r>
          </a:p>
        </p:txBody>
      </p:sp>
      <p:sp>
        <p:nvSpPr>
          <p:cNvPr id="126" name="직사각형 125"/>
          <p:cNvSpPr/>
          <p:nvPr/>
        </p:nvSpPr>
        <p:spPr bwMode="ltGray">
          <a:xfrm>
            <a:off x="6378325" y="5686479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성이 매우 낮은데 반해 생산성과 안정성이 매우 낮음 등</a:t>
            </a:r>
          </a:p>
        </p:txBody>
      </p:sp>
      <p:sp>
        <p:nvSpPr>
          <p:cNvPr id="127" name="직사각형 126"/>
          <p:cNvSpPr/>
          <p:nvPr/>
        </p:nvSpPr>
        <p:spPr bwMode="ltGray">
          <a:xfrm>
            <a:off x="6378325" y="5832992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YS00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와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Alert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결과 일치율이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00%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며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성이 매우</a:t>
            </a:r>
          </a:p>
        </p:txBody>
      </p:sp>
      <p:sp>
        <p:nvSpPr>
          <p:cNvPr id="128" name="직사각형 127"/>
          <p:cNvSpPr/>
          <p:nvPr/>
        </p:nvSpPr>
        <p:spPr bwMode="ltGray">
          <a:xfrm>
            <a:off x="6378325" y="5976162"/>
            <a:ext cx="3009201" cy="127957"/>
          </a:xfrm>
          <a:prstGeom prst="rect">
            <a:avLst/>
          </a:prstGeom>
          <a:solidFill>
            <a:srgbClr val="F3F5F7"/>
          </a:solidFill>
          <a:ln w="6350">
            <a:solidFill>
              <a:srgbClr val="CFD6DB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최근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년간 추출이 발생하지 않고 해당 </a:t>
            </a:r>
            <a:r>
              <a:rPr lang="en-US" altLang="ko-KR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Business </a:t>
            </a:r>
            <a:r>
              <a:rPr lang="ko-KR" altLang="en-US" sz="7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규모가 축소</a:t>
            </a:r>
          </a:p>
        </p:txBody>
      </p:sp>
      <p:cxnSp>
        <p:nvCxnSpPr>
          <p:cNvPr id="129" name="직선 연결선 128"/>
          <p:cNvCxnSpPr/>
          <p:nvPr/>
        </p:nvCxnSpPr>
        <p:spPr>
          <a:xfrm>
            <a:off x="6406320" y="3901767"/>
            <a:ext cx="297592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>
          <a:xfrm>
            <a:off x="6406325" y="3580979"/>
            <a:ext cx="2975916" cy="37948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69574" algn="ctr">
              <a:spcAft>
                <a:spcPts val="884"/>
              </a:spcAft>
            </a:pP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최적화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근거</a:t>
            </a:r>
          </a:p>
        </p:txBody>
      </p:sp>
      <p:sp>
        <p:nvSpPr>
          <p:cNvPr id="131" name="직사각형 130"/>
          <p:cNvSpPr/>
          <p:nvPr/>
        </p:nvSpPr>
        <p:spPr bwMode="ltGray">
          <a:xfrm>
            <a:off x="6969224" y="4596344"/>
            <a:ext cx="1769729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79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1179" b="1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2" name="직사각형 131"/>
          <p:cNvSpPr/>
          <p:nvPr/>
        </p:nvSpPr>
        <p:spPr bwMode="ltGray">
          <a:xfrm>
            <a:off x="6969224" y="5378254"/>
            <a:ext cx="1769729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79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1179" b="1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33" name="직사각형 132"/>
          <p:cNvSpPr/>
          <p:nvPr/>
        </p:nvSpPr>
        <p:spPr bwMode="ltGray">
          <a:xfrm>
            <a:off x="6969224" y="6147946"/>
            <a:ext cx="1769729" cy="12253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79" b="1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kumimoji="0" lang="ko-KR" altLang="en-US" sz="1179" b="1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34" name="직선 연결선 133"/>
          <p:cNvCxnSpPr/>
          <p:nvPr/>
        </p:nvCxnSpPr>
        <p:spPr>
          <a:xfrm>
            <a:off x="4374951" y="3703881"/>
            <a:ext cx="10997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  <a:alpha val="99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직선 연결선 134"/>
          <p:cNvCxnSpPr/>
          <p:nvPr/>
        </p:nvCxnSpPr>
        <p:spPr>
          <a:xfrm>
            <a:off x="2047804" y="2936277"/>
            <a:ext cx="0" cy="3473445"/>
          </a:xfrm>
          <a:prstGeom prst="line">
            <a:avLst/>
          </a:prstGeom>
          <a:ln w="3175">
            <a:solidFill>
              <a:srgbClr val="33685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직선 연결선 135"/>
          <p:cNvCxnSpPr/>
          <p:nvPr/>
        </p:nvCxnSpPr>
        <p:spPr>
          <a:xfrm>
            <a:off x="2227894" y="6297606"/>
            <a:ext cx="2318344" cy="0"/>
          </a:xfrm>
          <a:prstGeom prst="line">
            <a:avLst/>
          </a:prstGeom>
          <a:ln w="6350">
            <a:solidFill>
              <a:srgbClr val="33685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2220514" y="6306556"/>
            <a:ext cx="2581348" cy="14942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indent="-269574" fontAlgn="auto">
              <a:spcBef>
                <a:spcPts val="0"/>
              </a:spcBef>
              <a:spcAft>
                <a:spcPts val="884"/>
              </a:spcAft>
            </a:pPr>
            <a:r>
              <a:rPr kumimoji="0" lang="en-US" altLang="ko-KR" sz="800" spc="-100" dirty="0" smtClean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※  </a:t>
            </a:r>
            <a:r>
              <a:rPr kumimoji="0" lang="ko-KR" altLang="en-US" sz="8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① 생산성</a:t>
            </a:r>
            <a:r>
              <a:rPr kumimoji="0" lang="en-US" altLang="ko-KR" sz="8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② </a:t>
            </a:r>
            <a:r>
              <a:rPr kumimoji="0" lang="ko-KR" altLang="en-US" sz="8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사성</a:t>
            </a:r>
            <a:r>
              <a:rPr kumimoji="0" lang="en-US" altLang="ko-KR" sz="8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③ </a:t>
            </a:r>
            <a:r>
              <a:rPr kumimoji="0" lang="ko-KR" altLang="en-US" sz="800" spc="-100" dirty="0">
                <a:solidFill>
                  <a:prstClr val="black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안정성</a:t>
            </a:r>
          </a:p>
        </p:txBody>
      </p:sp>
      <p:sp>
        <p:nvSpPr>
          <p:cNvPr id="138" name="직사각형 137"/>
          <p:cNvSpPr/>
          <p:nvPr/>
        </p:nvSpPr>
        <p:spPr bwMode="ltGray">
          <a:xfrm>
            <a:off x="513036" y="2913649"/>
            <a:ext cx="1335675" cy="8772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적화 결과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eview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9" name="직사각형 138"/>
          <p:cNvSpPr/>
          <p:nvPr/>
        </p:nvSpPr>
        <p:spPr bwMode="ltGray">
          <a:xfrm>
            <a:off x="513036" y="4178709"/>
            <a:ext cx="1335675" cy="8772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적화 대상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ule Pool</a:t>
            </a:r>
            <a:endParaRPr lang="ko-KR" altLang="en-US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0" name="꺾인 연결선 139"/>
          <p:cNvCxnSpPr>
            <a:stCxn id="139" idx="2"/>
          </p:cNvCxnSpPr>
          <p:nvPr/>
        </p:nvCxnSpPr>
        <p:spPr>
          <a:xfrm rot="16200000" flipH="1">
            <a:off x="1440049" y="4796736"/>
            <a:ext cx="256244" cy="774594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화살표 연결선 140"/>
          <p:cNvCxnSpPr>
            <a:stCxn id="138" idx="2"/>
            <a:endCxn id="139" idx="0"/>
          </p:cNvCxnSpPr>
          <p:nvPr/>
        </p:nvCxnSpPr>
        <p:spPr>
          <a:xfrm>
            <a:off x="1180873" y="3790852"/>
            <a:ext cx="0" cy="387857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t74">
            <a:extLst>
              <a:ext uri="{FF2B5EF4-FFF2-40B4-BE49-F238E27FC236}">
                <a16:creationId xmlns:a16="http://schemas.microsoft.com/office/drawing/2014/main" id="{2DF97A79-F125-49DF-9965-D6DDC5EC7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40955" y="3737701"/>
            <a:ext cx="180020" cy="15395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</a:t>
            </a:r>
          </a:p>
        </p:txBody>
      </p:sp>
      <p:sp>
        <p:nvSpPr>
          <p:cNvPr id="144" name="Rt74">
            <a:extLst>
              <a:ext uri="{FF2B5EF4-FFF2-40B4-BE49-F238E27FC236}">
                <a16:creationId xmlns:a16="http://schemas.microsoft.com/office/drawing/2014/main" id="{9D6DA737-6700-4EBE-8D80-56009A57D9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52871" y="3737701"/>
            <a:ext cx="180020" cy="15395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</a:t>
            </a:r>
          </a:p>
        </p:txBody>
      </p:sp>
      <p:sp>
        <p:nvSpPr>
          <p:cNvPr id="145" name="Rt74">
            <a:extLst>
              <a:ext uri="{FF2B5EF4-FFF2-40B4-BE49-F238E27FC236}">
                <a16:creationId xmlns:a16="http://schemas.microsoft.com/office/drawing/2014/main" id="{9D6DA737-6700-4EBE-8D80-56009A57D9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77036" y="3737701"/>
            <a:ext cx="180020" cy="15395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>
            <a:outerShdw blurRad="25400" dist="12700" dir="2700000" algn="tl" rotWithShape="0">
              <a:prstClr val="black">
                <a:alpha val="20000"/>
              </a:prstClr>
            </a:outerShdw>
          </a:effectLst>
        </p:spPr>
        <p:txBody>
          <a:bodyPr lIns="36000" tIns="36000" rIns="36000" bIns="36000" rtlCol="0" anchor="ctr" anchorCtr="1"/>
          <a:lstStyle/>
          <a:p>
            <a:pPr indent="-180975" algn="ctr" defTabSz="1475110" latinLnBrk="0">
              <a:spcAft>
                <a:spcPts val="240"/>
              </a:spcAft>
            </a:pPr>
            <a:r>
              <a:rPr lang="en-US" altLang="ko-KR" sz="1050" kern="0" dirty="0" smtClean="0">
                <a:ln w="1270">
                  <a:solidFill>
                    <a:srgbClr val="FF9966">
                      <a:alpha val="0"/>
                    </a:srgbClr>
                  </a:solidFill>
                </a:ln>
                <a:solidFill>
                  <a:sysClr val="window" lastClr="FFFF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</a:t>
            </a:r>
            <a:endParaRPr lang="en-US" altLang="ko-KR" sz="1050" kern="0" dirty="0">
              <a:ln w="1270">
                <a:solidFill>
                  <a:srgbClr val="FF9966">
                    <a:alpha val="0"/>
                  </a:srgbClr>
                </a:solidFill>
              </a:ln>
              <a:solidFill>
                <a:sysClr val="window" lastClr="FFFFFF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4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4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4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pic>
        <p:nvPicPr>
          <p:cNvPr id="148" name="Picture 88" descr="예시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62703" y="3465521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888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6 </a:t>
            </a:r>
            <a:r>
              <a:rPr lang="ko-KR" altLang="en-US" dirty="0"/>
              <a:t>신규 룰 추가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과 관련한 국내외 최근 사례 분석과 현재 운영중인 룰의 업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overag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석을 수행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추가되어야 할 신규 룰을 정의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최신 사례 및 감독 방향 반영 신규 룰 추가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5" name="이등변 삼각형 14"/>
          <p:cNvSpPr/>
          <p:nvPr/>
        </p:nvSpPr>
        <p:spPr>
          <a:xfrm rot="16200000">
            <a:off x="735110" y="3603155"/>
            <a:ext cx="3953449" cy="133133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9833" indent="-99833" algn="ctr" defTabSz="1024916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40000"/>
            </a:pPr>
            <a:endParaRPr kumimoji="0" lang="ko-KR" altLang="en-US" sz="1081" spc="-100" dirty="0">
              <a:solidFill>
                <a:prstClr val="white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 bwMode="ltGray">
          <a:xfrm>
            <a:off x="3381409" y="2292394"/>
            <a:ext cx="6006117" cy="3953154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769" spc="-100" dirty="0">
              <a:solidFill>
                <a:prstClr val="white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>
            <a:off x="3787475" y="2751684"/>
            <a:ext cx="5182363" cy="0"/>
          </a:xfrm>
          <a:prstGeom prst="line">
            <a:avLst/>
          </a:prstGeom>
          <a:ln w="3175">
            <a:solidFill>
              <a:srgbClr val="33685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68"/>
          <p:cNvSpPr txBox="1"/>
          <p:nvPr/>
        </p:nvSpPr>
        <p:spPr>
          <a:xfrm>
            <a:off x="3869016" y="2446308"/>
            <a:ext cx="5019281" cy="30537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9574" algn="ctr" defTabSz="457200" fontAlgn="auto" latinLnBrk="0">
              <a:spcBef>
                <a:spcPts val="0"/>
              </a:spcBef>
              <a:spcAft>
                <a:spcPts val="884"/>
              </a:spcAft>
            </a:pP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사례분석 결과정보 활용을 통한 신규 룰 도출 절차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endParaRPr lang="ko-KR" altLang="en-US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 bwMode="ltGray">
          <a:xfrm>
            <a:off x="3497553" y="3003170"/>
            <a:ext cx="1123449" cy="92511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례분석 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기반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시나리오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도출 </a:t>
            </a:r>
          </a:p>
        </p:txBody>
      </p:sp>
      <p:sp>
        <p:nvSpPr>
          <p:cNvPr id="21" name="직사각형 20"/>
          <p:cNvSpPr/>
          <p:nvPr/>
        </p:nvSpPr>
        <p:spPr bwMode="ltGray">
          <a:xfrm>
            <a:off x="3497553" y="4107913"/>
            <a:ext cx="1123449" cy="92511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룰 유형화</a:t>
            </a:r>
          </a:p>
        </p:txBody>
      </p:sp>
      <p:sp>
        <p:nvSpPr>
          <p:cNvPr id="22" name="직사각형 21"/>
          <p:cNvSpPr/>
          <p:nvPr/>
        </p:nvSpPr>
        <p:spPr bwMode="ltGray">
          <a:xfrm>
            <a:off x="3497553" y="5194694"/>
            <a:ext cx="1123449" cy="93409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룰 정의 </a:t>
            </a:r>
          </a:p>
        </p:txBody>
      </p:sp>
      <p:sp>
        <p:nvSpPr>
          <p:cNvPr id="23" name="아래쪽 화살표 22"/>
          <p:cNvSpPr/>
          <p:nvPr/>
        </p:nvSpPr>
        <p:spPr bwMode="ltGray">
          <a:xfrm>
            <a:off x="3796535" y="3873239"/>
            <a:ext cx="512009" cy="234674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" name="아래쪽 화살표 24"/>
          <p:cNvSpPr/>
          <p:nvPr/>
        </p:nvSpPr>
        <p:spPr bwMode="ltGray">
          <a:xfrm>
            <a:off x="3796535" y="4951037"/>
            <a:ext cx="512009" cy="234674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 bwMode="ltGray">
          <a:xfrm>
            <a:off x="4765963" y="5194694"/>
            <a:ext cx="1385418" cy="92511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시나리오별 룰 구성요소의 조합에 따른 룰 정의</a:t>
            </a:r>
          </a:p>
        </p:txBody>
      </p:sp>
      <p:sp>
        <p:nvSpPr>
          <p:cNvPr id="59" name="직사각형 58"/>
          <p:cNvSpPr/>
          <p:nvPr/>
        </p:nvSpPr>
        <p:spPr bwMode="ltGray">
          <a:xfrm>
            <a:off x="7181766" y="3003170"/>
            <a:ext cx="2073974" cy="305377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유사 시나리오 식별</a:t>
            </a:r>
          </a:p>
        </p:txBody>
      </p:sp>
      <p:sp>
        <p:nvSpPr>
          <p:cNvPr id="60" name="직사각형 59"/>
          <p:cNvSpPr/>
          <p:nvPr/>
        </p:nvSpPr>
        <p:spPr bwMode="ltGray">
          <a:xfrm>
            <a:off x="7181766" y="3353454"/>
            <a:ext cx="2073974" cy="5748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의심스러운 거래에 대한 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유사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시나리오 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그룹화 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cxnSp>
        <p:nvCxnSpPr>
          <p:cNvPr id="61" name="직선 화살표 연결선 60"/>
          <p:cNvCxnSpPr>
            <a:stCxn id="62" idx="3"/>
            <a:endCxn id="59" idx="1"/>
          </p:cNvCxnSpPr>
          <p:nvPr/>
        </p:nvCxnSpPr>
        <p:spPr>
          <a:xfrm>
            <a:off x="6630737" y="3155859"/>
            <a:ext cx="551030" cy="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직사각형 61"/>
          <p:cNvSpPr/>
          <p:nvPr/>
        </p:nvSpPr>
        <p:spPr bwMode="ltGray">
          <a:xfrm>
            <a:off x="4765966" y="3003170"/>
            <a:ext cx="1864771" cy="305377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나리오 도출</a:t>
            </a:r>
          </a:p>
        </p:txBody>
      </p:sp>
      <p:sp>
        <p:nvSpPr>
          <p:cNvPr id="63" name="직사각형 62"/>
          <p:cNvSpPr/>
          <p:nvPr/>
        </p:nvSpPr>
        <p:spPr bwMode="ltGray">
          <a:xfrm>
            <a:off x="4765966" y="3353454"/>
            <a:ext cx="1864771" cy="5748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례 원천별 착안점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시사점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에 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기인하여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시나리오 도출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 bwMode="ltGray">
          <a:xfrm>
            <a:off x="4765964" y="4098932"/>
            <a:ext cx="1385417" cy="305377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나리오 분해</a:t>
            </a:r>
          </a:p>
        </p:txBody>
      </p:sp>
      <p:sp>
        <p:nvSpPr>
          <p:cNvPr id="29" name="직사각형 28"/>
          <p:cNvSpPr/>
          <p:nvPr/>
        </p:nvSpPr>
        <p:spPr bwMode="ltGray">
          <a:xfrm>
            <a:off x="4765964" y="4449216"/>
            <a:ext cx="1385417" cy="5748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D9D9D9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시나리오를 유형화 </a:t>
            </a:r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하기 위해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룰의 구성요소 단위로 분해 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 bwMode="ltGray">
          <a:xfrm>
            <a:off x="7511744" y="4098932"/>
            <a:ext cx="1743996" cy="934092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grpSp>
        <p:nvGrpSpPr>
          <p:cNvPr id="31" name="그룹 30"/>
          <p:cNvGrpSpPr/>
          <p:nvPr/>
        </p:nvGrpSpPr>
        <p:grpSpPr>
          <a:xfrm>
            <a:off x="7583166" y="4180004"/>
            <a:ext cx="1607632" cy="784920"/>
            <a:chOff x="3702364" y="2713400"/>
            <a:chExt cx="1134743" cy="964844"/>
          </a:xfrm>
        </p:grpSpPr>
        <p:sp>
          <p:nvSpPr>
            <p:cNvPr id="52" name="직사각형 51"/>
            <p:cNvSpPr/>
            <p:nvPr/>
          </p:nvSpPr>
          <p:spPr bwMode="ltGray">
            <a:xfrm>
              <a:off x="3702364" y="2713400"/>
              <a:ext cx="588769" cy="28723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추출수준</a:t>
              </a:r>
            </a:p>
          </p:txBody>
        </p:sp>
        <p:sp>
          <p:nvSpPr>
            <p:cNvPr id="53" name="직사각형 52"/>
            <p:cNvSpPr/>
            <p:nvPr/>
          </p:nvSpPr>
          <p:spPr bwMode="ltGray">
            <a:xfrm>
              <a:off x="3702364" y="3046776"/>
              <a:ext cx="588769" cy="28723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거래자정보</a:t>
              </a:r>
            </a:p>
          </p:txBody>
        </p:sp>
        <p:sp>
          <p:nvSpPr>
            <p:cNvPr id="55" name="직사각형 54"/>
            <p:cNvSpPr/>
            <p:nvPr/>
          </p:nvSpPr>
          <p:spPr bwMode="ltGray">
            <a:xfrm>
              <a:off x="3702364" y="3380150"/>
              <a:ext cx="588769" cy="28723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거래채널</a:t>
              </a:r>
            </a:p>
          </p:txBody>
        </p:sp>
        <p:sp>
          <p:nvSpPr>
            <p:cNvPr id="56" name="직사각형 55"/>
            <p:cNvSpPr/>
            <p:nvPr/>
          </p:nvSpPr>
          <p:spPr bwMode="ltGray">
            <a:xfrm>
              <a:off x="4353103" y="2713400"/>
              <a:ext cx="484003" cy="28723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거래수단</a:t>
              </a:r>
            </a:p>
          </p:txBody>
        </p:sp>
        <p:sp>
          <p:nvSpPr>
            <p:cNvPr id="57" name="직사각형 56"/>
            <p:cNvSpPr/>
            <p:nvPr/>
          </p:nvSpPr>
          <p:spPr bwMode="ltGray">
            <a:xfrm>
              <a:off x="4353104" y="3046775"/>
              <a:ext cx="484003" cy="28723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거래종류</a:t>
              </a:r>
            </a:p>
          </p:txBody>
        </p:sp>
        <p:sp>
          <p:nvSpPr>
            <p:cNvPr id="58" name="직사각형 57"/>
            <p:cNvSpPr/>
            <p:nvPr/>
          </p:nvSpPr>
          <p:spPr bwMode="ltGray">
            <a:xfrm>
              <a:off x="4353104" y="3391005"/>
              <a:ext cx="484003" cy="28723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ko-KR" altLang="en-US" sz="10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거래상품</a:t>
              </a:r>
            </a:p>
          </p:txBody>
        </p:sp>
      </p:grpSp>
      <p:sp>
        <p:nvSpPr>
          <p:cNvPr id="32" name="오른쪽 화살표 31"/>
          <p:cNvSpPr/>
          <p:nvPr/>
        </p:nvSpPr>
        <p:spPr bwMode="ltGray">
          <a:xfrm>
            <a:off x="6162597" y="4449216"/>
            <a:ext cx="1333220" cy="416298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000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" name="TextBox 16"/>
          <p:cNvSpPr txBox="1"/>
          <p:nvPr/>
        </p:nvSpPr>
        <p:spPr>
          <a:xfrm>
            <a:off x="6204683" y="4269823"/>
            <a:ext cx="1088577" cy="26920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9574" algn="ctr" fontAlgn="auto">
              <a:spcBef>
                <a:spcPts val="0"/>
              </a:spcBef>
              <a:spcAft>
                <a:spcPts val="884"/>
              </a:spcAft>
            </a:pP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룰 구성요소별 정의</a:t>
            </a:r>
          </a:p>
        </p:txBody>
      </p:sp>
      <p:sp>
        <p:nvSpPr>
          <p:cNvPr id="34" name="직사각형 33"/>
          <p:cNvSpPr/>
          <p:nvPr/>
        </p:nvSpPr>
        <p:spPr bwMode="ltGray">
          <a:xfrm>
            <a:off x="6327532" y="5194694"/>
            <a:ext cx="1385417" cy="92511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룰 정의서 작성</a:t>
            </a:r>
          </a:p>
        </p:txBody>
      </p:sp>
      <p:cxnSp>
        <p:nvCxnSpPr>
          <p:cNvPr id="35" name="직선 화살표 연결선 34"/>
          <p:cNvCxnSpPr>
            <a:stCxn id="26" idx="3"/>
            <a:endCxn id="34" idx="1"/>
          </p:cNvCxnSpPr>
          <p:nvPr/>
        </p:nvCxnSpPr>
        <p:spPr>
          <a:xfrm>
            <a:off x="6151382" y="5657250"/>
            <a:ext cx="176151" cy="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직사각형 35"/>
          <p:cNvSpPr/>
          <p:nvPr/>
        </p:nvSpPr>
        <p:spPr bwMode="ltGray">
          <a:xfrm>
            <a:off x="7894925" y="5194694"/>
            <a:ext cx="1385417" cy="925110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룰 추출요건 작성</a:t>
            </a:r>
          </a:p>
        </p:txBody>
      </p:sp>
      <p:cxnSp>
        <p:nvCxnSpPr>
          <p:cNvPr id="37" name="직선 화살표 연결선 36"/>
          <p:cNvCxnSpPr>
            <a:stCxn id="34" idx="3"/>
            <a:endCxn id="36" idx="1"/>
          </p:cNvCxnSpPr>
          <p:nvPr/>
        </p:nvCxnSpPr>
        <p:spPr>
          <a:xfrm>
            <a:off x="7712949" y="5657250"/>
            <a:ext cx="181976" cy="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아래쪽 화살표 37"/>
          <p:cNvSpPr/>
          <p:nvPr/>
        </p:nvSpPr>
        <p:spPr>
          <a:xfrm>
            <a:off x="513036" y="2454079"/>
            <a:ext cx="2655291" cy="1406465"/>
          </a:xfrm>
          <a:prstGeom prst="downArrow">
            <a:avLst>
              <a:gd name="adj1" fmla="val 81855"/>
              <a:gd name="adj2" fmla="val 39314"/>
            </a:avLst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44" name="아래쪽 화살표 43"/>
          <p:cNvSpPr/>
          <p:nvPr/>
        </p:nvSpPr>
        <p:spPr>
          <a:xfrm flipV="1">
            <a:off x="513036" y="4728120"/>
            <a:ext cx="2655291" cy="1406465"/>
          </a:xfrm>
          <a:prstGeom prst="downArrow">
            <a:avLst>
              <a:gd name="adj1" fmla="val 81855"/>
              <a:gd name="adj2" fmla="val 39314"/>
            </a:avLst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45" name="타원 44"/>
          <p:cNvSpPr/>
          <p:nvPr/>
        </p:nvSpPr>
        <p:spPr bwMode="ltGray">
          <a:xfrm>
            <a:off x="1155825" y="3623314"/>
            <a:ext cx="1369712" cy="1357856"/>
          </a:xfrm>
          <a:prstGeom prst="ellipse">
            <a:avLst/>
          </a:prstGeom>
          <a:solidFill>
            <a:srgbClr val="038CDC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규 룰 도출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004101" y="2553491"/>
            <a:ext cx="1673160" cy="41629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69574" algn="ctr">
              <a:spcAft>
                <a:spcPts val="884"/>
              </a:spcAft>
            </a:pP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외부사례 조사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93403" y="2909612"/>
            <a:ext cx="2294558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최근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KoFIU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심사분석사례 조사 및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타사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해외 사례 조사 수행</a:t>
            </a:r>
          </a:p>
        </p:txBody>
      </p:sp>
      <p:cxnSp>
        <p:nvCxnSpPr>
          <p:cNvPr id="48" name="직선 연결선 47"/>
          <p:cNvCxnSpPr/>
          <p:nvPr/>
        </p:nvCxnSpPr>
        <p:spPr>
          <a:xfrm>
            <a:off x="895109" y="2780937"/>
            <a:ext cx="1891145" cy="0"/>
          </a:xfrm>
          <a:prstGeom prst="line">
            <a:avLst/>
          </a:prstGeom>
          <a:ln w="12700">
            <a:solidFill>
              <a:schemeClr val="tx1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1004101" y="5893022"/>
            <a:ext cx="1673160" cy="41629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69574" algn="ctr">
              <a:spcAft>
                <a:spcPts val="884"/>
              </a:spcAft>
            </a:pP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기존 룰 업무 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Coverage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분석</a:t>
            </a:r>
          </a:p>
        </p:txBody>
      </p:sp>
      <p:cxnSp>
        <p:nvCxnSpPr>
          <p:cNvPr id="50" name="직선 연결선 49"/>
          <p:cNvCxnSpPr/>
          <p:nvPr/>
        </p:nvCxnSpPr>
        <p:spPr>
          <a:xfrm>
            <a:off x="895109" y="5827781"/>
            <a:ext cx="1891145" cy="0"/>
          </a:xfrm>
          <a:prstGeom prst="line">
            <a:avLst/>
          </a:prstGeom>
          <a:ln w="12700">
            <a:solidFill>
              <a:schemeClr val="tx1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675339" y="5150147"/>
            <a:ext cx="2346886" cy="553998"/>
          </a:xfrm>
          <a:prstGeom prst="rect">
            <a:avLst/>
          </a:prstGeom>
          <a:noFill/>
          <a:ln>
            <a:noFill/>
          </a:ln>
        </p:spPr>
        <p:txBody>
          <a:bodyPr wrap="square" lIns="70753" rIns="70753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품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비스 영역과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존 룰의 모니터링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overage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를 분석하여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니터링 누락 영역 파악</a:t>
            </a:r>
          </a:p>
        </p:txBody>
      </p:sp>
      <p:sp>
        <p:nvSpPr>
          <p:cNvPr id="6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6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296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2 </a:t>
            </a:r>
            <a:r>
              <a:rPr lang="ko-KR" altLang="en-US" dirty="0" smtClean="0"/>
              <a:t>고가용성 및 안정성 확보 방안 </a:t>
            </a:r>
            <a:r>
              <a:rPr lang="en-US" altLang="ko-KR" dirty="0" smtClean="0"/>
              <a:t>(2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/O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경로인 네트워크와 스토리지의 경로를 이중화로 구성하여 장애 발생 시에도 안정적인 데이터 서비스가 제공되도록 구성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데이터 경로 이중화 구성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135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1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275" name="그룹 274"/>
          <p:cNvGrpSpPr/>
          <p:nvPr/>
        </p:nvGrpSpPr>
        <p:grpSpPr>
          <a:xfrm>
            <a:off x="6352356" y="2186781"/>
            <a:ext cx="3183530" cy="4302919"/>
            <a:chOff x="6352356" y="2186781"/>
            <a:chExt cx="3183530" cy="4302919"/>
          </a:xfrm>
        </p:grpSpPr>
        <p:sp>
          <p:nvSpPr>
            <p:cNvPr id="276" name="Freeform 78"/>
            <p:cNvSpPr>
              <a:spLocks/>
            </p:cNvSpPr>
            <p:nvPr/>
          </p:nvSpPr>
          <p:spPr bwMode="auto">
            <a:xfrm flipH="1">
              <a:off x="6352356" y="6024479"/>
              <a:ext cx="341764" cy="251430"/>
            </a:xfrm>
            <a:custGeom>
              <a:avLst/>
              <a:gdLst>
                <a:gd name="T0" fmla="*/ 0 w 204"/>
                <a:gd name="T1" fmla="*/ 1031 h 91"/>
                <a:gd name="T2" fmla="*/ 208 w 204"/>
                <a:gd name="T3" fmla="*/ 1031 h 91"/>
                <a:gd name="T4" fmla="*/ 314 w 204"/>
                <a:gd name="T5" fmla="*/ 0 h 91"/>
                <a:gd name="T6" fmla="*/ 106 w 204"/>
                <a:gd name="T7" fmla="*/ 0 h 91"/>
                <a:gd name="T8" fmla="*/ 0 w 204"/>
                <a:gd name="T9" fmla="*/ 1031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4"/>
                <a:gd name="T16" fmla="*/ 0 h 91"/>
                <a:gd name="T17" fmla="*/ 204 w 204"/>
                <a:gd name="T18" fmla="*/ 91 h 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4" h="91">
                  <a:moveTo>
                    <a:pt x="0" y="91"/>
                  </a:moveTo>
                  <a:lnTo>
                    <a:pt x="136" y="91"/>
                  </a:lnTo>
                  <a:lnTo>
                    <a:pt x="204" y="0"/>
                  </a:lnTo>
                  <a:lnTo>
                    <a:pt x="68" y="0"/>
                  </a:lnTo>
                  <a:lnTo>
                    <a:pt x="0" y="9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4D4D4D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0" tIns="0" rIns="0" bIns="0" anchor="ctr"/>
            <a:lstStyle/>
            <a:p>
              <a:endPara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277" name="그룹 276"/>
            <p:cNvGrpSpPr/>
            <p:nvPr/>
          </p:nvGrpSpPr>
          <p:grpSpPr>
            <a:xfrm>
              <a:off x="6451724" y="2186781"/>
              <a:ext cx="3084162" cy="4268291"/>
              <a:chOff x="6451724" y="2186781"/>
              <a:chExt cx="2943389" cy="4268291"/>
            </a:xfrm>
          </p:grpSpPr>
          <p:sp>
            <p:nvSpPr>
              <p:cNvPr id="279" name="AutoShape 79"/>
              <p:cNvSpPr>
                <a:spLocks noChangeArrowheads="1"/>
              </p:cNvSpPr>
              <p:nvPr/>
            </p:nvSpPr>
            <p:spPr bwMode="auto">
              <a:xfrm>
                <a:off x="6451724" y="2186781"/>
                <a:ext cx="2901233" cy="4098161"/>
              </a:xfrm>
              <a:prstGeom prst="roundRect">
                <a:avLst>
                  <a:gd name="adj" fmla="val 1500"/>
                </a:avLst>
              </a:prstGeom>
              <a:solidFill>
                <a:srgbClr val="F8F8F8"/>
              </a:solidFill>
              <a:ln w="6350" algn="ctr">
                <a:solidFill>
                  <a:srgbClr val="D5D5D5"/>
                </a:solidFill>
                <a:prstDash val="dash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280" name="AutoShape 81"/>
              <p:cNvSpPr>
                <a:spLocks noChangeArrowheads="1"/>
              </p:cNvSpPr>
              <p:nvPr/>
            </p:nvSpPr>
            <p:spPr bwMode="auto">
              <a:xfrm>
                <a:off x="6493880" y="2221409"/>
                <a:ext cx="2901233" cy="4233663"/>
              </a:xfrm>
              <a:prstGeom prst="roundRect">
                <a:avLst>
                  <a:gd name="adj" fmla="val 1500"/>
                </a:avLst>
              </a:prstGeom>
              <a:noFill/>
              <a:ln w="6350" algn="ctr">
                <a:solidFill>
                  <a:srgbClr val="D5D5D5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pic>
          <p:nvPicPr>
            <p:cNvPr id="278" name="Picture 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8506827" y="5890483"/>
              <a:ext cx="915386" cy="59921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</p:pic>
      </p:grpSp>
      <p:grpSp>
        <p:nvGrpSpPr>
          <p:cNvPr id="281" name="Group 185"/>
          <p:cNvGrpSpPr>
            <a:grpSpLocks/>
          </p:cNvGrpSpPr>
          <p:nvPr/>
        </p:nvGrpSpPr>
        <p:grpSpPr bwMode="auto">
          <a:xfrm>
            <a:off x="3440832" y="2203450"/>
            <a:ext cx="2916241" cy="4248151"/>
            <a:chOff x="2213" y="1388"/>
            <a:chExt cx="1837" cy="2676"/>
          </a:xfrm>
        </p:grpSpPr>
        <p:sp>
          <p:nvSpPr>
            <p:cNvPr id="282" name="Rectangle 158"/>
            <p:cNvSpPr>
              <a:spLocks noChangeArrowheads="1"/>
            </p:cNvSpPr>
            <p:nvPr/>
          </p:nvSpPr>
          <p:spPr bwMode="auto">
            <a:xfrm>
              <a:off x="2213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kumimoji="0" lang="ko-KR" altLang="en-US" sz="1800" dirty="0"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endParaRPr>
            </a:p>
          </p:txBody>
        </p:sp>
        <p:grpSp>
          <p:nvGrpSpPr>
            <p:cNvPr id="283" name="Group 179"/>
            <p:cNvGrpSpPr>
              <a:grpSpLocks/>
            </p:cNvGrpSpPr>
            <p:nvPr/>
          </p:nvGrpSpPr>
          <p:grpSpPr bwMode="auto">
            <a:xfrm>
              <a:off x="2213" y="1388"/>
              <a:ext cx="1240" cy="136"/>
              <a:chOff x="2286" y="1388"/>
              <a:chExt cx="1240" cy="136"/>
            </a:xfrm>
          </p:grpSpPr>
          <p:grpSp>
            <p:nvGrpSpPr>
              <p:cNvPr id="284" name="Group 165"/>
              <p:cNvGrpSpPr>
                <a:grpSpLocks/>
              </p:cNvGrpSpPr>
              <p:nvPr/>
            </p:nvGrpSpPr>
            <p:grpSpPr bwMode="auto">
              <a:xfrm>
                <a:off x="2286" y="1388"/>
                <a:ext cx="1240" cy="136"/>
                <a:chOff x="1313" y="1782"/>
                <a:chExt cx="1240" cy="136"/>
              </a:xfrm>
            </p:grpSpPr>
            <p:sp>
              <p:nvSpPr>
                <p:cNvPr id="286" name="AutoShape 161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87" name="Rectangle 162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88" name="Rectangle 163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285" name="Rectangle 166"/>
              <p:cNvSpPr>
                <a:spLocks noChangeArrowheads="1"/>
              </p:cNvSpPr>
              <p:nvPr/>
            </p:nvSpPr>
            <p:spPr bwMode="auto">
              <a:xfrm>
                <a:off x="2424" y="1403"/>
                <a:ext cx="986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ko-KR" altLang="en-US" sz="1100" dirty="0" smtClean="0"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스토리지 인터페이스 이중화</a:t>
                </a:r>
                <a:endParaRPr lang="ko-KR" altLang="en-US" sz="1100" dirty="0"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grpSp>
        <p:nvGrpSpPr>
          <p:cNvPr id="289" name="Group 275"/>
          <p:cNvGrpSpPr>
            <a:grpSpLocks/>
          </p:cNvGrpSpPr>
          <p:nvPr/>
        </p:nvGrpSpPr>
        <p:grpSpPr bwMode="auto">
          <a:xfrm>
            <a:off x="394155" y="2203450"/>
            <a:ext cx="2916241" cy="4248151"/>
            <a:chOff x="214" y="1388"/>
            <a:chExt cx="1837" cy="2676"/>
          </a:xfrm>
        </p:grpSpPr>
        <p:sp>
          <p:nvSpPr>
            <p:cNvPr id="290" name="Rectangle 158"/>
            <p:cNvSpPr>
              <a:spLocks noChangeArrowheads="1"/>
            </p:cNvSpPr>
            <p:nvPr/>
          </p:nvSpPr>
          <p:spPr bwMode="auto">
            <a:xfrm>
              <a:off x="214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529ED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lang="ko-KR" altLang="en-US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grpSp>
          <p:nvGrpSpPr>
            <p:cNvPr id="291" name="Group 216"/>
            <p:cNvGrpSpPr>
              <a:grpSpLocks/>
            </p:cNvGrpSpPr>
            <p:nvPr/>
          </p:nvGrpSpPr>
          <p:grpSpPr bwMode="auto">
            <a:xfrm>
              <a:off x="214" y="1388"/>
              <a:ext cx="1240" cy="136"/>
              <a:chOff x="1313" y="1320"/>
              <a:chExt cx="1240" cy="136"/>
            </a:xfrm>
          </p:grpSpPr>
          <p:grpSp>
            <p:nvGrpSpPr>
              <p:cNvPr id="292" name="Group 165"/>
              <p:cNvGrpSpPr>
                <a:grpSpLocks/>
              </p:cNvGrpSpPr>
              <p:nvPr/>
            </p:nvGrpSpPr>
            <p:grpSpPr bwMode="auto">
              <a:xfrm>
                <a:off x="1313" y="1320"/>
                <a:ext cx="1240" cy="136"/>
                <a:chOff x="1313" y="1782"/>
                <a:chExt cx="1240" cy="136"/>
              </a:xfrm>
            </p:grpSpPr>
            <p:sp>
              <p:nvSpPr>
                <p:cNvPr id="294" name="AutoShape 161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round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95" name="Rectangle 162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96" name="Rectangle 163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293" name="Rectangle 166"/>
              <p:cNvSpPr>
                <a:spLocks noChangeArrowheads="1"/>
              </p:cNvSpPr>
              <p:nvPr/>
            </p:nvSpPr>
            <p:spPr bwMode="auto">
              <a:xfrm>
                <a:off x="1450" y="1335"/>
                <a:ext cx="986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ko-KR" altLang="en-US" sz="1100" dirty="0" smtClean="0">
                    <a:solidFill>
                      <a:schemeClr val="bg1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네트워크 인터페이스 이중화</a:t>
                </a:r>
                <a:endParaRPr lang="ko-KR" altLang="en-US" sz="110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sp>
        <p:nvSpPr>
          <p:cNvPr id="297" name="Text Box 40"/>
          <p:cNvSpPr txBox="1">
            <a:spLocks noChangeArrowheads="1"/>
          </p:cNvSpPr>
          <p:nvPr/>
        </p:nvSpPr>
        <p:spPr bwMode="auto">
          <a:xfrm>
            <a:off x="6730255" y="2630922"/>
            <a:ext cx="2690454" cy="153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데이터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I/O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경로 이중화 구성</a:t>
            </a:r>
          </a:p>
        </p:txBody>
      </p:sp>
      <p:pic>
        <p:nvPicPr>
          <p:cNvPr id="298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2650494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9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2860075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0" name="AutoShape 137" descr="oj-02"/>
          <p:cNvSpPr>
            <a:spLocks noChangeArrowheads="1"/>
          </p:cNvSpPr>
          <p:nvPr/>
        </p:nvSpPr>
        <p:spPr bwMode="auto">
          <a:xfrm>
            <a:off x="6570664" y="2289160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데이터 경로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301" name="Rectangle 761"/>
          <p:cNvSpPr>
            <a:spLocks noChangeArrowheads="1"/>
          </p:cNvSpPr>
          <p:nvPr/>
        </p:nvSpPr>
        <p:spPr bwMode="auto">
          <a:xfrm>
            <a:off x="470473" y="5853113"/>
            <a:ext cx="2795023" cy="522287"/>
          </a:xfrm>
          <a:prstGeom prst="roundRect">
            <a:avLst>
              <a:gd name="adj" fmla="val 576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t">
              <a:lnSpc>
                <a:spcPct val="110000"/>
              </a:lnSpc>
            </a:pP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의 </a:t>
            </a:r>
            <a:r>
              <a:rPr kumimoji="0" lang="en-US" altLang="ko-KR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NIC(Network Interface Card)</a:t>
            </a: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는 </a:t>
            </a:r>
            <a:b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물리적 </a:t>
            </a:r>
            <a:r>
              <a:rPr kumimoji="0" lang="en-US" altLang="ko-KR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 Port </a:t>
            </a: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간 부하분산 및 </a:t>
            </a:r>
            <a:r>
              <a:rPr kumimoji="0" lang="en-US" altLang="ko-KR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ail-over</a:t>
            </a: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가 적용된 가상의 </a:t>
            </a:r>
            <a:r>
              <a:rPr kumimoji="0" lang="en-US" altLang="ko-KR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 Port</a:t>
            </a: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로 구성하여 성능 및 안정성 보강</a:t>
            </a:r>
          </a:p>
        </p:txBody>
      </p:sp>
      <p:sp>
        <p:nvSpPr>
          <p:cNvPr id="302" name="Rectangle 761"/>
          <p:cNvSpPr>
            <a:spLocks noChangeArrowheads="1"/>
          </p:cNvSpPr>
          <p:nvPr/>
        </p:nvSpPr>
        <p:spPr bwMode="auto">
          <a:xfrm>
            <a:off x="3519907" y="5853113"/>
            <a:ext cx="2718858" cy="348377"/>
          </a:xfrm>
          <a:prstGeom prst="roundRect">
            <a:avLst>
              <a:gd name="adj" fmla="val 576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t">
              <a:lnSpc>
                <a:spcPct val="110000"/>
              </a:lnSpc>
            </a:pP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의 </a:t>
            </a:r>
            <a:r>
              <a:rPr kumimoji="0" lang="en-US" altLang="ko-KR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HBA Port ↔ SAN Switch ↔ </a:t>
            </a:r>
            <a:r>
              <a:rPr kumimoji="0" lang="ko-KR" altLang="en-US" sz="10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저장장치 간 경로 이중화 및 부하분산을 통해 성능 및 안정성 보강</a:t>
            </a:r>
          </a:p>
        </p:txBody>
      </p:sp>
      <p:sp>
        <p:nvSpPr>
          <p:cNvPr id="303" name="Rectangle 19"/>
          <p:cNvSpPr>
            <a:spLocks noChangeArrowheads="1"/>
          </p:cNvSpPr>
          <p:nvPr/>
        </p:nvSpPr>
        <p:spPr bwMode="auto">
          <a:xfrm>
            <a:off x="3676908" y="3338123"/>
            <a:ext cx="2572354" cy="374650"/>
          </a:xfrm>
          <a:prstGeom prst="rect">
            <a:avLst/>
          </a:prstGeom>
          <a:pattFill prst="wdUpDiag">
            <a:fgClr>
              <a:srgbClr val="E6E6E6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defTabSz="8080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noProof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1C1C1C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4" name="Line 730"/>
          <p:cNvSpPr>
            <a:spLocks noChangeShapeType="1"/>
          </p:cNvSpPr>
          <p:nvPr/>
        </p:nvSpPr>
        <p:spPr bwMode="auto">
          <a:xfrm>
            <a:off x="4558132" y="2972998"/>
            <a:ext cx="0" cy="26987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5" name="Line 731"/>
          <p:cNvSpPr>
            <a:spLocks noChangeShapeType="1"/>
          </p:cNvSpPr>
          <p:nvPr/>
        </p:nvSpPr>
        <p:spPr bwMode="auto">
          <a:xfrm>
            <a:off x="5182020" y="2969823"/>
            <a:ext cx="0" cy="26987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6" name="Line 728"/>
          <p:cNvSpPr>
            <a:spLocks noChangeShapeType="1"/>
          </p:cNvSpPr>
          <p:nvPr/>
        </p:nvSpPr>
        <p:spPr bwMode="auto">
          <a:xfrm>
            <a:off x="3916782" y="2972998"/>
            <a:ext cx="0" cy="26987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7" name="Line 729"/>
          <p:cNvSpPr>
            <a:spLocks noChangeShapeType="1"/>
          </p:cNvSpPr>
          <p:nvPr/>
        </p:nvSpPr>
        <p:spPr bwMode="auto">
          <a:xfrm>
            <a:off x="4227932" y="2972998"/>
            <a:ext cx="0" cy="26987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8" name="AutoShape 690"/>
          <p:cNvSpPr>
            <a:spLocks noChangeArrowheads="1"/>
          </p:cNvSpPr>
          <p:nvPr/>
        </p:nvSpPr>
        <p:spPr bwMode="auto">
          <a:xfrm>
            <a:off x="4248570" y="4847835"/>
            <a:ext cx="769937" cy="896938"/>
          </a:xfrm>
          <a:prstGeom prst="roundRect">
            <a:avLst>
              <a:gd name="adj" fmla="val 5407"/>
            </a:avLst>
          </a:prstGeom>
          <a:pattFill prst="wdUpDiag">
            <a:fgClr>
              <a:srgbClr val="E6E6E6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defTabSz="8080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noProof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1C1C1C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09" name="Rectangle 691"/>
          <p:cNvSpPr>
            <a:spLocks noChangeArrowheads="1"/>
          </p:cNvSpPr>
          <p:nvPr/>
        </p:nvSpPr>
        <p:spPr bwMode="auto">
          <a:xfrm>
            <a:off x="4428353" y="5434004"/>
            <a:ext cx="410369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rPr>
              <a:t>저장장치</a:t>
            </a:r>
          </a:p>
        </p:txBody>
      </p:sp>
      <p:sp>
        <p:nvSpPr>
          <p:cNvPr id="310" name="Rectangle 685"/>
          <p:cNvSpPr>
            <a:spLocks noChangeArrowheads="1"/>
          </p:cNvSpPr>
          <p:nvPr/>
        </p:nvSpPr>
        <p:spPr bwMode="auto">
          <a:xfrm>
            <a:off x="3676908" y="4496998"/>
            <a:ext cx="2572354" cy="374650"/>
          </a:xfrm>
          <a:prstGeom prst="rect">
            <a:avLst/>
          </a:prstGeom>
          <a:pattFill prst="wdUpDiag">
            <a:fgClr>
              <a:srgbClr val="E6E6E6"/>
            </a:fgClr>
            <a:bgClr>
              <a:srgbClr val="FFFFFF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08038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08038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defTabSz="8080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noProof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1C1C1C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1" name="Line 686"/>
          <p:cNvSpPr>
            <a:spLocks noChangeShapeType="1"/>
          </p:cNvSpPr>
          <p:nvPr/>
        </p:nvSpPr>
        <p:spPr bwMode="auto">
          <a:xfrm>
            <a:off x="3551657" y="2968235"/>
            <a:ext cx="2173287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2" name="Rectangle 687"/>
          <p:cNvSpPr>
            <a:spLocks noChangeArrowheads="1"/>
          </p:cNvSpPr>
          <p:nvPr/>
        </p:nvSpPr>
        <p:spPr bwMode="auto">
          <a:xfrm>
            <a:off x="3632620" y="2780910"/>
            <a:ext cx="739775" cy="12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Data Network</a:t>
            </a:r>
          </a:p>
        </p:txBody>
      </p:sp>
      <p:sp>
        <p:nvSpPr>
          <p:cNvPr id="313" name="Text Box 705"/>
          <p:cNvSpPr txBox="1">
            <a:spLocks noChangeArrowheads="1"/>
          </p:cNvSpPr>
          <p:nvPr/>
        </p:nvSpPr>
        <p:spPr bwMode="auto">
          <a:xfrm>
            <a:off x="4825129" y="3138479"/>
            <a:ext cx="104196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…</a:t>
            </a:r>
          </a:p>
        </p:txBody>
      </p:sp>
      <p:cxnSp>
        <p:nvCxnSpPr>
          <p:cNvPr id="314" name="AutoShape 707"/>
          <p:cNvCxnSpPr>
            <a:cxnSpLocks noChangeShapeType="1"/>
            <a:stCxn id="388" idx="2"/>
          </p:cNvCxnSpPr>
          <p:nvPr/>
        </p:nvCxnSpPr>
        <p:spPr bwMode="auto">
          <a:xfrm>
            <a:off x="3878682" y="3563548"/>
            <a:ext cx="425450" cy="50482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5" name="AutoShape 708"/>
          <p:cNvCxnSpPr>
            <a:cxnSpLocks noChangeShapeType="1"/>
            <a:stCxn id="389" idx="2"/>
          </p:cNvCxnSpPr>
          <p:nvPr/>
        </p:nvCxnSpPr>
        <p:spPr bwMode="auto">
          <a:xfrm>
            <a:off x="3948532" y="3565135"/>
            <a:ext cx="998537" cy="5032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6" name="AutoShape 709"/>
          <p:cNvCxnSpPr>
            <a:cxnSpLocks noChangeShapeType="1"/>
            <a:stCxn id="391" idx="2"/>
          </p:cNvCxnSpPr>
          <p:nvPr/>
        </p:nvCxnSpPr>
        <p:spPr bwMode="auto">
          <a:xfrm>
            <a:off x="4189832" y="3563548"/>
            <a:ext cx="114300" cy="50482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" name="AutoShape 710"/>
          <p:cNvCxnSpPr>
            <a:cxnSpLocks noChangeShapeType="1"/>
            <a:stCxn id="392" idx="2"/>
          </p:cNvCxnSpPr>
          <p:nvPr/>
        </p:nvCxnSpPr>
        <p:spPr bwMode="auto">
          <a:xfrm>
            <a:off x="4261270" y="3563548"/>
            <a:ext cx="685800" cy="50482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" name="AutoShape 711"/>
          <p:cNvCxnSpPr>
            <a:cxnSpLocks noChangeShapeType="1"/>
            <a:stCxn id="381" idx="2"/>
          </p:cNvCxnSpPr>
          <p:nvPr/>
        </p:nvCxnSpPr>
        <p:spPr bwMode="auto">
          <a:xfrm flipH="1">
            <a:off x="4304132" y="3566723"/>
            <a:ext cx="214312" cy="5016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9" name="AutoShape 712"/>
          <p:cNvCxnSpPr>
            <a:cxnSpLocks noChangeShapeType="1"/>
            <a:stCxn id="382" idx="2"/>
          </p:cNvCxnSpPr>
          <p:nvPr/>
        </p:nvCxnSpPr>
        <p:spPr bwMode="auto">
          <a:xfrm>
            <a:off x="4591470" y="3566723"/>
            <a:ext cx="355600" cy="5016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0" name="AutoShape 713"/>
          <p:cNvCxnSpPr>
            <a:cxnSpLocks noChangeShapeType="1"/>
            <a:stCxn id="384" idx="2"/>
          </p:cNvCxnSpPr>
          <p:nvPr/>
        </p:nvCxnSpPr>
        <p:spPr bwMode="auto">
          <a:xfrm flipH="1">
            <a:off x="4304132" y="3566723"/>
            <a:ext cx="831850" cy="5016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1" name="AutoShape 714"/>
          <p:cNvCxnSpPr>
            <a:cxnSpLocks noChangeShapeType="1"/>
            <a:stCxn id="385" idx="2"/>
          </p:cNvCxnSpPr>
          <p:nvPr/>
        </p:nvCxnSpPr>
        <p:spPr bwMode="auto">
          <a:xfrm flipH="1">
            <a:off x="4947070" y="3566723"/>
            <a:ext cx="258762" cy="5016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2" name="AutoShape 715"/>
          <p:cNvCxnSpPr>
            <a:cxnSpLocks noChangeShapeType="1"/>
            <a:endCxn id="349" idx="0"/>
          </p:cNvCxnSpPr>
          <p:nvPr/>
        </p:nvCxnSpPr>
        <p:spPr bwMode="auto">
          <a:xfrm flipH="1">
            <a:off x="4135857" y="4220773"/>
            <a:ext cx="168275" cy="3492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3" name="AutoShape 716"/>
          <p:cNvCxnSpPr>
            <a:cxnSpLocks noChangeShapeType="1"/>
            <a:stCxn id="350" idx="0"/>
          </p:cNvCxnSpPr>
          <p:nvPr/>
        </p:nvCxnSpPr>
        <p:spPr bwMode="auto">
          <a:xfrm flipV="1">
            <a:off x="4207295" y="4219185"/>
            <a:ext cx="739775" cy="3508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4" name="AutoShape 717"/>
          <p:cNvCxnSpPr>
            <a:cxnSpLocks noChangeShapeType="1"/>
            <a:stCxn id="351" idx="0"/>
          </p:cNvCxnSpPr>
          <p:nvPr/>
        </p:nvCxnSpPr>
        <p:spPr bwMode="auto">
          <a:xfrm flipV="1">
            <a:off x="4278732" y="4220773"/>
            <a:ext cx="25400" cy="3492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5" name="AutoShape 718"/>
          <p:cNvCxnSpPr>
            <a:cxnSpLocks noChangeShapeType="1"/>
            <a:stCxn id="352" idx="0"/>
          </p:cNvCxnSpPr>
          <p:nvPr/>
        </p:nvCxnSpPr>
        <p:spPr bwMode="auto">
          <a:xfrm flipV="1">
            <a:off x="4353345" y="4219185"/>
            <a:ext cx="593725" cy="3508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6" name="AutoShape 719"/>
          <p:cNvCxnSpPr>
            <a:cxnSpLocks noChangeShapeType="1"/>
            <a:endCxn id="353" idx="0"/>
          </p:cNvCxnSpPr>
          <p:nvPr/>
        </p:nvCxnSpPr>
        <p:spPr bwMode="auto">
          <a:xfrm>
            <a:off x="4304132" y="4220773"/>
            <a:ext cx="247650" cy="3492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7" name="AutoShape 720"/>
          <p:cNvCxnSpPr>
            <a:cxnSpLocks noChangeShapeType="1"/>
            <a:endCxn id="343" idx="0"/>
          </p:cNvCxnSpPr>
          <p:nvPr/>
        </p:nvCxnSpPr>
        <p:spPr bwMode="auto">
          <a:xfrm flipH="1">
            <a:off x="4715295" y="4219185"/>
            <a:ext cx="231775" cy="3508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8" name="AutoShape 721"/>
          <p:cNvCxnSpPr>
            <a:cxnSpLocks noChangeShapeType="1"/>
            <a:endCxn id="344" idx="0"/>
          </p:cNvCxnSpPr>
          <p:nvPr/>
        </p:nvCxnSpPr>
        <p:spPr bwMode="auto">
          <a:xfrm>
            <a:off x="4304132" y="4220773"/>
            <a:ext cx="485775" cy="3492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9" name="AutoShape 722"/>
          <p:cNvCxnSpPr>
            <a:cxnSpLocks noChangeShapeType="1"/>
            <a:endCxn id="345" idx="0"/>
          </p:cNvCxnSpPr>
          <p:nvPr/>
        </p:nvCxnSpPr>
        <p:spPr bwMode="auto">
          <a:xfrm flipH="1">
            <a:off x="4866107" y="4219185"/>
            <a:ext cx="80962" cy="3508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0" name="AutoShape 723"/>
          <p:cNvCxnSpPr>
            <a:cxnSpLocks noChangeShapeType="1"/>
            <a:endCxn id="346" idx="0"/>
          </p:cNvCxnSpPr>
          <p:nvPr/>
        </p:nvCxnSpPr>
        <p:spPr bwMode="auto">
          <a:xfrm>
            <a:off x="4304132" y="4220773"/>
            <a:ext cx="641350" cy="349250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1" name="AutoShape 724"/>
          <p:cNvCxnSpPr>
            <a:cxnSpLocks noChangeShapeType="1"/>
            <a:endCxn id="347" idx="0"/>
          </p:cNvCxnSpPr>
          <p:nvPr/>
        </p:nvCxnSpPr>
        <p:spPr bwMode="auto">
          <a:xfrm>
            <a:off x="4947070" y="4219185"/>
            <a:ext cx="184150" cy="350838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32" name="Group 1018"/>
          <p:cNvGrpSpPr>
            <a:grpSpLocks/>
          </p:cNvGrpSpPr>
          <p:nvPr/>
        </p:nvGrpSpPr>
        <p:grpSpPr bwMode="auto">
          <a:xfrm>
            <a:off x="5277712" y="3695310"/>
            <a:ext cx="971550" cy="820738"/>
            <a:chOff x="3318" y="4545"/>
            <a:chExt cx="532" cy="344"/>
          </a:xfrm>
        </p:grpSpPr>
        <p:sp>
          <p:nvSpPr>
            <p:cNvPr id="333" name="AutoShape 744"/>
            <p:cNvSpPr>
              <a:spLocks noChangeArrowheads="1"/>
            </p:cNvSpPr>
            <p:nvPr/>
          </p:nvSpPr>
          <p:spPr bwMode="auto">
            <a:xfrm>
              <a:off x="3318" y="4545"/>
              <a:ext cx="532" cy="344"/>
            </a:xfrm>
            <a:prstGeom prst="upDownArrow">
              <a:avLst>
                <a:gd name="adj1" fmla="val 72556"/>
                <a:gd name="adj2" fmla="val 28569"/>
              </a:avLst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0772" tIns="40386" rIns="80772" bIns="40386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fontAlgn="t" latinLnBrk="0">
                <a:buFont typeface="Symbol" panose="05050102010706020507" pitchFamily="18" charset="2"/>
                <a:buNone/>
              </a:pPr>
              <a:endParaRPr kumimoji="0" lang="ko-KR" altLang="en-US" sz="8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34" name="Rectangle 745"/>
            <p:cNvSpPr>
              <a:spLocks noChangeArrowheads="1"/>
            </p:cNvSpPr>
            <p:nvPr/>
          </p:nvSpPr>
          <p:spPr bwMode="auto">
            <a:xfrm>
              <a:off x="3429" y="4662"/>
              <a:ext cx="312" cy="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fontAlgn="t" latinLnBrk="0"/>
              <a:r>
                <a:rPr kumimoji="0" lang="ko-KR" altLang="en-US" sz="8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경로이중화</a:t>
              </a:r>
            </a:p>
            <a:p>
              <a:pPr fontAlgn="t" latinLnBrk="0"/>
              <a:r>
                <a:rPr kumimoji="0" lang="ko-KR" altLang="en-US" sz="8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하분산 구간</a:t>
              </a:r>
            </a:p>
          </p:txBody>
        </p:sp>
      </p:grpSp>
      <p:sp>
        <p:nvSpPr>
          <p:cNvPr id="335" name="Rectangle 747"/>
          <p:cNvSpPr>
            <a:spLocks noChangeArrowheads="1"/>
          </p:cNvSpPr>
          <p:nvPr/>
        </p:nvSpPr>
        <p:spPr bwMode="auto">
          <a:xfrm>
            <a:off x="5442288" y="4574756"/>
            <a:ext cx="673261" cy="2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Storage 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Side</a:t>
            </a:r>
          </a:p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중화</a:t>
            </a:r>
            <a:endParaRPr lang="ko-KR" altLang="en-US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pic>
        <p:nvPicPr>
          <p:cNvPr id="336" name="Picture 688" descr="EMC4100B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0" t="14360" r="7341" b="18607"/>
          <a:stretch>
            <a:fillRect/>
          </a:stretch>
        </p:blipFill>
        <p:spPr bwMode="gray">
          <a:xfrm>
            <a:off x="4094582" y="4068373"/>
            <a:ext cx="41751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" name="Picture 689" descr="EMC4100B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0" t="14360" r="7341" b="18607"/>
          <a:stretch>
            <a:fillRect/>
          </a:stretch>
        </p:blipFill>
        <p:spPr bwMode="gray">
          <a:xfrm>
            <a:off x="4739107" y="4068373"/>
            <a:ext cx="4159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8" name="Group 267"/>
          <p:cNvGrpSpPr>
            <a:grpSpLocks/>
          </p:cNvGrpSpPr>
          <p:nvPr/>
        </p:nvGrpSpPr>
        <p:grpSpPr bwMode="auto">
          <a:xfrm>
            <a:off x="4110457" y="4570023"/>
            <a:ext cx="1044575" cy="261938"/>
            <a:chOff x="2666" y="2735"/>
            <a:chExt cx="658" cy="165"/>
          </a:xfrm>
        </p:grpSpPr>
        <p:sp>
          <p:nvSpPr>
            <p:cNvPr id="339" name="Rectangle 726"/>
            <p:cNvSpPr>
              <a:spLocks noChangeArrowheads="1"/>
            </p:cNvSpPr>
            <p:nvPr/>
          </p:nvSpPr>
          <p:spPr bwMode="gray">
            <a:xfrm>
              <a:off x="2666" y="2838"/>
              <a:ext cx="293" cy="62"/>
            </a:xfrm>
            <a:prstGeom prst="rect">
              <a:avLst/>
            </a:prstGeom>
            <a:gradFill rotWithShape="0">
              <a:gsLst>
                <a:gs pos="0">
                  <a:srgbClr val="2FB0FF"/>
                </a:gs>
                <a:gs pos="100000">
                  <a:srgbClr val="0077C0"/>
                </a:gs>
              </a:gsLst>
              <a:lin ang="5400000" scaled="1"/>
            </a:gradFill>
            <a:ln w="9525" algn="ctr">
              <a:solidFill>
                <a:srgbClr val="00436C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Times New Roman" panose="02020603050405020304" pitchFamily="18" charset="0"/>
                </a:rPr>
                <a:t>Controller</a:t>
              </a:r>
            </a:p>
          </p:txBody>
        </p:sp>
        <p:sp>
          <p:nvSpPr>
            <p:cNvPr id="340" name="Rectangle 727"/>
            <p:cNvSpPr>
              <a:spLocks noChangeArrowheads="1"/>
            </p:cNvSpPr>
            <p:nvPr/>
          </p:nvSpPr>
          <p:spPr bwMode="gray">
            <a:xfrm>
              <a:off x="3031" y="2838"/>
              <a:ext cx="293" cy="62"/>
            </a:xfrm>
            <a:prstGeom prst="rect">
              <a:avLst/>
            </a:prstGeom>
            <a:gradFill rotWithShape="0">
              <a:gsLst>
                <a:gs pos="0">
                  <a:srgbClr val="2FB0FF"/>
                </a:gs>
                <a:gs pos="100000">
                  <a:srgbClr val="0077C0"/>
                </a:gs>
              </a:gsLst>
              <a:lin ang="5400000" scaled="1"/>
            </a:gradFill>
            <a:ln w="9525" algn="ctr">
              <a:solidFill>
                <a:srgbClr val="00436C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  <a:cs typeface="Times New Roman" panose="02020603050405020304" pitchFamily="18" charset="0"/>
                </a:rPr>
                <a:t>Controller</a:t>
              </a:r>
            </a:p>
          </p:txBody>
        </p:sp>
        <p:grpSp>
          <p:nvGrpSpPr>
            <p:cNvPr id="341" name="Group 265"/>
            <p:cNvGrpSpPr>
              <a:grpSpLocks/>
            </p:cNvGrpSpPr>
            <p:nvPr/>
          </p:nvGrpSpPr>
          <p:grpSpPr bwMode="auto">
            <a:xfrm>
              <a:off x="2666" y="2735"/>
              <a:ext cx="293" cy="83"/>
              <a:chOff x="2666" y="2735"/>
              <a:chExt cx="293" cy="83"/>
            </a:xfrm>
          </p:grpSpPr>
          <p:sp>
            <p:nvSpPr>
              <p:cNvPr id="349" name="Rectangle 695" descr="넓은 체크 보드"/>
              <p:cNvSpPr>
                <a:spLocks noChangeArrowheads="1"/>
              </p:cNvSpPr>
              <p:nvPr/>
            </p:nvSpPr>
            <p:spPr bwMode="auto">
              <a:xfrm>
                <a:off x="2666" y="2735"/>
                <a:ext cx="32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50" name="Rectangle 696" descr="넓은 체크 보드"/>
              <p:cNvSpPr>
                <a:spLocks noChangeArrowheads="1"/>
              </p:cNvSpPr>
              <p:nvPr/>
            </p:nvSpPr>
            <p:spPr bwMode="auto">
              <a:xfrm>
                <a:off x="2711" y="2735"/>
                <a:ext cx="31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51" name="Rectangle 697" descr="넓은 체크 보드"/>
              <p:cNvSpPr>
                <a:spLocks noChangeArrowheads="1"/>
              </p:cNvSpPr>
              <p:nvPr/>
            </p:nvSpPr>
            <p:spPr bwMode="auto">
              <a:xfrm>
                <a:off x="2756" y="2735"/>
                <a:ext cx="32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52" name="Rectangle 698" descr="넓은 체크 보드"/>
              <p:cNvSpPr>
                <a:spLocks noChangeArrowheads="1"/>
              </p:cNvSpPr>
              <p:nvPr/>
            </p:nvSpPr>
            <p:spPr bwMode="auto">
              <a:xfrm>
                <a:off x="2802" y="2735"/>
                <a:ext cx="34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53" name="Rectangle 699" descr="넓은 체크 보드"/>
              <p:cNvSpPr>
                <a:spLocks noChangeArrowheads="1"/>
              </p:cNvSpPr>
              <p:nvPr/>
            </p:nvSpPr>
            <p:spPr bwMode="auto">
              <a:xfrm>
                <a:off x="2929" y="2735"/>
                <a:ext cx="30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54" name="Rectangle 706"/>
              <p:cNvSpPr>
                <a:spLocks noChangeArrowheads="1"/>
              </p:cNvSpPr>
              <p:nvPr/>
            </p:nvSpPr>
            <p:spPr bwMode="auto">
              <a:xfrm>
                <a:off x="2856" y="2740"/>
                <a:ext cx="45" cy="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1" lang="en-US" altLang="ko-KR" sz="600" b="0" i="0" u="none" strike="noStrike" kern="0" cap="none" spc="0" normalizeH="0" noProof="0" dirty="0">
                    <a:ln>
                      <a:solidFill>
                        <a:srgbClr val="000000">
                          <a:alpha val="0"/>
                        </a:srgb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Times New Roman" panose="02020603050405020304" pitchFamily="18" charset="0"/>
                  </a:rPr>
                  <a:t>…</a:t>
                </a:r>
              </a:p>
            </p:txBody>
          </p:sp>
        </p:grpSp>
        <p:grpSp>
          <p:nvGrpSpPr>
            <p:cNvPr id="342" name="Group 266"/>
            <p:cNvGrpSpPr>
              <a:grpSpLocks/>
            </p:cNvGrpSpPr>
            <p:nvPr/>
          </p:nvGrpSpPr>
          <p:grpSpPr bwMode="auto">
            <a:xfrm>
              <a:off x="3031" y="2735"/>
              <a:ext cx="293" cy="83"/>
              <a:chOff x="3031" y="2735"/>
              <a:chExt cx="293" cy="83"/>
            </a:xfrm>
          </p:grpSpPr>
          <p:sp>
            <p:nvSpPr>
              <p:cNvPr id="343" name="Rectangle 700" descr="넓은 체크 보드"/>
              <p:cNvSpPr>
                <a:spLocks noChangeArrowheads="1"/>
              </p:cNvSpPr>
              <p:nvPr/>
            </p:nvSpPr>
            <p:spPr bwMode="auto">
              <a:xfrm>
                <a:off x="3031" y="2735"/>
                <a:ext cx="31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44" name="Rectangle 701" descr="넓은 체크 보드"/>
              <p:cNvSpPr>
                <a:spLocks noChangeArrowheads="1"/>
              </p:cNvSpPr>
              <p:nvPr/>
            </p:nvSpPr>
            <p:spPr bwMode="auto">
              <a:xfrm>
                <a:off x="3078" y="2735"/>
                <a:ext cx="31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45" name="Rectangle 702" descr="넓은 체크 보드"/>
              <p:cNvSpPr>
                <a:spLocks noChangeArrowheads="1"/>
              </p:cNvSpPr>
              <p:nvPr/>
            </p:nvSpPr>
            <p:spPr bwMode="auto">
              <a:xfrm>
                <a:off x="3125" y="2735"/>
                <a:ext cx="34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46" name="Rectangle 703" descr="넓은 체크 보드"/>
              <p:cNvSpPr>
                <a:spLocks noChangeArrowheads="1"/>
              </p:cNvSpPr>
              <p:nvPr/>
            </p:nvSpPr>
            <p:spPr bwMode="auto">
              <a:xfrm>
                <a:off x="3176" y="2735"/>
                <a:ext cx="31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47" name="Rectangle 704" descr="넓은 체크 보드"/>
              <p:cNvSpPr>
                <a:spLocks noChangeArrowheads="1"/>
              </p:cNvSpPr>
              <p:nvPr/>
            </p:nvSpPr>
            <p:spPr bwMode="auto">
              <a:xfrm>
                <a:off x="3294" y="2735"/>
                <a:ext cx="30" cy="83"/>
              </a:xfrm>
              <a:prstGeom prst="rect">
                <a:avLst/>
              </a:prstGeom>
              <a:pattFill prst="lgCheck">
                <a:fgClr>
                  <a:srgbClr val="66CCFF"/>
                </a:fgClr>
                <a:bgClr>
                  <a:srgbClr val="FFFFFF"/>
                </a:bgClr>
              </a:pattFill>
              <a:ln w="6350" algn="ctr">
                <a:solidFill>
                  <a:srgbClr val="0097E2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t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mbol" panose="05050102010706020507" pitchFamily="18" charset="2"/>
                  <a:buNone/>
                  <a:tabLst/>
                  <a:defRPr/>
                </a:pPr>
                <a:endParaRPr kumimoji="0" lang="ko-KR" altLang="en-US" sz="800" b="0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effectLst/>
                  <a:uLnTx/>
                  <a:uFillTx/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348" name="Rectangle 725"/>
              <p:cNvSpPr>
                <a:spLocks noChangeArrowheads="1"/>
              </p:cNvSpPr>
              <p:nvPr/>
            </p:nvSpPr>
            <p:spPr bwMode="auto">
              <a:xfrm>
                <a:off x="3228" y="2740"/>
                <a:ext cx="45" cy="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Tx/>
                  <a:buNone/>
                  <a:tabLst/>
                  <a:defRPr/>
                </a:pPr>
                <a:r>
                  <a:rPr kumimoji="1" lang="en-US" altLang="ko-KR" sz="600" b="0" i="0" u="none" strike="noStrike" kern="0" cap="none" spc="0" normalizeH="0" noProof="0" dirty="0">
                    <a:ln>
                      <a:solidFill>
                        <a:srgbClr val="000000">
                          <a:alpha val="0"/>
                        </a:srgb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KoPub돋움체 Light" panose="02020603020101020101" pitchFamily="18" charset="-127"/>
                    <a:ea typeface="KoPub돋움체 Light" panose="02020603020101020101" pitchFamily="18" charset="-127"/>
                    <a:cs typeface="Times New Roman" panose="02020603050405020304" pitchFamily="18" charset="0"/>
                  </a:rPr>
                  <a:t>…</a:t>
                </a:r>
              </a:p>
            </p:txBody>
          </p:sp>
        </p:grpSp>
      </p:grpSp>
      <p:pic>
        <p:nvPicPr>
          <p:cNvPr id="355" name="Picture 268" descr="디비박스-진파랑"/>
          <p:cNvPicPr>
            <a:picLocks noChangeAspect="1" noChangeArrowheads="1"/>
          </p:cNvPicPr>
          <p:nvPr/>
        </p:nvPicPr>
        <p:blipFill>
          <a:blip r:embed="rId7">
            <a:lum bright="-6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6370" y="5047860"/>
            <a:ext cx="41592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6" name="Picture 99" descr="Picture3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4762" y="4652632"/>
            <a:ext cx="643440" cy="92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57" name="Group 270"/>
          <p:cNvGrpSpPr>
            <a:grpSpLocks/>
          </p:cNvGrpSpPr>
          <p:nvPr/>
        </p:nvGrpSpPr>
        <p:grpSpPr bwMode="auto">
          <a:xfrm>
            <a:off x="574650" y="2780910"/>
            <a:ext cx="2578100" cy="2963861"/>
            <a:chOff x="301" y="1624"/>
            <a:chExt cx="1624" cy="1867"/>
          </a:xfrm>
        </p:grpSpPr>
        <p:sp>
          <p:nvSpPr>
            <p:cNvPr id="358" name="Freeform 666"/>
            <p:cNvSpPr>
              <a:spLocks/>
            </p:cNvSpPr>
            <p:nvPr/>
          </p:nvSpPr>
          <p:spPr bwMode="auto">
            <a:xfrm>
              <a:off x="804" y="2099"/>
              <a:ext cx="537" cy="948"/>
            </a:xfrm>
            <a:custGeom>
              <a:avLst/>
              <a:gdLst>
                <a:gd name="T0" fmla="*/ 2147483647 w 431"/>
                <a:gd name="T1" fmla="*/ 2147483647 h 584"/>
                <a:gd name="T2" fmla="*/ 2147483647 w 431"/>
                <a:gd name="T3" fmla="*/ 2147483647 h 584"/>
                <a:gd name="T4" fmla="*/ 2147483647 w 431"/>
                <a:gd name="T5" fmla="*/ 2147483647 h 584"/>
                <a:gd name="T6" fmla="*/ 0 w 431"/>
                <a:gd name="T7" fmla="*/ 2147483647 h 584"/>
                <a:gd name="T8" fmla="*/ 0 w 431"/>
                <a:gd name="T9" fmla="*/ 0 h 584"/>
                <a:gd name="T10" fmla="*/ 2147483647 w 431"/>
                <a:gd name="T11" fmla="*/ 0 h 584"/>
                <a:gd name="T12" fmla="*/ 2147483647 w 431"/>
                <a:gd name="T13" fmla="*/ 2147483647 h 584"/>
                <a:gd name="T14" fmla="*/ 2147483647 w 431"/>
                <a:gd name="T15" fmla="*/ 2147483647 h 584"/>
                <a:gd name="T16" fmla="*/ 2147483647 w 431"/>
                <a:gd name="T17" fmla="*/ 0 h 584"/>
                <a:gd name="T18" fmla="*/ 2147483647 w 431"/>
                <a:gd name="T19" fmla="*/ 0 h 584"/>
                <a:gd name="T20" fmla="*/ 2147483647 w 431"/>
                <a:gd name="T21" fmla="*/ 2147483647 h 584"/>
                <a:gd name="T22" fmla="*/ 2147483647 w 431"/>
                <a:gd name="T23" fmla="*/ 2147483647 h 584"/>
                <a:gd name="T24" fmla="*/ 2147483647 w 431"/>
                <a:gd name="T25" fmla="*/ 2147483647 h 58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1"/>
                <a:gd name="T40" fmla="*/ 0 h 584"/>
                <a:gd name="T41" fmla="*/ 431 w 431"/>
                <a:gd name="T42" fmla="*/ 584 h 58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1" h="584">
                  <a:moveTo>
                    <a:pt x="267" y="584"/>
                  </a:moveTo>
                  <a:lnTo>
                    <a:pt x="150" y="584"/>
                  </a:lnTo>
                  <a:lnTo>
                    <a:pt x="150" y="320"/>
                  </a:lnTo>
                  <a:lnTo>
                    <a:pt x="0" y="320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273"/>
                  </a:lnTo>
                  <a:lnTo>
                    <a:pt x="386" y="273"/>
                  </a:lnTo>
                  <a:lnTo>
                    <a:pt x="386" y="0"/>
                  </a:lnTo>
                  <a:lnTo>
                    <a:pt x="431" y="0"/>
                  </a:lnTo>
                  <a:lnTo>
                    <a:pt x="431" y="318"/>
                  </a:lnTo>
                  <a:lnTo>
                    <a:pt x="267" y="320"/>
                  </a:lnTo>
                  <a:lnTo>
                    <a:pt x="264" y="581"/>
                  </a:ln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59" name="Rectangle 681"/>
            <p:cNvSpPr>
              <a:spLocks noChangeArrowheads="1"/>
            </p:cNvSpPr>
            <p:nvPr/>
          </p:nvSpPr>
          <p:spPr bwMode="auto">
            <a:xfrm>
              <a:off x="998" y="3412"/>
              <a:ext cx="129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atinLnBrk="0">
                <a:lnSpc>
                  <a:spcPct val="90000"/>
                </a:lnSpc>
                <a:buSzPct val="80000"/>
              </a:pPr>
              <a:r>
                <a:rPr lang="ko-KR" altLang="en-US" sz="9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서버</a:t>
              </a:r>
            </a:p>
          </p:txBody>
        </p:sp>
        <p:sp>
          <p:nvSpPr>
            <p:cNvPr id="360" name="Rectangle 670"/>
            <p:cNvSpPr>
              <a:spLocks noChangeArrowheads="1"/>
            </p:cNvSpPr>
            <p:nvPr/>
          </p:nvSpPr>
          <p:spPr bwMode="auto">
            <a:xfrm>
              <a:off x="1013" y="2921"/>
              <a:ext cx="28" cy="160"/>
            </a:xfrm>
            <a:prstGeom prst="rect">
              <a:avLst/>
            </a:prstGeom>
            <a:solidFill>
              <a:srgbClr val="66CCFF"/>
            </a:solidFill>
            <a:ln w="9525">
              <a:solidFill>
                <a:srgbClr val="3E6E9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fontAlgn="t" latinLnBrk="0">
                <a:buFont typeface="Symbol" panose="05050102010706020507" pitchFamily="18" charset="2"/>
                <a:buNone/>
              </a:pPr>
              <a:endParaRPr kumimoji="0" lang="ko-KR" altLang="en-US" sz="8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1" name="Rectangle 671"/>
            <p:cNvSpPr>
              <a:spLocks noChangeArrowheads="1"/>
            </p:cNvSpPr>
            <p:nvPr/>
          </p:nvSpPr>
          <p:spPr bwMode="auto">
            <a:xfrm>
              <a:off x="1074" y="2918"/>
              <a:ext cx="28" cy="162"/>
            </a:xfrm>
            <a:prstGeom prst="rect">
              <a:avLst/>
            </a:prstGeom>
            <a:solidFill>
              <a:srgbClr val="66CCFF"/>
            </a:solidFill>
            <a:ln w="9525" algn="ctr">
              <a:solidFill>
                <a:srgbClr val="3E6E9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fontAlgn="t" latinLnBrk="0">
                <a:buFont typeface="Symbol" panose="05050102010706020507" pitchFamily="18" charset="2"/>
                <a:buNone/>
              </a:pPr>
              <a:endParaRPr kumimoji="0" lang="ko-KR" altLang="en-US" sz="8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2" name="Rectangle 672"/>
            <p:cNvSpPr>
              <a:spLocks noChangeArrowheads="1"/>
            </p:cNvSpPr>
            <p:nvPr/>
          </p:nvSpPr>
          <p:spPr bwMode="auto">
            <a:xfrm>
              <a:off x="1485" y="1979"/>
              <a:ext cx="404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atinLnBrk="0">
                <a:lnSpc>
                  <a:spcPct val="90000"/>
                </a:lnSpc>
                <a:buSzPct val="80000"/>
              </a:pPr>
              <a:r>
                <a:rPr lang="ko-KR" altLang="en-US" sz="9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Times New Roman" panose="02020603050405020304" pitchFamily="18" charset="0"/>
                </a:rPr>
                <a:t>네트워크 장비</a:t>
              </a:r>
            </a:p>
          </p:txBody>
        </p:sp>
        <p:sp>
          <p:nvSpPr>
            <p:cNvPr id="363" name="Line 673"/>
            <p:cNvSpPr>
              <a:spLocks noChangeShapeType="1"/>
            </p:cNvSpPr>
            <p:nvPr/>
          </p:nvSpPr>
          <p:spPr bwMode="auto">
            <a:xfrm>
              <a:off x="382" y="1738"/>
              <a:ext cx="1492" cy="0"/>
            </a:xfrm>
            <a:prstGeom prst="line">
              <a:avLst/>
            </a:prstGeom>
            <a:noFill/>
            <a:ln w="12700">
              <a:solidFill>
                <a:srgbClr val="969696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4" name="Freeform 674"/>
            <p:cNvSpPr>
              <a:spLocks/>
            </p:cNvSpPr>
            <p:nvPr/>
          </p:nvSpPr>
          <p:spPr bwMode="auto">
            <a:xfrm>
              <a:off x="832" y="2142"/>
              <a:ext cx="197" cy="773"/>
            </a:xfrm>
            <a:custGeom>
              <a:avLst/>
              <a:gdLst>
                <a:gd name="T0" fmla="*/ 2147483647 w 159"/>
                <a:gd name="T1" fmla="*/ 2147483647 h 476"/>
                <a:gd name="T2" fmla="*/ 2147483647 w 159"/>
                <a:gd name="T3" fmla="*/ 2147483647 h 476"/>
                <a:gd name="T4" fmla="*/ 0 w 159"/>
                <a:gd name="T5" fmla="*/ 2147483647 h 476"/>
                <a:gd name="T6" fmla="*/ 0 w 159"/>
                <a:gd name="T7" fmla="*/ 0 h 4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9"/>
                <a:gd name="T13" fmla="*/ 0 h 476"/>
                <a:gd name="T14" fmla="*/ 159 w 159"/>
                <a:gd name="T15" fmla="*/ 476 h 4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9" h="476">
                  <a:moveTo>
                    <a:pt x="159" y="476"/>
                  </a:moveTo>
                  <a:lnTo>
                    <a:pt x="159" y="272"/>
                  </a:lnTo>
                  <a:lnTo>
                    <a:pt x="0" y="272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808080"/>
              </a:solidFill>
              <a:prstDash val="dash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5" name="Rectangle 675"/>
            <p:cNvSpPr>
              <a:spLocks noChangeArrowheads="1"/>
            </p:cNvSpPr>
            <p:nvPr/>
          </p:nvSpPr>
          <p:spPr bwMode="auto">
            <a:xfrm>
              <a:off x="416" y="1624"/>
              <a:ext cx="466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atinLnBrk="0">
                <a:lnSpc>
                  <a:spcPct val="90000"/>
                </a:lnSpc>
                <a:buSzPct val="80000"/>
              </a:pPr>
              <a:r>
                <a:rPr lang="en-US" altLang="ko-KR" sz="9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Times New Roman" panose="02020603050405020304" pitchFamily="18" charset="0"/>
                </a:rPr>
                <a:t>Data Network</a:t>
              </a:r>
            </a:p>
          </p:txBody>
        </p:sp>
        <p:sp>
          <p:nvSpPr>
            <p:cNvPr id="366" name="Freeform 676"/>
            <p:cNvSpPr>
              <a:spLocks/>
            </p:cNvSpPr>
            <p:nvPr/>
          </p:nvSpPr>
          <p:spPr bwMode="auto">
            <a:xfrm>
              <a:off x="1085" y="2142"/>
              <a:ext cx="227" cy="773"/>
            </a:xfrm>
            <a:custGeom>
              <a:avLst/>
              <a:gdLst>
                <a:gd name="T0" fmla="*/ 0 w 182"/>
                <a:gd name="T1" fmla="*/ 2147483647 h 476"/>
                <a:gd name="T2" fmla="*/ 0 w 182"/>
                <a:gd name="T3" fmla="*/ 2147483647 h 476"/>
                <a:gd name="T4" fmla="*/ 2147483647 w 182"/>
                <a:gd name="T5" fmla="*/ 2147483647 h 476"/>
                <a:gd name="T6" fmla="*/ 2147483647 w 182"/>
                <a:gd name="T7" fmla="*/ 0 h 4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2"/>
                <a:gd name="T13" fmla="*/ 0 h 476"/>
                <a:gd name="T14" fmla="*/ 182 w 182"/>
                <a:gd name="T15" fmla="*/ 476 h 4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2" h="476">
                  <a:moveTo>
                    <a:pt x="0" y="476"/>
                  </a:moveTo>
                  <a:lnTo>
                    <a:pt x="0" y="272"/>
                  </a:lnTo>
                  <a:lnTo>
                    <a:pt x="182" y="272"/>
                  </a:lnTo>
                  <a:lnTo>
                    <a:pt x="182" y="0"/>
                  </a:lnTo>
                </a:path>
              </a:pathLst>
            </a:custGeom>
            <a:noFill/>
            <a:ln w="9525">
              <a:solidFill>
                <a:srgbClr val="808080"/>
              </a:solidFill>
              <a:prstDash val="dash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7" name="Freeform 677"/>
            <p:cNvSpPr>
              <a:spLocks/>
            </p:cNvSpPr>
            <p:nvPr/>
          </p:nvSpPr>
          <p:spPr bwMode="auto">
            <a:xfrm>
              <a:off x="301" y="2915"/>
              <a:ext cx="700" cy="73"/>
            </a:xfrm>
            <a:custGeom>
              <a:avLst/>
              <a:gdLst>
                <a:gd name="T0" fmla="*/ 0 w 499"/>
                <a:gd name="T1" fmla="*/ 0 h 45"/>
                <a:gd name="T2" fmla="*/ 2147483647 w 499"/>
                <a:gd name="T3" fmla="*/ 2147483647 h 45"/>
                <a:gd name="T4" fmla="*/ 2147483647 w 499"/>
                <a:gd name="T5" fmla="*/ 2147483647 h 45"/>
                <a:gd name="T6" fmla="*/ 0 60000 65536"/>
                <a:gd name="T7" fmla="*/ 0 60000 65536"/>
                <a:gd name="T8" fmla="*/ 0 60000 65536"/>
                <a:gd name="T9" fmla="*/ 0 w 499"/>
                <a:gd name="T10" fmla="*/ 0 h 45"/>
                <a:gd name="T11" fmla="*/ 499 w 499"/>
                <a:gd name="T12" fmla="*/ 45 h 4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99" h="45">
                  <a:moveTo>
                    <a:pt x="0" y="0"/>
                  </a:moveTo>
                  <a:lnTo>
                    <a:pt x="408" y="1"/>
                  </a:lnTo>
                  <a:lnTo>
                    <a:pt x="499" y="45"/>
                  </a:lnTo>
                </a:path>
              </a:pathLst>
            </a:custGeom>
            <a:noFill/>
            <a:ln w="9525">
              <a:solidFill>
                <a:srgbClr val="969696"/>
              </a:solidFill>
              <a:round/>
              <a:headEnd type="oval" w="med" len="med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8" name="Freeform 678"/>
            <p:cNvSpPr>
              <a:spLocks/>
            </p:cNvSpPr>
            <p:nvPr/>
          </p:nvSpPr>
          <p:spPr bwMode="auto">
            <a:xfrm>
              <a:off x="1112" y="2966"/>
              <a:ext cx="813" cy="79"/>
            </a:xfrm>
            <a:custGeom>
              <a:avLst/>
              <a:gdLst>
                <a:gd name="T0" fmla="*/ 2147483647 w 554"/>
                <a:gd name="T1" fmla="*/ 0 h 49"/>
                <a:gd name="T2" fmla="*/ 2147483647 w 554"/>
                <a:gd name="T3" fmla="*/ 2147483647 h 49"/>
                <a:gd name="T4" fmla="*/ 0 w 554"/>
                <a:gd name="T5" fmla="*/ 2147483647 h 49"/>
                <a:gd name="T6" fmla="*/ 0 60000 65536"/>
                <a:gd name="T7" fmla="*/ 0 60000 65536"/>
                <a:gd name="T8" fmla="*/ 0 60000 65536"/>
                <a:gd name="T9" fmla="*/ 0 w 554"/>
                <a:gd name="T10" fmla="*/ 0 h 49"/>
                <a:gd name="T11" fmla="*/ 554 w 554"/>
                <a:gd name="T12" fmla="*/ 49 h 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4" h="49">
                  <a:moveTo>
                    <a:pt x="554" y="0"/>
                  </a:moveTo>
                  <a:lnTo>
                    <a:pt x="178" y="4"/>
                  </a:lnTo>
                  <a:lnTo>
                    <a:pt x="0" y="49"/>
                  </a:lnTo>
                </a:path>
              </a:pathLst>
            </a:custGeom>
            <a:noFill/>
            <a:ln w="9525">
              <a:solidFill>
                <a:srgbClr val="969696"/>
              </a:solidFill>
              <a:round/>
              <a:headEnd type="oval" w="med" len="med"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69" name="Rectangle 679"/>
            <p:cNvSpPr>
              <a:spLocks noChangeArrowheads="1"/>
            </p:cNvSpPr>
            <p:nvPr/>
          </p:nvSpPr>
          <p:spPr bwMode="auto">
            <a:xfrm>
              <a:off x="323" y="2818"/>
              <a:ext cx="555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atinLnBrk="0">
                <a:lnSpc>
                  <a:spcPct val="90000"/>
                </a:lnSpc>
                <a:buSzPct val="80000"/>
              </a:pPr>
              <a:r>
                <a:rPr lang="en-US" altLang="ko-KR" sz="9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Times New Roman" panose="02020603050405020304" pitchFamily="18" charset="0"/>
                </a:rPr>
                <a:t>Network Card#1</a:t>
              </a:r>
            </a:p>
          </p:txBody>
        </p:sp>
        <p:sp>
          <p:nvSpPr>
            <p:cNvPr id="370" name="Rectangle 680"/>
            <p:cNvSpPr>
              <a:spLocks noChangeArrowheads="1"/>
            </p:cNvSpPr>
            <p:nvPr/>
          </p:nvSpPr>
          <p:spPr bwMode="auto">
            <a:xfrm>
              <a:off x="1355" y="2873"/>
              <a:ext cx="555" cy="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atinLnBrk="0">
                <a:lnSpc>
                  <a:spcPct val="90000"/>
                </a:lnSpc>
                <a:buSzPct val="80000"/>
              </a:pPr>
              <a:r>
                <a:rPr lang="en-US" altLang="ko-KR" sz="9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Times New Roman" panose="02020603050405020304" pitchFamily="18" charset="0"/>
                </a:rPr>
                <a:t>Network Card#2</a:t>
              </a:r>
            </a:p>
          </p:txBody>
        </p:sp>
        <p:sp>
          <p:nvSpPr>
            <p:cNvPr id="371" name="Rectangle 682"/>
            <p:cNvSpPr>
              <a:spLocks noChangeArrowheads="1"/>
            </p:cNvSpPr>
            <p:nvPr/>
          </p:nvSpPr>
          <p:spPr bwMode="auto">
            <a:xfrm>
              <a:off x="909" y="2257"/>
              <a:ext cx="323" cy="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atinLnBrk="0">
                <a:lnSpc>
                  <a:spcPct val="90000"/>
                </a:lnSpc>
                <a:buSzPct val="80000"/>
              </a:pPr>
              <a:r>
                <a:rPr lang="ko-KR" altLang="en-US" sz="9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경로이중화</a:t>
              </a:r>
            </a:p>
            <a:p>
              <a:pPr latinLnBrk="0">
                <a:lnSpc>
                  <a:spcPct val="90000"/>
                </a:lnSpc>
                <a:buSzPct val="80000"/>
              </a:pPr>
              <a:r>
                <a:rPr lang="ko-KR" altLang="en-US" sz="9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하분산</a:t>
              </a:r>
            </a:p>
          </p:txBody>
        </p:sp>
        <p:sp>
          <p:nvSpPr>
            <p:cNvPr id="372" name="AutoShape 683" descr="1-1"/>
            <p:cNvSpPr>
              <a:spLocks noChangeArrowheads="1"/>
            </p:cNvSpPr>
            <p:nvPr/>
          </p:nvSpPr>
          <p:spPr bwMode="auto">
            <a:xfrm>
              <a:off x="910" y="3075"/>
              <a:ext cx="308" cy="110"/>
            </a:xfrm>
            <a:prstGeom prst="flowChartAlternateProcess">
              <a:avLst/>
            </a:prstGeom>
            <a:gradFill rotWithShape="1">
              <a:gsLst>
                <a:gs pos="0">
                  <a:srgbClr val="F8FAFC"/>
                </a:gs>
                <a:gs pos="100000">
                  <a:srgbClr val="E2EBF2"/>
                </a:gs>
              </a:gsLst>
              <a:lin ang="5400000" scaled="1"/>
            </a:gradFill>
            <a:ln w="9525" algn="ctr">
              <a:solidFill>
                <a:srgbClr val="ADCBE3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defTabSz="808038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808038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808038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808038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808038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808038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latinLnBrk="0"/>
              <a:r>
                <a:rPr lang="en-US" altLang="ko-KR" sz="800" b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1C1C1C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ail-over</a:t>
              </a:r>
            </a:p>
          </p:txBody>
        </p:sp>
        <p:sp>
          <p:nvSpPr>
            <p:cNvPr id="373" name="Line 763"/>
            <p:cNvSpPr>
              <a:spLocks noChangeShapeType="1"/>
            </p:cNvSpPr>
            <p:nvPr/>
          </p:nvSpPr>
          <p:spPr bwMode="auto">
            <a:xfrm>
              <a:off x="953" y="2033"/>
              <a:ext cx="281" cy="0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74" name="Line 17"/>
            <p:cNvSpPr>
              <a:spLocks noChangeShapeType="1"/>
            </p:cNvSpPr>
            <p:nvPr/>
          </p:nvSpPr>
          <p:spPr bwMode="auto">
            <a:xfrm>
              <a:off x="840" y="1738"/>
              <a:ext cx="0" cy="237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75" name="Line 18"/>
            <p:cNvSpPr>
              <a:spLocks noChangeShapeType="1"/>
            </p:cNvSpPr>
            <p:nvPr/>
          </p:nvSpPr>
          <p:spPr bwMode="auto">
            <a:xfrm>
              <a:off x="1309" y="1738"/>
              <a:ext cx="0" cy="237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algn="l" eaLnBrk="0" latinLnBrk="0" hangingPunct="0"/>
              <a:endParaRPr lang="ko-KR" altLang="en-US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pic>
        <p:nvPicPr>
          <p:cNvPr id="376" name="Picture 99" descr="Picture3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991" y="3147623"/>
            <a:ext cx="280141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7" name="Picture 99" descr="Picture3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005" y="3147623"/>
            <a:ext cx="280141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" name="Picture 99" descr="Picture3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4731" y="3147623"/>
            <a:ext cx="280141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" name="Picture 99" descr="Picture3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382" y="3147623"/>
            <a:ext cx="280141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80" name="Group 258"/>
          <p:cNvGrpSpPr>
            <a:grpSpLocks/>
          </p:cNvGrpSpPr>
          <p:nvPr/>
        </p:nvGrpSpPr>
        <p:grpSpPr bwMode="auto">
          <a:xfrm>
            <a:off x="4493045" y="3392098"/>
            <a:ext cx="123825" cy="174625"/>
            <a:chOff x="2878" y="1993"/>
            <a:chExt cx="63" cy="149"/>
          </a:xfrm>
        </p:grpSpPr>
        <p:sp>
          <p:nvSpPr>
            <p:cNvPr id="381" name="Rectangle 740" descr="넓은 체크 보드"/>
            <p:cNvSpPr>
              <a:spLocks noChangeArrowheads="1"/>
            </p:cNvSpPr>
            <p:nvPr/>
          </p:nvSpPr>
          <p:spPr bwMode="auto">
            <a:xfrm>
              <a:off x="2878" y="1993"/>
              <a:ext cx="26" cy="149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82" name="Rectangle 741" descr="넓은 체크 보드"/>
            <p:cNvSpPr>
              <a:spLocks noChangeArrowheads="1"/>
            </p:cNvSpPr>
            <p:nvPr/>
          </p:nvSpPr>
          <p:spPr bwMode="auto">
            <a:xfrm>
              <a:off x="2915" y="1993"/>
              <a:ext cx="26" cy="149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383" name="Group 257"/>
          <p:cNvGrpSpPr>
            <a:grpSpLocks/>
          </p:cNvGrpSpPr>
          <p:nvPr/>
        </p:nvGrpSpPr>
        <p:grpSpPr bwMode="auto">
          <a:xfrm>
            <a:off x="5110582" y="3392098"/>
            <a:ext cx="120650" cy="174625"/>
            <a:chOff x="3320" y="1993"/>
            <a:chExt cx="62" cy="149"/>
          </a:xfrm>
        </p:grpSpPr>
        <p:sp>
          <p:nvSpPr>
            <p:cNvPr id="384" name="Rectangle 742" descr="넓은 체크 보드"/>
            <p:cNvSpPr>
              <a:spLocks noChangeArrowheads="1"/>
            </p:cNvSpPr>
            <p:nvPr/>
          </p:nvSpPr>
          <p:spPr bwMode="auto">
            <a:xfrm>
              <a:off x="3320" y="1993"/>
              <a:ext cx="25" cy="149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85" name="Rectangle 743" descr="넓은 체크 보드"/>
            <p:cNvSpPr>
              <a:spLocks noChangeArrowheads="1"/>
            </p:cNvSpPr>
            <p:nvPr/>
          </p:nvSpPr>
          <p:spPr bwMode="auto">
            <a:xfrm>
              <a:off x="3356" y="1993"/>
              <a:ext cx="26" cy="149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386" name="Rectangle 746"/>
          <p:cNvSpPr>
            <a:spLocks noChangeArrowheads="1"/>
          </p:cNvSpPr>
          <p:nvPr/>
        </p:nvSpPr>
        <p:spPr bwMode="auto">
          <a:xfrm>
            <a:off x="5516449" y="3393511"/>
            <a:ext cx="602729" cy="25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Server 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Side</a:t>
            </a:r>
          </a:p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이중화</a:t>
            </a:r>
            <a:endParaRPr lang="ko-KR" altLang="en-US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Times New Roman" panose="02020603050405020304" pitchFamily="18" charset="0"/>
            </a:endParaRPr>
          </a:p>
        </p:txBody>
      </p:sp>
      <p:grpSp>
        <p:nvGrpSpPr>
          <p:cNvPr id="387" name="Group 260"/>
          <p:cNvGrpSpPr>
            <a:grpSpLocks/>
          </p:cNvGrpSpPr>
          <p:nvPr/>
        </p:nvGrpSpPr>
        <p:grpSpPr bwMode="auto">
          <a:xfrm>
            <a:off x="3853282" y="3392098"/>
            <a:ext cx="120650" cy="173038"/>
            <a:chOff x="2473" y="1993"/>
            <a:chExt cx="62" cy="147"/>
          </a:xfrm>
        </p:grpSpPr>
        <p:sp>
          <p:nvSpPr>
            <p:cNvPr id="388" name="Rectangle 736" descr="넓은 체크 보드"/>
            <p:cNvSpPr>
              <a:spLocks noChangeArrowheads="1"/>
            </p:cNvSpPr>
            <p:nvPr/>
          </p:nvSpPr>
          <p:spPr bwMode="auto">
            <a:xfrm>
              <a:off x="2473" y="1993"/>
              <a:ext cx="26" cy="146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89" name="Rectangle 737" descr="넓은 체크 보드"/>
            <p:cNvSpPr>
              <a:spLocks noChangeArrowheads="1"/>
            </p:cNvSpPr>
            <p:nvPr/>
          </p:nvSpPr>
          <p:spPr bwMode="auto">
            <a:xfrm>
              <a:off x="2509" y="1993"/>
              <a:ext cx="26" cy="147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390" name="Group 259"/>
          <p:cNvGrpSpPr>
            <a:grpSpLocks/>
          </p:cNvGrpSpPr>
          <p:nvPr/>
        </p:nvGrpSpPr>
        <p:grpSpPr bwMode="auto">
          <a:xfrm>
            <a:off x="4164432" y="3392098"/>
            <a:ext cx="120650" cy="171450"/>
            <a:chOff x="2666" y="1993"/>
            <a:chExt cx="62" cy="146"/>
          </a:xfrm>
        </p:grpSpPr>
        <p:sp>
          <p:nvSpPr>
            <p:cNvPr id="391" name="Rectangle 738" descr="넓은 체크 보드"/>
            <p:cNvSpPr>
              <a:spLocks noChangeArrowheads="1"/>
            </p:cNvSpPr>
            <p:nvPr/>
          </p:nvSpPr>
          <p:spPr bwMode="auto">
            <a:xfrm>
              <a:off x="2666" y="1993"/>
              <a:ext cx="26" cy="146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392" name="Rectangle 739" descr="넓은 체크 보드"/>
            <p:cNvSpPr>
              <a:spLocks noChangeArrowheads="1"/>
            </p:cNvSpPr>
            <p:nvPr/>
          </p:nvSpPr>
          <p:spPr bwMode="auto">
            <a:xfrm>
              <a:off x="2703" y="1993"/>
              <a:ext cx="25" cy="146"/>
            </a:xfrm>
            <a:prstGeom prst="rect">
              <a:avLst/>
            </a:prstGeom>
            <a:pattFill prst="lgCheck">
              <a:fgClr>
                <a:srgbClr val="66CCFF"/>
              </a:fgClr>
              <a:bgClr>
                <a:srgbClr val="FFFFFF"/>
              </a:bgClr>
            </a:pattFill>
            <a:ln w="6350" algn="ctr">
              <a:solidFill>
                <a:srgbClr val="0097E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endParaRPr kumimoji="0" lang="ko-KR" altLang="en-US" sz="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1C1C1C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pic>
        <p:nvPicPr>
          <p:cNvPr id="393" name="S4131" descr="Untitled-13-01"/>
          <p:cNvPicPr>
            <a:picLocks noChangeAspect="1" noChangeArrowheads="1"/>
          </p:cNvPicPr>
          <p:nvPr/>
        </p:nvPicPr>
        <p:blipFill>
          <a:blip r:embed="rId11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080" y="3278523"/>
            <a:ext cx="385460" cy="294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4" name="S4131" descr="Untitled-13-01"/>
          <p:cNvPicPr>
            <a:picLocks noChangeAspect="1" noChangeArrowheads="1"/>
          </p:cNvPicPr>
          <p:nvPr/>
        </p:nvPicPr>
        <p:blipFill>
          <a:blip r:embed="rId11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336" y="3278523"/>
            <a:ext cx="386380" cy="29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5" name="Text Box 40"/>
          <p:cNvSpPr txBox="1">
            <a:spLocks noChangeArrowheads="1"/>
          </p:cNvSpPr>
          <p:nvPr/>
        </p:nvSpPr>
        <p:spPr bwMode="auto">
          <a:xfrm>
            <a:off x="6730255" y="2843384"/>
            <a:ext cx="2690454" cy="153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토리지 데이터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I/O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경로 이중화 구성</a:t>
            </a:r>
          </a:p>
        </p:txBody>
      </p:sp>
      <p:sp>
        <p:nvSpPr>
          <p:cNvPr id="396" name="Text Box 40"/>
          <p:cNvSpPr txBox="1">
            <a:spLocks noChangeArrowheads="1"/>
          </p:cNvSpPr>
          <p:nvPr/>
        </p:nvSpPr>
        <p:spPr bwMode="auto">
          <a:xfrm>
            <a:off x="6730255" y="3626746"/>
            <a:ext cx="2690454" cy="153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어댑터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중화 구성</a:t>
            </a:r>
          </a:p>
        </p:txBody>
      </p:sp>
      <p:pic>
        <p:nvPicPr>
          <p:cNvPr id="397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3646318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8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94754" y="3858688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" name="AutoShape 137" descr="oj-02"/>
          <p:cNvSpPr>
            <a:spLocks noChangeArrowheads="1"/>
          </p:cNvSpPr>
          <p:nvPr/>
        </p:nvSpPr>
        <p:spPr bwMode="auto">
          <a:xfrm>
            <a:off x="6570664" y="3284984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데이터 </a:t>
            </a:r>
            <a:r>
              <a:rPr kumimoji="0" lang="en-US" altLang="ko-KR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I/O </a:t>
            </a: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어댑터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400" name="Text Box 40"/>
          <p:cNvSpPr txBox="1">
            <a:spLocks noChangeArrowheads="1"/>
          </p:cNvSpPr>
          <p:nvPr/>
        </p:nvSpPr>
        <p:spPr bwMode="auto">
          <a:xfrm>
            <a:off x="6730255" y="3839208"/>
            <a:ext cx="2690454" cy="153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토리지 어댑터 이중화 구성</a:t>
            </a:r>
          </a:p>
        </p:txBody>
      </p:sp>
      <p:sp>
        <p:nvSpPr>
          <p:cNvPr id="401" name="Text Box 40"/>
          <p:cNvSpPr txBox="1">
            <a:spLocks noChangeArrowheads="1"/>
          </p:cNvSpPr>
          <p:nvPr/>
        </p:nvSpPr>
        <p:spPr bwMode="auto">
          <a:xfrm>
            <a:off x="6746448" y="4623519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하나의 네트워크 및 스토리지 어댑터에 장애가 발생하는 경우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다운타임을 최소화하여 서비스 제공</a:t>
            </a:r>
          </a:p>
        </p:txBody>
      </p:sp>
      <p:pic>
        <p:nvPicPr>
          <p:cNvPr id="402" name="Picture 2658" descr="[템플릿] ver10-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10947" y="4643091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3" name="AutoShape 137" descr="oj-02"/>
          <p:cNvSpPr>
            <a:spLocks noChangeArrowheads="1"/>
          </p:cNvSpPr>
          <p:nvPr/>
        </p:nvSpPr>
        <p:spPr bwMode="auto">
          <a:xfrm>
            <a:off x="6570664" y="4281757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무중단 데이터 서비스 제공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404" name="Rectangle 748"/>
          <p:cNvSpPr>
            <a:spLocks noChangeArrowheads="1"/>
          </p:cNvSpPr>
          <p:nvPr/>
        </p:nvSpPr>
        <p:spPr bwMode="auto">
          <a:xfrm>
            <a:off x="3800955" y="3860314"/>
            <a:ext cx="307777" cy="25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rPr>
              <a:t>SAN </a:t>
            </a:r>
            <a:endParaRPr lang="en-US" altLang="ko-KR" sz="900" b="0" dirty="0" smtClean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anose="02020603050405020304" pitchFamily="18" charset="0"/>
            </a:endParaRPr>
          </a:p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Times New Roman" panose="02020603050405020304" pitchFamily="18" charset="0"/>
              </a:rPr>
              <a:t>스위치</a:t>
            </a:r>
            <a:endParaRPr lang="ko-KR" altLang="en-US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pSp>
        <p:nvGrpSpPr>
          <p:cNvPr id="153" name="Group 836"/>
          <p:cNvGrpSpPr>
            <a:grpSpLocks/>
          </p:cNvGrpSpPr>
          <p:nvPr/>
        </p:nvGrpSpPr>
        <p:grpSpPr bwMode="auto">
          <a:xfrm>
            <a:off x="2975250" y="3831736"/>
            <a:ext cx="752475" cy="742950"/>
            <a:chOff x="1918" y="3019"/>
            <a:chExt cx="474" cy="468"/>
          </a:xfrm>
        </p:grpSpPr>
        <p:grpSp>
          <p:nvGrpSpPr>
            <p:cNvPr id="154" name="Group 110"/>
            <p:cNvGrpSpPr>
              <a:grpSpLocks noChangeAspect="1"/>
            </p:cNvGrpSpPr>
            <p:nvPr/>
          </p:nvGrpSpPr>
          <p:grpSpPr bwMode="auto">
            <a:xfrm>
              <a:off x="1922" y="3019"/>
              <a:ext cx="470" cy="468"/>
              <a:chOff x="-1559" y="1262"/>
              <a:chExt cx="709" cy="705"/>
            </a:xfrm>
          </p:grpSpPr>
          <p:pic>
            <p:nvPicPr>
              <p:cNvPr id="160" name="Picture 111" descr="도형-원_수정"/>
              <p:cNvPicPr>
                <a:picLocks noChangeAspect="1" noChangeArrowheads="1"/>
              </p:cNvPicPr>
              <p:nvPr/>
            </p:nvPicPr>
            <p:blipFill>
              <a:blip r:embed="rId12">
                <a:lum bright="42000" contrast="-6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139" t="909" r="68611" b="81020"/>
              <a:stretch>
                <a:fillRect/>
              </a:stretch>
            </p:blipFill>
            <p:spPr bwMode="gray">
              <a:xfrm>
                <a:off x="-1559" y="1262"/>
                <a:ext cx="709" cy="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1" name="Rectangle 112"/>
              <p:cNvSpPr>
                <a:spLocks noChangeAspect="1" noChangeArrowheads="1"/>
              </p:cNvSpPr>
              <p:nvPr/>
            </p:nvSpPr>
            <p:spPr bwMode="gray">
              <a:xfrm>
                <a:off x="-1441" y="1463"/>
                <a:ext cx="475" cy="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fontAlgn="t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0" kern="0" dirty="0" smtClean="0">
                    <a:ln>
                      <a:solidFill>
                        <a:srgbClr val="000000">
                          <a:alpha val="0"/>
                        </a:srgbClr>
                      </a:solidFill>
                    </a:ln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가용성 확보</a:t>
                </a:r>
              </a:p>
            </p:txBody>
          </p:sp>
        </p:grpSp>
        <p:grpSp>
          <p:nvGrpSpPr>
            <p:cNvPr id="155" name="Group 829"/>
            <p:cNvGrpSpPr>
              <a:grpSpLocks/>
            </p:cNvGrpSpPr>
            <p:nvPr/>
          </p:nvGrpSpPr>
          <p:grpSpPr bwMode="auto">
            <a:xfrm rot="310330">
              <a:off x="1918" y="3022"/>
              <a:ext cx="474" cy="464"/>
              <a:chOff x="2731" y="3047"/>
              <a:chExt cx="458" cy="448"/>
            </a:xfrm>
          </p:grpSpPr>
          <p:sp>
            <p:nvSpPr>
              <p:cNvPr id="156" name="Arc 825"/>
              <p:cNvSpPr>
                <a:spLocks/>
              </p:cNvSpPr>
              <p:nvPr/>
            </p:nvSpPr>
            <p:spPr bwMode="gray">
              <a:xfrm>
                <a:off x="2962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57" name="Arc 826"/>
              <p:cNvSpPr>
                <a:spLocks/>
              </p:cNvSpPr>
              <p:nvPr/>
            </p:nvSpPr>
            <p:spPr bwMode="gray">
              <a:xfrm rot="5400000">
                <a:off x="2962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58" name="Arc 827"/>
              <p:cNvSpPr>
                <a:spLocks/>
              </p:cNvSpPr>
              <p:nvPr/>
            </p:nvSpPr>
            <p:spPr bwMode="gray">
              <a:xfrm rot="5400000" flipH="1" flipV="1">
                <a:off x="2731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59" name="Arc 828"/>
              <p:cNvSpPr>
                <a:spLocks/>
              </p:cNvSpPr>
              <p:nvPr/>
            </p:nvSpPr>
            <p:spPr bwMode="gray">
              <a:xfrm rot="10800000">
                <a:off x="2737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51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7 </a:t>
            </a:r>
            <a:r>
              <a:rPr lang="en-US" altLang="ko-KR" dirty="0"/>
              <a:t>STR </a:t>
            </a:r>
            <a:r>
              <a:rPr lang="ko-KR" altLang="en-US" dirty="0"/>
              <a:t>보고 프로세스 개선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현행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 프로세스 상의 이슈와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은행의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특성을 고려하여 업무상 많이 발생하는 이슈를 반영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S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 프로세스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TR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보고 프로세스 개선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76" name="그룹 75"/>
          <p:cNvGrpSpPr/>
          <p:nvPr/>
        </p:nvGrpSpPr>
        <p:grpSpPr>
          <a:xfrm>
            <a:off x="668524" y="2292099"/>
            <a:ext cx="2867316" cy="209202"/>
            <a:chOff x="2142015" y="2226795"/>
            <a:chExt cx="2292854" cy="226731"/>
          </a:xfrm>
        </p:grpSpPr>
        <p:sp>
          <p:nvSpPr>
            <p:cNvPr id="77" name="Text Box 52"/>
            <p:cNvSpPr txBox="1">
              <a:spLocks noChangeArrowheads="1"/>
            </p:cNvSpPr>
            <p:nvPr/>
          </p:nvSpPr>
          <p:spPr bwMode="auto">
            <a:xfrm>
              <a:off x="2463197" y="2226795"/>
              <a:ext cx="1647570" cy="18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indent="-269574" algn="ctr">
                <a:spcAft>
                  <a:spcPts val="884"/>
                </a:spcAft>
              </a:pP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STR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 프로세스 수립시 고려사항</a:t>
              </a:r>
            </a:p>
          </p:txBody>
        </p:sp>
        <p:sp>
          <p:nvSpPr>
            <p:cNvPr id="78" name="Line 57"/>
            <p:cNvSpPr>
              <a:spLocks noChangeShapeType="1"/>
            </p:cNvSpPr>
            <p:nvPr/>
          </p:nvSpPr>
          <p:spPr bwMode="auto">
            <a:xfrm>
              <a:off x="2142015" y="2453526"/>
              <a:ext cx="229285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l" latinLnBrk="0"/>
              <a:endParaRPr lang="en-GB" sz="11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79" name="그룹 78"/>
          <p:cNvGrpSpPr/>
          <p:nvPr/>
        </p:nvGrpSpPr>
        <p:grpSpPr>
          <a:xfrm>
            <a:off x="5531724" y="2292099"/>
            <a:ext cx="2880000" cy="209202"/>
            <a:chOff x="2054923" y="2226795"/>
            <a:chExt cx="2484067" cy="226731"/>
          </a:xfrm>
        </p:grpSpPr>
        <p:sp>
          <p:nvSpPr>
            <p:cNvPr id="80" name="Text Box 52"/>
            <p:cNvSpPr txBox="1">
              <a:spLocks noChangeArrowheads="1"/>
            </p:cNvSpPr>
            <p:nvPr/>
          </p:nvSpPr>
          <p:spPr bwMode="auto">
            <a:xfrm>
              <a:off x="2666250" y="2226795"/>
              <a:ext cx="1305633" cy="18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indent="-269574" algn="ctr">
                <a:spcAft>
                  <a:spcPts val="884"/>
                </a:spcAft>
              </a:pP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STR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 프로세스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예시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)</a:t>
              </a:r>
              <a:endPara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81" name="Line 57"/>
            <p:cNvSpPr>
              <a:spLocks noChangeShapeType="1"/>
            </p:cNvSpPr>
            <p:nvPr/>
          </p:nvSpPr>
          <p:spPr bwMode="auto">
            <a:xfrm>
              <a:off x="2054923" y="2453526"/>
              <a:ext cx="2484067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l" latinLnBrk="0"/>
              <a:endParaRPr lang="en-GB" sz="110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82" name="직사각형 81"/>
          <p:cNvSpPr/>
          <p:nvPr/>
        </p:nvSpPr>
        <p:spPr bwMode="ltGray">
          <a:xfrm>
            <a:off x="4484948" y="2587166"/>
            <a:ext cx="4896544" cy="3653126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anchor="t" anchorCtr="0"/>
          <a:lstStyle/>
          <a:p>
            <a:pPr marL="6350" lvl="0" defTabSz="1019007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endParaRPr lang="en-US" altLang="ko-KR" sz="1100" u="sng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 rotWithShape="1">
          <a:blip r:embed="rId2"/>
          <a:srcRect l="2701" t="2628" r="2223" b="1647"/>
          <a:stretch/>
        </p:blipFill>
        <p:spPr>
          <a:xfrm>
            <a:off x="4520952" y="2672916"/>
            <a:ext cx="4860540" cy="3506640"/>
          </a:xfrm>
          <a:prstGeom prst="rect">
            <a:avLst/>
          </a:prstGeom>
          <a:solidFill>
            <a:srgbClr val="B7E4FF"/>
          </a:solidFill>
          <a:ln>
            <a:noFill/>
          </a:ln>
        </p:spPr>
      </p:pic>
      <p:sp>
        <p:nvSpPr>
          <p:cNvPr id="83" name="오른쪽 화살표 82"/>
          <p:cNvSpPr/>
          <p:nvPr/>
        </p:nvSpPr>
        <p:spPr>
          <a:xfrm>
            <a:off x="3728470" y="3137761"/>
            <a:ext cx="612462" cy="2350106"/>
          </a:xfrm>
          <a:prstGeom prst="rightArrow">
            <a:avLst>
              <a:gd name="adj1" fmla="val 67945"/>
              <a:gd name="adj2" fmla="val 51390"/>
            </a:avLst>
          </a:prstGeom>
          <a:gradFill rotWithShape="1">
            <a:gsLst>
              <a:gs pos="0">
                <a:srgbClr val="FFFFFF"/>
              </a:gs>
              <a:gs pos="14000">
                <a:srgbClr val="C0C0C0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 bwMode="ltGray">
          <a:xfrm>
            <a:off x="513036" y="2584187"/>
            <a:ext cx="3240000" cy="3653126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anchor="t" anchorCtr="0"/>
          <a:lstStyle/>
          <a:p>
            <a:pPr marL="234950" indent="-228600" algn="l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AutoNum type="arabicPeriod"/>
              <a:defRPr/>
            </a:pP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의심스러운 거래에 대한 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Alert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추출 로직 마련</a:t>
            </a:r>
            <a:endParaRPr lang="en-US" altLang="ko-KR" sz="1100" u="sng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34950" indent="-228600" algn="l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임의보고 프로세스 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고위험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,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금융정보 요청 고객 등 사회적 이슈 대상 포함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Tx/>
              <a:buAutoNum type="arabicPeriod"/>
              <a:defRPr/>
            </a:pP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미보고 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Alert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건에 대한 모니터링 절차</a:t>
            </a:r>
            <a:endParaRPr lang="en-US" altLang="ko-KR" sz="1100" u="sng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AutoNum type="arabicPeriod"/>
              <a:defRPr/>
            </a:pP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영업점 보고제외 거래 모니터링 절차 </a:t>
            </a:r>
          </a:p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AutoNum type="arabicPeriod"/>
              <a:defRPr/>
            </a:pP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의심거래 테마점검 기능</a:t>
            </a:r>
          </a:p>
          <a:p>
            <a:pPr marL="234950" indent="-228600" algn="l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KoFIU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의 최종 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보고 관련 전결 절차 정의</a:t>
            </a:r>
          </a:p>
          <a:p>
            <a:pPr marL="234950" indent="-228600" algn="l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점검의견에 대한 효율적인 관리 방안</a:t>
            </a:r>
            <a:endParaRPr lang="en-US" altLang="ko-KR" sz="1100" u="sng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34950" indent="-228600" algn="l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S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보고 신속성 관리 절차</a:t>
            </a:r>
          </a:p>
        </p:txBody>
      </p:sp>
      <p:sp>
        <p:nvSpPr>
          <p:cNvPr id="2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pic>
        <p:nvPicPr>
          <p:cNvPr id="28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1584" y="239277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16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8 </a:t>
            </a:r>
            <a:r>
              <a:rPr lang="ko-KR" altLang="en-US" dirty="0" smtClean="0"/>
              <a:t>위험평가 결과에 따른 모니터링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처리 기준 요구사항 준수를 위한 전사 자금세탁 위험평가 결과를 고려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미보고 건에 대한 사후 점검을 강화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TR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사후 검증 강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86" name="그룹 85"/>
          <p:cNvGrpSpPr/>
          <p:nvPr/>
        </p:nvGrpSpPr>
        <p:grpSpPr>
          <a:xfrm>
            <a:off x="519660" y="2204864"/>
            <a:ext cx="3533240" cy="378354"/>
            <a:chOff x="453846" y="1516316"/>
            <a:chExt cx="9125898" cy="378354"/>
          </a:xfrm>
        </p:grpSpPr>
        <p:sp>
          <p:nvSpPr>
            <p:cNvPr id="87" name="Rectangle 30"/>
            <p:cNvSpPr>
              <a:spLocks noChangeArrowheads="1"/>
            </p:cNvSpPr>
            <p:nvPr/>
          </p:nvSpPr>
          <p:spPr bwMode="auto">
            <a:xfrm>
              <a:off x="2536991" y="1516316"/>
              <a:ext cx="4984417" cy="3783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5994" tIns="35994" rIns="35994" bIns="35994" anchor="ctr"/>
            <a:lstStyle/>
            <a:p>
              <a:pPr indent="-82527" algn="ctr">
                <a:lnSpc>
                  <a:spcPts val="1800"/>
                </a:lnSpc>
                <a:spcBef>
                  <a:spcPct val="50000"/>
                </a:spcBef>
                <a:defRPr/>
              </a:pP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위험평가 결과에 따른</a:t>
              </a:r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 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거래 모니터링 차별화 방안 </a:t>
              </a:r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(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안</a:t>
              </a:r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)</a:t>
              </a:r>
            </a:p>
          </p:txBody>
        </p:sp>
        <p:cxnSp>
          <p:nvCxnSpPr>
            <p:cNvPr id="88" name="직선 연결선 87"/>
            <p:cNvCxnSpPr/>
            <p:nvPr/>
          </p:nvCxnSpPr>
          <p:spPr>
            <a:xfrm>
              <a:off x="453846" y="1876356"/>
              <a:ext cx="9125898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그룹 89"/>
          <p:cNvGrpSpPr/>
          <p:nvPr/>
        </p:nvGrpSpPr>
        <p:grpSpPr>
          <a:xfrm>
            <a:off x="4716738" y="2193188"/>
            <a:ext cx="4664754" cy="378354"/>
            <a:chOff x="453846" y="1516316"/>
            <a:chExt cx="9125898" cy="378354"/>
          </a:xfrm>
        </p:grpSpPr>
        <p:sp>
          <p:nvSpPr>
            <p:cNvPr id="91" name="Rectangle 30"/>
            <p:cNvSpPr>
              <a:spLocks noChangeArrowheads="1"/>
            </p:cNvSpPr>
            <p:nvPr/>
          </p:nvSpPr>
          <p:spPr bwMode="auto">
            <a:xfrm>
              <a:off x="2536991" y="1516316"/>
              <a:ext cx="4984417" cy="3783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5994" tIns="35994" rIns="35994" bIns="35994" anchor="ctr"/>
            <a:lstStyle/>
            <a:p>
              <a:pPr indent="-82527" algn="ctr">
                <a:lnSpc>
                  <a:spcPts val="1800"/>
                </a:lnSpc>
                <a:spcBef>
                  <a:spcPct val="50000"/>
                </a:spcBef>
                <a:defRPr/>
              </a:pPr>
              <a:r>
                <a:rPr lang="en-US" altLang="ko-KR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Alert </a:t>
              </a:r>
              <a:r>
                <a:rPr lang="ko-KR" altLang="en-US" sz="12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  <a:sym typeface="Wingdings" pitchFamily="2" charset="2"/>
                </a:rPr>
                <a:t>점검 적정성에 대한 확인 방안</a:t>
              </a:r>
            </a:p>
          </p:txBody>
        </p:sp>
        <p:cxnSp>
          <p:nvCxnSpPr>
            <p:cNvPr id="92" name="직선 연결선 91"/>
            <p:cNvCxnSpPr/>
            <p:nvPr/>
          </p:nvCxnSpPr>
          <p:spPr>
            <a:xfrm>
              <a:off x="453846" y="1876356"/>
              <a:ext cx="9125898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모서리가 둥근 직사각형 93"/>
          <p:cNvSpPr/>
          <p:nvPr>
            <p:custDataLst>
              <p:tags r:id="rId1"/>
            </p:custDataLst>
          </p:nvPr>
        </p:nvSpPr>
        <p:spPr>
          <a:xfrm>
            <a:off x="4713327" y="2645654"/>
            <a:ext cx="1044968" cy="1140480"/>
          </a:xfrm>
          <a:prstGeom prst="roundRect">
            <a:avLst>
              <a:gd name="adj" fmla="val 0"/>
            </a:avLst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 </a:t>
            </a: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보고 사유의 </a:t>
            </a:r>
            <a:endParaRPr lang="en-US" altLang="ko-KR" sz="105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적정성 점검 수행</a:t>
            </a:r>
          </a:p>
        </p:txBody>
      </p:sp>
      <p:sp>
        <p:nvSpPr>
          <p:cNvPr id="95" name="모서리가 둥근 직사각형 94"/>
          <p:cNvSpPr/>
          <p:nvPr>
            <p:custDataLst>
              <p:tags r:id="rId2"/>
            </p:custDataLst>
          </p:nvPr>
        </p:nvSpPr>
        <p:spPr>
          <a:xfrm>
            <a:off x="5789689" y="2645654"/>
            <a:ext cx="3588392" cy="114048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lIns="72000" tIns="72000" rIns="72000" bIns="72000" anchor="ctr"/>
          <a:lstStyle/>
          <a:p>
            <a:pPr marL="85725" marR="0" lvl="0" indent="-85725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 건이 적은 부점 또는 보고 비율이 낮은 지점을 점검 대상으로 선정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1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- STR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 제외 사유가 충실한지 여부 검토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외 사유가 충실하지 않을 경우 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 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재점검 필요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- STR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보고 고객 중 고위험 고객에 대해서는 추가로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ert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를 생성하여 점검 및 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  STR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 수행</a:t>
            </a:r>
          </a:p>
        </p:txBody>
      </p:sp>
      <p:sp>
        <p:nvSpPr>
          <p:cNvPr id="96" name="모서리가 둥근 직사각형 95"/>
          <p:cNvSpPr/>
          <p:nvPr>
            <p:custDataLst>
              <p:tags r:id="rId3"/>
            </p:custDataLst>
          </p:nvPr>
        </p:nvSpPr>
        <p:spPr>
          <a:xfrm>
            <a:off x="4713327" y="3863892"/>
            <a:ext cx="1044968" cy="1140480"/>
          </a:xfrm>
          <a:prstGeom prst="roundRect">
            <a:avLst>
              <a:gd name="adj" fmla="val 0"/>
            </a:avLst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위험군과의 </a:t>
            </a: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거래에 대한 </a:t>
            </a: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점검 수행</a:t>
            </a: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테마 점검</a:t>
            </a: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</p:txBody>
      </p:sp>
      <p:sp>
        <p:nvSpPr>
          <p:cNvPr id="97" name="모서리가 둥근 직사각형 96"/>
          <p:cNvSpPr/>
          <p:nvPr>
            <p:custDataLst>
              <p:tags r:id="rId4"/>
            </p:custDataLst>
          </p:nvPr>
        </p:nvSpPr>
        <p:spPr>
          <a:xfrm>
            <a:off x="5789689" y="3863892"/>
            <a:ext cx="3588392" cy="114048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lIns="72000" tIns="72000" rIns="72000" bIns="72000" anchor="ctr"/>
          <a:lstStyle/>
          <a:p>
            <a:pPr marL="85725" indent="-857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별도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ule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을 통하여 추출된 고위험군 고객의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ert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중 미보고 건을 사후적으로 추출하여 고위험 상위 거래를 가지고 있는 부점을 선정하여 재점검을 수행하고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추가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를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행</a:t>
            </a:r>
            <a:endParaRPr lang="en-US" altLang="ko-KR" sz="9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>
              <a:spcBef>
                <a:spcPts val="1200"/>
              </a:spcBef>
            </a:pP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군 예시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 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종합자산관리서비스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국가 고객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 상품 거래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 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CD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 고객 등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, STR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다수보고 고객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Alert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다수 발생 후 미보고 고객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액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 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금거래 고객 중 미보고 고객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등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8" name="모서리가 둥근 직사각형 97"/>
          <p:cNvSpPr/>
          <p:nvPr>
            <p:custDataLst>
              <p:tags r:id="rId5"/>
            </p:custDataLst>
          </p:nvPr>
        </p:nvSpPr>
        <p:spPr>
          <a:xfrm>
            <a:off x="4713327" y="5082130"/>
            <a:ext cx="1044968" cy="1140480"/>
          </a:xfrm>
          <a:prstGeom prst="roundRect">
            <a:avLst>
              <a:gd name="adj" fmla="val 0"/>
            </a:avLst>
          </a:prstGeom>
          <a:solidFill>
            <a:srgbClr val="E2E7EA"/>
          </a:solidFill>
          <a:ln w="6350">
            <a:solidFill>
              <a:srgbClr val="CFD6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사 위험평가 결과</a:t>
            </a:r>
            <a:endParaRPr lang="en-US" altLang="ko-KR" sz="105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위험 부점 거래에 대한 점검 수행</a:t>
            </a:r>
          </a:p>
        </p:txBody>
      </p:sp>
      <p:sp>
        <p:nvSpPr>
          <p:cNvPr id="99" name="모서리가 둥근 직사각형 98"/>
          <p:cNvSpPr/>
          <p:nvPr>
            <p:custDataLst>
              <p:tags r:id="rId6"/>
            </p:custDataLst>
          </p:nvPr>
        </p:nvSpPr>
        <p:spPr>
          <a:xfrm>
            <a:off x="5789689" y="5082130"/>
            <a:ext cx="3588392" cy="114048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lIns="72000" tIns="72000" rIns="72000" bIns="72000" anchor="ctr"/>
          <a:lstStyle/>
          <a:p>
            <a:pPr marL="85725" marR="0" lvl="0" indent="-85725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사 위험평가 결과 고위험으로 평가된 부점에서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생된 거래에 대하여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lert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 의견의 정확성 및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보고 건에 대한 추가 점검 수행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1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-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점인 경우 고객확인의무 이행이 정확하지 않을 수 있으므로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정보의 </a:t>
            </a: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    </a:t>
            </a:r>
            <a:r>
              <a:rPr lang="ko-KR" altLang="en-US" sz="9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확성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및 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EDD 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가 정보 입수의 완전성</a:t>
            </a:r>
            <a:r>
              <a:rPr lang="en-US" altLang="ko-KR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확성을 확인</a:t>
            </a:r>
            <a:endParaRPr lang="en-US" altLang="ko-KR" sz="900" spc="-70" dirty="0">
              <a:ln w="1270">
                <a:solidFill>
                  <a:schemeClr val="accent1">
                    <a:alpha val="0"/>
                  </a:schemeClr>
                </a:solidFill>
              </a:ln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0" name="직사각형 49"/>
          <p:cNvSpPr/>
          <p:nvPr/>
        </p:nvSpPr>
        <p:spPr bwMode="ltGray">
          <a:xfrm>
            <a:off x="2253828" y="2641051"/>
            <a:ext cx="1799072" cy="170497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 anchorCtr="0"/>
          <a:lstStyle/>
          <a:p>
            <a:pPr>
              <a:lnSpc>
                <a:spcPts val="1500"/>
              </a:lnSpc>
              <a:spcBef>
                <a:spcPts val="1200"/>
              </a:spcBef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금세탁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평가를 통해 산출된 부점별 위험평가 결과와 고객위험평가 결과를 기준으로 </a:t>
            </a:r>
            <a:r>
              <a:rPr lang="ko-KR" altLang="en-US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점 별 </a:t>
            </a:r>
            <a:r>
              <a:rPr lang="en-US" altLang="ko-KR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lang="ko-KR" altLang="en-US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별로 거래 모니터링 </a:t>
            </a:r>
            <a:r>
              <a:rPr lang="en-US" altLang="ko-KR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Rule </a:t>
            </a:r>
            <a:r>
              <a:rPr lang="ko-KR" altLang="en-US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임계치를 차별화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하는 방안</a:t>
            </a:r>
          </a:p>
        </p:txBody>
      </p:sp>
      <p:sp>
        <p:nvSpPr>
          <p:cNvPr id="51" name="직사각형 50"/>
          <p:cNvSpPr/>
          <p:nvPr/>
        </p:nvSpPr>
        <p:spPr bwMode="ltGray">
          <a:xfrm>
            <a:off x="1096655" y="2641051"/>
            <a:ext cx="1085683" cy="170497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500"/>
              </a:lnSpc>
            </a:pP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L/TF </a:t>
            </a: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평가</a:t>
            </a:r>
            <a:endParaRPr lang="en-US" altLang="ko-KR" sz="105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>
              <a:lnSpc>
                <a:spcPts val="1500"/>
              </a:lnSpc>
            </a:pP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결과에 따른</a:t>
            </a:r>
            <a:endParaRPr lang="en-US" altLang="ko-KR" sz="105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>
              <a:lnSpc>
                <a:spcPts val="1500"/>
              </a:lnSpc>
            </a:pPr>
            <a:r>
              <a:rPr lang="ko-KR" altLang="en-US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점별 </a:t>
            </a:r>
            <a: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임계치 차등 </a:t>
            </a:r>
            <a: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적용 </a:t>
            </a: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안</a:t>
            </a:r>
          </a:p>
        </p:txBody>
      </p:sp>
      <p:sp>
        <p:nvSpPr>
          <p:cNvPr id="52" name="직사각형 51"/>
          <p:cNvSpPr/>
          <p:nvPr/>
        </p:nvSpPr>
        <p:spPr bwMode="ltGray">
          <a:xfrm>
            <a:off x="513036" y="2641051"/>
            <a:ext cx="512127" cy="1704978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안</a:t>
            </a:r>
          </a:p>
        </p:txBody>
      </p:sp>
      <p:sp>
        <p:nvSpPr>
          <p:cNvPr id="53" name="직사각형 52"/>
          <p:cNvSpPr/>
          <p:nvPr/>
        </p:nvSpPr>
        <p:spPr bwMode="ltGray">
          <a:xfrm>
            <a:off x="2253828" y="4532334"/>
            <a:ext cx="1799072" cy="170497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 anchorCtr="0"/>
          <a:lstStyle/>
          <a:p>
            <a:pPr>
              <a:lnSpc>
                <a:spcPts val="1500"/>
              </a:lnSpc>
              <a:spcBef>
                <a:spcPts val="1200"/>
              </a:spcBef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사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L/TF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험평가 결과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위험으로 산출된 부점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상품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의 </a:t>
            </a:r>
            <a:r>
              <a:rPr lang="en-US" altLang="ko-KR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ko-KR" altLang="en-US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보고 건에 대한 사후 추가</a:t>
            </a:r>
            <a:r>
              <a:rPr lang="en-US" altLang="ko-KR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1000" u="sng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을 통하여 의심스러운 거래 모니터링을 강화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하는 방안</a:t>
            </a:r>
          </a:p>
        </p:txBody>
      </p:sp>
      <p:sp>
        <p:nvSpPr>
          <p:cNvPr id="55" name="직사각형 54"/>
          <p:cNvSpPr/>
          <p:nvPr/>
        </p:nvSpPr>
        <p:spPr bwMode="ltGray">
          <a:xfrm>
            <a:off x="1096655" y="4532334"/>
            <a:ext cx="1085683" cy="170497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500"/>
              </a:lnSpc>
            </a:pP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L/TF </a:t>
            </a:r>
            <a: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위험 </a:t>
            </a:r>
            <a:endParaRPr lang="en-US" altLang="ko-KR" sz="105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>
              <a:lnSpc>
                <a:spcPts val="1500"/>
              </a:lnSpc>
            </a:pP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보고 건에 대한 </a:t>
            </a:r>
            <a:r>
              <a:rPr lang="en-US" altLang="ko-KR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 </a:t>
            </a:r>
            <a: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/>
            </a:r>
            <a:br>
              <a:rPr lang="en-US" altLang="ko-KR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5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후 </a:t>
            </a: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점검</a:t>
            </a:r>
            <a:endParaRPr lang="en-US" altLang="ko-KR" sz="105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>
              <a:lnSpc>
                <a:spcPts val="1500"/>
              </a:lnSpc>
            </a:pPr>
            <a:r>
              <a:rPr lang="ko-KR" altLang="en-US" sz="105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강화 방안</a:t>
            </a:r>
          </a:p>
        </p:txBody>
      </p:sp>
      <p:sp>
        <p:nvSpPr>
          <p:cNvPr id="56" name="직사각형 55"/>
          <p:cNvSpPr/>
          <p:nvPr/>
        </p:nvSpPr>
        <p:spPr bwMode="ltGray">
          <a:xfrm>
            <a:off x="513036" y="4532334"/>
            <a:ext cx="512127" cy="1704978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안</a:t>
            </a:r>
          </a:p>
        </p:txBody>
      </p:sp>
      <p:sp>
        <p:nvSpPr>
          <p:cNvPr id="125" name="오른쪽 화살표 124"/>
          <p:cNvSpPr/>
          <p:nvPr/>
        </p:nvSpPr>
        <p:spPr>
          <a:xfrm>
            <a:off x="4052899" y="2693106"/>
            <a:ext cx="562163" cy="3472198"/>
          </a:xfrm>
          <a:prstGeom prst="rightArrow">
            <a:avLst>
              <a:gd name="adj1" fmla="val 67945"/>
              <a:gd name="adj2" fmla="val 51390"/>
            </a:avLst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3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139494" y="2369163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62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6.9 </a:t>
            </a:r>
            <a:r>
              <a:rPr lang="ko-KR" altLang="en-US" dirty="0" smtClean="0"/>
              <a:t>이상거래탐지시스템</a:t>
            </a:r>
            <a:r>
              <a:rPr lang="en-US" altLang="ko-KR" dirty="0" smtClean="0"/>
              <a:t>(FDS)</a:t>
            </a:r>
            <a:r>
              <a:rPr lang="ko-KR" altLang="en-US" dirty="0" smtClean="0"/>
              <a:t>에 의한 거래 보고 검토 절차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신규 룰 추가 및 기존 룰 개선에 따른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의 개발 부담을 줄이기 위해 기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DS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의 분석 결과 정보를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에서 활용하는 방안을 적극 검토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FDS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분석 정보 활용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7" name="직사각형 26"/>
          <p:cNvSpPr/>
          <p:nvPr/>
        </p:nvSpPr>
        <p:spPr>
          <a:xfrm>
            <a:off x="6661690" y="2596500"/>
            <a:ext cx="2725433" cy="1192162"/>
          </a:xfrm>
          <a:prstGeom prst="rect">
            <a:avLst/>
          </a:prstGeom>
          <a:solidFill>
            <a:srgbClr val="D3EDFD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hangingPunct="0">
              <a:lnSpc>
                <a:spcPct val="90000"/>
              </a:lnSpc>
              <a:spcBef>
                <a:spcPts val="600"/>
              </a:spcBef>
              <a:buSzPct val="140000"/>
            </a:pP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DS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스템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 smtClean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2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8433834" y="3192581"/>
            <a:ext cx="785888" cy="470533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상거래 고객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ist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2747997" y="3845441"/>
            <a:ext cx="2725433" cy="148118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 smtClean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spcBef>
                <a:spcPts val="600"/>
              </a:spcBef>
              <a:buSzPct val="140000"/>
            </a:pP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ML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시스템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 smtClean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 smtClean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en-US" altLang="ko-KR" sz="1200" dirty="0" smtClean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endParaRPr lang="ko-KR" altLang="en-US" sz="1200" dirty="0"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30" name="원통 29"/>
          <p:cNvSpPr/>
          <p:nvPr/>
        </p:nvSpPr>
        <p:spPr>
          <a:xfrm>
            <a:off x="4374678" y="4499718"/>
            <a:ext cx="944375" cy="714055"/>
          </a:xfrm>
          <a:prstGeom prst="can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 </a:t>
            </a:r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마트</a:t>
            </a:r>
          </a:p>
        </p:txBody>
      </p:sp>
      <p:cxnSp>
        <p:nvCxnSpPr>
          <p:cNvPr id="31" name="꺾인 연결선 30"/>
          <p:cNvCxnSpPr>
            <a:stCxn id="28" idx="2"/>
            <a:endCxn id="30" idx="4"/>
          </p:cNvCxnSpPr>
          <p:nvPr/>
        </p:nvCxnSpPr>
        <p:spPr>
          <a:xfrm rot="5400000">
            <a:off x="6476100" y="2506067"/>
            <a:ext cx="1193632" cy="3507725"/>
          </a:xfrm>
          <a:prstGeom prst="bentConnector2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6321152" y="4588553"/>
            <a:ext cx="1927714" cy="28060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69574" algn="ctr" defTabSz="914400" latinLnBrk="1">
              <a:spcAft>
                <a:spcPts val="884"/>
              </a:spcAft>
            </a:pP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필요정보 일 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Batch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이관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3010556" y="4643384"/>
            <a:ext cx="1100157" cy="426723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카드깡 거래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모니터링 룰</a:t>
            </a:r>
          </a:p>
        </p:txBody>
      </p:sp>
      <p:cxnSp>
        <p:nvCxnSpPr>
          <p:cNvPr id="34" name="직선 연결선 33"/>
          <p:cNvCxnSpPr>
            <a:stCxn id="30" idx="2"/>
          </p:cNvCxnSpPr>
          <p:nvPr/>
        </p:nvCxnSpPr>
        <p:spPr>
          <a:xfrm flipH="1" flipV="1">
            <a:off x="4036157" y="4856745"/>
            <a:ext cx="338521" cy="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그림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1690" y="2705347"/>
            <a:ext cx="813866" cy="878837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6768" y="3673383"/>
            <a:ext cx="813866" cy="878837"/>
          </a:xfrm>
          <a:prstGeom prst="rect">
            <a:avLst/>
          </a:prstGeom>
        </p:spPr>
      </p:pic>
      <p:sp>
        <p:nvSpPr>
          <p:cNvPr id="37" name="직사각형 36"/>
          <p:cNvSpPr/>
          <p:nvPr/>
        </p:nvSpPr>
        <p:spPr>
          <a:xfrm>
            <a:off x="7606815" y="3193888"/>
            <a:ext cx="785888" cy="470533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상거래</a:t>
            </a: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en-US" altLang="ko-KR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ist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8" name="순서도: 다중 문서 37"/>
          <p:cNvSpPr/>
          <p:nvPr/>
        </p:nvSpPr>
        <p:spPr>
          <a:xfrm>
            <a:off x="2887750" y="5683652"/>
            <a:ext cx="1140123" cy="553660"/>
          </a:xfrm>
          <a:prstGeom prst="flowChartMultidocumen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indent="-101591" algn="ctr" defTabSz="1042959" eaLnBrk="0" latinLnBrk="0" hangingPunct="0">
              <a:lnSpc>
                <a:spcPct val="90000"/>
              </a:lnSpc>
              <a:buSzPct val="140000"/>
            </a:pPr>
            <a:r>
              <a:rPr lang="ko-KR" altLang="en-US" sz="1000" dirty="0" smtClean="0"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의심거래</a:t>
            </a:r>
            <a:endParaRPr lang="en-US" altLang="ko-KR" sz="1000" dirty="0" smtClean="0"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4" name="직선 화살표 연결선 43"/>
          <p:cNvCxnSpPr/>
          <p:nvPr/>
        </p:nvCxnSpPr>
        <p:spPr>
          <a:xfrm>
            <a:off x="3461226" y="5251239"/>
            <a:ext cx="0" cy="343671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직사각형 44"/>
          <p:cNvSpPr/>
          <p:nvPr/>
        </p:nvSpPr>
        <p:spPr>
          <a:xfrm>
            <a:off x="2937380" y="4699619"/>
            <a:ext cx="1100157" cy="426723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카드깡 거래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모니터링 룰</a:t>
            </a:r>
          </a:p>
        </p:txBody>
      </p:sp>
      <p:sp>
        <p:nvSpPr>
          <p:cNvPr id="46" name="직사각형 45"/>
          <p:cNvSpPr/>
          <p:nvPr/>
        </p:nvSpPr>
        <p:spPr>
          <a:xfrm>
            <a:off x="2880773" y="4763700"/>
            <a:ext cx="1100157" cy="426723"/>
          </a:xfrm>
          <a:prstGeom prst="rect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거래 모니터링 룰</a:t>
            </a:r>
          </a:p>
        </p:txBody>
      </p:sp>
      <p:sp>
        <p:nvSpPr>
          <p:cNvPr id="47" name="직사각형 46"/>
          <p:cNvSpPr/>
          <p:nvPr/>
        </p:nvSpPr>
        <p:spPr>
          <a:xfrm>
            <a:off x="530549" y="2292098"/>
            <a:ext cx="4942881" cy="131478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69574" algn="ctr">
              <a:lnSpc>
                <a:spcPct val="90000"/>
              </a:lnSpc>
              <a:spcBef>
                <a:spcPts val="600"/>
              </a:spcBef>
              <a:buSzPct val="140000"/>
            </a:pP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ML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시스템의 복잡성 최소화 및 유사 업무에 대한 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indent="-269574" algn="ctr">
              <a:lnSpc>
                <a:spcPct val="90000"/>
              </a:lnSpc>
              <a:spcBef>
                <a:spcPts val="600"/>
              </a:spcBef>
              <a:buSzPct val="140000"/>
            </a:pP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중복 투자 최소화를 위해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indent="-269574" algn="ctr">
              <a:lnSpc>
                <a:spcPct val="90000"/>
              </a:lnSpc>
              <a:spcBef>
                <a:spcPts val="600"/>
              </a:spcBef>
              <a:buSzPct val="140000"/>
            </a:pPr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현재 운영중인 이상거래탐지시스템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(FDS) </a:t>
            </a:r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에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대한 분석을 수행하여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indent="-269574" algn="ctr">
              <a:lnSpc>
                <a:spcPct val="90000"/>
              </a:lnSpc>
              <a:spcBef>
                <a:spcPts val="600"/>
              </a:spcBef>
              <a:buSzPct val="140000"/>
            </a:pPr>
            <a:r>
              <a:rPr lang="en-US" altLang="ko-KR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O-BE</a:t>
            </a:r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신규 룰 적용 </a:t>
            </a:r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시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활용 가능한 정보 파악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5712801" y="5027035"/>
            <a:ext cx="3674321" cy="113574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69574" algn="ctr">
              <a:spcBef>
                <a:spcPts val="600"/>
              </a:spcBef>
              <a:buSzPct val="140000"/>
            </a:pP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AML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시스템 내 </a:t>
            </a:r>
            <a:r>
              <a:rPr lang="ko-KR" altLang="en-US" sz="11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이상 거래 및 이상 거래 고객을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indent="-269574" algn="ctr">
              <a:spcBef>
                <a:spcPts val="600"/>
              </a:spcBef>
              <a:buSzPct val="140000"/>
            </a:pP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추출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/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분석하기 위한 별도 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Logic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 없이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indent="-269574" algn="ctr">
              <a:spcBef>
                <a:spcPts val="600"/>
              </a:spcBef>
              <a:buSzPct val="140000"/>
            </a:pP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FDS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시스템의 분석 결과를 활용함으로써 </a:t>
            </a:r>
            <a:endParaRPr lang="en-US" altLang="ko-KR" sz="11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indent="-269574" algn="ctr">
              <a:spcBef>
                <a:spcPts val="600"/>
              </a:spcBef>
              <a:buSzPct val="140000"/>
            </a:pP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효율성</a:t>
            </a:r>
            <a:r>
              <a:rPr lang="en-US" altLang="ko-KR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11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및 일관성 확보</a:t>
            </a:r>
          </a:p>
        </p:txBody>
      </p:sp>
      <p:sp>
        <p:nvSpPr>
          <p:cNvPr id="49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0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5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75679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구축</a:t>
            </a:r>
          </a:p>
        </p:txBody>
      </p:sp>
      <p:pic>
        <p:nvPicPr>
          <p:cNvPr id="52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263612" y="1958636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230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1 </a:t>
            </a:r>
            <a:r>
              <a:rPr lang="ko-KR" altLang="en-US" dirty="0" smtClean="0"/>
              <a:t>의심거래보고</a:t>
            </a:r>
            <a:r>
              <a:rPr lang="en-US" altLang="ko-KR" dirty="0" smtClean="0"/>
              <a:t>(STR) </a:t>
            </a:r>
            <a:r>
              <a:rPr lang="ko-KR" altLang="en-US" dirty="0"/>
              <a:t>수행 프로세스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요건에 따라 추출한 점검대상 거래를 모니터링 및 점검을 통해 보고할 대상을 선정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서 생성 후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보고하는 프로세스를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TR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업무 프로세스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9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수행 내용</a:t>
                </a:r>
              </a:p>
            </p:txBody>
          </p:sp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pic>
        <p:nvPicPr>
          <p:cNvPr id="21" name="그림 2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074227"/>
            <a:ext cx="318769" cy="318769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487" y="3537012"/>
            <a:ext cx="320400" cy="320400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7854" y="4005064"/>
            <a:ext cx="320400" cy="320400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3487" y="4312146"/>
            <a:ext cx="320400" cy="320400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3487" y="4620657"/>
            <a:ext cx="320400" cy="320400"/>
          </a:xfrm>
          <a:prstGeom prst="rect">
            <a:avLst/>
          </a:prstGeom>
        </p:spPr>
      </p:pic>
      <p:pic>
        <p:nvPicPr>
          <p:cNvPr id="28" name="그림 27">
            <a:extLst>
              <a:ext uri="{FF2B5EF4-FFF2-40B4-BE49-F238E27FC236}">
                <a16:creationId xmlns:a16="http://schemas.microsoft.com/office/drawing/2014/main" id="{66FCB384-0A34-44F2-8E7D-A993E2E991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3487" y="4937905"/>
            <a:ext cx="320400" cy="320400"/>
          </a:xfrm>
          <a:prstGeom prst="rect">
            <a:avLst/>
          </a:prstGeom>
        </p:spPr>
      </p:pic>
      <p:sp>
        <p:nvSpPr>
          <p:cNvPr id="29" name="Rectangle 262"/>
          <p:cNvSpPr>
            <a:spLocks noChangeArrowheads="1"/>
          </p:cNvSpPr>
          <p:nvPr/>
        </p:nvSpPr>
        <p:spPr bwMode="auto">
          <a:xfrm>
            <a:off x="7342346" y="2577523"/>
            <a:ext cx="2208020" cy="333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85725" indent="-857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재정의한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STR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추출 요건에 따라 점검대상 정보를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추출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담당자에게 할당된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STR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점검 건에 대해서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모니터링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제외 또는 보고대상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조사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)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건으로 상태를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저장함</a:t>
            </a:r>
            <a:endParaRPr lang="ko-KR" altLang="en-US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제외처리 또는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STR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작성 후 결재상신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제외거래 또는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STR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 반려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제외거래 또는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STR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 승인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KoFIU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 서식에 맞게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XML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파일 생성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/>
            </a:r>
            <a:b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및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KoFIU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 건에 대해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정상적으로 전송</a:t>
            </a:r>
            <a:r>
              <a:rPr lang="en-US" altLang="ko-KR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/>
            </a:r>
            <a:br>
              <a:rPr lang="en-US" altLang="ko-KR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되었는지 확인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및 재 보고 건 또는 오류 건에 대해 정정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</a:t>
            </a:r>
            <a:endParaRPr lang="en-US" altLang="ko-KR" sz="10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D3C7065C-9B27-4953-8013-8337A525E4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13487" y="5412856"/>
            <a:ext cx="320400" cy="320400"/>
          </a:xfrm>
          <a:prstGeom prst="rect">
            <a:avLst/>
          </a:prstGeom>
        </p:spPr>
      </p:pic>
      <p:sp>
        <p:nvSpPr>
          <p:cNvPr id="31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86446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502951"/>
              </p:ext>
            </p:extLst>
          </p:nvPr>
        </p:nvGraphicFramePr>
        <p:xfrm>
          <a:off x="1928813" y="2184201"/>
          <a:ext cx="4788383" cy="4148137"/>
        </p:xfrm>
        <a:graphic>
          <a:graphicData uri="http://schemas.openxmlformats.org/drawingml/2006/table">
            <a:tbl>
              <a:tblPr/>
              <a:tblGrid>
                <a:gridCol w="245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9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31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담당자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00" marR="90000" marT="17997" marB="17997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책임자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00" marR="90000" marT="17997" marB="17997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782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0000" marR="90000" marT="17997" marB="17997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0000" marR="90000" marT="17997" marB="17997" anchor="ctr" horzOverflow="overflow">
                    <a:lnL w="6350" cap="flat" cmpd="sng" algn="ctr">
                      <a:solidFill>
                        <a:srgbClr val="96969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33" name="AutoShape 1248"/>
          <p:cNvCxnSpPr>
            <a:cxnSpLocks noChangeShapeType="1"/>
            <a:endCxn id="41" idx="1"/>
          </p:cNvCxnSpPr>
          <p:nvPr/>
        </p:nvCxnSpPr>
        <p:spPr bwMode="auto">
          <a:xfrm flipV="1">
            <a:off x="1457122" y="2771576"/>
            <a:ext cx="766659" cy="35242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" name="Picture 1241" descr="MS-DOS-Batch-File-256x25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3" y="2265163"/>
            <a:ext cx="366712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 Box 1242"/>
          <p:cNvSpPr txBox="1">
            <a:spLocks noChangeArrowheads="1"/>
          </p:cNvSpPr>
          <p:nvPr/>
        </p:nvSpPr>
        <p:spPr bwMode="auto">
          <a:xfrm>
            <a:off x="1028700" y="2301676"/>
            <a:ext cx="8096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kumimoji="0"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ETL</a:t>
            </a:r>
            <a:r>
              <a:rPr kumimoji="0"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작업</a:t>
            </a:r>
            <a:br>
              <a:rPr kumimoji="0"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kumimoji="0"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배치</a:t>
            </a:r>
            <a:r>
              <a:rPr kumimoji="0"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kumimoji="0" lang="ko-KR" altLang="en-US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6" name="직사각형 27"/>
          <p:cNvSpPr>
            <a:spLocks noChangeArrowheads="1"/>
          </p:cNvSpPr>
          <p:nvPr/>
        </p:nvSpPr>
        <p:spPr bwMode="auto">
          <a:xfrm>
            <a:off x="522288" y="3304976"/>
            <a:ext cx="12192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5725" indent="-85725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대상 정보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대상 관련 정보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- 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좌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표 등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7" name="AutoShape 1248"/>
          <p:cNvCxnSpPr>
            <a:cxnSpLocks noChangeShapeType="1"/>
            <a:endCxn id="39" idx="1"/>
          </p:cNvCxnSpPr>
          <p:nvPr/>
        </p:nvCxnSpPr>
        <p:spPr bwMode="auto">
          <a:xfrm rot="16200000" flipH="1">
            <a:off x="935832" y="2734269"/>
            <a:ext cx="177800" cy="476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" name="직사각형 37"/>
          <p:cNvSpPr/>
          <p:nvPr/>
        </p:nvSpPr>
        <p:spPr bwMode="auto">
          <a:xfrm>
            <a:off x="1296988" y="2868413"/>
            <a:ext cx="125412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9" name="AutoShape 37"/>
          <p:cNvSpPr>
            <a:spLocks noChangeArrowheads="1"/>
          </p:cNvSpPr>
          <p:nvPr/>
        </p:nvSpPr>
        <p:spPr bwMode="auto">
          <a:xfrm>
            <a:off x="639763" y="2825551"/>
            <a:ext cx="774700" cy="434975"/>
          </a:xfrm>
          <a:prstGeom prst="flowChartMagneticDisk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endParaRPr kumimoji="0" lang="en-US" altLang="ko-KR" sz="1000" dirty="0">
              <a:solidFill>
                <a:srgbClr val="080808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0" name="Text Box 57"/>
          <p:cNvSpPr txBox="1">
            <a:spLocks noChangeArrowheads="1"/>
          </p:cNvSpPr>
          <p:nvPr/>
        </p:nvSpPr>
        <p:spPr bwMode="gray">
          <a:xfrm>
            <a:off x="820738" y="2990651"/>
            <a:ext cx="39528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점검대상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1" name="AutoShape 23" descr="채우기4"/>
          <p:cNvSpPr>
            <a:spLocks noChangeArrowheads="1"/>
          </p:cNvSpPr>
          <p:nvPr/>
        </p:nvSpPr>
        <p:spPr bwMode="gray">
          <a:xfrm>
            <a:off x="2223781" y="2616001"/>
            <a:ext cx="1003379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점검대상 모니터링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2" name="AutoShape 1244" descr="채우기4"/>
          <p:cNvSpPr>
            <a:spLocks noChangeArrowheads="1"/>
          </p:cNvSpPr>
          <p:nvPr/>
        </p:nvSpPr>
        <p:spPr bwMode="gray">
          <a:xfrm>
            <a:off x="2219020" y="3226554"/>
            <a:ext cx="1008140" cy="327025"/>
          </a:xfrm>
          <a:prstGeom prst="flowChartDecision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kumimoji="0"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의심거래판단</a:t>
            </a:r>
            <a:endParaRPr kumimoji="0" lang="ko-KR" altLang="en-US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3" name="AutoShape 1248"/>
          <p:cNvCxnSpPr>
            <a:cxnSpLocks noChangeShapeType="1"/>
            <a:endCxn id="42" idx="0"/>
          </p:cNvCxnSpPr>
          <p:nvPr/>
        </p:nvCxnSpPr>
        <p:spPr bwMode="auto">
          <a:xfrm>
            <a:off x="2723090" y="2933500"/>
            <a:ext cx="0" cy="293054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" name="AutoShape 23" descr="채우기4"/>
          <p:cNvSpPr>
            <a:spLocks noChangeArrowheads="1"/>
          </p:cNvSpPr>
          <p:nvPr/>
        </p:nvSpPr>
        <p:spPr bwMode="gray">
          <a:xfrm>
            <a:off x="3462133" y="3226554"/>
            <a:ext cx="701155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임의보고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5" name="AutoShape 23" descr="채우기4"/>
          <p:cNvSpPr>
            <a:spLocks noChangeArrowheads="1"/>
          </p:cNvSpPr>
          <p:nvPr/>
        </p:nvSpPr>
        <p:spPr bwMode="gray">
          <a:xfrm>
            <a:off x="3022981" y="3939976"/>
            <a:ext cx="933749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서 작성</a:t>
            </a:r>
            <a:r>
              <a:rPr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정</a:t>
            </a:r>
            <a:r>
              <a:rPr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AutoShape 23" descr="채우기4"/>
          <p:cNvSpPr>
            <a:spLocks noChangeArrowheads="1"/>
          </p:cNvSpPr>
          <p:nvPr/>
        </p:nvSpPr>
        <p:spPr bwMode="gray">
          <a:xfrm>
            <a:off x="2074999" y="3939976"/>
            <a:ext cx="576081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제외거래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7" name="AutoShape 1248"/>
          <p:cNvCxnSpPr>
            <a:cxnSpLocks noChangeShapeType="1"/>
            <a:stCxn id="42" idx="2"/>
            <a:endCxn id="45" idx="0"/>
          </p:cNvCxnSpPr>
          <p:nvPr/>
        </p:nvCxnSpPr>
        <p:spPr bwMode="auto">
          <a:xfrm rot="16200000" flipH="1">
            <a:off x="2913275" y="3363394"/>
            <a:ext cx="386397" cy="76676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solid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AutoShape 1248"/>
          <p:cNvCxnSpPr>
            <a:cxnSpLocks noChangeShapeType="1"/>
            <a:stCxn id="44" idx="2"/>
          </p:cNvCxnSpPr>
          <p:nvPr/>
        </p:nvCxnSpPr>
        <p:spPr bwMode="auto">
          <a:xfrm rot="5400000">
            <a:off x="3450146" y="3577413"/>
            <a:ext cx="402274" cy="322856"/>
          </a:xfrm>
          <a:prstGeom prst="bentConnector3">
            <a:avLst>
              <a:gd name="adj1" fmla="val 53157"/>
            </a:avLst>
          </a:prstGeom>
          <a:noFill/>
          <a:ln w="9525">
            <a:solidFill>
              <a:srgbClr val="969696"/>
            </a:solidFill>
            <a:prstDash val="solid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직선 화살표 연결선 48"/>
          <p:cNvCxnSpPr>
            <a:stCxn id="46" idx="3"/>
            <a:endCxn id="45" idx="1"/>
          </p:cNvCxnSpPr>
          <p:nvPr/>
        </p:nvCxnSpPr>
        <p:spPr bwMode="auto">
          <a:xfrm>
            <a:off x="2651080" y="4095551"/>
            <a:ext cx="371901" cy="0"/>
          </a:xfrm>
          <a:prstGeom prst="straightConnector1">
            <a:avLst/>
          </a:prstGeom>
          <a:noFill/>
          <a:ln w="9525">
            <a:solidFill>
              <a:srgbClr val="969696"/>
            </a:solidFill>
            <a:prstDash val="dash"/>
            <a:round/>
            <a:headEnd type="triangle"/>
            <a:tailEnd type="triangle" w="med" len="med"/>
          </a:ln>
        </p:spPr>
      </p:cxnSp>
      <p:cxnSp>
        <p:nvCxnSpPr>
          <p:cNvPr id="50" name="AutoShape 1248"/>
          <p:cNvCxnSpPr>
            <a:cxnSpLocks noChangeShapeType="1"/>
            <a:stCxn id="42" idx="1"/>
            <a:endCxn id="46" idx="0"/>
          </p:cNvCxnSpPr>
          <p:nvPr/>
        </p:nvCxnSpPr>
        <p:spPr bwMode="auto">
          <a:xfrm rot="10800000" flipH="1" flipV="1">
            <a:off x="2219020" y="3390066"/>
            <a:ext cx="144020" cy="549909"/>
          </a:xfrm>
          <a:prstGeom prst="bentConnector4">
            <a:avLst>
              <a:gd name="adj1" fmla="val -105819"/>
              <a:gd name="adj2" fmla="val 64867"/>
            </a:avLst>
          </a:prstGeom>
          <a:noFill/>
          <a:ln w="9525">
            <a:solidFill>
              <a:srgbClr val="96969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" name="AutoShape 23" descr="채우기4"/>
          <p:cNvSpPr>
            <a:spLocks noChangeArrowheads="1"/>
          </p:cNvSpPr>
          <p:nvPr/>
        </p:nvSpPr>
        <p:spPr bwMode="gray">
          <a:xfrm>
            <a:off x="2435049" y="4665618"/>
            <a:ext cx="664458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작성완료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52" name="AutoShape 1248"/>
          <p:cNvCxnSpPr>
            <a:cxnSpLocks noChangeShapeType="1"/>
            <a:stCxn id="46" idx="2"/>
            <a:endCxn id="51" idx="0"/>
          </p:cNvCxnSpPr>
          <p:nvPr/>
        </p:nvCxnSpPr>
        <p:spPr bwMode="auto">
          <a:xfrm rot="16200000" flipH="1">
            <a:off x="2357913" y="4256253"/>
            <a:ext cx="414492" cy="4042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solid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AutoShape 23" descr="채우기4"/>
          <p:cNvSpPr>
            <a:spLocks noChangeArrowheads="1"/>
          </p:cNvSpPr>
          <p:nvPr/>
        </p:nvSpPr>
        <p:spPr bwMode="gray">
          <a:xfrm>
            <a:off x="3426821" y="4665618"/>
            <a:ext cx="664458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재상신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54" name="직선 화살표 연결선 53"/>
          <p:cNvCxnSpPr>
            <a:stCxn id="51" idx="3"/>
            <a:endCxn id="53" idx="1"/>
          </p:cNvCxnSpPr>
          <p:nvPr/>
        </p:nvCxnSpPr>
        <p:spPr bwMode="auto">
          <a:xfrm>
            <a:off x="3099507" y="4821193"/>
            <a:ext cx="327314" cy="0"/>
          </a:xfrm>
          <a:prstGeom prst="straightConnector1">
            <a:avLst/>
          </a:prstGeom>
          <a:noFill/>
          <a:ln w="9525">
            <a:solidFill>
              <a:srgbClr val="969696"/>
            </a:solidFill>
            <a:prstDash val="solid"/>
            <a:round/>
            <a:headEnd type="none"/>
            <a:tailEnd type="triangle" w="med" len="med"/>
          </a:ln>
        </p:spPr>
      </p:cxnSp>
      <p:sp>
        <p:nvSpPr>
          <p:cNvPr id="55" name="AutoShape 23" descr="채우기4"/>
          <p:cNvSpPr>
            <a:spLocks noChangeArrowheads="1"/>
          </p:cNvSpPr>
          <p:nvPr/>
        </p:nvSpPr>
        <p:spPr bwMode="gray">
          <a:xfrm>
            <a:off x="5027345" y="2616001"/>
            <a:ext cx="1003379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결재요청 결과 확인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6" name="AutoShape 1244" descr="채우기4"/>
          <p:cNvSpPr>
            <a:spLocks noChangeArrowheads="1"/>
          </p:cNvSpPr>
          <p:nvPr/>
        </p:nvSpPr>
        <p:spPr bwMode="gray">
          <a:xfrm>
            <a:off x="5024964" y="3226554"/>
            <a:ext cx="1008140" cy="327025"/>
          </a:xfrm>
          <a:prstGeom prst="flowChartDecision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kumimoji="0"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승인여부</a:t>
            </a:r>
            <a:endParaRPr kumimoji="0" lang="ko-KR" altLang="en-US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7" name="AutoShape 23" descr="채우기4"/>
          <p:cNvSpPr>
            <a:spLocks noChangeArrowheads="1"/>
          </p:cNvSpPr>
          <p:nvPr/>
        </p:nvSpPr>
        <p:spPr bwMode="gray">
          <a:xfrm>
            <a:off x="4563229" y="3939976"/>
            <a:ext cx="576000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반려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8" name="AutoShape 23" descr="채우기4"/>
          <p:cNvSpPr>
            <a:spLocks noChangeArrowheads="1"/>
          </p:cNvSpPr>
          <p:nvPr/>
        </p:nvSpPr>
        <p:spPr bwMode="gray">
          <a:xfrm>
            <a:off x="5241034" y="3939976"/>
            <a:ext cx="576000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승인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59" name="AutoShape 1248"/>
          <p:cNvCxnSpPr>
            <a:cxnSpLocks noChangeShapeType="1"/>
            <a:endCxn id="58" idx="0"/>
          </p:cNvCxnSpPr>
          <p:nvPr/>
        </p:nvCxnSpPr>
        <p:spPr bwMode="auto">
          <a:xfrm>
            <a:off x="5529034" y="3553579"/>
            <a:ext cx="0" cy="386397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AutoShape 1248"/>
          <p:cNvCxnSpPr>
            <a:cxnSpLocks noChangeShapeType="1"/>
            <a:stCxn id="56" idx="1"/>
            <a:endCxn id="57" idx="0"/>
          </p:cNvCxnSpPr>
          <p:nvPr/>
        </p:nvCxnSpPr>
        <p:spPr bwMode="auto">
          <a:xfrm rot="10800000" flipV="1">
            <a:off x="4851230" y="3390066"/>
            <a:ext cx="173735" cy="549909"/>
          </a:xfrm>
          <a:prstGeom prst="bentConnector2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" name="AutoShape 23" descr="채우기4"/>
          <p:cNvSpPr>
            <a:spLocks noChangeArrowheads="1"/>
          </p:cNvSpPr>
          <p:nvPr/>
        </p:nvSpPr>
        <p:spPr bwMode="gray">
          <a:xfrm>
            <a:off x="5673054" y="4582274"/>
            <a:ext cx="864354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제외거래처리 완료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2" name="AutoShape 1248"/>
          <p:cNvCxnSpPr>
            <a:cxnSpLocks noChangeShapeType="1"/>
            <a:stCxn id="58" idx="3"/>
            <a:endCxn id="61" idx="0"/>
          </p:cNvCxnSpPr>
          <p:nvPr/>
        </p:nvCxnSpPr>
        <p:spPr bwMode="auto">
          <a:xfrm>
            <a:off x="5817034" y="4095551"/>
            <a:ext cx="288197" cy="486723"/>
          </a:xfrm>
          <a:prstGeom prst="bentConnector2">
            <a:avLst/>
          </a:prstGeom>
          <a:noFill/>
          <a:ln w="9525">
            <a:solidFill>
              <a:srgbClr val="969696"/>
            </a:solidFill>
            <a:prstDash val="solid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3" name="AutoShape 23" descr="채우기4"/>
          <p:cNvSpPr>
            <a:spLocks noChangeArrowheads="1"/>
          </p:cNvSpPr>
          <p:nvPr/>
        </p:nvSpPr>
        <p:spPr bwMode="gray">
          <a:xfrm>
            <a:off x="2147009" y="5098563"/>
            <a:ext cx="1003379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 </a:t>
            </a:r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관리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4" name="AutoShape 1248"/>
          <p:cNvCxnSpPr>
            <a:cxnSpLocks noChangeShapeType="1"/>
            <a:stCxn id="58" idx="2"/>
            <a:endCxn id="63" idx="3"/>
          </p:cNvCxnSpPr>
          <p:nvPr/>
        </p:nvCxnSpPr>
        <p:spPr bwMode="auto">
          <a:xfrm rot="5400000">
            <a:off x="3838205" y="3563309"/>
            <a:ext cx="1003012" cy="2378646"/>
          </a:xfrm>
          <a:prstGeom prst="bentConnector2">
            <a:avLst/>
          </a:prstGeom>
          <a:noFill/>
          <a:ln w="9525">
            <a:solidFill>
              <a:srgbClr val="969696"/>
            </a:solidFill>
            <a:prstDash val="solid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5" name="AutoShape 1248"/>
          <p:cNvCxnSpPr>
            <a:cxnSpLocks noChangeShapeType="1"/>
            <a:stCxn id="53" idx="3"/>
            <a:endCxn id="55" idx="1"/>
          </p:cNvCxnSpPr>
          <p:nvPr/>
        </p:nvCxnSpPr>
        <p:spPr bwMode="auto">
          <a:xfrm flipV="1">
            <a:off x="4091279" y="2771576"/>
            <a:ext cx="936066" cy="2049617"/>
          </a:xfrm>
          <a:prstGeom prst="bentConnector3">
            <a:avLst>
              <a:gd name="adj1" fmla="val 22623"/>
            </a:avLst>
          </a:prstGeom>
          <a:noFill/>
          <a:ln w="9525">
            <a:solidFill>
              <a:srgbClr val="969696"/>
            </a:solidFill>
            <a:prstDash val="solid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6" name="직선 화살표 연결선 65"/>
          <p:cNvCxnSpPr>
            <a:stCxn id="45" idx="3"/>
            <a:endCxn id="57" idx="1"/>
          </p:cNvCxnSpPr>
          <p:nvPr/>
        </p:nvCxnSpPr>
        <p:spPr bwMode="auto">
          <a:xfrm>
            <a:off x="3956730" y="4095551"/>
            <a:ext cx="606499" cy="0"/>
          </a:xfrm>
          <a:prstGeom prst="straightConnector1">
            <a:avLst/>
          </a:prstGeom>
          <a:noFill/>
          <a:ln w="9525">
            <a:solidFill>
              <a:srgbClr val="969696"/>
            </a:solidFill>
            <a:prstDash val="dash"/>
            <a:round/>
            <a:headEnd type="triangle"/>
            <a:tailEnd type="none" w="med" len="med"/>
          </a:ln>
        </p:spPr>
      </p:cxnSp>
      <p:cxnSp>
        <p:nvCxnSpPr>
          <p:cNvPr id="67" name="AutoShape 1248"/>
          <p:cNvCxnSpPr>
            <a:cxnSpLocks noChangeShapeType="1"/>
            <a:stCxn id="45" idx="2"/>
            <a:endCxn id="51" idx="0"/>
          </p:cNvCxnSpPr>
          <p:nvPr/>
        </p:nvCxnSpPr>
        <p:spPr bwMode="auto">
          <a:xfrm rot="5400000">
            <a:off x="2921321" y="4097083"/>
            <a:ext cx="414492" cy="72257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solid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8" name="AutoShape 23" descr="채우기4"/>
          <p:cNvSpPr>
            <a:spLocks noChangeArrowheads="1"/>
          </p:cNvSpPr>
          <p:nvPr/>
        </p:nvSpPr>
        <p:spPr bwMode="gray">
          <a:xfrm>
            <a:off x="2291029" y="5583408"/>
            <a:ext cx="720000" cy="31115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문서생성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9" name="AutoShape 1248"/>
          <p:cNvCxnSpPr>
            <a:cxnSpLocks noChangeShapeType="1"/>
            <a:stCxn id="63" idx="2"/>
            <a:endCxn id="68" idx="0"/>
          </p:cNvCxnSpPr>
          <p:nvPr/>
        </p:nvCxnSpPr>
        <p:spPr bwMode="auto">
          <a:xfrm>
            <a:off x="2648699" y="5409713"/>
            <a:ext cx="2330" cy="17369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0" name="직선 화살표 연결선 69"/>
          <p:cNvCxnSpPr>
            <a:stCxn id="68" idx="3"/>
            <a:endCxn id="91" idx="1"/>
          </p:cNvCxnSpPr>
          <p:nvPr/>
        </p:nvCxnSpPr>
        <p:spPr bwMode="auto">
          <a:xfrm flipV="1">
            <a:off x="3011029" y="5736296"/>
            <a:ext cx="177707" cy="2687"/>
          </a:xfrm>
          <a:prstGeom prst="straightConnector1">
            <a:avLst/>
          </a:prstGeom>
          <a:noFill/>
          <a:ln w="9525">
            <a:solidFill>
              <a:srgbClr val="969696"/>
            </a:solidFill>
            <a:prstDash val="solid"/>
            <a:round/>
            <a:headEnd type="none"/>
            <a:tailEnd type="triangle" w="med" len="med"/>
          </a:ln>
        </p:spPr>
      </p:cxnSp>
      <p:sp>
        <p:nvSpPr>
          <p:cNvPr id="71" name="직사각형 133"/>
          <p:cNvSpPr>
            <a:spLocks noChangeArrowheads="1"/>
          </p:cNvSpPr>
          <p:nvPr/>
        </p:nvSpPr>
        <p:spPr bwMode="auto">
          <a:xfrm>
            <a:off x="488950" y="4519413"/>
            <a:ext cx="81753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5725" indent="-85725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정보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결재이력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파일 전송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b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신이력 등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1301750" y="4084438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3" name="AutoShape 37"/>
          <p:cNvSpPr>
            <a:spLocks noChangeArrowheads="1"/>
          </p:cNvSpPr>
          <p:nvPr/>
        </p:nvSpPr>
        <p:spPr bwMode="auto">
          <a:xfrm>
            <a:off x="644525" y="4041576"/>
            <a:ext cx="773113" cy="436562"/>
          </a:xfrm>
          <a:prstGeom prst="flowChartMagneticDisk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endParaRPr kumimoji="0" lang="en-US" altLang="ko-KR" sz="1000" dirty="0">
              <a:solidFill>
                <a:srgbClr val="080808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4" name="Text Box 57"/>
          <p:cNvSpPr txBox="1">
            <a:spLocks noChangeArrowheads="1"/>
          </p:cNvSpPr>
          <p:nvPr/>
        </p:nvSpPr>
        <p:spPr bwMode="gray">
          <a:xfrm>
            <a:off x="825500" y="4208263"/>
            <a:ext cx="39528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75" name="AutoShape 1248"/>
          <p:cNvCxnSpPr>
            <a:cxnSpLocks noChangeShapeType="1"/>
            <a:stCxn id="73" idx="4"/>
            <a:endCxn id="51" idx="1"/>
          </p:cNvCxnSpPr>
          <p:nvPr/>
        </p:nvCxnSpPr>
        <p:spPr bwMode="auto">
          <a:xfrm>
            <a:off x="1417638" y="4259857"/>
            <a:ext cx="1017411" cy="561336"/>
          </a:xfrm>
          <a:prstGeom prst="bentConnector3">
            <a:avLst>
              <a:gd name="adj1" fmla="val 43703"/>
            </a:avLst>
          </a:prstGeom>
          <a:noFill/>
          <a:ln w="9525">
            <a:solidFill>
              <a:srgbClr val="969696"/>
            </a:solidFill>
            <a:prstDash val="dash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AutoShape 1248"/>
          <p:cNvCxnSpPr>
            <a:cxnSpLocks noChangeShapeType="1"/>
            <a:stCxn id="73" idx="4"/>
            <a:endCxn id="68" idx="1"/>
          </p:cNvCxnSpPr>
          <p:nvPr/>
        </p:nvCxnSpPr>
        <p:spPr bwMode="auto">
          <a:xfrm>
            <a:off x="1417638" y="4259857"/>
            <a:ext cx="873391" cy="147912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dash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직사각형 195"/>
          <p:cNvSpPr>
            <a:spLocks noChangeArrowheads="1"/>
          </p:cNvSpPr>
          <p:nvPr/>
        </p:nvSpPr>
        <p:spPr bwMode="auto">
          <a:xfrm>
            <a:off x="527050" y="5758622"/>
            <a:ext cx="116057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5725" indent="-85725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기관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대상자 </a:t>
            </a:r>
            <a:r>
              <a:rPr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보</a:t>
            </a:r>
            <a:endParaRPr lang="en-US" altLang="ko-KR" sz="8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계현황</a:t>
            </a:r>
            <a:r>
              <a:rPr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보 등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1257300" y="5368097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1257300" y="5483984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1298575" y="5334759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1" name="AutoShape 37"/>
          <p:cNvSpPr>
            <a:spLocks noChangeArrowheads="1"/>
          </p:cNvSpPr>
          <p:nvPr/>
        </p:nvSpPr>
        <p:spPr bwMode="auto">
          <a:xfrm>
            <a:off x="641350" y="5291897"/>
            <a:ext cx="773113" cy="436562"/>
          </a:xfrm>
          <a:prstGeom prst="flowChartMagneticDisk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endParaRPr kumimoji="0" lang="en-US" altLang="ko-KR" sz="1000" dirty="0">
              <a:solidFill>
                <a:srgbClr val="080808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2" name="Text Box 57"/>
          <p:cNvSpPr txBox="1">
            <a:spLocks noChangeArrowheads="1"/>
          </p:cNvSpPr>
          <p:nvPr/>
        </p:nvSpPr>
        <p:spPr bwMode="gray">
          <a:xfrm>
            <a:off x="822325" y="5458584"/>
            <a:ext cx="39528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공통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3" name="Text Box 1249"/>
          <p:cNvSpPr txBox="1">
            <a:spLocks noChangeArrowheads="1"/>
          </p:cNvSpPr>
          <p:nvPr/>
        </p:nvSpPr>
        <p:spPr bwMode="auto">
          <a:xfrm>
            <a:off x="2074999" y="3393433"/>
            <a:ext cx="3161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647700" fontAlgn="auto">
              <a:spcBef>
                <a:spcPts val="0"/>
              </a:spcBef>
              <a:defRPr/>
            </a:pP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No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4" name="Text Box 1249"/>
          <p:cNvSpPr txBox="1">
            <a:spLocks noChangeArrowheads="1"/>
          </p:cNvSpPr>
          <p:nvPr/>
        </p:nvSpPr>
        <p:spPr bwMode="auto">
          <a:xfrm>
            <a:off x="2416614" y="3531333"/>
            <a:ext cx="35298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647700" fontAlgn="auto">
              <a:spcBef>
                <a:spcPts val="0"/>
              </a:spcBef>
              <a:defRPr/>
            </a:pP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Yes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5" name="Text Box 1249"/>
          <p:cNvSpPr txBox="1">
            <a:spLocks noChangeArrowheads="1"/>
          </p:cNvSpPr>
          <p:nvPr/>
        </p:nvSpPr>
        <p:spPr bwMode="auto">
          <a:xfrm>
            <a:off x="4838584" y="3180106"/>
            <a:ext cx="3161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647700" fontAlgn="auto">
              <a:spcBef>
                <a:spcPts val="0"/>
              </a:spcBef>
              <a:defRPr/>
            </a:pP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No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6" name="Text Box 1249"/>
          <p:cNvSpPr txBox="1">
            <a:spLocks noChangeArrowheads="1"/>
          </p:cNvSpPr>
          <p:nvPr/>
        </p:nvSpPr>
        <p:spPr bwMode="auto">
          <a:xfrm>
            <a:off x="5534724" y="3544596"/>
            <a:ext cx="35298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647700" fontAlgn="auto">
              <a:spcBef>
                <a:spcPts val="0"/>
              </a:spcBef>
              <a:defRPr/>
            </a:pP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Yes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7" name="Text Box 1249"/>
          <p:cNvSpPr txBox="1">
            <a:spLocks noChangeArrowheads="1"/>
          </p:cNvSpPr>
          <p:nvPr/>
        </p:nvSpPr>
        <p:spPr bwMode="auto">
          <a:xfrm>
            <a:off x="6059032" y="4095551"/>
            <a:ext cx="5501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647700" fontAlgn="auto">
              <a:spcBef>
                <a:spcPts val="0"/>
              </a:spcBef>
              <a:defRPr/>
            </a:pPr>
            <a:r>
              <a:rPr kumimoji="0"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외거</a:t>
            </a:r>
            <a:r>
              <a:rPr kumimoji="0"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래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8" name="Text Box 1249"/>
          <p:cNvSpPr txBox="1">
            <a:spLocks noChangeArrowheads="1"/>
          </p:cNvSpPr>
          <p:nvPr/>
        </p:nvSpPr>
        <p:spPr bwMode="auto">
          <a:xfrm>
            <a:off x="5011278" y="4291269"/>
            <a:ext cx="5501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647700" fontAlgn="auto">
              <a:spcBef>
                <a:spcPts val="0"/>
              </a:spcBef>
              <a:defRPr/>
            </a:pPr>
            <a:r>
              <a:rPr kumimoji="0"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심거래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9" name="AutoShape 23" descr="채우기4"/>
          <p:cNvSpPr>
            <a:spLocks noChangeArrowheads="1"/>
          </p:cNvSpPr>
          <p:nvPr/>
        </p:nvSpPr>
        <p:spPr bwMode="auto">
          <a:xfrm>
            <a:off x="3450224" y="6045062"/>
            <a:ext cx="557212" cy="21431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 algn="ctr">
            <a:solidFill>
              <a:srgbClr val="4A7EBB"/>
            </a:solidFill>
            <a:round/>
            <a:headEnd/>
            <a:tailEnd/>
          </a:ln>
          <a:effectLst>
            <a:outerShdw dist="23000" dir="5400000" rotWithShape="0">
              <a:srgbClr val="B2B2B2"/>
            </a:outerShdw>
          </a:effectLst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종료</a:t>
            </a:r>
          </a:p>
        </p:txBody>
      </p:sp>
      <p:cxnSp>
        <p:nvCxnSpPr>
          <p:cNvPr id="90" name="AutoShape 1248"/>
          <p:cNvCxnSpPr>
            <a:cxnSpLocks noChangeShapeType="1"/>
            <a:stCxn id="55" idx="2"/>
            <a:endCxn id="56" idx="0"/>
          </p:cNvCxnSpPr>
          <p:nvPr/>
        </p:nvCxnSpPr>
        <p:spPr bwMode="auto">
          <a:xfrm flipH="1">
            <a:off x="5529034" y="2927151"/>
            <a:ext cx="1" cy="299403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1" name="AutoShape 1244" descr="채우기4"/>
          <p:cNvSpPr>
            <a:spLocks noChangeArrowheads="1"/>
          </p:cNvSpPr>
          <p:nvPr/>
        </p:nvSpPr>
        <p:spPr bwMode="gray">
          <a:xfrm>
            <a:off x="3188736" y="5553733"/>
            <a:ext cx="1080188" cy="365125"/>
          </a:xfrm>
          <a:prstGeom prst="flowChartDecision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kumimoji="0"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재 보고 또는 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kumimoji="0" lang="en-US" altLang="ko-KR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kumimoji="0" lang="ko-KR" altLang="en-US" sz="8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오류 </a:t>
            </a:r>
            <a:r>
              <a:rPr kumimoji="0"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여부</a:t>
            </a:r>
          </a:p>
        </p:txBody>
      </p:sp>
      <p:cxnSp>
        <p:nvCxnSpPr>
          <p:cNvPr id="92" name="AutoShape 1248"/>
          <p:cNvCxnSpPr>
            <a:cxnSpLocks noChangeShapeType="1"/>
            <a:stCxn id="91" idx="2"/>
            <a:endCxn id="89" idx="0"/>
          </p:cNvCxnSpPr>
          <p:nvPr/>
        </p:nvCxnSpPr>
        <p:spPr bwMode="auto">
          <a:xfrm>
            <a:off x="3728830" y="5918858"/>
            <a:ext cx="0" cy="126204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93" name="그림 92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16" y="2279154"/>
            <a:ext cx="318769" cy="318769"/>
          </a:xfrm>
          <a:prstGeom prst="rect">
            <a:avLst/>
          </a:prstGeom>
        </p:spPr>
      </p:pic>
      <p:pic>
        <p:nvPicPr>
          <p:cNvPr id="94" name="그림 93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9526" y="2551057"/>
            <a:ext cx="318769" cy="318769"/>
          </a:xfrm>
          <a:prstGeom prst="rect">
            <a:avLst/>
          </a:prstGeom>
        </p:spPr>
      </p:pic>
      <p:pic>
        <p:nvPicPr>
          <p:cNvPr id="95" name="그림 94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1125" y="3135042"/>
            <a:ext cx="320400" cy="314112"/>
          </a:xfrm>
          <a:prstGeom prst="rect">
            <a:avLst/>
          </a:prstGeom>
        </p:spPr>
      </p:pic>
      <p:pic>
        <p:nvPicPr>
          <p:cNvPr id="96" name="그림 95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3594" y="4577709"/>
            <a:ext cx="320400" cy="320400"/>
          </a:xfrm>
          <a:prstGeom prst="rect">
            <a:avLst/>
          </a:prstGeom>
        </p:spPr>
      </p:pic>
      <p:pic>
        <p:nvPicPr>
          <p:cNvPr id="97" name="그림 96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22107" y="3869050"/>
            <a:ext cx="320400" cy="320400"/>
          </a:xfrm>
          <a:prstGeom prst="rect">
            <a:avLst/>
          </a:prstGeom>
        </p:spPr>
      </p:pic>
      <p:pic>
        <p:nvPicPr>
          <p:cNvPr id="98" name="그림 97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2722" y="3859049"/>
            <a:ext cx="320400" cy="320400"/>
          </a:xfrm>
          <a:prstGeom prst="rect">
            <a:avLst/>
          </a:prstGeom>
        </p:spPr>
      </p:pic>
      <p:pic>
        <p:nvPicPr>
          <p:cNvPr id="99" name="그림 98">
            <a:extLst>
              <a:ext uri="{FF2B5EF4-FFF2-40B4-BE49-F238E27FC236}">
                <a16:creationId xmlns:a16="http://schemas.microsoft.com/office/drawing/2014/main" id="{66FCB384-0A34-44F2-8E7D-A993E2E991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80395" y="5033409"/>
            <a:ext cx="320400" cy="320400"/>
          </a:xfrm>
          <a:prstGeom prst="rect">
            <a:avLst/>
          </a:prstGeom>
        </p:spPr>
      </p:pic>
      <p:pic>
        <p:nvPicPr>
          <p:cNvPr id="100" name="Picture 88" descr="예시"/>
          <p:cNvPicPr>
            <a:picLocks noChangeAspect="1" noChangeArrowheads="1"/>
          </p:cNvPicPr>
          <p:nvPr/>
        </p:nvPicPr>
        <p:blipFill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571823">
            <a:off x="6422427" y="21136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" name="Text Box 1249"/>
          <p:cNvSpPr txBox="1">
            <a:spLocks noChangeArrowheads="1"/>
          </p:cNvSpPr>
          <p:nvPr/>
        </p:nvSpPr>
        <p:spPr bwMode="auto">
          <a:xfrm>
            <a:off x="4470011" y="5927998"/>
            <a:ext cx="223194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647700" fontAlgn="auto">
              <a:spcBef>
                <a:spcPts val="0"/>
              </a:spcBef>
              <a:defRPr/>
            </a:pP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※ 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산은행에 최적화된 컨설팅 프로세스 개선 결과를 반영하여 구축합니다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.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243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2 </a:t>
            </a:r>
            <a:r>
              <a:rPr lang="ko-KR" altLang="en-US" dirty="0" smtClean="0"/>
              <a:t>업무 경감을 위한 자동화 적용 방안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불필요한 점검대상 발생 건을 자동으로 제외하여 프로세스 자동화 및 간소화를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업무 경감을 위한 자동화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적용 방안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536" y="2427405"/>
            <a:ext cx="2944170" cy="102354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897074" y="2132856"/>
            <a:ext cx="2703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간 룰에 의한 반복 점검대상 발생</a:t>
            </a:r>
            <a:endParaRPr lang="ko-KR" altLang="en-US" sz="1400" i="1" dirty="0">
              <a:solidFill>
                <a:srgbClr val="FF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6" name="AutoShape 185"/>
          <p:cNvSpPr>
            <a:spLocks noChangeArrowheads="1"/>
          </p:cNvSpPr>
          <p:nvPr/>
        </p:nvSpPr>
        <p:spPr bwMode="gray">
          <a:xfrm flipH="1">
            <a:off x="4016896" y="2574395"/>
            <a:ext cx="787842" cy="494565"/>
          </a:xfrm>
          <a:prstGeom prst="leftArrow">
            <a:avLst>
              <a:gd name="adj1" fmla="val 69315"/>
              <a:gd name="adj2" fmla="val 56242"/>
            </a:avLst>
          </a:prstGeom>
          <a:solidFill>
            <a:srgbClr val="B7E4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endParaRPr lang="ko-KR" altLang="en-US" sz="800" b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953000" y="2550966"/>
            <a:ext cx="318852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. 30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일 동안 건당 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천만원 이상 현금에 의한 자기앞수표 </a:t>
            </a:r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발행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급 거래가 </a:t>
            </a:r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건 이상이고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합계액이 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억원 </a:t>
            </a:r>
            <a:r>
              <a:rPr lang="ko-KR" altLang="en-US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상</a:t>
            </a:r>
            <a:endParaRPr lang="en-US" altLang="ko-KR" sz="1000" i="1" dirty="0" smtClean="0">
              <a:solidFill>
                <a:srgbClr val="FF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r>
              <a:rPr lang="en-US" altLang="ko-KR" sz="8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   </a:t>
            </a:r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. </a:t>
            </a:r>
            <a:r>
              <a:rPr lang="ko-KR" altLang="en-US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외화 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좌 개설 후 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일 이내 미화 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만불 이상 외화 입출금</a:t>
            </a:r>
          </a:p>
        </p:txBody>
      </p:sp>
      <p:pic>
        <p:nvPicPr>
          <p:cNvPr id="102" name="그림 1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5749" y="3591354"/>
            <a:ext cx="4635463" cy="298166"/>
          </a:xfrm>
          <a:prstGeom prst="rect">
            <a:avLst/>
          </a:prstGeom>
        </p:spPr>
      </p:pic>
      <p:grpSp>
        <p:nvGrpSpPr>
          <p:cNvPr id="103" name="그룹 102"/>
          <p:cNvGrpSpPr/>
          <p:nvPr/>
        </p:nvGrpSpPr>
        <p:grpSpPr>
          <a:xfrm>
            <a:off x="2209895" y="3886414"/>
            <a:ext cx="872431" cy="860138"/>
            <a:chOff x="1350173" y="4062064"/>
            <a:chExt cx="1134000" cy="860138"/>
          </a:xfrm>
        </p:grpSpPr>
        <p:sp>
          <p:nvSpPr>
            <p:cNvPr id="47" name="AutoShape 151"/>
            <p:cNvSpPr>
              <a:spLocks noChangeArrowheads="1"/>
            </p:cNvSpPr>
            <p:nvPr/>
          </p:nvSpPr>
          <p:spPr bwMode="gray">
            <a:xfrm>
              <a:off x="1350173" y="4070992"/>
              <a:ext cx="1134000" cy="155593"/>
            </a:xfrm>
            <a:prstGeom prst="roundRect">
              <a:avLst>
                <a:gd name="adj" fmla="val 19528"/>
              </a:avLst>
            </a:prstGeom>
            <a:solidFill>
              <a:srgbClr val="298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fontAlgn="base" latinLnBrk="1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000" dirty="0">
                <a:solidFill>
                  <a:srgbClr val="FFFFFF"/>
                </a:solidFill>
                <a:latin typeface="맑은 고딕" panose="020B05030200000200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48" name="Rectangle 152"/>
            <p:cNvSpPr>
              <a:spLocks noChangeArrowheads="1"/>
            </p:cNvSpPr>
            <p:nvPr/>
          </p:nvSpPr>
          <p:spPr bwMode="gray">
            <a:xfrm>
              <a:off x="1727217" y="4062064"/>
              <a:ext cx="37991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en-US" altLang="ko-KR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-day</a:t>
              </a:r>
              <a:endParaRPr lang="ko-KR" altLang="ko-KR" sz="1000" b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9" name="Rectangle 153"/>
            <p:cNvSpPr>
              <a:spLocks noChangeArrowheads="1"/>
            </p:cNvSpPr>
            <p:nvPr/>
          </p:nvSpPr>
          <p:spPr bwMode="gray">
            <a:xfrm>
              <a:off x="1350174" y="4210581"/>
              <a:ext cx="1118550" cy="71162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91EA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ko-KR" altLang="en-US" sz="1000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15165" y="4261636"/>
              <a:ext cx="988568" cy="60951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101" name="그룹 100"/>
          <p:cNvGrpSpPr/>
          <p:nvPr/>
        </p:nvGrpSpPr>
        <p:grpSpPr>
          <a:xfrm>
            <a:off x="1368596" y="3815467"/>
            <a:ext cx="621252" cy="950901"/>
            <a:chOff x="517537" y="3908456"/>
            <a:chExt cx="807513" cy="1091464"/>
          </a:xfrm>
        </p:grpSpPr>
        <p:pic>
          <p:nvPicPr>
            <p:cNvPr id="19" name="Picture 179" descr="일반인_컴퓨터하는모습_앞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537" y="3908456"/>
              <a:ext cx="717550" cy="847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0" name="직사각형 27"/>
            <p:cNvSpPr>
              <a:spLocks noChangeArrowheads="1"/>
            </p:cNvSpPr>
            <p:nvPr/>
          </p:nvSpPr>
          <p:spPr bwMode="auto">
            <a:xfrm>
              <a:off x="595787" y="4823284"/>
              <a:ext cx="729263" cy="1766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85725" indent="-85725" defTabSz="1068388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defTabSz="1068388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defTabSz="1068388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defTabSz="1068388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defTabSz="1068388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algn="ctr" defTabSz="1068388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algn="ctr" defTabSz="1068388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algn="ctr" defTabSz="1068388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algn="ctr" defTabSz="1068388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latinLnBrk="0" hangingPunct="1">
                <a:buClr>
                  <a:srgbClr val="777777"/>
                </a:buClr>
                <a:buSzPct val="80000"/>
              </a:pPr>
              <a:r>
                <a:rPr lang="ko-KR" altLang="en-US" sz="100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담당자</a:t>
              </a:r>
              <a:endPara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pSp>
        <p:nvGrpSpPr>
          <p:cNvPr id="104" name="그룹 103"/>
          <p:cNvGrpSpPr/>
          <p:nvPr/>
        </p:nvGrpSpPr>
        <p:grpSpPr>
          <a:xfrm>
            <a:off x="3128627" y="3886414"/>
            <a:ext cx="872431" cy="860138"/>
            <a:chOff x="1350173" y="4062064"/>
            <a:chExt cx="1134000" cy="860138"/>
          </a:xfrm>
        </p:grpSpPr>
        <p:sp>
          <p:nvSpPr>
            <p:cNvPr id="105" name="AutoShape 151"/>
            <p:cNvSpPr>
              <a:spLocks noChangeArrowheads="1"/>
            </p:cNvSpPr>
            <p:nvPr/>
          </p:nvSpPr>
          <p:spPr bwMode="gray">
            <a:xfrm>
              <a:off x="1350173" y="4070992"/>
              <a:ext cx="1134000" cy="155593"/>
            </a:xfrm>
            <a:prstGeom prst="roundRect">
              <a:avLst>
                <a:gd name="adj" fmla="val 19528"/>
              </a:avLst>
            </a:prstGeom>
            <a:solidFill>
              <a:srgbClr val="298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fontAlgn="base" latinLnBrk="1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000" dirty="0">
                <a:solidFill>
                  <a:srgbClr val="FFFFFF"/>
                </a:solidFill>
                <a:latin typeface="맑은 고딕" panose="020B05030200000200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106" name="Rectangle 152"/>
            <p:cNvSpPr>
              <a:spLocks noChangeArrowheads="1"/>
            </p:cNvSpPr>
            <p:nvPr/>
          </p:nvSpPr>
          <p:spPr bwMode="gray">
            <a:xfrm>
              <a:off x="1760880" y="4062064"/>
              <a:ext cx="31258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r>
                <a:rPr lang="en-US" altLang="ko-KR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 + 1</a:t>
              </a:r>
              <a:endParaRPr lang="ko-KR" altLang="ko-KR" sz="1000" b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07" name="Rectangle 153"/>
            <p:cNvSpPr>
              <a:spLocks noChangeArrowheads="1"/>
            </p:cNvSpPr>
            <p:nvPr/>
          </p:nvSpPr>
          <p:spPr bwMode="gray">
            <a:xfrm>
              <a:off x="1350174" y="4210581"/>
              <a:ext cx="1118550" cy="71162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91EA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ko-KR" altLang="en-US" sz="1000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08" name="그림 10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15165" y="4261636"/>
              <a:ext cx="988568" cy="60951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109" name="그룹 108"/>
          <p:cNvGrpSpPr/>
          <p:nvPr/>
        </p:nvGrpSpPr>
        <p:grpSpPr>
          <a:xfrm>
            <a:off x="4049781" y="3886414"/>
            <a:ext cx="872431" cy="860138"/>
            <a:chOff x="1350173" y="4062064"/>
            <a:chExt cx="1134000" cy="860138"/>
          </a:xfrm>
        </p:grpSpPr>
        <p:sp>
          <p:nvSpPr>
            <p:cNvPr id="110" name="AutoShape 151"/>
            <p:cNvSpPr>
              <a:spLocks noChangeArrowheads="1"/>
            </p:cNvSpPr>
            <p:nvPr/>
          </p:nvSpPr>
          <p:spPr bwMode="gray">
            <a:xfrm>
              <a:off x="1350173" y="4070992"/>
              <a:ext cx="1134000" cy="155593"/>
            </a:xfrm>
            <a:prstGeom prst="roundRect">
              <a:avLst>
                <a:gd name="adj" fmla="val 19528"/>
              </a:avLst>
            </a:prstGeom>
            <a:solidFill>
              <a:srgbClr val="298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fontAlgn="base" latinLnBrk="1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000" dirty="0">
                <a:solidFill>
                  <a:srgbClr val="FFFFFF"/>
                </a:solidFill>
                <a:latin typeface="맑은 고딕" panose="020B05030200000200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111" name="Rectangle 152"/>
            <p:cNvSpPr>
              <a:spLocks noChangeArrowheads="1"/>
            </p:cNvSpPr>
            <p:nvPr/>
          </p:nvSpPr>
          <p:spPr bwMode="gray">
            <a:xfrm>
              <a:off x="1760879" y="4062064"/>
              <a:ext cx="31258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/>
              <a:r>
                <a:rPr lang="en-US" altLang="ko-KR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 + 2</a:t>
              </a:r>
              <a:endParaRPr lang="ko-KR" altLang="ko-KR" sz="1000" b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12" name="Rectangle 153"/>
            <p:cNvSpPr>
              <a:spLocks noChangeArrowheads="1"/>
            </p:cNvSpPr>
            <p:nvPr/>
          </p:nvSpPr>
          <p:spPr bwMode="gray">
            <a:xfrm>
              <a:off x="1350174" y="4210581"/>
              <a:ext cx="1118550" cy="71162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91EA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ko-KR" altLang="en-US" sz="1000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13" name="그림 1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15165" y="4261636"/>
              <a:ext cx="988568" cy="60951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114" name="그룹 113"/>
          <p:cNvGrpSpPr/>
          <p:nvPr/>
        </p:nvGrpSpPr>
        <p:grpSpPr>
          <a:xfrm>
            <a:off x="4970935" y="3886414"/>
            <a:ext cx="872431" cy="860138"/>
            <a:chOff x="1350173" y="4062064"/>
            <a:chExt cx="1134000" cy="860138"/>
          </a:xfrm>
        </p:grpSpPr>
        <p:sp>
          <p:nvSpPr>
            <p:cNvPr id="115" name="AutoShape 151"/>
            <p:cNvSpPr>
              <a:spLocks noChangeArrowheads="1"/>
            </p:cNvSpPr>
            <p:nvPr/>
          </p:nvSpPr>
          <p:spPr bwMode="gray">
            <a:xfrm>
              <a:off x="1350173" y="4070992"/>
              <a:ext cx="1134000" cy="155593"/>
            </a:xfrm>
            <a:prstGeom prst="roundRect">
              <a:avLst>
                <a:gd name="adj" fmla="val 19528"/>
              </a:avLst>
            </a:prstGeom>
            <a:solidFill>
              <a:srgbClr val="298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fontAlgn="base" latinLnBrk="1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000" dirty="0">
                <a:solidFill>
                  <a:srgbClr val="FFFFFF"/>
                </a:solidFill>
                <a:latin typeface="맑은 고딕" panose="020B05030200000200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116" name="Rectangle 152"/>
            <p:cNvSpPr>
              <a:spLocks noChangeArrowheads="1"/>
            </p:cNvSpPr>
            <p:nvPr/>
          </p:nvSpPr>
          <p:spPr bwMode="gray">
            <a:xfrm>
              <a:off x="1760879" y="4062064"/>
              <a:ext cx="31258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/>
              <a:r>
                <a:rPr lang="en-US" altLang="ko-KR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 + 3</a:t>
              </a:r>
              <a:endParaRPr lang="ko-KR" altLang="ko-KR" sz="1000" b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17" name="Rectangle 153"/>
            <p:cNvSpPr>
              <a:spLocks noChangeArrowheads="1"/>
            </p:cNvSpPr>
            <p:nvPr/>
          </p:nvSpPr>
          <p:spPr bwMode="gray">
            <a:xfrm>
              <a:off x="1350174" y="4210581"/>
              <a:ext cx="1118550" cy="71162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91EA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ko-KR" altLang="en-US" sz="1000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18" name="그림 1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15165" y="4261636"/>
              <a:ext cx="988568" cy="60951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119" name="그룹 118"/>
          <p:cNvGrpSpPr/>
          <p:nvPr/>
        </p:nvGrpSpPr>
        <p:grpSpPr>
          <a:xfrm>
            <a:off x="5891669" y="3886414"/>
            <a:ext cx="872431" cy="860138"/>
            <a:chOff x="1350173" y="4062064"/>
            <a:chExt cx="1134000" cy="860138"/>
          </a:xfrm>
        </p:grpSpPr>
        <p:sp>
          <p:nvSpPr>
            <p:cNvPr id="120" name="AutoShape 151"/>
            <p:cNvSpPr>
              <a:spLocks noChangeArrowheads="1"/>
            </p:cNvSpPr>
            <p:nvPr/>
          </p:nvSpPr>
          <p:spPr bwMode="gray">
            <a:xfrm>
              <a:off x="1350173" y="4070992"/>
              <a:ext cx="1134000" cy="155593"/>
            </a:xfrm>
            <a:prstGeom prst="roundRect">
              <a:avLst>
                <a:gd name="adj" fmla="val 19528"/>
              </a:avLst>
            </a:prstGeom>
            <a:solidFill>
              <a:srgbClr val="298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 defTabSz="882650" fontAlgn="base" latinLnBrk="1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000" dirty="0">
                <a:solidFill>
                  <a:srgbClr val="FFFFFF"/>
                </a:solidFill>
                <a:latin typeface="맑은 고딕" panose="020B05030200000200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endParaRPr>
            </a:p>
          </p:txBody>
        </p:sp>
        <p:sp>
          <p:nvSpPr>
            <p:cNvPr id="121" name="Rectangle 152"/>
            <p:cNvSpPr>
              <a:spLocks noChangeArrowheads="1"/>
            </p:cNvSpPr>
            <p:nvPr/>
          </p:nvSpPr>
          <p:spPr bwMode="gray">
            <a:xfrm>
              <a:off x="1739239" y="4062064"/>
              <a:ext cx="35586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/>
              <a:r>
                <a:rPr lang="en-US" altLang="ko-KR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D + …</a:t>
              </a:r>
              <a:endParaRPr lang="ko-KR" altLang="ko-KR" sz="1000" b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22" name="Rectangle 153"/>
            <p:cNvSpPr>
              <a:spLocks noChangeArrowheads="1"/>
            </p:cNvSpPr>
            <p:nvPr/>
          </p:nvSpPr>
          <p:spPr bwMode="gray">
            <a:xfrm>
              <a:off x="1350174" y="4210581"/>
              <a:ext cx="1118550" cy="71162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91EA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/>
              <a:endParaRPr lang="ko-KR" altLang="en-US" sz="1000" b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23" name="그림 1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15165" y="4261636"/>
              <a:ext cx="988568" cy="60951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128" name="Picture 170" descr="디비박스-하늘"/>
          <p:cNvPicPr>
            <a:picLocks noChangeAspect="1" noChangeArrowheads="1"/>
          </p:cNvPicPr>
          <p:nvPr/>
        </p:nvPicPr>
        <p:blipFill>
          <a:blip r:embed="rId6">
            <a:lum bright="-6000" contrast="12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75571" y="5033484"/>
            <a:ext cx="2025641" cy="1203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Picture 178" descr="톱니-1"/>
          <p:cNvPicPr>
            <a:picLocks noChangeAspect="1" noChangeArrowheads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1069" y="4941168"/>
            <a:ext cx="406702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7" name="Freeform 433"/>
          <p:cNvSpPr>
            <a:spLocks/>
          </p:cNvSpPr>
          <p:nvPr/>
        </p:nvSpPr>
        <p:spPr bwMode="gray">
          <a:xfrm>
            <a:off x="2726127" y="4156222"/>
            <a:ext cx="6763377" cy="1592271"/>
          </a:xfrm>
          <a:custGeom>
            <a:avLst/>
            <a:gdLst>
              <a:gd name="T0" fmla="*/ 0 w 4897"/>
              <a:gd name="T1" fmla="*/ 0 h 1603"/>
              <a:gd name="T2" fmla="*/ 89 w 4897"/>
              <a:gd name="T3" fmla="*/ 0 h 1603"/>
              <a:gd name="T4" fmla="*/ 90 w 4897"/>
              <a:gd name="T5" fmla="*/ 1 h 1603"/>
              <a:gd name="T6" fmla="*/ 92 w 4897"/>
              <a:gd name="T7" fmla="*/ 1 h 1603"/>
              <a:gd name="T8" fmla="*/ 94 w 4897"/>
              <a:gd name="T9" fmla="*/ 1 h 1603"/>
              <a:gd name="T10" fmla="*/ 95 w 4897"/>
              <a:gd name="T11" fmla="*/ 1 h 1603"/>
              <a:gd name="T12" fmla="*/ 96 w 4897"/>
              <a:gd name="T13" fmla="*/ 2 h 1603"/>
              <a:gd name="T14" fmla="*/ 97 w 4897"/>
              <a:gd name="T15" fmla="*/ 3 h 1603"/>
              <a:gd name="T16" fmla="*/ 99 w 4897"/>
              <a:gd name="T17" fmla="*/ 4 h 1603"/>
              <a:gd name="T18" fmla="*/ 100 w 4897"/>
              <a:gd name="T19" fmla="*/ 5 h 1603"/>
              <a:gd name="T20" fmla="*/ 101 w 4897"/>
              <a:gd name="T21" fmla="*/ 7 h 1603"/>
              <a:gd name="T22" fmla="*/ 101 w 4897"/>
              <a:gd name="T23" fmla="*/ 8 h 1603"/>
              <a:gd name="T24" fmla="*/ 102 w 4897"/>
              <a:gd name="T25" fmla="*/ 9 h 1603"/>
              <a:gd name="T26" fmla="*/ 103 w 4897"/>
              <a:gd name="T27" fmla="*/ 10 h 1603"/>
              <a:gd name="T28" fmla="*/ 103 w 4897"/>
              <a:gd name="T29" fmla="*/ 12 h 1603"/>
              <a:gd name="T30" fmla="*/ 103 w 4897"/>
              <a:gd name="T31" fmla="*/ 14 h 1603"/>
              <a:gd name="T32" fmla="*/ 103 w 4897"/>
              <a:gd name="T33" fmla="*/ 16 h 1603"/>
              <a:gd name="T34" fmla="*/ 103 w 4897"/>
              <a:gd name="T35" fmla="*/ 17 h 1603"/>
              <a:gd name="T36" fmla="*/ 103 w 4897"/>
              <a:gd name="T37" fmla="*/ 19 h 1603"/>
              <a:gd name="T38" fmla="*/ 103 w 4897"/>
              <a:gd name="T39" fmla="*/ 21 h 1603"/>
              <a:gd name="T40" fmla="*/ 102 w 4897"/>
              <a:gd name="T41" fmla="*/ 22 h 1603"/>
              <a:gd name="T42" fmla="*/ 101 w 4897"/>
              <a:gd name="T43" fmla="*/ 24 h 1603"/>
              <a:gd name="T44" fmla="*/ 101 w 4897"/>
              <a:gd name="T45" fmla="*/ 25 h 1603"/>
              <a:gd name="T46" fmla="*/ 100 w 4897"/>
              <a:gd name="T47" fmla="*/ 26 h 1603"/>
              <a:gd name="T48" fmla="*/ 99 w 4897"/>
              <a:gd name="T49" fmla="*/ 28 h 1603"/>
              <a:gd name="T50" fmla="*/ 97 w 4897"/>
              <a:gd name="T51" fmla="*/ 29 h 1603"/>
              <a:gd name="T52" fmla="*/ 96 w 4897"/>
              <a:gd name="T53" fmla="*/ 29 h 1603"/>
              <a:gd name="T54" fmla="*/ 95 w 4897"/>
              <a:gd name="T55" fmla="*/ 30 h 1603"/>
              <a:gd name="T56" fmla="*/ 94 w 4897"/>
              <a:gd name="T57" fmla="*/ 31 h 1603"/>
              <a:gd name="T58" fmla="*/ 92 w 4897"/>
              <a:gd name="T59" fmla="*/ 31 h 1603"/>
              <a:gd name="T60" fmla="*/ 90 w 4897"/>
              <a:gd name="T61" fmla="*/ 32 h 1603"/>
              <a:gd name="T62" fmla="*/ 89 w 4897"/>
              <a:gd name="T63" fmla="*/ 32 h 1603"/>
              <a:gd name="T64" fmla="*/ 55 w 4897"/>
              <a:gd name="T65" fmla="*/ 32 h 1603"/>
              <a:gd name="T66" fmla="*/ 55 w 4897"/>
              <a:gd name="T67" fmla="*/ 33 h 1603"/>
              <a:gd name="T68" fmla="*/ 47 w 4897"/>
              <a:gd name="T69" fmla="*/ 26 h 1603"/>
              <a:gd name="T70" fmla="*/ 55 w 4897"/>
              <a:gd name="T71" fmla="*/ 19 h 1603"/>
              <a:gd name="T72" fmla="*/ 55 w 4897"/>
              <a:gd name="T73" fmla="*/ 21 h 1603"/>
              <a:gd name="T74" fmla="*/ 89 w 4897"/>
              <a:gd name="T75" fmla="*/ 21 h 1603"/>
              <a:gd name="T76" fmla="*/ 90 w 4897"/>
              <a:gd name="T77" fmla="*/ 21 h 1603"/>
              <a:gd name="T78" fmla="*/ 90 w 4897"/>
              <a:gd name="T79" fmla="*/ 21 h 1603"/>
              <a:gd name="T80" fmla="*/ 91 w 4897"/>
              <a:gd name="T81" fmla="*/ 21 h 1603"/>
              <a:gd name="T82" fmla="*/ 92 w 4897"/>
              <a:gd name="T83" fmla="*/ 20 h 1603"/>
              <a:gd name="T84" fmla="*/ 93 w 4897"/>
              <a:gd name="T85" fmla="*/ 19 h 1603"/>
              <a:gd name="T86" fmla="*/ 93 w 4897"/>
              <a:gd name="T87" fmla="*/ 18 h 1603"/>
              <a:gd name="T88" fmla="*/ 93 w 4897"/>
              <a:gd name="T89" fmla="*/ 18 h 1603"/>
              <a:gd name="T90" fmla="*/ 93 w 4897"/>
              <a:gd name="T91" fmla="*/ 17 h 1603"/>
              <a:gd name="T92" fmla="*/ 93 w 4897"/>
              <a:gd name="T93" fmla="*/ 15 h 1603"/>
              <a:gd name="T94" fmla="*/ 93 w 4897"/>
              <a:gd name="T95" fmla="*/ 14 h 1603"/>
              <a:gd name="T96" fmla="*/ 93 w 4897"/>
              <a:gd name="T97" fmla="*/ 13 h 1603"/>
              <a:gd name="T98" fmla="*/ 93 w 4897"/>
              <a:gd name="T99" fmla="*/ 12 h 1603"/>
              <a:gd name="T100" fmla="*/ 92 w 4897"/>
              <a:gd name="T101" fmla="*/ 12 h 1603"/>
              <a:gd name="T102" fmla="*/ 91 w 4897"/>
              <a:gd name="T103" fmla="*/ 12 h 1603"/>
              <a:gd name="T104" fmla="*/ 90 w 4897"/>
              <a:gd name="T105" fmla="*/ 10 h 1603"/>
              <a:gd name="T106" fmla="*/ 90 w 4897"/>
              <a:gd name="T107" fmla="*/ 10 h 1603"/>
              <a:gd name="T108" fmla="*/ 89 w 4897"/>
              <a:gd name="T109" fmla="*/ 10 h 1603"/>
              <a:gd name="T110" fmla="*/ 0 w 4897"/>
              <a:gd name="T111" fmla="*/ 10 h 1603"/>
              <a:gd name="T112" fmla="*/ 0 w 4897"/>
              <a:gd name="T113" fmla="*/ 0 h 160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897"/>
              <a:gd name="T172" fmla="*/ 0 h 1603"/>
              <a:gd name="T173" fmla="*/ 4897 w 4897"/>
              <a:gd name="T174" fmla="*/ 1603 h 160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897" h="1603">
                <a:moveTo>
                  <a:pt x="0" y="0"/>
                </a:moveTo>
                <a:lnTo>
                  <a:pt x="4211" y="0"/>
                </a:lnTo>
                <a:lnTo>
                  <a:pt x="4287" y="5"/>
                </a:lnTo>
                <a:lnTo>
                  <a:pt x="4358" y="18"/>
                </a:lnTo>
                <a:lnTo>
                  <a:pt x="4428" y="39"/>
                </a:lnTo>
                <a:lnTo>
                  <a:pt x="4495" y="67"/>
                </a:lnTo>
                <a:lnTo>
                  <a:pt x="4558" y="103"/>
                </a:lnTo>
                <a:lnTo>
                  <a:pt x="4617" y="145"/>
                </a:lnTo>
                <a:lnTo>
                  <a:pt x="4671" y="193"/>
                </a:lnTo>
                <a:lnTo>
                  <a:pt x="4721" y="248"/>
                </a:lnTo>
                <a:lnTo>
                  <a:pt x="4765" y="307"/>
                </a:lnTo>
                <a:lnTo>
                  <a:pt x="4803" y="371"/>
                </a:lnTo>
                <a:lnTo>
                  <a:pt x="4836" y="440"/>
                </a:lnTo>
                <a:lnTo>
                  <a:pt x="4863" y="513"/>
                </a:lnTo>
                <a:lnTo>
                  <a:pt x="4882" y="589"/>
                </a:lnTo>
                <a:lnTo>
                  <a:pt x="4894" y="668"/>
                </a:lnTo>
                <a:lnTo>
                  <a:pt x="4897" y="748"/>
                </a:lnTo>
                <a:lnTo>
                  <a:pt x="4894" y="831"/>
                </a:lnTo>
                <a:lnTo>
                  <a:pt x="4882" y="912"/>
                </a:lnTo>
                <a:lnTo>
                  <a:pt x="4863" y="988"/>
                </a:lnTo>
                <a:lnTo>
                  <a:pt x="4838" y="1062"/>
                </a:lnTo>
                <a:lnTo>
                  <a:pt x="4806" y="1131"/>
                </a:lnTo>
                <a:lnTo>
                  <a:pt x="4768" y="1196"/>
                </a:lnTo>
                <a:lnTo>
                  <a:pt x="4724" y="1257"/>
                </a:lnTo>
                <a:lnTo>
                  <a:pt x="4675" y="1311"/>
                </a:lnTo>
                <a:lnTo>
                  <a:pt x="4623" y="1360"/>
                </a:lnTo>
                <a:lnTo>
                  <a:pt x="4565" y="1403"/>
                </a:lnTo>
                <a:lnTo>
                  <a:pt x="4503" y="1439"/>
                </a:lnTo>
                <a:lnTo>
                  <a:pt x="4439" y="1469"/>
                </a:lnTo>
                <a:lnTo>
                  <a:pt x="4370" y="1490"/>
                </a:lnTo>
                <a:lnTo>
                  <a:pt x="4299" y="1503"/>
                </a:lnTo>
                <a:lnTo>
                  <a:pt x="4226" y="1508"/>
                </a:lnTo>
                <a:lnTo>
                  <a:pt x="2586" y="1508"/>
                </a:lnTo>
                <a:lnTo>
                  <a:pt x="2586" y="1603"/>
                </a:lnTo>
                <a:lnTo>
                  <a:pt x="2220" y="1260"/>
                </a:lnTo>
                <a:lnTo>
                  <a:pt x="2586" y="919"/>
                </a:lnTo>
                <a:lnTo>
                  <a:pt x="2586" y="1013"/>
                </a:lnTo>
                <a:lnTo>
                  <a:pt x="4226" y="1013"/>
                </a:lnTo>
                <a:lnTo>
                  <a:pt x="4266" y="1009"/>
                </a:lnTo>
                <a:lnTo>
                  <a:pt x="4303" y="995"/>
                </a:lnTo>
                <a:lnTo>
                  <a:pt x="4337" y="974"/>
                </a:lnTo>
                <a:lnTo>
                  <a:pt x="4367" y="946"/>
                </a:lnTo>
                <a:lnTo>
                  <a:pt x="4391" y="913"/>
                </a:lnTo>
                <a:lnTo>
                  <a:pt x="4409" y="875"/>
                </a:lnTo>
                <a:lnTo>
                  <a:pt x="4421" y="833"/>
                </a:lnTo>
                <a:lnTo>
                  <a:pt x="4425" y="787"/>
                </a:lnTo>
                <a:lnTo>
                  <a:pt x="4425" y="721"/>
                </a:lnTo>
                <a:lnTo>
                  <a:pt x="4421" y="675"/>
                </a:lnTo>
                <a:lnTo>
                  <a:pt x="4409" y="633"/>
                </a:lnTo>
                <a:lnTo>
                  <a:pt x="4391" y="595"/>
                </a:lnTo>
                <a:lnTo>
                  <a:pt x="4367" y="560"/>
                </a:lnTo>
                <a:lnTo>
                  <a:pt x="4337" y="534"/>
                </a:lnTo>
                <a:lnTo>
                  <a:pt x="4303" y="513"/>
                </a:lnTo>
                <a:lnTo>
                  <a:pt x="4266" y="499"/>
                </a:lnTo>
                <a:lnTo>
                  <a:pt x="4226" y="495"/>
                </a:lnTo>
                <a:lnTo>
                  <a:pt x="0" y="495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E9E9E9">
                  <a:alpha val="70000"/>
                </a:srgbClr>
              </a:gs>
              <a:gs pos="100000">
                <a:srgbClr val="717171">
                  <a:alpha val="7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endParaRPr lang="ko-KR" altLang="en-US" dirty="0"/>
          </a:p>
        </p:txBody>
      </p:sp>
      <p:sp>
        <p:nvSpPr>
          <p:cNvPr id="130" name="TextBox 129"/>
          <p:cNvSpPr txBox="1"/>
          <p:nvPr/>
        </p:nvSpPr>
        <p:spPr>
          <a:xfrm>
            <a:off x="5398702" y="5301208"/>
            <a:ext cx="2684478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i="1" dirty="0" smtClean="0">
                <a:solidFill>
                  <a:srgbClr val="0000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 배분 제외 로직</a:t>
            </a:r>
            <a:r>
              <a:rPr lang="en-US" altLang="ko-KR" sz="1400" i="1" dirty="0" smtClean="0">
                <a:solidFill>
                  <a:srgbClr val="0000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400" i="1" dirty="0" smtClean="0">
                <a:solidFill>
                  <a:srgbClr val="0000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800" i="1" dirty="0" smtClean="0">
                <a:solidFill>
                  <a:srgbClr val="0000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   </a:t>
            </a:r>
          </a:p>
          <a:p>
            <a:r>
              <a:rPr lang="ko-KR" altLang="en-US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en-US" altLang="ko-KR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- 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 일자 거래가 있는 경우만 점검 건으로 발생</a:t>
            </a:r>
          </a:p>
          <a:p>
            <a:r>
              <a:rPr lang="ko-KR" altLang="en-US" sz="10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- 30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일 이내 </a:t>
            </a:r>
            <a:r>
              <a:rPr lang="en-US" altLang="ko-KR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</a:t>
            </a:r>
            <a:r>
              <a:rPr lang="ko-KR" altLang="en-US" sz="100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건 이상 보고가 된 경우 점검 제외</a:t>
            </a:r>
          </a:p>
          <a:p>
            <a:endParaRPr lang="ko-KR" altLang="en-US" sz="1100" i="1" dirty="0">
              <a:solidFill>
                <a:srgbClr val="FF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pic>
        <p:nvPicPr>
          <p:cNvPr id="155" name="그림 15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28" t="48195" r="54633" b="12200"/>
          <a:stretch/>
        </p:blipFill>
        <p:spPr>
          <a:xfrm flipH="1">
            <a:off x="1972569" y="5179737"/>
            <a:ext cx="719951" cy="895922"/>
          </a:xfrm>
          <a:prstGeom prst="rect">
            <a:avLst/>
          </a:prstGeom>
        </p:spPr>
      </p:pic>
      <p:grpSp>
        <p:nvGrpSpPr>
          <p:cNvPr id="124" name="그룹 123"/>
          <p:cNvGrpSpPr/>
          <p:nvPr/>
        </p:nvGrpSpPr>
        <p:grpSpPr>
          <a:xfrm>
            <a:off x="2570949" y="3063732"/>
            <a:ext cx="1834299" cy="844545"/>
            <a:chOff x="1977231" y="2934695"/>
            <a:chExt cx="1764196" cy="1231385"/>
          </a:xfrm>
        </p:grpSpPr>
        <p:pic>
          <p:nvPicPr>
            <p:cNvPr id="125" name="Picture 142" descr="번개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77231" y="2934695"/>
              <a:ext cx="1764196" cy="1231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6" name="Rectangle 188"/>
            <p:cNvSpPr>
              <a:spLocks noChangeArrowheads="1"/>
            </p:cNvSpPr>
            <p:nvPr/>
          </p:nvSpPr>
          <p:spPr bwMode="gray">
            <a:xfrm>
              <a:off x="2409912" y="3348449"/>
              <a:ext cx="898834" cy="403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8826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88265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ko-KR" altLang="en-US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동일 대상</a:t>
              </a:r>
              <a:r>
                <a:rPr lang="en-US" altLang="ko-KR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Rule </a:t>
              </a:r>
            </a:p>
            <a:p>
              <a:pPr algn="ctr" eaLnBrk="1" hangingPunct="1">
                <a:lnSpc>
                  <a:spcPct val="90000"/>
                </a:lnSpc>
              </a:pPr>
              <a:r>
                <a:rPr lang="ko-KR" altLang="en-US" sz="1000" b="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점검대상 중복발생</a:t>
              </a:r>
              <a:endParaRPr lang="ko-KR" altLang="en-US" sz="1000" b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pic>
        <p:nvPicPr>
          <p:cNvPr id="156" name="Picture 55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513757" y="2279524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8" name="직사각형 157"/>
          <p:cNvSpPr/>
          <p:nvPr/>
        </p:nvSpPr>
        <p:spPr bwMode="auto">
          <a:xfrm>
            <a:off x="5067783" y="2274286"/>
            <a:ext cx="1303183" cy="252000"/>
          </a:xfrm>
          <a:prstGeom prst="rect">
            <a:avLst/>
          </a:prstGeom>
          <a:solidFill>
            <a:srgbClr val="2984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82650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 Unicode MS" panose="020B0604020202020204" pitchFamily="50" charset="-127"/>
              </a:rPr>
              <a:t>룰 시나리오 </a:t>
            </a:r>
            <a:r>
              <a:rPr kumimoji="1" lang="en-US" altLang="ko-KR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 Unicode MS" panose="020B0604020202020204" pitchFamily="50" charset="-127"/>
              </a:rPr>
              <a:t>- </a:t>
            </a:r>
            <a:r>
              <a:rPr kumimoji="1" lang="ko-KR" altLang="en-US" sz="10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 Unicode MS" panose="020B0604020202020204" pitchFamily="50" charset="-127"/>
              </a:rPr>
              <a:t>예시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157" name="Picture 55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91806" y="2275895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55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7341939" y="5432901"/>
            <a:ext cx="387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그룹 14"/>
          <p:cNvGrpSpPr/>
          <p:nvPr/>
        </p:nvGrpSpPr>
        <p:grpSpPr>
          <a:xfrm>
            <a:off x="2720752" y="5244631"/>
            <a:ext cx="2669082" cy="862823"/>
            <a:chOff x="2720752" y="5244631"/>
            <a:chExt cx="2669082" cy="862823"/>
          </a:xfrm>
        </p:grpSpPr>
        <p:grpSp>
          <p:nvGrpSpPr>
            <p:cNvPr id="81" name="그룹 80"/>
            <p:cNvGrpSpPr/>
            <p:nvPr/>
          </p:nvGrpSpPr>
          <p:grpSpPr>
            <a:xfrm>
              <a:off x="4517403" y="5247316"/>
              <a:ext cx="872431" cy="860138"/>
              <a:chOff x="1350173" y="4062064"/>
              <a:chExt cx="1134000" cy="860138"/>
            </a:xfrm>
          </p:grpSpPr>
          <p:sp>
            <p:nvSpPr>
              <p:cNvPr id="82" name="AutoShape 151"/>
              <p:cNvSpPr>
                <a:spLocks noChangeArrowheads="1"/>
              </p:cNvSpPr>
              <p:nvPr/>
            </p:nvSpPr>
            <p:spPr bwMode="gray">
              <a:xfrm>
                <a:off x="1350173" y="4070992"/>
                <a:ext cx="1134000" cy="155593"/>
              </a:xfrm>
              <a:prstGeom prst="roundRect">
                <a:avLst>
                  <a:gd name="adj" fmla="val 19528"/>
                </a:avLst>
              </a:prstGeom>
              <a:solidFill>
                <a:srgbClr val="2984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pPr algn="ctr" defTabSz="882650" fontAlgn="base" latinLnBrk="1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1000" dirty="0">
                  <a:solidFill>
                    <a:srgbClr val="FFFFFF"/>
                  </a:solidFill>
                  <a:latin typeface="맑은 고딕" panose="020B0503020000020004" pitchFamily="50" charset="-127"/>
                  <a:ea typeface="Arial Unicode MS" panose="020B0604020202020204" pitchFamily="50" charset="-127"/>
                  <a:cs typeface="Arial Unicode MS" panose="020B0604020202020204" pitchFamily="50" charset="-127"/>
                </a:endParaRPr>
              </a:p>
            </p:txBody>
          </p:sp>
          <p:sp>
            <p:nvSpPr>
              <p:cNvPr id="83" name="Rectangle 152"/>
              <p:cNvSpPr>
                <a:spLocks noChangeArrowheads="1"/>
              </p:cNvSpPr>
              <p:nvPr/>
            </p:nvSpPr>
            <p:spPr bwMode="gray">
              <a:xfrm>
                <a:off x="1727217" y="4062064"/>
                <a:ext cx="379912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r>
                  <a:rPr lang="en-US" altLang="ko-KR" sz="1000" b="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D-day</a:t>
                </a:r>
                <a:endParaRPr lang="ko-KR" altLang="ko-KR" sz="1000" b="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84" name="Rectangle 153"/>
              <p:cNvSpPr>
                <a:spLocks noChangeArrowheads="1"/>
              </p:cNvSpPr>
              <p:nvPr/>
            </p:nvSpPr>
            <p:spPr bwMode="gray">
              <a:xfrm>
                <a:off x="1350174" y="4210581"/>
                <a:ext cx="1118550" cy="71162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91EA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1000" b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85" name="그림 8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15165" y="4261636"/>
                <a:ext cx="988568" cy="609510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</p:pic>
        </p:grpSp>
        <p:grpSp>
          <p:nvGrpSpPr>
            <p:cNvPr id="86" name="그룹 85"/>
            <p:cNvGrpSpPr/>
            <p:nvPr/>
          </p:nvGrpSpPr>
          <p:grpSpPr>
            <a:xfrm>
              <a:off x="3618162" y="5244631"/>
              <a:ext cx="872431" cy="860138"/>
              <a:chOff x="1350173" y="4062064"/>
              <a:chExt cx="1134000" cy="860138"/>
            </a:xfrm>
          </p:grpSpPr>
          <p:sp>
            <p:nvSpPr>
              <p:cNvPr id="87" name="AutoShape 151"/>
              <p:cNvSpPr>
                <a:spLocks noChangeArrowheads="1"/>
              </p:cNvSpPr>
              <p:nvPr/>
            </p:nvSpPr>
            <p:spPr bwMode="gray">
              <a:xfrm>
                <a:off x="1350173" y="4070992"/>
                <a:ext cx="1134000" cy="155593"/>
              </a:xfrm>
              <a:prstGeom prst="roundRect">
                <a:avLst>
                  <a:gd name="adj" fmla="val 19528"/>
                </a:avLst>
              </a:prstGeom>
              <a:solidFill>
                <a:srgbClr val="2984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pPr algn="ctr" defTabSz="882650" fontAlgn="base" latinLnBrk="1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1000" dirty="0">
                  <a:solidFill>
                    <a:srgbClr val="FFFFFF"/>
                  </a:solidFill>
                  <a:latin typeface="맑은 고딕" panose="020B0503020000020004" pitchFamily="50" charset="-127"/>
                  <a:ea typeface="Arial Unicode MS" panose="020B0604020202020204" pitchFamily="50" charset="-127"/>
                  <a:cs typeface="Arial Unicode MS" panose="020B0604020202020204" pitchFamily="50" charset="-127"/>
                </a:endParaRPr>
              </a:p>
            </p:txBody>
          </p:sp>
          <p:sp>
            <p:nvSpPr>
              <p:cNvPr id="88" name="Rectangle 152"/>
              <p:cNvSpPr>
                <a:spLocks noChangeArrowheads="1"/>
              </p:cNvSpPr>
              <p:nvPr/>
            </p:nvSpPr>
            <p:spPr bwMode="gray">
              <a:xfrm>
                <a:off x="1760880" y="4062064"/>
                <a:ext cx="312586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r>
                  <a:rPr lang="en-US" altLang="ko-KR" sz="1000" b="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D + 1</a:t>
                </a:r>
                <a:endParaRPr lang="ko-KR" altLang="ko-KR" sz="1000" b="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89" name="Rectangle 153"/>
              <p:cNvSpPr>
                <a:spLocks noChangeArrowheads="1"/>
              </p:cNvSpPr>
              <p:nvPr/>
            </p:nvSpPr>
            <p:spPr bwMode="gray">
              <a:xfrm>
                <a:off x="1350174" y="4210581"/>
                <a:ext cx="1118550" cy="71162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91EA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1000" b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90" name="그림 8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15165" y="4261636"/>
                <a:ext cx="988568" cy="609510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</p:pic>
        </p:grpSp>
        <p:grpSp>
          <p:nvGrpSpPr>
            <p:cNvPr id="91" name="그룹 90"/>
            <p:cNvGrpSpPr/>
            <p:nvPr/>
          </p:nvGrpSpPr>
          <p:grpSpPr>
            <a:xfrm>
              <a:off x="2720752" y="5244631"/>
              <a:ext cx="872431" cy="860138"/>
              <a:chOff x="1350173" y="4062064"/>
              <a:chExt cx="1134000" cy="860138"/>
            </a:xfrm>
          </p:grpSpPr>
          <p:sp>
            <p:nvSpPr>
              <p:cNvPr id="92" name="AutoShape 151"/>
              <p:cNvSpPr>
                <a:spLocks noChangeArrowheads="1"/>
              </p:cNvSpPr>
              <p:nvPr/>
            </p:nvSpPr>
            <p:spPr bwMode="gray">
              <a:xfrm>
                <a:off x="1350173" y="4070992"/>
                <a:ext cx="1134000" cy="155593"/>
              </a:xfrm>
              <a:prstGeom prst="roundRect">
                <a:avLst>
                  <a:gd name="adj" fmla="val 19528"/>
                </a:avLst>
              </a:prstGeom>
              <a:solidFill>
                <a:srgbClr val="2984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pPr algn="ctr" defTabSz="882650" fontAlgn="base" latinLnBrk="1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1000" dirty="0">
                  <a:solidFill>
                    <a:srgbClr val="FFFFFF"/>
                  </a:solidFill>
                  <a:latin typeface="맑은 고딕" panose="020B0503020000020004" pitchFamily="50" charset="-127"/>
                  <a:ea typeface="Arial Unicode MS" panose="020B0604020202020204" pitchFamily="50" charset="-127"/>
                  <a:cs typeface="Arial Unicode MS" panose="020B0604020202020204" pitchFamily="50" charset="-127"/>
                </a:endParaRPr>
              </a:p>
            </p:txBody>
          </p:sp>
          <p:sp>
            <p:nvSpPr>
              <p:cNvPr id="93" name="Rectangle 152"/>
              <p:cNvSpPr>
                <a:spLocks noChangeArrowheads="1"/>
              </p:cNvSpPr>
              <p:nvPr/>
            </p:nvSpPr>
            <p:spPr bwMode="gray">
              <a:xfrm>
                <a:off x="1714021" y="4062064"/>
                <a:ext cx="406304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r>
                  <a:rPr lang="en-US" altLang="ko-KR" sz="1000" b="0" dirty="0" smtClean="0"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D + 2</a:t>
                </a:r>
                <a:endParaRPr lang="ko-KR" altLang="ko-KR" sz="1000" b="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  <p:sp>
            <p:nvSpPr>
              <p:cNvPr id="94" name="Rectangle 153"/>
              <p:cNvSpPr>
                <a:spLocks noChangeArrowheads="1"/>
              </p:cNvSpPr>
              <p:nvPr/>
            </p:nvSpPr>
            <p:spPr bwMode="gray">
              <a:xfrm>
                <a:off x="1350174" y="4210581"/>
                <a:ext cx="1118550" cy="71162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0091EA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/>
                <a:endParaRPr lang="ko-KR" altLang="en-US" sz="1000" b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95" name="그림 9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15165" y="4261636"/>
                <a:ext cx="988568" cy="609510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</p:pic>
        </p:grpSp>
      </p:grpSp>
      <p:sp>
        <p:nvSpPr>
          <p:cNvPr id="97" name="TextBox 96"/>
          <p:cNvSpPr txBox="1"/>
          <p:nvPr/>
        </p:nvSpPr>
        <p:spPr>
          <a:xfrm>
            <a:off x="2936776" y="4944003"/>
            <a:ext cx="2091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점검대상</a:t>
            </a:r>
            <a:r>
              <a:rPr lang="en-US" altLang="ko-KR" sz="14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400" i="1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중복 미 발생</a:t>
            </a:r>
            <a:endParaRPr lang="ko-KR" altLang="en-US" sz="1400" i="1" dirty="0">
              <a:solidFill>
                <a:srgbClr val="FF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2726127" y="5444203"/>
            <a:ext cx="1752581" cy="660566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17" name="그룹 16"/>
          <p:cNvGrpSpPr/>
          <p:nvPr/>
        </p:nvGrpSpPr>
        <p:grpSpPr>
          <a:xfrm>
            <a:off x="743030" y="5160066"/>
            <a:ext cx="1234138" cy="1077246"/>
            <a:chOff x="421546" y="5027524"/>
            <a:chExt cx="1234138" cy="1077246"/>
          </a:xfrm>
        </p:grpSpPr>
        <p:pic>
          <p:nvPicPr>
            <p:cNvPr id="131" name="그림 130">
              <a:extLst>
                <a:ext uri="{FF2B5EF4-FFF2-40B4-BE49-F238E27FC236}">
                  <a16:creationId xmlns:a16="http://schemas.microsoft.com/office/drawing/2014/main" id="{4955BDA0-F648-4514-970B-2E5D9C3E19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533671" y="5917969"/>
              <a:ext cx="1122013" cy="186801"/>
            </a:xfrm>
            <a:prstGeom prst="rect">
              <a:avLst/>
            </a:prstGeom>
            <a:effectLst/>
          </p:spPr>
        </p:pic>
        <p:grpSp>
          <p:nvGrpSpPr>
            <p:cNvPr id="132" name="그룹 131">
              <a:extLst>
                <a:ext uri="{FF2B5EF4-FFF2-40B4-BE49-F238E27FC236}">
                  <a16:creationId xmlns:a16="http://schemas.microsoft.com/office/drawing/2014/main" id="{D16D64F0-C97E-4716-AFEF-027396712F7B}"/>
                </a:ext>
              </a:extLst>
            </p:cNvPr>
            <p:cNvGrpSpPr/>
            <p:nvPr/>
          </p:nvGrpSpPr>
          <p:grpSpPr>
            <a:xfrm rot="5400000">
              <a:off x="473453" y="4975617"/>
              <a:ext cx="997130" cy="1100943"/>
              <a:chOff x="5382006" y="782729"/>
              <a:chExt cx="1103730" cy="1279086"/>
            </a:xfrm>
          </p:grpSpPr>
          <p:sp>
            <p:nvSpPr>
              <p:cNvPr id="133" name="육각형 132">
                <a:extLst>
                  <a:ext uri="{FF2B5EF4-FFF2-40B4-BE49-F238E27FC236}">
                    <a16:creationId xmlns:a16="http://schemas.microsoft.com/office/drawing/2014/main" id="{E3665E8E-F4A2-43D5-8629-DB30368829D4}"/>
                  </a:ext>
                </a:extLst>
              </p:cNvPr>
              <p:cNvSpPr/>
              <p:nvPr/>
            </p:nvSpPr>
            <p:spPr>
              <a:xfrm rot="16200000">
                <a:off x="5294328" y="870407"/>
                <a:ext cx="1279085" cy="1103730"/>
              </a:xfrm>
              <a:prstGeom prst="hexagon">
                <a:avLst/>
              </a:prstGeom>
              <a:solidFill>
                <a:srgbClr val="D73164"/>
              </a:solidFill>
              <a:ln w="38100" cap="rnd" cmpd="sng">
                <a:solidFill>
                  <a:srgbClr val="C62174">
                    <a:alpha val="50000"/>
                  </a:srgbClr>
                </a:solidFill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square" lIns="0" tIns="0" rIns="0" bIns="0" anchor="ctr" anchorCtr="0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700" b="0" i="0" u="none" strike="noStrike" kern="1200" cap="none" spc="0" normalizeH="0" baseline="0" noProof="0" dirty="0">
                  <a:ln w="0"/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  <a:cs typeface="+mn-cs"/>
                </a:endParaRPr>
              </a:p>
            </p:txBody>
          </p:sp>
          <p:grpSp>
            <p:nvGrpSpPr>
              <p:cNvPr id="134" name="그룹 133">
                <a:extLst>
                  <a:ext uri="{FF2B5EF4-FFF2-40B4-BE49-F238E27FC236}">
                    <a16:creationId xmlns:a16="http://schemas.microsoft.com/office/drawing/2014/main" id="{F931C898-9E59-4AA9-9C48-43D8CB0ED105}"/>
                  </a:ext>
                </a:extLst>
              </p:cNvPr>
              <p:cNvGrpSpPr/>
              <p:nvPr/>
            </p:nvGrpSpPr>
            <p:grpSpPr>
              <a:xfrm>
                <a:off x="5384970" y="1061690"/>
                <a:ext cx="1096112" cy="1000125"/>
                <a:chOff x="5380315" y="1061690"/>
                <a:chExt cx="1105421" cy="1000125"/>
              </a:xfrm>
            </p:grpSpPr>
            <p:sp>
              <p:nvSpPr>
                <p:cNvPr id="135" name="자유형 188">
                  <a:extLst>
                    <a:ext uri="{FF2B5EF4-FFF2-40B4-BE49-F238E27FC236}">
                      <a16:creationId xmlns:a16="http://schemas.microsoft.com/office/drawing/2014/main" id="{6A99B169-A32D-4EA5-B2EA-86EED14E9691}"/>
                    </a:ext>
                  </a:extLst>
                </p:cNvPr>
                <p:cNvSpPr/>
                <p:nvPr/>
              </p:nvSpPr>
              <p:spPr>
                <a:xfrm flipH="1">
                  <a:off x="5381909" y="1061690"/>
                  <a:ext cx="1103827" cy="1000125"/>
                </a:xfrm>
                <a:custGeom>
                  <a:avLst/>
                  <a:gdLst>
                    <a:gd name="connsiteX0" fmla="*/ 0 w 1107281"/>
                    <a:gd name="connsiteY0" fmla="*/ 0 h 1000125"/>
                    <a:gd name="connsiteX1" fmla="*/ 0 w 1107281"/>
                    <a:gd name="connsiteY1" fmla="*/ 721519 h 1000125"/>
                    <a:gd name="connsiteX2" fmla="*/ 554831 w 1107281"/>
                    <a:gd name="connsiteY2" fmla="*/ 1000125 h 1000125"/>
                    <a:gd name="connsiteX3" fmla="*/ 1107281 w 1107281"/>
                    <a:gd name="connsiteY3" fmla="*/ 719138 h 1000125"/>
                    <a:gd name="connsiteX4" fmla="*/ 0 w 1107281"/>
                    <a:gd name="connsiteY4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7281" h="1000125">
                      <a:moveTo>
                        <a:pt x="0" y="0"/>
                      </a:moveTo>
                      <a:lnTo>
                        <a:pt x="0" y="721519"/>
                      </a:lnTo>
                      <a:lnTo>
                        <a:pt x="554831" y="1000125"/>
                      </a:lnTo>
                      <a:lnTo>
                        <a:pt x="1107281" y="7191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5000"/>
                  </a:schemeClr>
                </a:solidFill>
                <a:ln>
                  <a:noFill/>
                </a:ln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0" tIns="0" rIns="0" bIns="0" anchor="ctr" anchorCtr="0">
                  <a:noAutofit/>
                  <a:scene3d>
                    <a:camera prst="orthographicFront"/>
                    <a:lightRig rig="threePt" dir="t"/>
                  </a:scene3d>
                  <a:sp3d>
                    <a:bevelT w="0" h="1270"/>
                  </a:sp3d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1200" cap="none" spc="0" normalizeH="0" baseline="0" noProof="0" dirty="0">
                    <a:ln>
                      <a:noFill/>
                    </a:ln>
                    <a:gradFill flip="none" rotWithShape="1">
                      <a:gsLst>
                        <a:gs pos="0">
                          <a:prstClr val="white">
                            <a:lumMod val="0"/>
                            <a:lumOff val="100000"/>
                          </a:prstClr>
                        </a:gs>
                        <a:gs pos="100000">
                          <a:prstClr val="white">
                            <a:lumMod val="0"/>
                            <a:lumOff val="100000"/>
                          </a:prstClr>
                        </a:gs>
                      </a:gsLst>
                      <a:lin ang="6000000" scaled="0"/>
                      <a:tileRect/>
                    </a:gradFill>
                    <a:effectLst/>
                    <a:uLnTx/>
                    <a:uFillTx/>
                    <a:latin typeface="나눔스퀘어 Bold" panose="020B0600000101010101" pitchFamily="50" charset="-127"/>
                    <a:ea typeface="나눔스퀘어 Bold" panose="020B0600000101010101" pitchFamily="50" charset="-127"/>
                    <a:cs typeface="+mn-cs"/>
                  </a:endParaRPr>
                </a:p>
              </p:txBody>
            </p:sp>
            <p:sp>
              <p:nvSpPr>
                <p:cNvPr id="136" name="자유형 189">
                  <a:extLst>
                    <a:ext uri="{FF2B5EF4-FFF2-40B4-BE49-F238E27FC236}">
                      <a16:creationId xmlns:a16="http://schemas.microsoft.com/office/drawing/2014/main" id="{6DCF6D10-6F05-495F-99AC-2EBBF01A746A}"/>
                    </a:ext>
                  </a:extLst>
                </p:cNvPr>
                <p:cNvSpPr/>
                <p:nvPr/>
              </p:nvSpPr>
              <p:spPr>
                <a:xfrm>
                  <a:off x="5380315" y="1061690"/>
                  <a:ext cx="1105200" cy="1000125"/>
                </a:xfrm>
                <a:custGeom>
                  <a:avLst/>
                  <a:gdLst>
                    <a:gd name="connsiteX0" fmla="*/ 0 w 1107281"/>
                    <a:gd name="connsiteY0" fmla="*/ 0 h 1000125"/>
                    <a:gd name="connsiteX1" fmla="*/ 0 w 1107281"/>
                    <a:gd name="connsiteY1" fmla="*/ 721519 h 1000125"/>
                    <a:gd name="connsiteX2" fmla="*/ 554831 w 1107281"/>
                    <a:gd name="connsiteY2" fmla="*/ 1000125 h 1000125"/>
                    <a:gd name="connsiteX3" fmla="*/ 1107281 w 1107281"/>
                    <a:gd name="connsiteY3" fmla="*/ 719138 h 1000125"/>
                    <a:gd name="connsiteX4" fmla="*/ 0 w 1107281"/>
                    <a:gd name="connsiteY4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7281" h="1000125">
                      <a:moveTo>
                        <a:pt x="0" y="0"/>
                      </a:moveTo>
                      <a:lnTo>
                        <a:pt x="0" y="721519"/>
                      </a:lnTo>
                      <a:lnTo>
                        <a:pt x="554831" y="1000125"/>
                      </a:lnTo>
                      <a:lnTo>
                        <a:pt x="1107281" y="7191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10000"/>
                  </a:schemeClr>
                </a:solidFill>
                <a:ln>
                  <a:noFill/>
                </a:ln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0" tIns="0" rIns="0" bIns="0" anchor="ctr" anchorCtr="0">
                  <a:noAutofit/>
                  <a:scene3d>
                    <a:camera prst="orthographicFront"/>
                    <a:lightRig rig="threePt" dir="t"/>
                  </a:scene3d>
                  <a:sp3d>
                    <a:bevelT w="0" h="1270"/>
                  </a:sp3d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400" b="0" i="0" u="none" strike="noStrike" kern="1200" cap="none" spc="0" normalizeH="0" baseline="0" noProof="0" dirty="0">
                    <a:ln>
                      <a:noFill/>
                    </a:ln>
                    <a:gradFill flip="none" rotWithShape="1">
                      <a:gsLst>
                        <a:gs pos="0">
                          <a:prstClr val="white">
                            <a:lumMod val="0"/>
                            <a:lumOff val="100000"/>
                          </a:prstClr>
                        </a:gs>
                        <a:gs pos="100000">
                          <a:prstClr val="white">
                            <a:lumMod val="0"/>
                            <a:lumOff val="100000"/>
                          </a:prstClr>
                        </a:gs>
                      </a:gsLst>
                      <a:lin ang="6000000" scaled="0"/>
                      <a:tileRect/>
                    </a:gradFill>
                    <a:effectLst/>
                    <a:uLnTx/>
                    <a:uFillTx/>
                    <a:latin typeface="나눔스퀘어 Bold" panose="020B0600000101010101" pitchFamily="50" charset="-127"/>
                    <a:ea typeface="나눔스퀘어 Bold" panose="020B0600000101010101" pitchFamily="50" charset="-127"/>
                    <a:cs typeface="+mn-cs"/>
                  </a:endParaRPr>
                </a:p>
              </p:txBody>
            </p:sp>
          </p:grpSp>
        </p:grp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66CDDA4A-1E30-488B-9102-CD88D271CABA}"/>
                </a:ext>
              </a:extLst>
            </p:cNvPr>
            <p:cNvSpPr txBox="1"/>
            <p:nvPr/>
          </p:nvSpPr>
          <p:spPr>
            <a:xfrm>
              <a:off x="440530" y="5336190"/>
              <a:ext cx="1062976" cy="43088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defPPr>
                <a:defRPr lang="ko-KR"/>
              </a:defPPr>
              <a:lvl1pPr algn="ctr" latinLnBrk="0">
                <a:lnSpc>
                  <a:spcPct val="90000"/>
                </a:lnSpc>
                <a:spcBef>
                  <a:spcPct val="0"/>
                </a:spcBef>
                <a:buNone/>
                <a:defRPr sz="2400">
                  <a:gradFill>
                    <a:gsLst>
                      <a:gs pos="0">
                        <a:schemeClr val="bg1">
                          <a:alpha val="70000"/>
                        </a:schemeClr>
                      </a:gs>
                      <a:gs pos="100000">
                        <a:schemeClr val="bg1">
                          <a:alpha val="70000"/>
                        </a:schemeClr>
                      </a:gs>
                    </a:gsLst>
                    <a:lin ang="5400000" scaled="1"/>
                  </a:gradFill>
                  <a:latin typeface="KoPub돋움체 Medium" panose="02020603020101020101" pitchFamily="18" charset="-127"/>
                  <a:ea typeface="KoPub돋움체 Medium" panose="02020603020101020101" pitchFamily="18" charset="-127"/>
                  <a:cs typeface="+mj-cs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1200" cap="none" spc="-150" normalizeH="0" baseline="0" noProof="0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점검 및 보고 </a:t>
              </a:r>
              <a:endParaRPr kumimoji="0" lang="en-US" altLang="ko-KR" sz="1400" b="0" i="0" u="none" strike="noStrike" kern="1200" cap="none" spc="-15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0" i="0" u="none" strike="noStrike" kern="1200" cap="none" spc="-150" normalizeH="0" baseline="0" noProof="0" dirty="0" smtClean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업무 </a:t>
              </a:r>
              <a:r>
                <a:rPr kumimoji="0" lang="ko-KR" altLang="en-US" sz="1400" b="0" i="0" u="none" strike="noStrike" kern="1200" cap="none" spc="-150" normalizeH="0" baseline="0" noProof="0" dirty="0">
                  <a:ln w="1270">
                    <a:solidFill>
                      <a:srgbClr val="4472C4"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경감</a:t>
              </a:r>
              <a:endParaRPr kumimoji="0" lang="en-US" altLang="ko-KR" sz="1400" b="0" i="0" u="none" strike="noStrike" kern="1200" cap="none" spc="-15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4338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3 </a:t>
            </a:r>
            <a:r>
              <a:rPr lang="ko-KR" altLang="en-US" dirty="0"/>
              <a:t>위험평가결과</a:t>
            </a:r>
            <a:r>
              <a:rPr lang="en-US" altLang="ko-KR" dirty="0"/>
              <a:t>(RA) </a:t>
            </a:r>
            <a:r>
              <a:rPr lang="ko-KR" altLang="en-US" dirty="0"/>
              <a:t>거래모니터링 적용 방안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객 위험평가 점수를 이미지화하여 의심거래보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STR)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등에 활용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평가결과 거래모니터링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적용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3" name="그룹 2"/>
          <p:cNvGrpSpPr/>
          <p:nvPr/>
        </p:nvGrpSpPr>
        <p:grpSpPr>
          <a:xfrm>
            <a:off x="398591" y="2240866"/>
            <a:ext cx="5616624" cy="1713778"/>
            <a:chOff x="398591" y="2240866"/>
            <a:chExt cx="5616624" cy="1713778"/>
          </a:xfrm>
        </p:grpSpPr>
        <p:sp>
          <p:nvSpPr>
            <p:cNvPr id="72" name="Text Box 10"/>
            <p:cNvSpPr txBox="1">
              <a:spLocks noChangeArrowheads="1"/>
            </p:cNvSpPr>
            <p:nvPr/>
          </p:nvSpPr>
          <p:spPr bwMode="auto">
            <a:xfrm>
              <a:off x="899522" y="2361551"/>
              <a:ext cx="1120651" cy="270598"/>
            </a:xfrm>
            <a:prstGeom prst="rect">
              <a:avLst/>
            </a:prstGeom>
            <a:solidFill>
              <a:srgbClr val="0077C0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평가모형</a:t>
              </a:r>
              <a:endPara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73" name="Text Box 10"/>
            <p:cNvSpPr txBox="1">
              <a:spLocks noChangeArrowheads="1"/>
            </p:cNvSpPr>
            <p:nvPr/>
          </p:nvSpPr>
          <p:spPr bwMode="auto">
            <a:xfrm>
              <a:off x="894509" y="2662004"/>
              <a:ext cx="1125664" cy="270597"/>
            </a:xfrm>
            <a:prstGeom prst="rect">
              <a:avLst/>
            </a:prstGeom>
            <a:solidFill>
              <a:srgbClr val="2FB0FF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sz="800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국가위험</a:t>
              </a:r>
              <a:endParaRPr lang="ko-KR" altLang="en-US" sz="800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74" name="Text Box 10"/>
            <p:cNvSpPr txBox="1">
              <a:spLocks noChangeArrowheads="1"/>
            </p:cNvSpPr>
            <p:nvPr/>
          </p:nvSpPr>
          <p:spPr bwMode="auto">
            <a:xfrm>
              <a:off x="894509" y="2962457"/>
              <a:ext cx="1125664" cy="270597"/>
            </a:xfrm>
            <a:prstGeom prst="rect">
              <a:avLst/>
            </a:prstGeom>
            <a:solidFill>
              <a:srgbClr val="2FB0FF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sz="800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위험</a:t>
              </a:r>
              <a:endParaRPr lang="ko-KR" altLang="en-US" sz="800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75" name="Text Box 10"/>
            <p:cNvSpPr txBox="1">
              <a:spLocks noChangeArrowheads="1"/>
            </p:cNvSpPr>
            <p:nvPr/>
          </p:nvSpPr>
          <p:spPr bwMode="auto">
            <a:xfrm>
              <a:off x="894509" y="3262909"/>
              <a:ext cx="1125664" cy="270597"/>
            </a:xfrm>
            <a:prstGeom prst="rect">
              <a:avLst/>
            </a:prstGeom>
            <a:solidFill>
              <a:srgbClr val="2FB0FF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sz="800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상품위험</a:t>
              </a:r>
              <a:endParaRPr lang="ko-KR" altLang="en-US" sz="800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76" name="Text Box 10"/>
            <p:cNvSpPr txBox="1">
              <a:spLocks noChangeArrowheads="1"/>
            </p:cNvSpPr>
            <p:nvPr/>
          </p:nvSpPr>
          <p:spPr bwMode="auto">
            <a:xfrm>
              <a:off x="894509" y="3563363"/>
              <a:ext cx="1125664" cy="270597"/>
            </a:xfrm>
            <a:prstGeom prst="rect">
              <a:avLst/>
            </a:prstGeom>
            <a:solidFill>
              <a:srgbClr val="2FB0FF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sz="800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채널위험</a:t>
              </a:r>
              <a:endParaRPr lang="ko-KR" altLang="en-US" sz="800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77" name="Text Box 10"/>
            <p:cNvSpPr txBox="1">
              <a:spLocks noChangeArrowheads="1"/>
            </p:cNvSpPr>
            <p:nvPr/>
          </p:nvSpPr>
          <p:spPr bwMode="auto">
            <a:xfrm>
              <a:off x="2051681" y="2361551"/>
              <a:ext cx="3855522" cy="270598"/>
            </a:xfrm>
            <a:prstGeom prst="rect">
              <a:avLst/>
            </a:prstGeom>
            <a:solidFill>
              <a:srgbClr val="0077C0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유형평가모델</a:t>
              </a:r>
              <a:endPara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78" name="Text Box 10"/>
            <p:cNvSpPr txBox="1">
              <a:spLocks noChangeArrowheads="1"/>
            </p:cNvSpPr>
            <p:nvPr/>
          </p:nvSpPr>
          <p:spPr bwMode="auto">
            <a:xfrm>
              <a:off x="2051682" y="2662005"/>
              <a:ext cx="2136795" cy="270596"/>
            </a:xfrm>
            <a:prstGeom prst="rect">
              <a:avLst/>
            </a:prstGeom>
            <a:solidFill>
              <a:srgbClr val="D3F2FD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FATF, FIU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국제기구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국내규정</a:t>
              </a:r>
              <a:endParaRPr lang="ko-KR" altLang="en-US" b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79" name="Text Box 10"/>
            <p:cNvSpPr txBox="1">
              <a:spLocks noChangeArrowheads="1"/>
            </p:cNvSpPr>
            <p:nvPr/>
          </p:nvSpPr>
          <p:spPr bwMode="auto">
            <a:xfrm>
              <a:off x="2051682" y="2962457"/>
              <a:ext cx="2136795" cy="270596"/>
            </a:xfrm>
            <a:prstGeom prst="rect">
              <a:avLst/>
            </a:prstGeom>
            <a:solidFill>
              <a:srgbClr val="D3F2FD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직업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연령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신용등재자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기간</a:t>
              </a:r>
              <a:endParaRPr lang="ko-KR" altLang="en-US" b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0" name="Text Box 10"/>
            <p:cNvSpPr txBox="1">
              <a:spLocks noChangeArrowheads="1"/>
            </p:cNvSpPr>
            <p:nvPr/>
          </p:nvSpPr>
          <p:spPr bwMode="auto">
            <a:xfrm>
              <a:off x="2051682" y="3262909"/>
              <a:ext cx="2136795" cy="270596"/>
            </a:xfrm>
            <a:prstGeom prst="rect">
              <a:avLst/>
            </a:prstGeom>
            <a:solidFill>
              <a:srgbClr val="D3F2FD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익명성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복잡성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신속성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현금가능성</a:t>
              </a:r>
              <a:endParaRPr lang="ko-KR" altLang="en-US" b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1" name="Text Box 10"/>
            <p:cNvSpPr txBox="1">
              <a:spLocks noChangeArrowheads="1"/>
            </p:cNvSpPr>
            <p:nvPr/>
          </p:nvSpPr>
          <p:spPr bwMode="auto">
            <a:xfrm>
              <a:off x="2051682" y="3563363"/>
              <a:ext cx="2136795" cy="270596"/>
            </a:xfrm>
            <a:prstGeom prst="rect">
              <a:avLst/>
            </a:prstGeom>
            <a:solidFill>
              <a:srgbClr val="D3F2FD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익명성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거래량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제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자 이용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, 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고객관계</a:t>
              </a:r>
              <a:endParaRPr lang="ko-KR" altLang="en-US" b="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82" name="Text Box 10"/>
            <p:cNvSpPr txBox="1">
              <a:spLocks noChangeArrowheads="1"/>
            </p:cNvSpPr>
            <p:nvPr/>
          </p:nvSpPr>
          <p:spPr bwMode="auto">
            <a:xfrm>
              <a:off x="4251960" y="2662005"/>
              <a:ext cx="1625823" cy="2705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다수 항목 체크에 의한 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core</a:t>
              </a:r>
              <a:endParaRPr lang="ko-KR" altLang="en-US" b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3" name="Text Box 10"/>
            <p:cNvSpPr txBox="1">
              <a:spLocks noChangeArrowheads="1"/>
            </p:cNvSpPr>
            <p:nvPr/>
          </p:nvSpPr>
          <p:spPr bwMode="auto">
            <a:xfrm>
              <a:off x="4251960" y="2962457"/>
              <a:ext cx="1625823" cy="2705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en-US" altLang="ko-KR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TR</a:t>
              </a:r>
              <a:r>
                <a:rPr lang="ko-KR" altLang="en-US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 비율에 의한 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core</a:t>
              </a:r>
              <a:endParaRPr lang="ko-KR" altLang="en-US" b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4" name="Text Box 10"/>
            <p:cNvSpPr txBox="1">
              <a:spLocks noChangeArrowheads="1"/>
            </p:cNvSpPr>
            <p:nvPr/>
          </p:nvSpPr>
          <p:spPr bwMode="auto">
            <a:xfrm>
              <a:off x="4251960" y="3262909"/>
              <a:ext cx="1625823" cy="2705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자금세탁 위험속성에 의한 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core</a:t>
              </a:r>
              <a:endParaRPr lang="ko-KR" altLang="en-US" b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5" name="Text Box 10"/>
            <p:cNvSpPr txBox="1">
              <a:spLocks noChangeArrowheads="1"/>
            </p:cNvSpPr>
            <p:nvPr/>
          </p:nvSpPr>
          <p:spPr bwMode="auto">
            <a:xfrm>
              <a:off x="4251960" y="3563363"/>
              <a:ext cx="1625823" cy="2705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66CC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defTabSz="882650">
                <a:defRPr sz="800" b="1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algn="ctr"/>
              <a:r>
                <a:rPr lang="ko-KR" altLang="en-US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자금세탁 위험속성에 의한 </a:t>
              </a:r>
              <a:r>
                <a:rPr lang="en-US" altLang="ko-KR" b="0" dirty="0" smtClean="0">
                  <a:solidFill>
                    <a:srgbClr val="000000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core</a:t>
              </a:r>
              <a:endParaRPr lang="ko-KR" altLang="en-US" b="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98591" y="2240866"/>
              <a:ext cx="338554" cy="1713778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64B4DC"/>
              </a:solidFill>
            </a:ln>
          </p:spPr>
          <p:txBody>
            <a:bodyPr vert="eaVert" wrap="square" rtlCol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평가</a:t>
              </a:r>
            </a:p>
          </p:txBody>
        </p:sp>
        <p:sp>
          <p:nvSpPr>
            <p:cNvPr id="87" name="직사각형 86"/>
            <p:cNvSpPr/>
            <p:nvPr/>
          </p:nvSpPr>
          <p:spPr bwMode="auto">
            <a:xfrm>
              <a:off x="750489" y="2240866"/>
              <a:ext cx="5264726" cy="1713778"/>
            </a:xfrm>
            <a:prstGeom prst="rect">
              <a:avLst/>
            </a:prstGeom>
            <a:noFill/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ko-KR" altLang="en-US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4893229"/>
              </p:ext>
            </p:extLst>
          </p:nvPr>
        </p:nvGraphicFramePr>
        <p:xfrm>
          <a:off x="515235" y="4793360"/>
          <a:ext cx="1971591" cy="912706"/>
        </p:xfrm>
        <a:graphic>
          <a:graphicData uri="http://schemas.openxmlformats.org/drawingml/2006/table">
            <a:tbl>
              <a:tblPr/>
              <a:tblGrid>
                <a:gridCol w="657197">
                  <a:extLst>
                    <a:ext uri="{9D8B030D-6E8A-4147-A177-3AD203B41FA5}">
                      <a16:colId xmlns:a16="http://schemas.microsoft.com/office/drawing/2014/main" val="3114370312"/>
                    </a:ext>
                  </a:extLst>
                </a:gridCol>
                <a:gridCol w="657197">
                  <a:extLst>
                    <a:ext uri="{9D8B030D-6E8A-4147-A177-3AD203B41FA5}">
                      <a16:colId xmlns:a16="http://schemas.microsoft.com/office/drawing/2014/main" val="3113481168"/>
                    </a:ext>
                  </a:extLst>
                </a:gridCol>
                <a:gridCol w="657197">
                  <a:extLst>
                    <a:ext uri="{9D8B030D-6E8A-4147-A177-3AD203B41FA5}">
                      <a16:colId xmlns:a16="http://schemas.microsoft.com/office/drawing/2014/main" val="3454802598"/>
                    </a:ext>
                  </a:extLst>
                </a:gridCol>
              </a:tblGrid>
              <a:tr h="3078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위험등급</a:t>
                      </a: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5999" marR="35999" marT="18005" marB="18005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최소 점수</a:t>
                      </a: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5999" marR="35999" marT="18005" marB="18005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최대 점수</a:t>
                      </a: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8F8F8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5999" marR="35999" marT="18005" marB="18005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0254346"/>
                  </a:ext>
                </a:extLst>
              </a:tr>
              <a:tr h="1732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저위험</a:t>
                      </a: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r" fontAlgn="ctr"/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0 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상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r" fontAlgn="ctr"/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0.28 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미만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7833983"/>
                  </a:ext>
                </a:extLst>
              </a:tr>
              <a:tr h="1732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중위험</a:t>
                      </a: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r" fontAlgn="ctr"/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0.28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lang="ko-KR" alt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상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r" fontAlgn="ctr"/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0.45 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미만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0973145"/>
                  </a:ext>
                </a:extLst>
              </a:tr>
              <a:tr h="1732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고위험</a:t>
                      </a: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r" fontAlgn="ctr"/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0.45 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이상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r" fontAlgn="ctr"/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.00</a:t>
                      </a:r>
                      <a:r>
                        <a:rPr lang="ko-KR" alt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이하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35991" marR="35991" marT="36039" marB="36039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500029"/>
                  </a:ext>
                </a:extLst>
              </a:tr>
            </a:tbl>
          </a:graphicData>
        </a:graphic>
      </p:graphicFrame>
      <p:pic>
        <p:nvPicPr>
          <p:cNvPr id="89" name="그림 819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1861" y="4793360"/>
            <a:ext cx="1913279" cy="91270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이등변 삼각형 91"/>
          <p:cNvSpPr/>
          <p:nvPr/>
        </p:nvSpPr>
        <p:spPr bwMode="auto">
          <a:xfrm rot="10800000">
            <a:off x="380493" y="4033720"/>
            <a:ext cx="5634719" cy="330487"/>
          </a:xfrm>
          <a:prstGeom prst="triangle">
            <a:avLst>
              <a:gd name="adj" fmla="val 50936"/>
            </a:avLst>
          </a:prstGeom>
          <a:gradFill flip="none" rotWithShape="1">
            <a:gsLst>
              <a:gs pos="50000">
                <a:srgbClr val="B3E6FF"/>
              </a:gs>
              <a:gs pos="1000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4827083" y="4785563"/>
            <a:ext cx="973928" cy="892642"/>
            <a:chOff x="4827083" y="4785563"/>
            <a:chExt cx="973928" cy="892642"/>
          </a:xfrm>
        </p:grpSpPr>
        <p:sp>
          <p:nvSpPr>
            <p:cNvPr id="93" name="Rectangle 98"/>
            <p:cNvSpPr>
              <a:spLocks noChangeArrowheads="1"/>
            </p:cNvSpPr>
            <p:nvPr/>
          </p:nvSpPr>
          <p:spPr bwMode="auto">
            <a:xfrm>
              <a:off x="4827083" y="4785563"/>
              <a:ext cx="956837" cy="221085"/>
            </a:xfrm>
            <a:prstGeom prst="rect">
              <a:avLst/>
            </a:prstGeom>
            <a:solidFill>
              <a:srgbClr val="BE0000"/>
            </a:solidFill>
            <a:ln>
              <a:solidFill>
                <a:schemeClr val="bg1">
                  <a:lumMod val="75000"/>
                </a:schemeClr>
              </a:solidFill>
            </a:ln>
            <a:effectLst>
              <a:outerShdw blurRad="38100" dist="12700" dir="5400000" sx="99000" sy="99000" algn="ctr" rotWithShape="0">
                <a:schemeClr val="tx1">
                  <a:alpha val="25000"/>
                </a:schemeClr>
              </a:outerShdw>
            </a:effectLst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 latinLnBrk="0"/>
              <a:r>
                <a:rPr lang="ko-KR" altLang="en-US" sz="9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위</a:t>
              </a:r>
              <a:r>
                <a:rPr lang="ko-KR" altLang="en-US" sz="9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험</a:t>
              </a:r>
              <a:endParaRPr lang="en-US" altLang="ko-KR" sz="9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4" name="Rectangle 99"/>
            <p:cNvSpPr>
              <a:spLocks noChangeArrowheads="1"/>
            </p:cNvSpPr>
            <p:nvPr/>
          </p:nvSpPr>
          <p:spPr bwMode="auto">
            <a:xfrm>
              <a:off x="4836531" y="5012970"/>
              <a:ext cx="952967" cy="456250"/>
            </a:xfrm>
            <a:prstGeom prst="rect">
              <a:avLst/>
            </a:prstGeom>
            <a:solidFill>
              <a:srgbClr val="FFFF00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8896" latinLnBrk="0">
                <a:buClr>
                  <a:srgbClr val="000000"/>
                </a:buClr>
                <a:tabLst>
                  <a:tab pos="3767698" algn="l"/>
                </a:tabLst>
              </a:pPr>
              <a:r>
                <a:rPr lang="ko-KR" altLang="en-US" sz="900" spc="-100" dirty="0" smtClean="0">
                  <a:ln w="0"/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중위</a:t>
              </a:r>
              <a:r>
                <a:rPr lang="ko-KR" altLang="en-US" sz="900" spc="-100" dirty="0">
                  <a:ln w="0"/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험</a:t>
              </a:r>
              <a:endParaRPr lang="en-US" altLang="ko-KR" sz="900" spc="-100" dirty="0">
                <a:ln w="0"/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95" name="Rectangle 100"/>
            <p:cNvSpPr>
              <a:spLocks noChangeArrowheads="1"/>
            </p:cNvSpPr>
            <p:nvPr/>
          </p:nvSpPr>
          <p:spPr bwMode="auto">
            <a:xfrm>
              <a:off x="4843285" y="5472379"/>
              <a:ext cx="957726" cy="205826"/>
            </a:xfrm>
            <a:prstGeom prst="rect">
              <a:avLst/>
            </a:prstGeom>
            <a:solidFill>
              <a:srgbClr val="92D050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8896" latinLnBrk="0">
                <a:buClr>
                  <a:srgbClr val="000000"/>
                </a:buClr>
                <a:tabLst>
                  <a:tab pos="3767698" algn="l"/>
                </a:tabLst>
              </a:pPr>
              <a:r>
                <a:rPr lang="ko-KR" altLang="en-US" sz="900" spc="-100" dirty="0" smtClean="0">
                  <a:ln w="0"/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저위</a:t>
              </a:r>
              <a:r>
                <a:rPr lang="ko-KR" altLang="en-US" sz="900" spc="-100" dirty="0">
                  <a:ln w="0"/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험</a:t>
              </a:r>
              <a:endParaRPr lang="en-US" altLang="ko-KR" sz="900" spc="-100" dirty="0">
                <a:ln w="0"/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517940" y="5757670"/>
            <a:ext cx="5389263" cy="354385"/>
            <a:chOff x="517940" y="5757670"/>
            <a:chExt cx="5389263" cy="354385"/>
          </a:xfrm>
        </p:grpSpPr>
        <p:sp>
          <p:nvSpPr>
            <p:cNvPr id="90" name="오각형 89"/>
            <p:cNvSpPr/>
            <p:nvPr/>
          </p:nvSpPr>
          <p:spPr bwMode="gray">
            <a:xfrm>
              <a:off x="517940" y="5759489"/>
              <a:ext cx="1968886" cy="352566"/>
            </a:xfrm>
            <a:prstGeom prst="homePlate">
              <a:avLst>
                <a:gd name="adj" fmla="val 25842"/>
              </a:avLst>
            </a:prstGeom>
            <a:solidFill>
              <a:srgbClr val="2FB0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defTabSz="882650"/>
              <a:r>
                <a:rPr lang="ko-KR" altLang="en-US" sz="9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위험등급 기준</a:t>
              </a:r>
              <a:r>
                <a:rPr lang="en-US" altLang="ko-KR" sz="9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</a:t>
              </a:r>
              <a:r>
                <a:rPr lang="ko-KR" altLang="en-US" sz="90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구간 선정</a:t>
              </a:r>
            </a:p>
          </p:txBody>
        </p:sp>
        <p:sp>
          <p:nvSpPr>
            <p:cNvPr id="91" name="오각형 90"/>
            <p:cNvSpPr/>
            <p:nvPr/>
          </p:nvSpPr>
          <p:spPr bwMode="gray">
            <a:xfrm>
              <a:off x="2681861" y="5759489"/>
              <a:ext cx="1985869" cy="352566"/>
            </a:xfrm>
            <a:prstGeom prst="homePlate">
              <a:avLst>
                <a:gd name="adj" fmla="val 25842"/>
              </a:avLst>
            </a:prstGeom>
            <a:solidFill>
              <a:srgbClr val="2FB0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defTabSz="882650"/>
              <a:r>
                <a:rPr lang="ko-KR" altLang="en-US" sz="85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선정된 위험등급 기준으로 위험점수에 </a:t>
              </a:r>
              <a:endParaRPr lang="en-US" altLang="ko-KR" sz="85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  <a:p>
              <a:pPr algn="ctr" defTabSz="882650"/>
              <a:r>
                <a:rPr lang="ko-KR" altLang="en-US" sz="85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대한 </a:t>
              </a:r>
              <a:r>
                <a:rPr lang="ko-KR" altLang="en-US" sz="85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퍼센타일 산출</a:t>
              </a:r>
              <a:r>
                <a:rPr lang="en-US" altLang="ko-KR" sz="85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/</a:t>
              </a:r>
              <a:r>
                <a:rPr lang="ko-KR" altLang="en-US" sz="850" dirty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분석</a:t>
              </a:r>
            </a:p>
          </p:txBody>
        </p:sp>
        <p:sp>
          <p:nvSpPr>
            <p:cNvPr id="97" name="오각형 96"/>
            <p:cNvSpPr/>
            <p:nvPr/>
          </p:nvSpPr>
          <p:spPr bwMode="gray">
            <a:xfrm>
              <a:off x="4804600" y="5757670"/>
              <a:ext cx="1102603" cy="352566"/>
            </a:xfrm>
            <a:prstGeom prst="homePlate">
              <a:avLst>
                <a:gd name="adj" fmla="val 25842"/>
              </a:avLst>
            </a:prstGeom>
            <a:solidFill>
              <a:srgbClr val="2FB0FF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defTabSz="882650"/>
              <a:r>
                <a:rPr lang="ko-KR" altLang="en-US" sz="900" dirty="0" smtClean="0">
                  <a:solidFill>
                    <a:srgbClr val="FFFFFF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점수별 이미지화</a:t>
              </a:r>
              <a:endParaRPr lang="ko-KR" altLang="en-US" sz="90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</p:grpSp>
      <p:sp>
        <p:nvSpPr>
          <p:cNvPr id="99" name="직사각형 98"/>
          <p:cNvSpPr/>
          <p:nvPr/>
        </p:nvSpPr>
        <p:spPr bwMode="auto">
          <a:xfrm>
            <a:off x="398591" y="4677552"/>
            <a:ext cx="5616624" cy="1523756"/>
          </a:xfrm>
          <a:prstGeom prst="rect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3" name="이등변 삼각형 102"/>
          <p:cNvSpPr/>
          <p:nvPr/>
        </p:nvSpPr>
        <p:spPr bwMode="auto">
          <a:xfrm rot="5400000">
            <a:off x="4269213" y="4016935"/>
            <a:ext cx="4032448" cy="336302"/>
          </a:xfrm>
          <a:prstGeom prst="triangle">
            <a:avLst>
              <a:gd name="adj" fmla="val 50936"/>
            </a:avLst>
          </a:prstGeom>
          <a:gradFill flip="none" rotWithShape="1">
            <a:gsLst>
              <a:gs pos="50000">
                <a:srgbClr val="B3E6FF"/>
              </a:gs>
              <a:gs pos="1000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591215" y="4400030"/>
            <a:ext cx="30039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i="1" u="sng" dirty="0" smtClean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객 위험평가 점수 이미지화</a:t>
            </a:r>
            <a:endParaRPr lang="ko-KR" altLang="en-US" sz="1200" i="1" u="sng" dirty="0">
              <a:solidFill>
                <a:srgbClr val="FF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pic>
        <p:nvPicPr>
          <p:cNvPr id="49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4610925" y="449228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그룹 15"/>
          <p:cNvGrpSpPr/>
          <p:nvPr/>
        </p:nvGrpSpPr>
        <p:grpSpPr>
          <a:xfrm>
            <a:off x="6555658" y="2220104"/>
            <a:ext cx="3026333" cy="3981204"/>
            <a:chOff x="6555658" y="2220104"/>
            <a:chExt cx="3026333" cy="3981204"/>
          </a:xfrm>
        </p:grpSpPr>
        <p:sp>
          <p:nvSpPr>
            <p:cNvPr id="104" name="직사각형 103"/>
            <p:cNvSpPr/>
            <p:nvPr/>
          </p:nvSpPr>
          <p:spPr bwMode="auto">
            <a:xfrm>
              <a:off x="6555658" y="2492896"/>
              <a:ext cx="3015129" cy="3708412"/>
            </a:xfrm>
            <a:prstGeom prst="rect">
              <a:avLst/>
            </a:prstGeom>
            <a:noFill/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ko-KR" altLang="en-US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05" name="그림 10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41197" y="4902072"/>
              <a:ext cx="2844049" cy="1227228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106" name="Picture 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2522" y="2847412"/>
              <a:ext cx="2857963" cy="1594800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7" name="Text Box 10"/>
            <p:cNvSpPr txBox="1">
              <a:spLocks noChangeArrowheads="1"/>
            </p:cNvSpPr>
            <p:nvPr/>
          </p:nvSpPr>
          <p:spPr bwMode="auto">
            <a:xfrm>
              <a:off x="6555658" y="2492896"/>
              <a:ext cx="3015129" cy="270598"/>
            </a:xfrm>
            <a:prstGeom prst="rect">
              <a:avLst/>
            </a:prstGeom>
            <a:solidFill>
              <a:srgbClr val="0077C0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의심거래보고</a:t>
              </a:r>
              <a:r>
                <a:rPr lang="en-US" altLang="ko-KR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STR) </a:t>
              </a:r>
              <a:r>
                <a:rPr lang="ko-KR" altLang="en-US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요약정보</a:t>
              </a:r>
              <a:endPara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08" name="Text Box 10"/>
            <p:cNvSpPr txBox="1">
              <a:spLocks noChangeArrowheads="1"/>
            </p:cNvSpPr>
            <p:nvPr/>
          </p:nvSpPr>
          <p:spPr bwMode="auto">
            <a:xfrm>
              <a:off x="6566862" y="4519143"/>
              <a:ext cx="3015129" cy="270598"/>
            </a:xfrm>
            <a:prstGeom prst="rect">
              <a:avLst/>
            </a:prstGeom>
            <a:solidFill>
              <a:srgbClr val="0077C0"/>
            </a:solidFill>
            <a:ln>
              <a:noFill/>
            </a:ln>
          </p:spPr>
          <p:txBody>
            <a:bodyPr lIns="0" tIns="0" rIns="0" bIns="0" anchor="ctr"/>
            <a:lstStyle>
              <a:defPPr>
                <a:defRPr lang="ko-KR"/>
              </a:defPPr>
              <a:lvl1pPr defTabSz="882650" eaLnBrk="1" hangingPunct="1">
                <a:defRPr sz="900" b="1">
                  <a:solidFill>
                    <a:srgbClr val="FFFFFF"/>
                  </a:solidFill>
                  <a:ea typeface="맑은 고딕" panose="020B0503020000020004" pitchFamily="50" charset="-127"/>
                </a:defRPr>
              </a:lvl1pPr>
              <a:lvl2pPr marL="742950" indent="-285750" defTabSz="882650" eaLnBrk="0" hangingPunct="0"/>
              <a:lvl3pPr marL="1143000" indent="-228600" defTabSz="882650" eaLnBrk="0" hangingPunct="0"/>
              <a:lvl4pPr marL="1600200" indent="-228600" defTabSz="882650" eaLnBrk="0" hangingPunct="0"/>
              <a:lvl5pPr marL="2057400" indent="-228600" defTabSz="882650" eaLnBrk="0" hangingPunct="0"/>
              <a:lvl6pPr marL="25146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algn="ctr" defTabSz="88265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 algn="ctr"/>
              <a:r>
                <a:rPr lang="ko-KR" altLang="en-US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의심거래보고</a:t>
              </a:r>
              <a:r>
                <a:rPr lang="en-US" altLang="ko-KR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STR) </a:t>
              </a:r>
              <a:r>
                <a:rPr lang="ko-KR" altLang="en-US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점검대상 상세정보</a:t>
              </a:r>
              <a:r>
                <a:rPr lang="en-US" altLang="ko-KR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 - </a:t>
              </a:r>
              <a:r>
                <a:rPr lang="ko-KR" altLang="en-US" b="0" dirty="0" smtClean="0"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고객정보</a:t>
              </a:r>
              <a:endPara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6566862" y="2220104"/>
              <a:ext cx="3003925" cy="26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50" i="1" dirty="0" smtClean="0">
                  <a:solidFill>
                    <a:srgbClr val="FF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의심거래보고</a:t>
              </a:r>
              <a:r>
                <a:rPr lang="en-US" altLang="ko-KR" sz="1150" i="1" dirty="0" smtClean="0">
                  <a:solidFill>
                    <a:srgbClr val="FF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(STR) </a:t>
              </a:r>
              <a:r>
                <a:rPr lang="ko-KR" altLang="en-US" sz="1150" i="1" dirty="0" smtClean="0">
                  <a:solidFill>
                    <a:srgbClr val="FF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모니터링 위험평가결과 활용</a:t>
              </a:r>
              <a:endParaRPr lang="ko-KR" altLang="en-US" sz="1150" i="1" dirty="0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pic>
          <p:nvPicPr>
            <p:cNvPr id="47" name="Picture 88" descr="예시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28177">
              <a:off x="9167930" y="2887895"/>
              <a:ext cx="387350" cy="211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88" descr="예시"/>
            <p:cNvPicPr>
              <a:picLocks noChangeAspect="1" noChangeArrowheads="1"/>
            </p:cNvPicPr>
            <p:nvPr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28177">
              <a:off x="9163265" y="5003992"/>
              <a:ext cx="387350" cy="211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068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aphicFrame>
        <p:nvGraphicFramePr>
          <p:cNvPr id="191" name="표 190"/>
          <p:cNvGraphicFramePr>
            <a:graphicFrameLocks noGrp="1"/>
          </p:cNvGraphicFramePr>
          <p:nvPr>
            <p:extLst/>
          </p:nvPr>
        </p:nvGraphicFramePr>
        <p:xfrm>
          <a:off x="346014" y="2145680"/>
          <a:ext cx="6455975" cy="4271651"/>
        </p:xfrm>
        <a:graphic>
          <a:graphicData uri="http://schemas.openxmlformats.org/drawingml/2006/table">
            <a:tbl>
              <a:tblPr/>
              <a:tblGrid>
                <a:gridCol w="64559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7165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0000" marR="90000" marT="17997" marB="17997" anchor="ctr" horzOverflow="overflow">
                    <a:lnL>
                      <a:noFill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4 </a:t>
            </a:r>
            <a:r>
              <a:rPr lang="ko-KR" altLang="en-US" dirty="0"/>
              <a:t>임의보고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나리오에 의해 추출되지 않았지만 자금세탁에 의심이 되는 고객 또는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거래에 대해 보고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임의보고 프로세스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9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수행 내용</a:t>
                </a:r>
              </a:p>
            </p:txBody>
          </p:sp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pic>
        <p:nvPicPr>
          <p:cNvPr id="21" name="그림 2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2888940"/>
            <a:ext cx="318769" cy="318769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487" y="3540648"/>
            <a:ext cx="320400" cy="320400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3487" y="4177464"/>
            <a:ext cx="320400" cy="320400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3487" y="4655711"/>
            <a:ext cx="320400" cy="320400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3487" y="5121188"/>
            <a:ext cx="320400" cy="320400"/>
          </a:xfrm>
          <a:prstGeom prst="rect">
            <a:avLst/>
          </a:prstGeom>
        </p:spPr>
      </p:pic>
      <p:sp>
        <p:nvSpPr>
          <p:cNvPr id="29" name="Rectangle 262"/>
          <p:cNvSpPr>
            <a:spLocks noChangeArrowheads="1"/>
          </p:cNvSpPr>
          <p:nvPr/>
        </p:nvSpPr>
        <p:spPr bwMode="auto">
          <a:xfrm>
            <a:off x="7342346" y="2577523"/>
            <a:ext cx="2172548" cy="2723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85725" indent="-857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임의보고 시 거래내역 포함 여부 선택</a:t>
            </a:r>
            <a:endParaRPr lang="en-US" altLang="ko-KR" sz="10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거래내역 포함의 경우 임의보고 거래내역 등록 화면에서 거래내역 추가 후 임의보고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생성</a:t>
            </a:r>
            <a:endParaRPr lang="en-US" altLang="ko-KR" sz="10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거래내역을 포함한 임의보고생성시 익일 정기 배치에서 해당 거래를 포함하여 의심거래점검대상 추출</a:t>
            </a:r>
            <a:endParaRPr lang="en-US" altLang="ko-KR" sz="10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추출 된 임의보고 점검대상에 대해 의심거래보고서 작성</a:t>
            </a:r>
            <a:endParaRPr lang="en-US" altLang="ko-KR" sz="10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거래내역을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포함하지 않은 경우 고객정보를 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토대로 의심거래보고서 작성</a:t>
            </a:r>
            <a:endParaRPr lang="en-US" altLang="ko-KR" sz="10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작성 된 보고서를 </a:t>
            </a:r>
            <a:r>
              <a:rPr lang="en-US" altLang="ko-KR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KoFIU</a:t>
            </a: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에 보고</a:t>
            </a:r>
            <a:endParaRPr lang="en-US" altLang="ko-KR" sz="10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01" name="직선 연결선 100"/>
          <p:cNvCxnSpPr/>
          <p:nvPr/>
        </p:nvCxnSpPr>
        <p:spPr>
          <a:xfrm>
            <a:off x="495317" y="4123340"/>
            <a:ext cx="62218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화살표 연결선 101"/>
          <p:cNvCxnSpPr>
            <a:endCxn id="111" idx="1"/>
          </p:cNvCxnSpPr>
          <p:nvPr/>
        </p:nvCxnSpPr>
        <p:spPr>
          <a:xfrm>
            <a:off x="2285682" y="2560665"/>
            <a:ext cx="538877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/>
          <p:cNvCxnSpPr>
            <a:stCxn id="112" idx="2"/>
          </p:cNvCxnSpPr>
          <p:nvPr/>
        </p:nvCxnSpPr>
        <p:spPr>
          <a:xfrm>
            <a:off x="4035035" y="2756581"/>
            <a:ext cx="2387" cy="179327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그룹 103"/>
          <p:cNvGrpSpPr/>
          <p:nvPr/>
        </p:nvGrpSpPr>
        <p:grpSpPr>
          <a:xfrm>
            <a:off x="1652138" y="2227797"/>
            <a:ext cx="748603" cy="663937"/>
            <a:chOff x="1908920" y="1117264"/>
            <a:chExt cx="1039546" cy="910601"/>
          </a:xfrm>
        </p:grpSpPr>
        <p:sp>
          <p:nvSpPr>
            <p:cNvPr id="105" name="Text Box 119"/>
            <p:cNvSpPr txBox="1">
              <a:spLocks noChangeArrowheads="1"/>
            </p:cNvSpPr>
            <p:nvPr/>
          </p:nvSpPr>
          <p:spPr bwMode="auto">
            <a:xfrm>
              <a:off x="2428647" y="1859016"/>
              <a:ext cx="90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06" name="Text Box 119"/>
            <p:cNvSpPr txBox="1">
              <a:spLocks noChangeArrowheads="1"/>
            </p:cNvSpPr>
            <p:nvPr/>
          </p:nvSpPr>
          <p:spPr bwMode="auto">
            <a:xfrm>
              <a:off x="1908920" y="1117264"/>
              <a:ext cx="1039546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점검대상 모니터링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07" name="Picture 3"/>
            <p:cNvPicPr>
              <a:picLocks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8686" y="1303799"/>
              <a:ext cx="72000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08" name="그룹 107"/>
          <p:cNvGrpSpPr/>
          <p:nvPr/>
        </p:nvGrpSpPr>
        <p:grpSpPr>
          <a:xfrm>
            <a:off x="2824558" y="2227797"/>
            <a:ext cx="518490" cy="663937"/>
            <a:chOff x="3537000" y="1117264"/>
            <a:chExt cx="720000" cy="910601"/>
          </a:xfrm>
        </p:grpSpPr>
        <p:sp>
          <p:nvSpPr>
            <p:cNvPr id="109" name="Text Box 119"/>
            <p:cNvSpPr txBox="1">
              <a:spLocks noChangeArrowheads="1"/>
            </p:cNvSpPr>
            <p:nvPr/>
          </p:nvSpPr>
          <p:spPr bwMode="auto">
            <a:xfrm>
              <a:off x="3898908" y="1859016"/>
              <a:ext cx="90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10" name="Text Box 119"/>
            <p:cNvSpPr txBox="1">
              <a:spLocks noChangeArrowheads="1"/>
            </p:cNvSpPr>
            <p:nvPr/>
          </p:nvSpPr>
          <p:spPr bwMode="auto">
            <a:xfrm>
              <a:off x="3649640" y="1117264"/>
              <a:ext cx="498626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임의보고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11" name="Picture 4"/>
            <p:cNvPicPr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7000" y="1303799"/>
              <a:ext cx="72000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2" name="순서도: 판단 111"/>
          <p:cNvSpPr/>
          <p:nvPr/>
        </p:nvSpPr>
        <p:spPr>
          <a:xfrm>
            <a:off x="3581356" y="2362856"/>
            <a:ext cx="907357" cy="393725"/>
          </a:xfrm>
          <a:prstGeom prst="flowChartDecision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내역 </a:t>
            </a:r>
            <a:endParaRPr lang="en-US" altLang="ko-KR" sz="800" dirty="0" smtClean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함 </a:t>
            </a:r>
            <a:r>
              <a:rPr lang="en-US" altLang="ko-KR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?</a:t>
            </a:r>
          </a:p>
        </p:txBody>
      </p:sp>
      <p:sp>
        <p:nvSpPr>
          <p:cNvPr id="113" name="Text Box 119"/>
          <p:cNvSpPr txBox="1">
            <a:spLocks noChangeArrowheads="1"/>
          </p:cNvSpPr>
          <p:nvPr/>
        </p:nvSpPr>
        <p:spPr bwMode="auto">
          <a:xfrm>
            <a:off x="4494287" y="2405731"/>
            <a:ext cx="602729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포함</a:t>
            </a:r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별</a:t>
            </a:r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4" name="Text Box 119"/>
          <p:cNvSpPr txBox="1">
            <a:spLocks noChangeArrowheads="1"/>
          </p:cNvSpPr>
          <p:nvPr/>
        </p:nvSpPr>
        <p:spPr bwMode="auto">
          <a:xfrm>
            <a:off x="4119418" y="2745624"/>
            <a:ext cx="17953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함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15" name="직선 화살표 연결선 114"/>
          <p:cNvCxnSpPr>
            <a:stCxn id="111" idx="3"/>
            <a:endCxn id="112" idx="1"/>
          </p:cNvCxnSpPr>
          <p:nvPr/>
        </p:nvCxnSpPr>
        <p:spPr>
          <a:xfrm flipV="1">
            <a:off x="3343049" y="2559718"/>
            <a:ext cx="238307" cy="94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6" name="그룹 115"/>
          <p:cNvGrpSpPr/>
          <p:nvPr/>
        </p:nvGrpSpPr>
        <p:grpSpPr>
          <a:xfrm>
            <a:off x="3662597" y="3012170"/>
            <a:ext cx="779060" cy="790179"/>
            <a:chOff x="6173102" y="946024"/>
            <a:chExt cx="1081840" cy="1083744"/>
          </a:xfrm>
        </p:grpSpPr>
        <p:pic>
          <p:nvPicPr>
            <p:cNvPr id="117" name="Picture 5"/>
            <p:cNvPicPr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0613" y="1303200"/>
              <a:ext cx="72000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8" name="Text Box 119"/>
            <p:cNvSpPr txBox="1">
              <a:spLocks noChangeArrowheads="1"/>
            </p:cNvSpPr>
            <p:nvPr/>
          </p:nvSpPr>
          <p:spPr bwMode="auto">
            <a:xfrm>
              <a:off x="6173102" y="946024"/>
              <a:ext cx="1081840" cy="3376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임의보고 거래내역 </a:t>
              </a:r>
              <a:endPara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등록 화면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19" name="Text Box 119"/>
            <p:cNvSpPr txBox="1">
              <a:spLocks noChangeArrowheads="1"/>
            </p:cNvSpPr>
            <p:nvPr/>
          </p:nvSpPr>
          <p:spPr bwMode="auto">
            <a:xfrm>
              <a:off x="6395608" y="1860919"/>
              <a:ext cx="665576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서 작성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cxnSp>
        <p:nvCxnSpPr>
          <p:cNvPr id="120" name="직선 화살표 연결선 119"/>
          <p:cNvCxnSpPr/>
          <p:nvPr/>
        </p:nvCxnSpPr>
        <p:spPr>
          <a:xfrm>
            <a:off x="4416958" y="3423528"/>
            <a:ext cx="147866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/>
          <p:cNvCxnSpPr/>
          <p:nvPr/>
        </p:nvCxnSpPr>
        <p:spPr>
          <a:xfrm>
            <a:off x="4407263" y="3485367"/>
            <a:ext cx="147866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그룹 121"/>
          <p:cNvGrpSpPr/>
          <p:nvPr/>
        </p:nvGrpSpPr>
        <p:grpSpPr>
          <a:xfrm>
            <a:off x="4515463" y="3012169"/>
            <a:ext cx="779060" cy="772989"/>
            <a:chOff x="7541254" y="946024"/>
            <a:chExt cx="1081840" cy="1060168"/>
          </a:xfrm>
        </p:grpSpPr>
        <p:pic>
          <p:nvPicPr>
            <p:cNvPr id="123" name="Picture 6"/>
            <p:cNvPicPr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2412" y="1303200"/>
              <a:ext cx="72000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4" name="Text Box 119"/>
            <p:cNvSpPr txBox="1">
              <a:spLocks noChangeArrowheads="1"/>
            </p:cNvSpPr>
            <p:nvPr/>
          </p:nvSpPr>
          <p:spPr bwMode="auto">
            <a:xfrm>
              <a:off x="7541254" y="946024"/>
              <a:ext cx="1081840" cy="3376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임의보고 거래내역 </a:t>
              </a:r>
              <a:endPara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조회 </a:t>
              </a:r>
              <a:r>
                <a:rPr lang="ko-KR" altLang="en-US" sz="800" dirty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화면</a:t>
              </a:r>
            </a:p>
          </p:txBody>
        </p:sp>
        <p:sp>
          <p:nvSpPr>
            <p:cNvPr id="125" name="Text Box 119"/>
            <p:cNvSpPr txBox="1">
              <a:spLocks noChangeArrowheads="1"/>
            </p:cNvSpPr>
            <p:nvPr/>
          </p:nvSpPr>
          <p:spPr bwMode="auto">
            <a:xfrm>
              <a:off x="7718490" y="1837343"/>
              <a:ext cx="790234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거래내역 추가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cxnSp>
        <p:nvCxnSpPr>
          <p:cNvPr id="126" name="직선 화살표 연결선 125"/>
          <p:cNvCxnSpPr>
            <a:stCxn id="112" idx="3"/>
            <a:endCxn id="132" idx="1"/>
          </p:cNvCxnSpPr>
          <p:nvPr/>
        </p:nvCxnSpPr>
        <p:spPr>
          <a:xfrm>
            <a:off x="4488713" y="2559718"/>
            <a:ext cx="1345894" cy="169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직선 화살표 연결선 126"/>
          <p:cNvCxnSpPr/>
          <p:nvPr/>
        </p:nvCxnSpPr>
        <p:spPr>
          <a:xfrm flipH="1">
            <a:off x="6093850" y="2952592"/>
            <a:ext cx="3" cy="106574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꺾인 연결선 127"/>
          <p:cNvCxnSpPr>
            <a:endCxn id="117" idx="1"/>
          </p:cNvCxnSpPr>
          <p:nvPr/>
        </p:nvCxnSpPr>
        <p:spPr>
          <a:xfrm>
            <a:off x="2014246" y="2757528"/>
            <a:ext cx="1790583" cy="711928"/>
          </a:xfrm>
          <a:prstGeom prst="bentConnector3">
            <a:avLst>
              <a:gd name="adj1" fmla="val -182"/>
            </a:avLst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그룹 128"/>
          <p:cNvGrpSpPr/>
          <p:nvPr/>
        </p:nvGrpSpPr>
        <p:grpSpPr>
          <a:xfrm>
            <a:off x="5779693" y="2227797"/>
            <a:ext cx="628377" cy="663937"/>
            <a:chOff x="7689275" y="1765336"/>
            <a:chExt cx="872594" cy="910601"/>
          </a:xfrm>
        </p:grpSpPr>
        <p:sp>
          <p:nvSpPr>
            <p:cNvPr id="130" name="Text Box 119"/>
            <p:cNvSpPr txBox="1">
              <a:spLocks noChangeArrowheads="1"/>
            </p:cNvSpPr>
            <p:nvPr/>
          </p:nvSpPr>
          <p:spPr bwMode="auto">
            <a:xfrm>
              <a:off x="7792783" y="2507088"/>
              <a:ext cx="665576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서 작성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31" name="Text Box 119"/>
            <p:cNvSpPr txBox="1">
              <a:spLocks noChangeArrowheads="1"/>
            </p:cNvSpPr>
            <p:nvPr/>
          </p:nvSpPr>
          <p:spPr bwMode="auto">
            <a:xfrm>
              <a:off x="7689275" y="1765336"/>
              <a:ext cx="872594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의심거래보고서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32" name="Picture 7"/>
            <p:cNvPicPr>
              <a:picLocks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537" y="1952896"/>
              <a:ext cx="72000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33" name="Text Box 119"/>
          <p:cNvSpPr txBox="1">
            <a:spLocks noChangeArrowheads="1"/>
          </p:cNvSpPr>
          <p:nvPr/>
        </p:nvSpPr>
        <p:spPr bwMode="auto">
          <a:xfrm>
            <a:off x="2043114" y="3323150"/>
            <a:ext cx="812723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익일 확인</a:t>
            </a:r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상태</a:t>
            </a:r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34" name="직선 화살표 연결선 133"/>
          <p:cNvCxnSpPr/>
          <p:nvPr/>
        </p:nvCxnSpPr>
        <p:spPr>
          <a:xfrm flipV="1">
            <a:off x="2014246" y="4013024"/>
            <a:ext cx="4079631" cy="531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직선 화살표 연결선 134"/>
          <p:cNvCxnSpPr/>
          <p:nvPr/>
        </p:nvCxnSpPr>
        <p:spPr>
          <a:xfrm>
            <a:off x="2014246" y="3456698"/>
            <a:ext cx="47" cy="54859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 Box 119"/>
          <p:cNvSpPr txBox="1">
            <a:spLocks noChangeArrowheads="1"/>
          </p:cNvSpPr>
          <p:nvPr/>
        </p:nvSpPr>
        <p:spPr bwMode="auto">
          <a:xfrm>
            <a:off x="2031830" y="3862065"/>
            <a:ext cx="1968489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당일 확인</a:t>
            </a:r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</a:t>
            </a:r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작성완료</a:t>
            </a:r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미 작성 시 추출상태</a:t>
            </a:r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37" name="순서도: 판단 136"/>
          <p:cNvSpPr/>
          <p:nvPr/>
        </p:nvSpPr>
        <p:spPr>
          <a:xfrm>
            <a:off x="1561271" y="4305495"/>
            <a:ext cx="907357" cy="393725"/>
          </a:xfrm>
          <a:prstGeom prst="flowChartDecision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재</a:t>
            </a:r>
            <a:r>
              <a:rPr lang="en-US" altLang="ko-KR" sz="8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판단 </a:t>
            </a:r>
            <a:r>
              <a:rPr lang="en-US" altLang="ko-KR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?</a:t>
            </a:r>
          </a:p>
        </p:txBody>
      </p:sp>
      <p:cxnSp>
        <p:nvCxnSpPr>
          <p:cNvPr id="138" name="직선 연결선 137"/>
          <p:cNvCxnSpPr/>
          <p:nvPr/>
        </p:nvCxnSpPr>
        <p:spPr>
          <a:xfrm>
            <a:off x="458603" y="4902871"/>
            <a:ext cx="387393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직선 화살표 연결선 138"/>
          <p:cNvCxnSpPr>
            <a:stCxn id="149" idx="1"/>
            <a:endCxn id="137" idx="3"/>
          </p:cNvCxnSpPr>
          <p:nvPr/>
        </p:nvCxnSpPr>
        <p:spPr>
          <a:xfrm flipH="1" flipV="1">
            <a:off x="2468628" y="4502358"/>
            <a:ext cx="715582" cy="9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 Box 119"/>
          <p:cNvSpPr txBox="1">
            <a:spLocks noChangeArrowheads="1"/>
          </p:cNvSpPr>
          <p:nvPr/>
        </p:nvSpPr>
        <p:spPr bwMode="auto">
          <a:xfrm>
            <a:off x="2053266" y="4188738"/>
            <a:ext cx="17953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반려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41" name="Text Box 119"/>
          <p:cNvSpPr txBox="1">
            <a:spLocks noChangeArrowheads="1"/>
          </p:cNvSpPr>
          <p:nvPr/>
        </p:nvSpPr>
        <p:spPr bwMode="auto">
          <a:xfrm>
            <a:off x="2053266" y="4686492"/>
            <a:ext cx="17953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승인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42" name="그룹 141"/>
          <p:cNvGrpSpPr/>
          <p:nvPr/>
        </p:nvGrpSpPr>
        <p:grpSpPr>
          <a:xfrm>
            <a:off x="528667" y="2484274"/>
            <a:ext cx="777735" cy="156754"/>
            <a:chOff x="1790645" y="836231"/>
            <a:chExt cx="1080000" cy="214990"/>
          </a:xfrm>
        </p:grpSpPr>
        <p:sp>
          <p:nvSpPr>
            <p:cNvPr id="143" name="Text Box 119"/>
            <p:cNvSpPr txBox="1">
              <a:spLocks noChangeArrowheads="1"/>
            </p:cNvSpPr>
            <p:nvPr/>
          </p:nvSpPr>
          <p:spPr bwMode="auto">
            <a:xfrm>
              <a:off x="1997858" y="836231"/>
              <a:ext cx="665576" cy="1688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 담당자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cxnSp>
          <p:nvCxnSpPr>
            <p:cNvPr id="144" name="직선 연결선 143"/>
            <p:cNvCxnSpPr/>
            <p:nvPr/>
          </p:nvCxnSpPr>
          <p:spPr>
            <a:xfrm>
              <a:off x="1790645" y="1051221"/>
              <a:ext cx="108000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5" name="직선 화살표 연결선 144"/>
          <p:cNvCxnSpPr>
            <a:endCxn id="137" idx="0"/>
          </p:cNvCxnSpPr>
          <p:nvPr/>
        </p:nvCxnSpPr>
        <p:spPr>
          <a:xfrm>
            <a:off x="2014246" y="4018335"/>
            <a:ext cx="704" cy="28716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그룹 145"/>
          <p:cNvGrpSpPr/>
          <p:nvPr/>
        </p:nvGrpSpPr>
        <p:grpSpPr>
          <a:xfrm>
            <a:off x="2746399" y="4170388"/>
            <a:ext cx="1418658" cy="663937"/>
            <a:chOff x="6185085" y="3781560"/>
            <a:chExt cx="1970016" cy="910601"/>
          </a:xfrm>
        </p:grpSpPr>
        <p:sp>
          <p:nvSpPr>
            <p:cNvPr id="147" name="Text Box 119"/>
            <p:cNvSpPr txBox="1">
              <a:spLocks noChangeArrowheads="1"/>
            </p:cNvSpPr>
            <p:nvPr/>
          </p:nvSpPr>
          <p:spPr bwMode="auto">
            <a:xfrm>
              <a:off x="6185085" y="4523312"/>
              <a:ext cx="1970016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en-US" altLang="ko-KR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TR </a:t>
              </a:r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</a:t>
              </a:r>
              <a:r>
                <a:rPr lang="en-US" altLang="ko-KR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제외 건 승인</a:t>
              </a:r>
              <a:r>
                <a:rPr lang="en-US" altLang="ko-KR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반려 판단 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48" name="Text Box 119"/>
            <p:cNvSpPr txBox="1">
              <a:spLocks noChangeArrowheads="1"/>
            </p:cNvSpPr>
            <p:nvPr/>
          </p:nvSpPr>
          <p:spPr bwMode="auto">
            <a:xfrm>
              <a:off x="6650319" y="3781560"/>
              <a:ext cx="1039546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결재요청결과 확인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49" name="Picture 8"/>
            <p:cNvPicPr>
              <a:picLocks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3050" y="3968095"/>
              <a:ext cx="72000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50" name="순서도: 판단 149"/>
          <p:cNvSpPr/>
          <p:nvPr/>
        </p:nvSpPr>
        <p:spPr>
          <a:xfrm>
            <a:off x="2532793" y="5380832"/>
            <a:ext cx="712924" cy="393725"/>
          </a:xfrm>
          <a:prstGeom prst="flowChartDecision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류 </a:t>
            </a:r>
            <a:r>
              <a:rPr lang="en-US" altLang="ko-KR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?</a:t>
            </a:r>
          </a:p>
        </p:txBody>
      </p:sp>
      <p:sp>
        <p:nvSpPr>
          <p:cNvPr id="151" name="타원 150"/>
          <p:cNvSpPr>
            <a:spLocks noChangeAspect="1"/>
          </p:cNvSpPr>
          <p:nvPr/>
        </p:nvSpPr>
        <p:spPr>
          <a:xfrm>
            <a:off x="2686057" y="5905857"/>
            <a:ext cx="410279" cy="367459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8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</a:t>
            </a:r>
            <a:r>
              <a:rPr lang="en-US" altLang="ko-KR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TR</a:t>
            </a:r>
          </a:p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</a:t>
            </a:r>
            <a:endParaRPr lang="en-US" altLang="ko-KR" sz="800" dirty="0" smtClean="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/>
            <a:r>
              <a:rPr lang="ko-KR" altLang="en-US" sz="800" dirty="0" smtClean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종</a:t>
            </a:r>
            <a:r>
              <a:rPr lang="ko-KR" altLang="en-US" sz="8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료</a:t>
            </a:r>
          </a:p>
        </p:txBody>
      </p:sp>
      <p:cxnSp>
        <p:nvCxnSpPr>
          <p:cNvPr id="152" name="직선 화살표 연결선 151"/>
          <p:cNvCxnSpPr>
            <a:stCxn id="161" idx="3"/>
            <a:endCxn id="150" idx="1"/>
          </p:cNvCxnSpPr>
          <p:nvPr/>
        </p:nvCxnSpPr>
        <p:spPr>
          <a:xfrm flipV="1">
            <a:off x="2273519" y="5577695"/>
            <a:ext cx="259274" cy="371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직선 화살표 연결선 152"/>
          <p:cNvCxnSpPr>
            <a:stCxn id="150" idx="2"/>
            <a:endCxn id="151" idx="0"/>
          </p:cNvCxnSpPr>
          <p:nvPr/>
        </p:nvCxnSpPr>
        <p:spPr>
          <a:xfrm>
            <a:off x="2889255" y="5774557"/>
            <a:ext cx="1942" cy="1313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 Box 119"/>
          <p:cNvSpPr txBox="1">
            <a:spLocks noChangeArrowheads="1"/>
          </p:cNvSpPr>
          <p:nvPr/>
        </p:nvSpPr>
        <p:spPr bwMode="auto">
          <a:xfrm>
            <a:off x="2950212" y="5763731"/>
            <a:ext cx="17953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상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pSp>
        <p:nvGrpSpPr>
          <p:cNvPr id="155" name="그룹 154"/>
          <p:cNvGrpSpPr/>
          <p:nvPr/>
        </p:nvGrpSpPr>
        <p:grpSpPr>
          <a:xfrm>
            <a:off x="528667" y="5490678"/>
            <a:ext cx="777735" cy="415120"/>
            <a:chOff x="1790645" y="481877"/>
            <a:chExt cx="1080000" cy="569344"/>
          </a:xfrm>
        </p:grpSpPr>
        <p:sp>
          <p:nvSpPr>
            <p:cNvPr id="156" name="Text Box 119"/>
            <p:cNvSpPr txBox="1">
              <a:spLocks noChangeArrowheads="1"/>
            </p:cNvSpPr>
            <p:nvPr/>
          </p:nvSpPr>
          <p:spPr bwMode="auto">
            <a:xfrm>
              <a:off x="1997859" y="481877"/>
              <a:ext cx="665576" cy="50654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 담당자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또는</a:t>
              </a:r>
              <a:endPara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 책임자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cxnSp>
          <p:nvCxnSpPr>
            <p:cNvPr id="157" name="직선 연결선 156"/>
            <p:cNvCxnSpPr/>
            <p:nvPr/>
          </p:nvCxnSpPr>
          <p:spPr>
            <a:xfrm>
              <a:off x="1790645" y="1051221"/>
              <a:ext cx="108000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그룹 157"/>
          <p:cNvGrpSpPr/>
          <p:nvPr/>
        </p:nvGrpSpPr>
        <p:grpSpPr>
          <a:xfrm>
            <a:off x="1546874" y="5253003"/>
            <a:ext cx="936154" cy="663937"/>
            <a:chOff x="1762743" y="4909865"/>
            <a:chExt cx="1299988" cy="910601"/>
          </a:xfrm>
        </p:grpSpPr>
        <p:sp>
          <p:nvSpPr>
            <p:cNvPr id="159" name="Text Box 119"/>
            <p:cNvSpPr txBox="1">
              <a:spLocks noChangeArrowheads="1"/>
            </p:cNvSpPr>
            <p:nvPr/>
          </p:nvSpPr>
          <p:spPr bwMode="auto">
            <a:xfrm>
              <a:off x="1762743" y="5651617"/>
              <a:ext cx="1299988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en-US" altLang="ko-KR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TR </a:t>
              </a:r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건 정상 전송 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60" name="Text Box 119"/>
            <p:cNvSpPr txBox="1">
              <a:spLocks noChangeArrowheads="1"/>
            </p:cNvSpPr>
            <p:nvPr/>
          </p:nvSpPr>
          <p:spPr bwMode="auto">
            <a:xfrm>
              <a:off x="1927467" y="4909865"/>
              <a:ext cx="970539" cy="1688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en-US" altLang="ko-KR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KoFIU </a:t>
              </a:r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 관리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61" name="Picture 9"/>
            <p:cNvPicPr>
              <a:picLocks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1800" y="5090283"/>
              <a:ext cx="72000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162" name="직선 화살표 연결선 161"/>
          <p:cNvCxnSpPr>
            <a:stCxn id="137" idx="2"/>
            <a:endCxn id="160" idx="0"/>
          </p:cNvCxnSpPr>
          <p:nvPr/>
        </p:nvCxnSpPr>
        <p:spPr>
          <a:xfrm>
            <a:off x="2014950" y="4699220"/>
            <a:ext cx="0" cy="55378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화살표 연결선 162"/>
          <p:cNvCxnSpPr/>
          <p:nvPr/>
        </p:nvCxnSpPr>
        <p:spPr>
          <a:xfrm>
            <a:off x="3240200" y="5577695"/>
            <a:ext cx="322828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 Box 119"/>
          <p:cNvSpPr txBox="1">
            <a:spLocks noChangeArrowheads="1"/>
          </p:cNvSpPr>
          <p:nvPr/>
        </p:nvSpPr>
        <p:spPr bwMode="auto">
          <a:xfrm>
            <a:off x="3284061" y="5427881"/>
            <a:ext cx="17953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</a:t>
            </a:r>
            <a:r>
              <a: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류</a:t>
            </a:r>
          </a:p>
        </p:txBody>
      </p:sp>
      <p:sp>
        <p:nvSpPr>
          <p:cNvPr id="165" name="Text Box 119"/>
          <p:cNvSpPr txBox="1">
            <a:spLocks noChangeArrowheads="1"/>
          </p:cNvSpPr>
          <p:nvPr/>
        </p:nvSpPr>
        <p:spPr bwMode="auto">
          <a:xfrm>
            <a:off x="3549661" y="5788201"/>
            <a:ext cx="56906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류내용 확인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6" name="Text Box 119"/>
          <p:cNvSpPr txBox="1">
            <a:spLocks noChangeArrowheads="1"/>
          </p:cNvSpPr>
          <p:nvPr/>
        </p:nvSpPr>
        <p:spPr bwMode="auto">
          <a:xfrm>
            <a:off x="3523212" y="5119431"/>
            <a:ext cx="621965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송이력조회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defTabSz="1028700"/>
            <a:r>
              <a:rPr lang="en-US" altLang="ko-KR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STR </a:t>
            </a:r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류확인</a:t>
            </a:r>
            <a:endParaRPr lang="en-US" altLang="ko-KR" sz="800" dirty="0" smtClean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167" name="Picture 11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515" y="5381656"/>
            <a:ext cx="518489" cy="3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그룹 2"/>
          <p:cNvGrpSpPr/>
          <p:nvPr/>
        </p:nvGrpSpPr>
        <p:grpSpPr>
          <a:xfrm>
            <a:off x="528667" y="4748047"/>
            <a:ext cx="777735" cy="156754"/>
            <a:chOff x="528667" y="4710497"/>
            <a:chExt cx="777735" cy="156754"/>
          </a:xfrm>
        </p:grpSpPr>
        <p:sp>
          <p:nvSpPr>
            <p:cNvPr id="175" name="Text Box 119"/>
            <p:cNvSpPr txBox="1">
              <a:spLocks noChangeArrowheads="1"/>
            </p:cNvSpPr>
            <p:nvPr/>
          </p:nvSpPr>
          <p:spPr bwMode="auto">
            <a:xfrm>
              <a:off x="677889" y="4710497"/>
              <a:ext cx="479298" cy="12311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보고 책임자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cxnSp>
          <p:nvCxnSpPr>
            <p:cNvPr id="176" name="직선 연결선 175"/>
            <p:cNvCxnSpPr/>
            <p:nvPr/>
          </p:nvCxnSpPr>
          <p:spPr>
            <a:xfrm>
              <a:off x="528667" y="4867251"/>
              <a:ext cx="77773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7" name="그룹 176"/>
          <p:cNvGrpSpPr/>
          <p:nvPr/>
        </p:nvGrpSpPr>
        <p:grpSpPr>
          <a:xfrm>
            <a:off x="4619868" y="5265107"/>
            <a:ext cx="575479" cy="633993"/>
            <a:chOff x="4782935" y="4788943"/>
            <a:chExt cx="834261" cy="915296"/>
          </a:xfrm>
        </p:grpSpPr>
        <p:pic>
          <p:nvPicPr>
            <p:cNvPr id="178" name="그림 177"/>
            <p:cNvPicPr preferRelativeResize="0">
              <a:picLocks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842000" y="4982400"/>
              <a:ext cx="720000" cy="540000"/>
            </a:xfrm>
            <a:prstGeom prst="rect">
              <a:avLst/>
            </a:prstGeom>
          </p:spPr>
        </p:pic>
        <p:sp>
          <p:nvSpPr>
            <p:cNvPr id="179" name="Text Box 119"/>
            <p:cNvSpPr txBox="1">
              <a:spLocks noChangeArrowheads="1"/>
            </p:cNvSpPr>
            <p:nvPr/>
          </p:nvSpPr>
          <p:spPr bwMode="auto">
            <a:xfrm>
              <a:off x="4787583" y="5526504"/>
              <a:ext cx="824965" cy="1777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오류내용 확인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sp>
          <p:nvSpPr>
            <p:cNvPr id="180" name="Text Box 119"/>
            <p:cNvSpPr txBox="1">
              <a:spLocks noChangeArrowheads="1"/>
            </p:cNvSpPr>
            <p:nvPr/>
          </p:nvSpPr>
          <p:spPr bwMode="auto">
            <a:xfrm>
              <a:off x="4782935" y="4788943"/>
              <a:ext cx="834261" cy="1777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1028700"/>
              <a:r>
                <a:rPr lang="en-US" altLang="ko-KR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STR </a:t>
              </a:r>
              <a:r>
                <a:rPr lang="ko-KR" altLang="en-US" sz="800" dirty="0" smtClean="0"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오류확인</a:t>
              </a:r>
              <a:endParaRPr lang="ko-KR" altLang="en-US" sz="800" dirty="0"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</p:grpSp>
      <p:cxnSp>
        <p:nvCxnSpPr>
          <p:cNvPr id="181" name="직선 화살표 연결선 180"/>
          <p:cNvCxnSpPr>
            <a:stCxn id="178" idx="3"/>
            <a:endCxn id="183" idx="1"/>
          </p:cNvCxnSpPr>
          <p:nvPr/>
        </p:nvCxnSpPr>
        <p:spPr>
          <a:xfrm>
            <a:off x="5157272" y="5586127"/>
            <a:ext cx="708961" cy="362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 Box 119"/>
          <p:cNvSpPr txBox="1">
            <a:spLocks noChangeArrowheads="1"/>
          </p:cNvSpPr>
          <p:nvPr/>
        </p:nvSpPr>
        <p:spPr bwMode="auto">
          <a:xfrm>
            <a:off x="5342722" y="5447339"/>
            <a:ext cx="35907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정보고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183" name="그림 182"/>
          <p:cNvPicPr preferRelativeResize="0"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5866233" y="5402732"/>
            <a:ext cx="496659" cy="374039"/>
          </a:xfrm>
          <a:prstGeom prst="rect">
            <a:avLst/>
          </a:prstGeom>
        </p:spPr>
      </p:pic>
      <p:sp>
        <p:nvSpPr>
          <p:cNvPr id="184" name="Text Box 119"/>
          <p:cNvSpPr txBox="1">
            <a:spLocks noChangeArrowheads="1"/>
          </p:cNvSpPr>
          <p:nvPr/>
        </p:nvSpPr>
        <p:spPr bwMode="auto">
          <a:xfrm>
            <a:off x="5775953" y="5265107"/>
            <a:ext cx="658835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심거래 보고서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85" name="Text Box 119"/>
          <p:cNvSpPr txBox="1">
            <a:spLocks noChangeArrowheads="1"/>
          </p:cNvSpPr>
          <p:nvPr/>
        </p:nvSpPr>
        <p:spPr bwMode="auto">
          <a:xfrm>
            <a:off x="5680146" y="5761307"/>
            <a:ext cx="868829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오류내용 수정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86" name="직선 화살표 연결선 185"/>
          <p:cNvCxnSpPr>
            <a:stCxn id="167" idx="3"/>
            <a:endCxn id="178" idx="1"/>
          </p:cNvCxnSpPr>
          <p:nvPr/>
        </p:nvCxnSpPr>
        <p:spPr>
          <a:xfrm>
            <a:off x="4088005" y="5578519"/>
            <a:ext cx="572611" cy="760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꺾인 연결선 186"/>
          <p:cNvCxnSpPr>
            <a:stCxn id="183" idx="3"/>
          </p:cNvCxnSpPr>
          <p:nvPr/>
        </p:nvCxnSpPr>
        <p:spPr>
          <a:xfrm flipH="1" flipV="1">
            <a:off x="2026415" y="4978839"/>
            <a:ext cx="4336476" cy="610912"/>
          </a:xfrm>
          <a:prstGeom prst="bentConnector3">
            <a:avLst>
              <a:gd name="adj1" fmla="val -3636"/>
            </a:avLst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 Box 119"/>
          <p:cNvSpPr txBox="1">
            <a:spLocks noChangeArrowheads="1"/>
          </p:cNvSpPr>
          <p:nvPr/>
        </p:nvSpPr>
        <p:spPr bwMode="auto">
          <a:xfrm>
            <a:off x="6030571" y="5007761"/>
            <a:ext cx="35907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1028700"/>
            <a:r>
              <a:rPr lang="ko-KR" altLang="en-US" sz="800" dirty="0" smtClean="0"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정보고</a:t>
            </a:r>
            <a:endParaRPr lang="ko-KR" altLang="en-US" sz="800" dirty="0"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189" name="Picture 88" descr="예시"/>
          <p:cNvPicPr>
            <a:picLocks noChangeAspect="1" noChangeArrowheads="1"/>
          </p:cNvPicPr>
          <p:nvPr/>
        </p:nvPicPr>
        <p:blipFill>
          <a:blip r:embed="rId1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55875" y="209909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" name="그림 192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7605" y="2268373"/>
            <a:ext cx="318769" cy="318769"/>
          </a:xfrm>
          <a:prstGeom prst="rect">
            <a:avLst/>
          </a:prstGeom>
        </p:spPr>
      </p:pic>
      <p:pic>
        <p:nvPicPr>
          <p:cNvPr id="196" name="그림 195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7646" y="3196627"/>
            <a:ext cx="318769" cy="318769"/>
          </a:xfrm>
          <a:prstGeom prst="rect">
            <a:avLst/>
          </a:prstGeom>
        </p:spPr>
      </p:pic>
      <p:pic>
        <p:nvPicPr>
          <p:cNvPr id="200" name="그림 199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7712" y="3393410"/>
            <a:ext cx="320400" cy="320400"/>
          </a:xfrm>
          <a:prstGeom prst="rect">
            <a:avLst/>
          </a:prstGeom>
        </p:spPr>
      </p:pic>
      <p:pic>
        <p:nvPicPr>
          <p:cNvPr id="202" name="그림 201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7712" y="3869069"/>
            <a:ext cx="320400" cy="320400"/>
          </a:xfrm>
          <a:prstGeom prst="rect">
            <a:avLst/>
          </a:prstGeom>
        </p:spPr>
      </p:pic>
      <p:pic>
        <p:nvPicPr>
          <p:cNvPr id="203" name="그림 202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1764" y="2360081"/>
            <a:ext cx="320400" cy="320400"/>
          </a:xfrm>
          <a:prstGeom prst="rect">
            <a:avLst/>
          </a:prstGeom>
        </p:spPr>
      </p:pic>
      <p:pic>
        <p:nvPicPr>
          <p:cNvPr id="204" name="그림 203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7712" y="4872796"/>
            <a:ext cx="320400" cy="320400"/>
          </a:xfrm>
          <a:prstGeom prst="rect">
            <a:avLst/>
          </a:prstGeom>
        </p:spPr>
      </p:pic>
      <p:sp>
        <p:nvSpPr>
          <p:cNvPr id="16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1484815" y="4840082"/>
            <a:ext cx="5232381" cy="1473553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71" name="Text Box 1249"/>
          <p:cNvSpPr txBox="1">
            <a:spLocks noChangeArrowheads="1"/>
          </p:cNvSpPr>
          <p:nvPr/>
        </p:nvSpPr>
        <p:spPr bwMode="auto">
          <a:xfrm>
            <a:off x="5098795" y="4616635"/>
            <a:ext cx="205222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647700" fontAlgn="auto">
              <a:spcBef>
                <a:spcPts val="0"/>
              </a:spcBef>
              <a:defRPr/>
            </a:pPr>
            <a:r>
              <a:rPr kumimoji="0" lang="en-US" altLang="ko-KR" sz="900" b="1" dirty="0" smtClean="0">
                <a:solidFill>
                  <a:srgbClr val="FF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※ </a:t>
            </a:r>
            <a:r>
              <a:rPr lang="en-US" altLang="ko-KR" sz="900" b="1" dirty="0" smtClean="0">
                <a:solidFill>
                  <a:srgbClr val="FF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ko-KR" altLang="en-US" sz="900" b="1" dirty="0" smtClean="0">
                <a:solidFill>
                  <a:srgbClr val="FF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량연계보고 구축시 절차</a:t>
            </a:r>
            <a:endParaRPr kumimoji="0" lang="en-US" altLang="ko-KR" sz="900" b="1" dirty="0">
              <a:solidFill>
                <a:srgbClr val="FF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27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5 </a:t>
            </a:r>
            <a:r>
              <a:rPr lang="ko-KR" altLang="en-US" dirty="0" smtClean="0"/>
              <a:t>주요기능 </a:t>
            </a:r>
            <a:r>
              <a:rPr lang="en-US" altLang="ko-KR" dirty="0" smtClean="0"/>
              <a:t>(1/4)</a:t>
            </a:r>
            <a:r>
              <a:rPr lang="ko-KR" altLang="en-US" dirty="0" smtClean="0"/>
              <a:t> </a:t>
            </a:r>
            <a:r>
              <a:rPr lang="en-US" altLang="ko-KR" dirty="0" smtClean="0"/>
              <a:t>&gt; </a:t>
            </a:r>
            <a:r>
              <a:rPr lang="ko-KR" altLang="en-US" sz="1400" dirty="0"/>
              <a:t>점검대상 </a:t>
            </a:r>
            <a:r>
              <a:rPr lang="ko-KR" altLang="en-US" sz="1400" dirty="0" smtClean="0"/>
              <a:t>모니터링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추출 건을 조회하고 보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외 건에 대해 결재상신하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점검대상 모니터링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내용</a:t>
                </a:r>
              </a:p>
            </p:txBody>
          </p:sp>
          <p:sp>
            <p:nvSpPr>
              <p:cNvPr id="22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156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7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심거래보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STR)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건을 조회하고 보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외 건에 대해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결재상신하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58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943902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9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248171"/>
            <a:ext cx="2190118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 추출건에 대한 요약정보 및 상세정보 화면으로 이동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/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제외 된 건에 대해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를 위해 결재상신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60" name="직선 연결선 159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701348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61" name="그림 16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162" name="그림 16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938323"/>
            <a:ext cx="318769" cy="318769"/>
          </a:xfrm>
          <a:prstGeom prst="rect">
            <a:avLst/>
          </a:prstGeom>
        </p:spPr>
      </p:pic>
      <p:grpSp>
        <p:nvGrpSpPr>
          <p:cNvPr id="7" name="그룹 6"/>
          <p:cNvGrpSpPr/>
          <p:nvPr/>
        </p:nvGrpSpPr>
        <p:grpSpPr>
          <a:xfrm>
            <a:off x="466986" y="2352025"/>
            <a:ext cx="6038850" cy="3955466"/>
            <a:chOff x="466986" y="2352025"/>
            <a:chExt cx="6038850" cy="3955466"/>
          </a:xfrm>
        </p:grpSpPr>
        <p:grpSp>
          <p:nvGrpSpPr>
            <p:cNvPr id="164" name="그룹 163"/>
            <p:cNvGrpSpPr/>
            <p:nvPr/>
          </p:nvGrpSpPr>
          <p:grpSpPr>
            <a:xfrm>
              <a:off x="469976" y="2352025"/>
              <a:ext cx="1569472" cy="188600"/>
              <a:chOff x="361442" y="2178385"/>
              <a:chExt cx="1569472" cy="188600"/>
            </a:xfrm>
          </p:grpSpPr>
          <p:sp>
            <p:nvSpPr>
              <p:cNvPr id="166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67" name="Rt40" descr="도식1"/>
              <p:cNvSpPr>
                <a:spLocks noChangeArrowheads="1"/>
              </p:cNvSpPr>
              <p:nvPr/>
            </p:nvSpPr>
            <p:spPr bwMode="auto">
              <a:xfrm>
                <a:off x="678908" y="2195741"/>
                <a:ext cx="934551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점검대상 모니터링</a:t>
                </a:r>
              </a:p>
            </p:txBody>
          </p:sp>
        </p:grpSp>
        <p:pic>
          <p:nvPicPr>
            <p:cNvPr id="171" name="그림 17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6986" y="2545116"/>
              <a:ext cx="6038850" cy="3762375"/>
            </a:xfrm>
            <a:prstGeom prst="rect">
              <a:avLst/>
            </a:prstGeom>
          </p:spPr>
        </p:pic>
      </p:grp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pic>
        <p:nvPicPr>
          <p:cNvPr id="31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29403" y="2426680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298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5 </a:t>
            </a:r>
            <a:r>
              <a:rPr lang="ko-KR" altLang="en-US" dirty="0"/>
              <a:t>주요기능 </a:t>
            </a:r>
            <a:r>
              <a:rPr lang="en-US" altLang="ko-KR" dirty="0" smtClean="0"/>
              <a:t>(2/4) &gt; </a:t>
            </a:r>
            <a:r>
              <a:rPr lang="en-US" altLang="ko-KR" dirty="0"/>
              <a:t>STR</a:t>
            </a:r>
            <a:r>
              <a:rPr lang="ko-KR" altLang="en-US" dirty="0"/>
              <a:t>상세조회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추출 건에 대한 상세정보를 확인하여 보고 또는 제외 처리하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점검대상 상세정보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내용</a:t>
                </a: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2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641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건에 대한 상세정보를 확인하여 보고 또는 제외 처리하는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능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 판단을 위한 거래내역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정보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좌정보 등 제공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943902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7" y="4248171"/>
            <a:ext cx="2290754" cy="795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건에 대해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판단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경우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FIU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에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처리를 할 수 있도록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거래보고서 화면으로 이동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당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 건에 대해 자금원천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거래목적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제외사유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등록하여 제외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처리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701348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938323"/>
            <a:ext cx="318769" cy="318769"/>
          </a:xfrm>
          <a:prstGeom prst="rect">
            <a:avLst/>
          </a:prstGeom>
        </p:spPr>
      </p:pic>
      <p:grpSp>
        <p:nvGrpSpPr>
          <p:cNvPr id="7" name="그룹 6"/>
          <p:cNvGrpSpPr/>
          <p:nvPr/>
        </p:nvGrpSpPr>
        <p:grpSpPr>
          <a:xfrm>
            <a:off x="469976" y="2352025"/>
            <a:ext cx="6069369" cy="3955466"/>
            <a:chOff x="469976" y="2352025"/>
            <a:chExt cx="6069369" cy="3955466"/>
          </a:xfrm>
        </p:grpSpPr>
        <p:grpSp>
          <p:nvGrpSpPr>
            <p:cNvPr id="31" name="그룹 30"/>
            <p:cNvGrpSpPr/>
            <p:nvPr/>
          </p:nvGrpSpPr>
          <p:grpSpPr>
            <a:xfrm>
              <a:off x="469976" y="2352025"/>
              <a:ext cx="1569472" cy="188600"/>
              <a:chOff x="361442" y="2178385"/>
              <a:chExt cx="1569472" cy="188600"/>
            </a:xfrm>
          </p:grpSpPr>
          <p:sp>
            <p:nvSpPr>
              <p:cNvPr id="33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34" name="Rt40" descr="도식1"/>
              <p:cNvSpPr>
                <a:spLocks noChangeArrowheads="1"/>
              </p:cNvSpPr>
              <p:nvPr/>
            </p:nvSpPr>
            <p:spPr bwMode="auto">
              <a:xfrm>
                <a:off x="678909" y="2195741"/>
                <a:ext cx="934551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점검대상 상세정보</a:t>
                </a:r>
              </a:p>
            </p:txBody>
          </p:sp>
        </p:grpSp>
        <p:pic>
          <p:nvPicPr>
            <p:cNvPr id="54" name="그림 5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4241" y="2560910"/>
              <a:ext cx="6055104" cy="3746581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sp>
        <p:nvSpPr>
          <p:cNvPr id="3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pic>
        <p:nvPicPr>
          <p:cNvPr id="32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71230" y="2441029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5125" y="3715947"/>
            <a:ext cx="2619233" cy="2001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88" descr="예시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939869" y="3654714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616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5 </a:t>
            </a:r>
            <a:r>
              <a:rPr lang="ko-KR" altLang="en-US" dirty="0"/>
              <a:t>주요기능 </a:t>
            </a:r>
            <a:r>
              <a:rPr lang="en-US" altLang="ko-KR" dirty="0" smtClean="0"/>
              <a:t>(3/4</a:t>
            </a:r>
            <a:r>
              <a:rPr lang="en-US" altLang="ko-KR" dirty="0"/>
              <a:t>) </a:t>
            </a:r>
            <a:r>
              <a:rPr lang="en-US" altLang="ko-KR" dirty="0" smtClean="0"/>
              <a:t>&gt; </a:t>
            </a:r>
            <a:r>
              <a:rPr lang="en-US" altLang="ko-KR" dirty="0"/>
              <a:t>STR</a:t>
            </a:r>
            <a:r>
              <a:rPr lang="ko-KR" altLang="en-US" dirty="0"/>
              <a:t>보고서 작성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추출 건을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보고할 내용을 작성 및 수정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확인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의심거래보고서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내용</a:t>
                </a: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2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심거래 추출 건을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의심거래로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판단하여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oFIU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하기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해 의심거래보고서를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작성하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943902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248171"/>
            <a:ext cx="21901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기관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대상자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당행계좌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타행계좌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거래내역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첨부파일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첨부자료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심스러운 정도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객관식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질의 응답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가서술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정보를 입력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701348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938323"/>
            <a:ext cx="318769" cy="318769"/>
          </a:xfrm>
          <a:prstGeom prst="rect">
            <a:avLst/>
          </a:prstGeom>
        </p:spPr>
      </p:pic>
      <p:grpSp>
        <p:nvGrpSpPr>
          <p:cNvPr id="3" name="그룹 2"/>
          <p:cNvGrpSpPr/>
          <p:nvPr/>
        </p:nvGrpSpPr>
        <p:grpSpPr>
          <a:xfrm>
            <a:off x="462832" y="2352025"/>
            <a:ext cx="6084891" cy="3955466"/>
            <a:chOff x="462832" y="2352025"/>
            <a:chExt cx="6084891" cy="3955466"/>
          </a:xfrm>
        </p:grpSpPr>
        <p:grpSp>
          <p:nvGrpSpPr>
            <p:cNvPr id="7" name="그룹 6"/>
            <p:cNvGrpSpPr/>
            <p:nvPr/>
          </p:nvGrpSpPr>
          <p:grpSpPr>
            <a:xfrm>
              <a:off x="462832" y="2352025"/>
              <a:ext cx="6084891" cy="3955466"/>
              <a:chOff x="462832" y="2352025"/>
              <a:chExt cx="6084891" cy="3955466"/>
            </a:xfrm>
          </p:grpSpPr>
          <p:grpSp>
            <p:nvGrpSpPr>
              <p:cNvPr id="31" name="그룹 30"/>
              <p:cNvGrpSpPr/>
              <p:nvPr/>
            </p:nvGrpSpPr>
            <p:grpSpPr>
              <a:xfrm>
                <a:off x="469976" y="2352025"/>
                <a:ext cx="1569472" cy="188600"/>
                <a:chOff x="361442" y="2178385"/>
                <a:chExt cx="1569472" cy="188600"/>
              </a:xfrm>
            </p:grpSpPr>
            <p:sp>
              <p:nvSpPr>
                <p:cNvPr id="33" name="Text Box 358" descr="도식1"/>
                <p:cNvSpPr>
                  <a:spLocks noChangeArrowheads="1"/>
                </p:cNvSpPr>
                <p:nvPr/>
              </p:nvSpPr>
              <p:spPr bwMode="auto">
                <a:xfrm>
                  <a:off x="361442" y="2178385"/>
                  <a:ext cx="1569472" cy="1886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rgbClr val="0070C0"/>
                    </a:gs>
                  </a:gsLst>
                  <a:lin ang="10800000" scaled="1"/>
                  <a:tileRect/>
                </a:gradFill>
                <a:ln w="12700" cap="rnd" cmpd="sng">
                  <a:noFill/>
                  <a:prstDash val="solid"/>
                  <a:headEnd type="none" w="lg" len="med"/>
                  <a:tailEnd type="none" w="lg" len="med"/>
                </a:ln>
                <a:effectLst>
                  <a:outerShdw blurRad="38100" dist="12700" dir="5400000" sx="99000" sy="99000" algn="t" rotWithShape="0">
                    <a:prstClr val="black">
                      <a:alpha val="25000"/>
                    </a:prstClr>
                  </a:outerShdw>
                </a:effectLst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tIns="180000"/>
                <a:lstStyle/>
                <a:p>
                  <a:pPr algn="ctr" latinLnBrk="0"/>
                  <a:endParaRPr lang="ko-KR" altLang="en-US" sz="1000" b="1" dirty="0">
                    <a:gradFill>
                      <a:gsLst>
                        <a:gs pos="0">
                          <a:prstClr val="white"/>
                        </a:gs>
                        <a:gs pos="100000">
                          <a:prstClr val="white"/>
                        </a:gs>
                      </a:gsLst>
                      <a:lin ang="5400000" scaled="0"/>
                    </a:gradFill>
                    <a:latin typeface="KoPub돋움체 Bold" panose="00000800000000000000" pitchFamily="2" charset="-127"/>
                    <a:ea typeface="KoPub돋움체 Bold" panose="00000800000000000000" pitchFamily="2" charset="-127"/>
                  </a:endParaRPr>
                </a:p>
              </p:txBody>
            </p:sp>
            <p:sp>
              <p:nvSpPr>
                <p:cNvPr id="34" name="Rt40" descr="도식1"/>
                <p:cNvSpPr>
                  <a:spLocks noChangeArrowheads="1"/>
                </p:cNvSpPr>
                <p:nvPr/>
              </p:nvSpPr>
              <p:spPr bwMode="auto">
                <a:xfrm>
                  <a:off x="753450" y="2195741"/>
                  <a:ext cx="785471" cy="153888"/>
                </a:xfrm>
                <a:prstGeom prst="rect">
                  <a:avLst/>
                </a:prstGeom>
                <a:noFill/>
                <a:ln w="12700" cap="rnd" cmpd="sng">
                  <a:noFill/>
                  <a:prstDash val="solid"/>
                  <a:headEnd type="none" w="lg" len="med"/>
                  <a:tailEnd type="none" w="lg" len="med"/>
                </a:ln>
                <a:effectLst/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lIns="0" tIns="0" rIns="0" bIns="0" anchor="ctr" anchorCtr="0">
                  <a:spAutoFit/>
                  <a:scene3d>
                    <a:camera prst="orthographicFront"/>
                    <a:lightRig rig="threePt" dir="t"/>
                  </a:scene3d>
                  <a:sp3d>
                    <a:bevelT w="0" h="1270"/>
                  </a:sp3d>
                </a:bodyPr>
                <a:lstStyle/>
                <a:p>
                  <a:pPr algn="ctr" latinLnBrk="0"/>
                  <a:r>
                    <a:rPr lang="ko-KR" altLang="en-US" sz="1000" dirty="0" smtClean="0">
                      <a:solidFill>
                        <a:prstClr val="white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의심거래보고서</a:t>
                  </a:r>
                </a:p>
              </p:txBody>
            </p:sp>
          </p:grpSp>
          <p:pic>
            <p:nvPicPr>
              <p:cNvPr id="35" name="그림 3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62832" y="2565176"/>
                <a:ext cx="6084891" cy="3742315"/>
              </a:xfrm>
              <a:prstGeom prst="rect">
                <a:avLst/>
              </a:prstGeom>
            </p:spPr>
          </p:pic>
        </p:grpSp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64768" y="5445225"/>
              <a:ext cx="190500" cy="396044"/>
            </a:xfrm>
            <a:prstGeom prst="rect">
              <a:avLst/>
            </a:prstGeom>
          </p:spPr>
        </p:pic>
      </p:grpSp>
      <p:sp>
        <p:nvSpPr>
          <p:cNvPr id="3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pic>
        <p:nvPicPr>
          <p:cNvPr id="36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58207" y="249175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7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688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2 </a:t>
            </a:r>
            <a:r>
              <a:rPr lang="ko-KR" altLang="en-US" dirty="0" smtClean="0"/>
              <a:t>고가용성 및 안정성 확보 방안 </a:t>
            </a:r>
            <a:r>
              <a:rPr lang="en-US" altLang="ko-KR" dirty="0" smtClean="0"/>
              <a:t>(3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6581"/>
            <a:ext cx="9433048" cy="394532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네트워크 스위치 자체의 장애를 대비하여 네트워크 스위치를 이중화 구성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각 서버에 네트워크 카드를 이중화하여 장애 발생 시 자동 절체가 되도록 구성하여 장애 시에도 거래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연속성이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공되도록 구성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네트워크 장애 시 안정성 확보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135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1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152" name="그룹 151"/>
          <p:cNvGrpSpPr/>
          <p:nvPr/>
        </p:nvGrpSpPr>
        <p:grpSpPr>
          <a:xfrm>
            <a:off x="6352356" y="2186781"/>
            <a:ext cx="3183530" cy="4302919"/>
            <a:chOff x="6352356" y="2186781"/>
            <a:chExt cx="3183530" cy="4302919"/>
          </a:xfrm>
        </p:grpSpPr>
        <p:sp>
          <p:nvSpPr>
            <p:cNvPr id="153" name="Freeform 78"/>
            <p:cNvSpPr>
              <a:spLocks/>
            </p:cNvSpPr>
            <p:nvPr/>
          </p:nvSpPr>
          <p:spPr bwMode="auto">
            <a:xfrm flipH="1">
              <a:off x="6352356" y="6024479"/>
              <a:ext cx="341764" cy="251430"/>
            </a:xfrm>
            <a:custGeom>
              <a:avLst/>
              <a:gdLst>
                <a:gd name="T0" fmla="*/ 0 w 204"/>
                <a:gd name="T1" fmla="*/ 1031 h 91"/>
                <a:gd name="T2" fmla="*/ 208 w 204"/>
                <a:gd name="T3" fmla="*/ 1031 h 91"/>
                <a:gd name="T4" fmla="*/ 314 w 204"/>
                <a:gd name="T5" fmla="*/ 0 h 91"/>
                <a:gd name="T6" fmla="*/ 106 w 204"/>
                <a:gd name="T7" fmla="*/ 0 h 91"/>
                <a:gd name="T8" fmla="*/ 0 w 204"/>
                <a:gd name="T9" fmla="*/ 1031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4"/>
                <a:gd name="T16" fmla="*/ 0 h 91"/>
                <a:gd name="T17" fmla="*/ 204 w 204"/>
                <a:gd name="T18" fmla="*/ 91 h 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4" h="91">
                  <a:moveTo>
                    <a:pt x="0" y="91"/>
                  </a:moveTo>
                  <a:lnTo>
                    <a:pt x="136" y="91"/>
                  </a:lnTo>
                  <a:lnTo>
                    <a:pt x="204" y="0"/>
                  </a:lnTo>
                  <a:lnTo>
                    <a:pt x="68" y="0"/>
                  </a:lnTo>
                  <a:lnTo>
                    <a:pt x="0" y="9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4D4D4D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0" tIns="0" rIns="0" bIns="0" anchor="ctr"/>
            <a:lstStyle/>
            <a:p>
              <a:endPara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154" name="그룹 153"/>
            <p:cNvGrpSpPr/>
            <p:nvPr/>
          </p:nvGrpSpPr>
          <p:grpSpPr>
            <a:xfrm>
              <a:off x="6451724" y="2186781"/>
              <a:ext cx="3084162" cy="4268291"/>
              <a:chOff x="6451724" y="2186781"/>
              <a:chExt cx="2943389" cy="4268291"/>
            </a:xfrm>
          </p:grpSpPr>
          <p:sp>
            <p:nvSpPr>
              <p:cNvPr id="156" name="AutoShape 79"/>
              <p:cNvSpPr>
                <a:spLocks noChangeArrowheads="1"/>
              </p:cNvSpPr>
              <p:nvPr/>
            </p:nvSpPr>
            <p:spPr bwMode="auto">
              <a:xfrm>
                <a:off x="6451724" y="2186781"/>
                <a:ext cx="2901233" cy="4098161"/>
              </a:xfrm>
              <a:prstGeom prst="roundRect">
                <a:avLst>
                  <a:gd name="adj" fmla="val 1500"/>
                </a:avLst>
              </a:prstGeom>
              <a:solidFill>
                <a:srgbClr val="F8F8F8"/>
              </a:solidFill>
              <a:ln w="6350" algn="ctr">
                <a:solidFill>
                  <a:srgbClr val="D5D5D5"/>
                </a:solidFill>
                <a:prstDash val="dash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57" name="AutoShape 81"/>
              <p:cNvSpPr>
                <a:spLocks noChangeArrowheads="1"/>
              </p:cNvSpPr>
              <p:nvPr/>
            </p:nvSpPr>
            <p:spPr bwMode="auto">
              <a:xfrm>
                <a:off x="6493880" y="2221409"/>
                <a:ext cx="2901233" cy="4233663"/>
              </a:xfrm>
              <a:prstGeom prst="roundRect">
                <a:avLst>
                  <a:gd name="adj" fmla="val 1500"/>
                </a:avLst>
              </a:prstGeom>
              <a:noFill/>
              <a:ln w="6350" algn="ctr">
                <a:solidFill>
                  <a:srgbClr val="D5D5D5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pic>
          <p:nvPicPr>
            <p:cNvPr id="155" name="Picture 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8506827" y="5890483"/>
              <a:ext cx="915386" cy="59921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</p:pic>
      </p:grpSp>
      <p:grpSp>
        <p:nvGrpSpPr>
          <p:cNvPr id="158" name="Group 185"/>
          <p:cNvGrpSpPr>
            <a:grpSpLocks/>
          </p:cNvGrpSpPr>
          <p:nvPr/>
        </p:nvGrpSpPr>
        <p:grpSpPr bwMode="auto">
          <a:xfrm>
            <a:off x="3440915" y="2203450"/>
            <a:ext cx="2916241" cy="4248151"/>
            <a:chOff x="2213" y="1388"/>
            <a:chExt cx="1837" cy="2676"/>
          </a:xfrm>
        </p:grpSpPr>
        <p:sp>
          <p:nvSpPr>
            <p:cNvPr id="159" name="Rectangle 158"/>
            <p:cNvSpPr>
              <a:spLocks noChangeArrowheads="1"/>
            </p:cNvSpPr>
            <p:nvPr/>
          </p:nvSpPr>
          <p:spPr bwMode="auto">
            <a:xfrm>
              <a:off x="2213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kumimoji="0" lang="ko-KR" altLang="en-US" sz="1800" dirty="0"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endParaRPr>
            </a:p>
          </p:txBody>
        </p:sp>
        <p:grpSp>
          <p:nvGrpSpPr>
            <p:cNvPr id="160" name="Group 179"/>
            <p:cNvGrpSpPr>
              <a:grpSpLocks/>
            </p:cNvGrpSpPr>
            <p:nvPr/>
          </p:nvGrpSpPr>
          <p:grpSpPr bwMode="auto">
            <a:xfrm>
              <a:off x="2213" y="1388"/>
              <a:ext cx="1240" cy="136"/>
              <a:chOff x="2286" y="1388"/>
              <a:chExt cx="1240" cy="136"/>
            </a:xfrm>
          </p:grpSpPr>
          <p:grpSp>
            <p:nvGrpSpPr>
              <p:cNvPr id="161" name="Group 165"/>
              <p:cNvGrpSpPr>
                <a:grpSpLocks/>
              </p:cNvGrpSpPr>
              <p:nvPr/>
            </p:nvGrpSpPr>
            <p:grpSpPr bwMode="auto">
              <a:xfrm>
                <a:off x="2286" y="1388"/>
                <a:ext cx="1240" cy="136"/>
                <a:chOff x="1313" y="1782"/>
                <a:chExt cx="1240" cy="136"/>
              </a:xfrm>
            </p:grpSpPr>
            <p:sp>
              <p:nvSpPr>
                <p:cNvPr id="163" name="AutoShape 161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164" name="Rectangle 162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165" name="Rectangle 163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162" name="Rectangle 166"/>
              <p:cNvSpPr>
                <a:spLocks noChangeArrowheads="1"/>
              </p:cNvSpPr>
              <p:nvPr/>
            </p:nvSpPr>
            <p:spPr bwMode="auto">
              <a:xfrm>
                <a:off x="2542" y="1403"/>
                <a:ext cx="752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ko-KR" altLang="en-US" sz="1100" dirty="0" smtClean="0"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네트워크 카드 안정성</a:t>
                </a:r>
                <a:endParaRPr lang="ko-KR" altLang="en-US" sz="1100" dirty="0"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grpSp>
        <p:nvGrpSpPr>
          <p:cNvPr id="166" name="Group 275"/>
          <p:cNvGrpSpPr>
            <a:grpSpLocks/>
          </p:cNvGrpSpPr>
          <p:nvPr/>
        </p:nvGrpSpPr>
        <p:grpSpPr bwMode="auto">
          <a:xfrm>
            <a:off x="394155" y="2203450"/>
            <a:ext cx="2916241" cy="4248151"/>
            <a:chOff x="214" y="1388"/>
            <a:chExt cx="1837" cy="2676"/>
          </a:xfrm>
        </p:grpSpPr>
        <p:sp>
          <p:nvSpPr>
            <p:cNvPr id="167" name="Rectangle 158"/>
            <p:cNvSpPr>
              <a:spLocks noChangeArrowheads="1"/>
            </p:cNvSpPr>
            <p:nvPr/>
          </p:nvSpPr>
          <p:spPr bwMode="auto">
            <a:xfrm>
              <a:off x="214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529ED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lang="ko-KR" altLang="en-US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grpSp>
          <p:nvGrpSpPr>
            <p:cNvPr id="168" name="Group 216"/>
            <p:cNvGrpSpPr>
              <a:grpSpLocks/>
            </p:cNvGrpSpPr>
            <p:nvPr/>
          </p:nvGrpSpPr>
          <p:grpSpPr bwMode="auto">
            <a:xfrm>
              <a:off x="214" y="1388"/>
              <a:ext cx="1240" cy="136"/>
              <a:chOff x="1313" y="1320"/>
              <a:chExt cx="1240" cy="136"/>
            </a:xfrm>
          </p:grpSpPr>
          <p:grpSp>
            <p:nvGrpSpPr>
              <p:cNvPr id="169" name="Group 165"/>
              <p:cNvGrpSpPr>
                <a:grpSpLocks/>
              </p:cNvGrpSpPr>
              <p:nvPr/>
            </p:nvGrpSpPr>
            <p:grpSpPr bwMode="auto">
              <a:xfrm>
                <a:off x="1313" y="1320"/>
                <a:ext cx="1240" cy="136"/>
                <a:chOff x="1313" y="1782"/>
                <a:chExt cx="1240" cy="136"/>
              </a:xfrm>
            </p:grpSpPr>
            <p:sp>
              <p:nvSpPr>
                <p:cNvPr id="171" name="AutoShape 161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round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172" name="Rectangle 162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173" name="Rectangle 163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170" name="Rectangle 166"/>
              <p:cNvSpPr>
                <a:spLocks noChangeArrowheads="1"/>
              </p:cNvSpPr>
              <p:nvPr/>
            </p:nvSpPr>
            <p:spPr bwMode="auto">
              <a:xfrm>
                <a:off x="1523" y="1335"/>
                <a:ext cx="830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ko-KR" altLang="en-US" sz="1100" dirty="0" smtClean="0">
                    <a:solidFill>
                      <a:schemeClr val="bg1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네트워크 스위치 안정성</a:t>
                </a:r>
                <a:endParaRPr lang="ko-KR" altLang="en-US" sz="110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sp>
        <p:nvSpPr>
          <p:cNvPr id="174" name="AutoShape 137" descr="oj-02"/>
          <p:cNvSpPr>
            <a:spLocks noChangeArrowheads="1"/>
          </p:cNvSpPr>
          <p:nvPr/>
        </p:nvSpPr>
        <p:spPr bwMode="auto">
          <a:xfrm>
            <a:off x="6570664" y="2289160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네트워크 스위치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175" name="AutoShape 137" descr="oj-02"/>
          <p:cNvSpPr>
            <a:spLocks noChangeArrowheads="1"/>
          </p:cNvSpPr>
          <p:nvPr/>
        </p:nvSpPr>
        <p:spPr bwMode="auto">
          <a:xfrm>
            <a:off x="6570664" y="3721579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네트워크 카드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grpSp>
        <p:nvGrpSpPr>
          <p:cNvPr id="176" name="Group 529"/>
          <p:cNvGrpSpPr>
            <a:grpSpLocks/>
          </p:cNvGrpSpPr>
          <p:nvPr/>
        </p:nvGrpSpPr>
        <p:grpSpPr bwMode="auto">
          <a:xfrm>
            <a:off x="1371520" y="4193327"/>
            <a:ext cx="1063625" cy="401638"/>
            <a:chOff x="803" y="2654"/>
            <a:chExt cx="670" cy="253"/>
          </a:xfrm>
        </p:grpSpPr>
        <p:sp>
          <p:nvSpPr>
            <p:cNvPr id="177" name="오른쪽 화살표 227"/>
            <p:cNvSpPr>
              <a:spLocks noChangeArrowheads="1"/>
            </p:cNvSpPr>
            <p:nvPr/>
          </p:nvSpPr>
          <p:spPr bwMode="auto">
            <a:xfrm rot="5400000">
              <a:off x="1011" y="2446"/>
              <a:ext cx="253" cy="670"/>
            </a:xfrm>
            <a:prstGeom prst="rightArrow">
              <a:avLst>
                <a:gd name="adj1" fmla="val 70454"/>
                <a:gd name="adj2" fmla="val 39528"/>
              </a:avLst>
            </a:prstGeom>
            <a:gradFill rotWithShape="0">
              <a:gsLst>
                <a:gs pos="0">
                  <a:srgbClr val="EEECE1"/>
                </a:gs>
                <a:gs pos="100000">
                  <a:srgbClr val="0097E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78" name="Text Box 52"/>
            <p:cNvSpPr txBox="1">
              <a:spLocks noChangeArrowheads="1"/>
            </p:cNvSpPr>
            <p:nvPr/>
          </p:nvSpPr>
          <p:spPr bwMode="auto">
            <a:xfrm>
              <a:off x="980" y="2712"/>
              <a:ext cx="311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1" lang="ko-KR" altLang="en-US" sz="1100" b="1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장애발생</a:t>
              </a:r>
              <a:endParaRPr kumimoji="1" lang="en-US" altLang="ko-KR" sz="1100" b="1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</p:grpSp>
      <p:sp>
        <p:nvSpPr>
          <p:cNvPr id="179" name="Text Box 21"/>
          <p:cNvSpPr txBox="1">
            <a:spLocks noChangeArrowheads="1"/>
          </p:cNvSpPr>
          <p:nvPr/>
        </p:nvSpPr>
        <p:spPr bwMode="auto">
          <a:xfrm>
            <a:off x="2894075" y="2733052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180" name="Text Box 21"/>
          <p:cNvSpPr txBox="1">
            <a:spLocks noChangeArrowheads="1"/>
          </p:cNvSpPr>
          <p:nvPr/>
        </p:nvSpPr>
        <p:spPr bwMode="auto">
          <a:xfrm>
            <a:off x="1497305" y="2732478"/>
            <a:ext cx="7437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네트워크 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81" name="Text Box 21"/>
          <p:cNvSpPr txBox="1">
            <a:spLocks noChangeArrowheads="1"/>
          </p:cNvSpPr>
          <p:nvPr/>
        </p:nvSpPr>
        <p:spPr bwMode="auto">
          <a:xfrm>
            <a:off x="717613" y="2733052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182" name="직선 연결선 677"/>
          <p:cNvCxnSpPr>
            <a:cxnSpLocks noChangeShapeType="1"/>
          </p:cNvCxnSpPr>
          <p:nvPr/>
        </p:nvCxnSpPr>
        <p:spPr bwMode="auto">
          <a:xfrm>
            <a:off x="620632" y="2600908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3" name="직선 연결선 238"/>
          <p:cNvCxnSpPr>
            <a:cxnSpLocks noChangeShapeType="1"/>
          </p:cNvCxnSpPr>
          <p:nvPr/>
        </p:nvCxnSpPr>
        <p:spPr bwMode="auto">
          <a:xfrm>
            <a:off x="1139745" y="2604083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" name="직선 연결선 238"/>
          <p:cNvCxnSpPr>
            <a:cxnSpLocks noChangeShapeType="1"/>
          </p:cNvCxnSpPr>
          <p:nvPr/>
        </p:nvCxnSpPr>
        <p:spPr bwMode="auto">
          <a:xfrm>
            <a:off x="2605007" y="2604083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5" name="Text Box 21"/>
          <p:cNvSpPr txBox="1">
            <a:spLocks noChangeArrowheads="1"/>
          </p:cNvSpPr>
          <p:nvPr/>
        </p:nvSpPr>
        <p:spPr bwMode="auto">
          <a:xfrm>
            <a:off x="679370" y="3221621"/>
            <a:ext cx="32702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186" name="Text Box 21"/>
          <p:cNvSpPr txBox="1">
            <a:spLocks noChangeArrowheads="1"/>
          </p:cNvSpPr>
          <p:nvPr/>
        </p:nvSpPr>
        <p:spPr bwMode="auto">
          <a:xfrm>
            <a:off x="1253183" y="3130940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187" name="Text Box 21"/>
          <p:cNvSpPr txBox="1">
            <a:spLocks noChangeArrowheads="1"/>
          </p:cNvSpPr>
          <p:nvPr/>
        </p:nvSpPr>
        <p:spPr bwMode="auto">
          <a:xfrm>
            <a:off x="2736770" y="3202571"/>
            <a:ext cx="32702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188" name="Text Box 21"/>
          <p:cNvSpPr txBox="1">
            <a:spLocks noChangeArrowheads="1"/>
          </p:cNvSpPr>
          <p:nvPr/>
        </p:nvSpPr>
        <p:spPr bwMode="auto">
          <a:xfrm>
            <a:off x="2070745" y="3130940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189" name="Line 20"/>
          <p:cNvSpPr>
            <a:spLocks noChangeShapeType="1"/>
          </p:cNvSpPr>
          <p:nvPr/>
        </p:nvSpPr>
        <p:spPr bwMode="auto">
          <a:xfrm flipH="1">
            <a:off x="1139745" y="2951079"/>
            <a:ext cx="0" cy="378492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0" name="Line 20"/>
          <p:cNvSpPr>
            <a:spLocks noChangeShapeType="1"/>
          </p:cNvSpPr>
          <p:nvPr/>
        </p:nvSpPr>
        <p:spPr bwMode="auto">
          <a:xfrm>
            <a:off x="1174670" y="2851733"/>
            <a:ext cx="1316038" cy="598488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1" name="Line 20"/>
          <p:cNvSpPr>
            <a:spLocks noChangeShapeType="1"/>
          </p:cNvSpPr>
          <p:nvPr/>
        </p:nvSpPr>
        <p:spPr bwMode="auto">
          <a:xfrm flipH="1">
            <a:off x="1269920" y="2856496"/>
            <a:ext cx="1309688" cy="606425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2" name="Line 20"/>
          <p:cNvSpPr>
            <a:spLocks noChangeShapeType="1"/>
          </p:cNvSpPr>
          <p:nvPr/>
        </p:nvSpPr>
        <p:spPr bwMode="auto">
          <a:xfrm flipH="1">
            <a:off x="1046082" y="2861258"/>
            <a:ext cx="0" cy="6191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3" name="Line 20"/>
          <p:cNvSpPr>
            <a:spLocks noChangeShapeType="1"/>
          </p:cNvSpPr>
          <p:nvPr/>
        </p:nvSpPr>
        <p:spPr bwMode="auto">
          <a:xfrm flipH="1">
            <a:off x="2709782" y="2851733"/>
            <a:ext cx="0" cy="6064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4" name="Text Box 21"/>
          <p:cNvSpPr txBox="1">
            <a:spLocks noChangeArrowheads="1"/>
          </p:cNvSpPr>
          <p:nvPr/>
        </p:nvSpPr>
        <p:spPr bwMode="auto">
          <a:xfrm>
            <a:off x="2894075" y="4829540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195" name="Text Box 21"/>
          <p:cNvSpPr txBox="1">
            <a:spLocks noChangeArrowheads="1"/>
          </p:cNvSpPr>
          <p:nvPr/>
        </p:nvSpPr>
        <p:spPr bwMode="auto">
          <a:xfrm>
            <a:off x="1497305" y="4828966"/>
            <a:ext cx="7437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네트워크 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96" name="Text Box 21"/>
          <p:cNvSpPr txBox="1">
            <a:spLocks noChangeArrowheads="1"/>
          </p:cNvSpPr>
          <p:nvPr/>
        </p:nvSpPr>
        <p:spPr bwMode="auto">
          <a:xfrm>
            <a:off x="452500" y="4829540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197" name="직선 연결선 677"/>
          <p:cNvCxnSpPr>
            <a:cxnSpLocks noChangeShapeType="1"/>
          </p:cNvCxnSpPr>
          <p:nvPr/>
        </p:nvCxnSpPr>
        <p:spPr bwMode="auto">
          <a:xfrm>
            <a:off x="620632" y="4697397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8" name="직선 연결선 238"/>
          <p:cNvCxnSpPr>
            <a:cxnSpLocks noChangeShapeType="1"/>
          </p:cNvCxnSpPr>
          <p:nvPr/>
        </p:nvCxnSpPr>
        <p:spPr bwMode="auto">
          <a:xfrm>
            <a:off x="1139745" y="4700572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9" name="직선 연결선 238"/>
          <p:cNvCxnSpPr>
            <a:cxnSpLocks noChangeShapeType="1"/>
          </p:cNvCxnSpPr>
          <p:nvPr/>
        </p:nvCxnSpPr>
        <p:spPr bwMode="auto">
          <a:xfrm>
            <a:off x="2605007" y="4700572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0" name="Text Box 21"/>
          <p:cNvSpPr txBox="1">
            <a:spLocks noChangeArrowheads="1"/>
          </p:cNvSpPr>
          <p:nvPr/>
        </p:nvSpPr>
        <p:spPr bwMode="auto">
          <a:xfrm>
            <a:off x="1306432" y="5265189"/>
            <a:ext cx="327025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201" name="Line 20"/>
          <p:cNvSpPr>
            <a:spLocks noChangeShapeType="1"/>
          </p:cNvSpPr>
          <p:nvPr/>
        </p:nvSpPr>
        <p:spPr bwMode="auto">
          <a:xfrm flipH="1">
            <a:off x="2746295" y="4948222"/>
            <a:ext cx="0" cy="67627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2" name="Line 20"/>
          <p:cNvSpPr>
            <a:spLocks noChangeShapeType="1"/>
          </p:cNvSpPr>
          <p:nvPr/>
        </p:nvSpPr>
        <p:spPr bwMode="auto">
          <a:xfrm>
            <a:off x="1174670" y="4948222"/>
            <a:ext cx="1309688" cy="66040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3" name="Line 20"/>
          <p:cNvSpPr>
            <a:spLocks noChangeShapeType="1"/>
          </p:cNvSpPr>
          <p:nvPr/>
        </p:nvSpPr>
        <p:spPr bwMode="auto">
          <a:xfrm flipH="1">
            <a:off x="1244520" y="4952984"/>
            <a:ext cx="1335088" cy="661987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4" name="Line 20"/>
          <p:cNvSpPr>
            <a:spLocks noChangeShapeType="1"/>
          </p:cNvSpPr>
          <p:nvPr/>
        </p:nvSpPr>
        <p:spPr bwMode="auto">
          <a:xfrm flipH="1">
            <a:off x="1046082" y="4957747"/>
            <a:ext cx="0" cy="687387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05" name="Line 20"/>
          <p:cNvSpPr>
            <a:spLocks noChangeShapeType="1"/>
          </p:cNvSpPr>
          <p:nvPr/>
        </p:nvSpPr>
        <p:spPr bwMode="auto">
          <a:xfrm flipH="1">
            <a:off x="1477881" y="5055967"/>
            <a:ext cx="986515" cy="508204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06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983" y="3329571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834" y="3329571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8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983" y="5424472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9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834" y="5424472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0" name="Text Box 22"/>
          <p:cNvSpPr txBox="1">
            <a:spLocks noChangeArrowheads="1"/>
          </p:cNvSpPr>
          <p:nvPr/>
        </p:nvSpPr>
        <p:spPr bwMode="auto">
          <a:xfrm>
            <a:off x="957002" y="6158134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1</a:t>
            </a:r>
          </a:p>
        </p:txBody>
      </p:sp>
      <p:sp>
        <p:nvSpPr>
          <p:cNvPr id="211" name="Text Box 22"/>
          <p:cNvSpPr txBox="1">
            <a:spLocks noChangeArrowheads="1"/>
          </p:cNvSpPr>
          <p:nvPr/>
        </p:nvSpPr>
        <p:spPr bwMode="auto">
          <a:xfrm>
            <a:off x="2422265" y="6158134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2</a:t>
            </a:r>
          </a:p>
        </p:txBody>
      </p:sp>
      <p:sp>
        <p:nvSpPr>
          <p:cNvPr id="212" name="Text Box 21"/>
          <p:cNvSpPr txBox="1">
            <a:spLocks noChangeArrowheads="1"/>
          </p:cNvSpPr>
          <p:nvPr/>
        </p:nvSpPr>
        <p:spPr bwMode="auto">
          <a:xfrm>
            <a:off x="484833" y="5316329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213" name="Text Box 21"/>
          <p:cNvSpPr txBox="1">
            <a:spLocks noChangeArrowheads="1"/>
          </p:cNvSpPr>
          <p:nvPr/>
        </p:nvSpPr>
        <p:spPr bwMode="auto">
          <a:xfrm>
            <a:off x="2762170" y="5299059"/>
            <a:ext cx="327025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214" name="Text Box 21"/>
          <p:cNvSpPr txBox="1">
            <a:spLocks noChangeArrowheads="1"/>
          </p:cNvSpPr>
          <p:nvPr/>
        </p:nvSpPr>
        <p:spPr bwMode="auto">
          <a:xfrm>
            <a:off x="2048520" y="5265529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215" name="Text Box 21"/>
          <p:cNvSpPr txBox="1">
            <a:spLocks noChangeArrowheads="1"/>
          </p:cNvSpPr>
          <p:nvPr/>
        </p:nvSpPr>
        <p:spPr bwMode="gray">
          <a:xfrm>
            <a:off x="866695" y="5537184"/>
            <a:ext cx="246084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216" name="Text Box 21"/>
          <p:cNvSpPr txBox="1">
            <a:spLocks noChangeArrowheads="1"/>
          </p:cNvSpPr>
          <p:nvPr/>
        </p:nvSpPr>
        <p:spPr bwMode="gray">
          <a:xfrm>
            <a:off x="1168299" y="5537184"/>
            <a:ext cx="246084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sp>
        <p:nvSpPr>
          <p:cNvPr id="217" name="Text Box 21"/>
          <p:cNvSpPr txBox="1">
            <a:spLocks noChangeArrowheads="1"/>
          </p:cNvSpPr>
          <p:nvPr/>
        </p:nvSpPr>
        <p:spPr bwMode="gray">
          <a:xfrm>
            <a:off x="2336720" y="5538771"/>
            <a:ext cx="245805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218" name="Text Box 21"/>
          <p:cNvSpPr txBox="1">
            <a:spLocks noChangeArrowheads="1"/>
          </p:cNvSpPr>
          <p:nvPr/>
        </p:nvSpPr>
        <p:spPr bwMode="gray">
          <a:xfrm>
            <a:off x="2627490" y="5538771"/>
            <a:ext cx="245805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sp>
        <p:nvSpPr>
          <p:cNvPr id="219" name="Text Box 22"/>
          <p:cNvSpPr txBox="1">
            <a:spLocks noChangeArrowheads="1"/>
          </p:cNvSpPr>
          <p:nvPr/>
        </p:nvSpPr>
        <p:spPr bwMode="auto">
          <a:xfrm>
            <a:off x="2422265" y="40616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2</a:t>
            </a:r>
          </a:p>
        </p:txBody>
      </p:sp>
      <p:sp>
        <p:nvSpPr>
          <p:cNvPr id="220" name="Text Box 21"/>
          <p:cNvSpPr txBox="1">
            <a:spLocks noChangeArrowheads="1"/>
          </p:cNvSpPr>
          <p:nvPr/>
        </p:nvSpPr>
        <p:spPr bwMode="gray">
          <a:xfrm>
            <a:off x="2336720" y="3442284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221" name="Text Box 21"/>
          <p:cNvSpPr txBox="1">
            <a:spLocks noChangeArrowheads="1"/>
          </p:cNvSpPr>
          <p:nvPr/>
        </p:nvSpPr>
        <p:spPr bwMode="gray">
          <a:xfrm>
            <a:off x="2627232" y="3442284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sp>
        <p:nvSpPr>
          <p:cNvPr id="222" name="Text Box 22"/>
          <p:cNvSpPr txBox="1">
            <a:spLocks noChangeArrowheads="1"/>
          </p:cNvSpPr>
          <p:nvPr/>
        </p:nvSpPr>
        <p:spPr bwMode="auto">
          <a:xfrm>
            <a:off x="957002" y="40616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1</a:t>
            </a:r>
          </a:p>
        </p:txBody>
      </p:sp>
      <p:sp>
        <p:nvSpPr>
          <p:cNvPr id="223" name="Text Box 21"/>
          <p:cNvSpPr txBox="1">
            <a:spLocks noChangeArrowheads="1"/>
          </p:cNvSpPr>
          <p:nvPr/>
        </p:nvSpPr>
        <p:spPr bwMode="gray">
          <a:xfrm>
            <a:off x="866695" y="3440696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224" name="Text Box 21"/>
          <p:cNvSpPr txBox="1">
            <a:spLocks noChangeArrowheads="1"/>
          </p:cNvSpPr>
          <p:nvPr/>
        </p:nvSpPr>
        <p:spPr bwMode="gray">
          <a:xfrm>
            <a:off x="1168320" y="3440696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pic>
        <p:nvPicPr>
          <p:cNvPr id="225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79" y="2716990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6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932" y="2716990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79" y="4821878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8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932" y="4821878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아래로 구부러진 화살표 561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020" y="4738672"/>
            <a:ext cx="10731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0" name="Picture 142" descr="번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2220" y="4697397"/>
            <a:ext cx="5238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1" name="Rectangle 188"/>
          <p:cNvSpPr>
            <a:spLocks noChangeArrowheads="1"/>
          </p:cNvSpPr>
          <p:nvPr/>
        </p:nvSpPr>
        <p:spPr bwMode="gray">
          <a:xfrm>
            <a:off x="796468" y="4750355"/>
            <a:ext cx="1827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장애</a:t>
            </a:r>
          </a:p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생</a:t>
            </a:r>
          </a:p>
        </p:txBody>
      </p:sp>
      <p:grpSp>
        <p:nvGrpSpPr>
          <p:cNvPr id="232" name="Group 529"/>
          <p:cNvGrpSpPr>
            <a:grpSpLocks/>
          </p:cNvGrpSpPr>
          <p:nvPr/>
        </p:nvGrpSpPr>
        <p:grpSpPr bwMode="auto">
          <a:xfrm>
            <a:off x="4346501" y="4193327"/>
            <a:ext cx="1063625" cy="401638"/>
            <a:chOff x="803" y="2654"/>
            <a:chExt cx="670" cy="253"/>
          </a:xfrm>
        </p:grpSpPr>
        <p:sp>
          <p:nvSpPr>
            <p:cNvPr id="233" name="오른쪽 화살표 227"/>
            <p:cNvSpPr>
              <a:spLocks noChangeArrowheads="1"/>
            </p:cNvSpPr>
            <p:nvPr/>
          </p:nvSpPr>
          <p:spPr bwMode="auto">
            <a:xfrm rot="5400000">
              <a:off x="1011" y="2446"/>
              <a:ext cx="253" cy="670"/>
            </a:xfrm>
            <a:prstGeom prst="rightArrow">
              <a:avLst>
                <a:gd name="adj1" fmla="val 70454"/>
                <a:gd name="adj2" fmla="val 39528"/>
              </a:avLst>
            </a:prstGeom>
            <a:gradFill rotWithShape="0">
              <a:gsLst>
                <a:gs pos="0">
                  <a:srgbClr val="EEECE1"/>
                </a:gs>
                <a:gs pos="100000">
                  <a:srgbClr val="0097E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0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234" name="Text Box 52"/>
            <p:cNvSpPr txBox="1">
              <a:spLocks noChangeArrowheads="1"/>
            </p:cNvSpPr>
            <p:nvPr/>
          </p:nvSpPr>
          <p:spPr bwMode="auto">
            <a:xfrm>
              <a:off x="980" y="2712"/>
              <a:ext cx="311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1" lang="ko-KR" altLang="en-US" sz="1100" b="1" i="0" u="none" strike="noStrike" kern="0" cap="none" spc="0" normalizeH="0" noProof="0" dirty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장애발생</a:t>
              </a:r>
              <a:endParaRPr kumimoji="1" lang="en-US" altLang="ko-KR" sz="1100" b="1" i="0" u="none" strike="noStrike" kern="0" cap="none" spc="0" normalizeH="0" noProof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</p:grpSp>
      <p:sp>
        <p:nvSpPr>
          <p:cNvPr id="235" name="Text Box 21"/>
          <p:cNvSpPr txBox="1">
            <a:spLocks noChangeArrowheads="1"/>
          </p:cNvSpPr>
          <p:nvPr/>
        </p:nvSpPr>
        <p:spPr bwMode="auto">
          <a:xfrm>
            <a:off x="5869056" y="2733052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236" name="Text Box 21"/>
          <p:cNvSpPr txBox="1">
            <a:spLocks noChangeArrowheads="1"/>
          </p:cNvSpPr>
          <p:nvPr/>
        </p:nvSpPr>
        <p:spPr bwMode="auto">
          <a:xfrm>
            <a:off x="4472286" y="2732478"/>
            <a:ext cx="7437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네트워크 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37" name="Text Box 21"/>
          <p:cNvSpPr txBox="1">
            <a:spLocks noChangeArrowheads="1"/>
          </p:cNvSpPr>
          <p:nvPr/>
        </p:nvSpPr>
        <p:spPr bwMode="auto">
          <a:xfrm>
            <a:off x="3692594" y="2733052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238" name="직선 연결선 677"/>
          <p:cNvCxnSpPr>
            <a:cxnSpLocks noChangeShapeType="1"/>
          </p:cNvCxnSpPr>
          <p:nvPr/>
        </p:nvCxnSpPr>
        <p:spPr bwMode="auto">
          <a:xfrm>
            <a:off x="3595613" y="2600908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9" name="직선 연결선 238"/>
          <p:cNvCxnSpPr>
            <a:cxnSpLocks noChangeShapeType="1"/>
          </p:cNvCxnSpPr>
          <p:nvPr/>
        </p:nvCxnSpPr>
        <p:spPr bwMode="auto">
          <a:xfrm>
            <a:off x="4114726" y="2604083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0" name="직선 연결선 238"/>
          <p:cNvCxnSpPr>
            <a:cxnSpLocks noChangeShapeType="1"/>
          </p:cNvCxnSpPr>
          <p:nvPr/>
        </p:nvCxnSpPr>
        <p:spPr bwMode="auto">
          <a:xfrm>
            <a:off x="5579988" y="2604083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1" name="Text Box 21"/>
          <p:cNvSpPr txBox="1">
            <a:spLocks noChangeArrowheads="1"/>
          </p:cNvSpPr>
          <p:nvPr/>
        </p:nvSpPr>
        <p:spPr bwMode="auto">
          <a:xfrm>
            <a:off x="3654351" y="3221621"/>
            <a:ext cx="32702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242" name="Text Box 21"/>
          <p:cNvSpPr txBox="1">
            <a:spLocks noChangeArrowheads="1"/>
          </p:cNvSpPr>
          <p:nvPr/>
        </p:nvSpPr>
        <p:spPr bwMode="auto">
          <a:xfrm>
            <a:off x="4228164" y="3130940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243" name="Text Box 21"/>
          <p:cNvSpPr txBox="1">
            <a:spLocks noChangeArrowheads="1"/>
          </p:cNvSpPr>
          <p:nvPr/>
        </p:nvSpPr>
        <p:spPr bwMode="auto">
          <a:xfrm>
            <a:off x="5711751" y="3202571"/>
            <a:ext cx="32702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244" name="Text Box 21"/>
          <p:cNvSpPr txBox="1">
            <a:spLocks noChangeArrowheads="1"/>
          </p:cNvSpPr>
          <p:nvPr/>
        </p:nvSpPr>
        <p:spPr bwMode="auto">
          <a:xfrm>
            <a:off x="5045726" y="3130940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245" name="Line 20"/>
          <p:cNvSpPr>
            <a:spLocks noChangeShapeType="1"/>
          </p:cNvSpPr>
          <p:nvPr/>
        </p:nvSpPr>
        <p:spPr bwMode="auto">
          <a:xfrm flipH="1">
            <a:off x="4114726" y="2951079"/>
            <a:ext cx="0" cy="378492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6" name="Line 20"/>
          <p:cNvSpPr>
            <a:spLocks noChangeShapeType="1"/>
          </p:cNvSpPr>
          <p:nvPr/>
        </p:nvSpPr>
        <p:spPr bwMode="auto">
          <a:xfrm>
            <a:off x="4149651" y="2851733"/>
            <a:ext cx="1316038" cy="598488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7" name="Line 20"/>
          <p:cNvSpPr>
            <a:spLocks noChangeShapeType="1"/>
          </p:cNvSpPr>
          <p:nvPr/>
        </p:nvSpPr>
        <p:spPr bwMode="auto">
          <a:xfrm flipH="1">
            <a:off x="4244901" y="2856496"/>
            <a:ext cx="1309688" cy="606425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8" name="Line 20"/>
          <p:cNvSpPr>
            <a:spLocks noChangeShapeType="1"/>
          </p:cNvSpPr>
          <p:nvPr/>
        </p:nvSpPr>
        <p:spPr bwMode="auto">
          <a:xfrm flipH="1">
            <a:off x="4021063" y="2861258"/>
            <a:ext cx="0" cy="6191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9" name="Line 20"/>
          <p:cNvSpPr>
            <a:spLocks noChangeShapeType="1"/>
          </p:cNvSpPr>
          <p:nvPr/>
        </p:nvSpPr>
        <p:spPr bwMode="auto">
          <a:xfrm flipH="1">
            <a:off x="5684763" y="2851733"/>
            <a:ext cx="0" cy="60642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0" name="Text Box 21"/>
          <p:cNvSpPr txBox="1">
            <a:spLocks noChangeArrowheads="1"/>
          </p:cNvSpPr>
          <p:nvPr/>
        </p:nvSpPr>
        <p:spPr bwMode="auto">
          <a:xfrm>
            <a:off x="5869056" y="4829540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sp>
        <p:nvSpPr>
          <p:cNvPr id="251" name="Text Box 21"/>
          <p:cNvSpPr txBox="1">
            <a:spLocks noChangeArrowheads="1"/>
          </p:cNvSpPr>
          <p:nvPr/>
        </p:nvSpPr>
        <p:spPr bwMode="auto">
          <a:xfrm>
            <a:off x="4472286" y="4828966"/>
            <a:ext cx="7437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네트워크 스위치</a:t>
            </a:r>
            <a:endParaRPr lang="en-US" altLang="ko-KR" sz="900" b="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52" name="Text Box 21"/>
          <p:cNvSpPr txBox="1">
            <a:spLocks noChangeArrowheads="1"/>
          </p:cNvSpPr>
          <p:nvPr/>
        </p:nvSpPr>
        <p:spPr bwMode="auto">
          <a:xfrm>
            <a:off x="3692594" y="4829540"/>
            <a:ext cx="134652" cy="1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1</a:t>
            </a:r>
          </a:p>
        </p:txBody>
      </p:sp>
      <p:cxnSp>
        <p:nvCxnSpPr>
          <p:cNvPr id="253" name="직선 연결선 677"/>
          <p:cNvCxnSpPr>
            <a:cxnSpLocks noChangeShapeType="1"/>
          </p:cNvCxnSpPr>
          <p:nvPr/>
        </p:nvCxnSpPr>
        <p:spPr bwMode="auto">
          <a:xfrm>
            <a:off x="3595613" y="4697397"/>
            <a:ext cx="2565400" cy="0"/>
          </a:xfrm>
          <a:prstGeom prst="line">
            <a:avLst/>
          </a:prstGeom>
          <a:noFill/>
          <a:ln w="12700" algn="ctr">
            <a:solidFill>
              <a:srgbClr val="969696"/>
            </a:solidFill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4" name="직선 연결선 238"/>
          <p:cNvCxnSpPr>
            <a:cxnSpLocks noChangeShapeType="1"/>
          </p:cNvCxnSpPr>
          <p:nvPr/>
        </p:nvCxnSpPr>
        <p:spPr bwMode="auto">
          <a:xfrm>
            <a:off x="4114726" y="4700572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5" name="직선 연결선 238"/>
          <p:cNvCxnSpPr>
            <a:cxnSpLocks noChangeShapeType="1"/>
          </p:cNvCxnSpPr>
          <p:nvPr/>
        </p:nvCxnSpPr>
        <p:spPr bwMode="auto">
          <a:xfrm>
            <a:off x="5579988" y="4700572"/>
            <a:ext cx="0" cy="123825"/>
          </a:xfrm>
          <a:prstGeom prst="lin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6" name="Text Box 21"/>
          <p:cNvSpPr txBox="1">
            <a:spLocks noChangeArrowheads="1"/>
          </p:cNvSpPr>
          <p:nvPr/>
        </p:nvSpPr>
        <p:spPr bwMode="auto">
          <a:xfrm>
            <a:off x="4340576" y="5265189"/>
            <a:ext cx="327025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257" name="Line 20"/>
          <p:cNvSpPr>
            <a:spLocks noChangeShapeType="1"/>
          </p:cNvSpPr>
          <p:nvPr/>
        </p:nvSpPr>
        <p:spPr bwMode="auto">
          <a:xfrm flipH="1">
            <a:off x="5721276" y="4948222"/>
            <a:ext cx="0" cy="676275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8" name="Line 20"/>
          <p:cNvSpPr>
            <a:spLocks noChangeShapeType="1"/>
          </p:cNvSpPr>
          <p:nvPr/>
        </p:nvSpPr>
        <p:spPr bwMode="auto">
          <a:xfrm>
            <a:off x="4149651" y="4948222"/>
            <a:ext cx="1309688" cy="66040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9" name="Line 20"/>
          <p:cNvSpPr>
            <a:spLocks noChangeShapeType="1"/>
          </p:cNvSpPr>
          <p:nvPr/>
        </p:nvSpPr>
        <p:spPr bwMode="auto">
          <a:xfrm flipH="1">
            <a:off x="4219501" y="4952984"/>
            <a:ext cx="1335088" cy="661987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0" name="Line 20"/>
          <p:cNvSpPr>
            <a:spLocks noChangeShapeType="1"/>
          </p:cNvSpPr>
          <p:nvPr/>
        </p:nvSpPr>
        <p:spPr bwMode="auto">
          <a:xfrm flipH="1">
            <a:off x="4021063" y="4957747"/>
            <a:ext cx="0" cy="687387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61" name="Line 20"/>
          <p:cNvSpPr>
            <a:spLocks noChangeShapeType="1"/>
          </p:cNvSpPr>
          <p:nvPr/>
        </p:nvSpPr>
        <p:spPr bwMode="auto">
          <a:xfrm flipH="1">
            <a:off x="4452862" y="5055967"/>
            <a:ext cx="986515" cy="508204"/>
          </a:xfrm>
          <a:prstGeom prst="line">
            <a:avLst/>
          </a:prstGeom>
          <a:noFill/>
          <a:ln w="19050">
            <a:solidFill>
              <a:srgbClr val="0097E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62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964" y="3329571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3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15" y="3329571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964" y="5424472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99" descr="Picture3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15" y="5424472"/>
            <a:ext cx="576262" cy="709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" name="Text Box 22"/>
          <p:cNvSpPr txBox="1">
            <a:spLocks noChangeArrowheads="1"/>
          </p:cNvSpPr>
          <p:nvPr/>
        </p:nvSpPr>
        <p:spPr bwMode="auto">
          <a:xfrm>
            <a:off x="3931983" y="6158134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1</a:t>
            </a:r>
          </a:p>
        </p:txBody>
      </p:sp>
      <p:sp>
        <p:nvSpPr>
          <p:cNvPr id="267" name="Text Box 22"/>
          <p:cNvSpPr txBox="1">
            <a:spLocks noChangeArrowheads="1"/>
          </p:cNvSpPr>
          <p:nvPr/>
        </p:nvSpPr>
        <p:spPr bwMode="auto">
          <a:xfrm>
            <a:off x="5397246" y="6158134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2</a:t>
            </a:r>
          </a:p>
        </p:txBody>
      </p:sp>
      <p:sp>
        <p:nvSpPr>
          <p:cNvPr id="268" name="Text Box 21"/>
          <p:cNvSpPr txBox="1">
            <a:spLocks noChangeArrowheads="1"/>
          </p:cNvSpPr>
          <p:nvPr/>
        </p:nvSpPr>
        <p:spPr bwMode="auto">
          <a:xfrm>
            <a:off x="3459814" y="5316329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269" name="Text Box 21"/>
          <p:cNvSpPr txBox="1">
            <a:spLocks noChangeArrowheads="1"/>
          </p:cNvSpPr>
          <p:nvPr/>
        </p:nvSpPr>
        <p:spPr bwMode="auto">
          <a:xfrm>
            <a:off x="5737151" y="5299059"/>
            <a:ext cx="327025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</a:t>
            </a:r>
          </a:p>
        </p:txBody>
      </p:sp>
      <p:sp>
        <p:nvSpPr>
          <p:cNvPr id="270" name="Text Box 21"/>
          <p:cNvSpPr txBox="1">
            <a:spLocks noChangeArrowheads="1"/>
          </p:cNvSpPr>
          <p:nvPr/>
        </p:nvSpPr>
        <p:spPr bwMode="auto">
          <a:xfrm>
            <a:off x="5023501" y="5265529"/>
            <a:ext cx="4825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spcBef>
                <a:spcPct val="50000"/>
              </a:spcBef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</a:t>
            </a:r>
          </a:p>
        </p:txBody>
      </p:sp>
      <p:sp>
        <p:nvSpPr>
          <p:cNvPr id="271" name="Text Box 21"/>
          <p:cNvSpPr txBox="1">
            <a:spLocks noChangeArrowheads="1"/>
          </p:cNvSpPr>
          <p:nvPr/>
        </p:nvSpPr>
        <p:spPr bwMode="gray">
          <a:xfrm>
            <a:off x="3841676" y="5537184"/>
            <a:ext cx="246084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272" name="Text Box 21"/>
          <p:cNvSpPr txBox="1">
            <a:spLocks noChangeArrowheads="1"/>
          </p:cNvSpPr>
          <p:nvPr/>
        </p:nvSpPr>
        <p:spPr bwMode="gray">
          <a:xfrm>
            <a:off x="4143280" y="5537184"/>
            <a:ext cx="246084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sp>
        <p:nvSpPr>
          <p:cNvPr id="273" name="Text Box 21"/>
          <p:cNvSpPr txBox="1">
            <a:spLocks noChangeArrowheads="1"/>
          </p:cNvSpPr>
          <p:nvPr/>
        </p:nvSpPr>
        <p:spPr bwMode="gray">
          <a:xfrm>
            <a:off x="5311701" y="5538771"/>
            <a:ext cx="245805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274" name="Text Box 21"/>
          <p:cNvSpPr txBox="1">
            <a:spLocks noChangeArrowheads="1"/>
          </p:cNvSpPr>
          <p:nvPr/>
        </p:nvSpPr>
        <p:spPr bwMode="gray">
          <a:xfrm>
            <a:off x="5602471" y="5538771"/>
            <a:ext cx="245805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sp>
        <p:nvSpPr>
          <p:cNvPr id="414" name="Text Box 22"/>
          <p:cNvSpPr txBox="1">
            <a:spLocks noChangeArrowheads="1"/>
          </p:cNvSpPr>
          <p:nvPr/>
        </p:nvSpPr>
        <p:spPr bwMode="auto">
          <a:xfrm>
            <a:off x="5397246" y="40616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2</a:t>
            </a:r>
          </a:p>
        </p:txBody>
      </p:sp>
      <p:sp>
        <p:nvSpPr>
          <p:cNvPr id="415" name="Text Box 21"/>
          <p:cNvSpPr txBox="1">
            <a:spLocks noChangeArrowheads="1"/>
          </p:cNvSpPr>
          <p:nvPr/>
        </p:nvSpPr>
        <p:spPr bwMode="gray">
          <a:xfrm>
            <a:off x="5311701" y="3442284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416" name="Text Box 21"/>
          <p:cNvSpPr txBox="1">
            <a:spLocks noChangeArrowheads="1"/>
          </p:cNvSpPr>
          <p:nvPr/>
        </p:nvSpPr>
        <p:spPr bwMode="gray">
          <a:xfrm>
            <a:off x="5602213" y="3442284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sp>
        <p:nvSpPr>
          <p:cNvPr id="417" name="Text Box 22"/>
          <p:cNvSpPr txBox="1">
            <a:spLocks noChangeArrowheads="1"/>
          </p:cNvSpPr>
          <p:nvPr/>
        </p:nvSpPr>
        <p:spPr bwMode="auto">
          <a:xfrm>
            <a:off x="3931983" y="40616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서버</a:t>
            </a:r>
            <a:r>
              <a:rPr lang="en-US" altLang="ko-KR" sz="90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#1</a:t>
            </a:r>
          </a:p>
        </p:txBody>
      </p:sp>
      <p:sp>
        <p:nvSpPr>
          <p:cNvPr id="418" name="Text Box 21"/>
          <p:cNvSpPr txBox="1">
            <a:spLocks noChangeArrowheads="1"/>
          </p:cNvSpPr>
          <p:nvPr/>
        </p:nvSpPr>
        <p:spPr bwMode="gray">
          <a:xfrm>
            <a:off x="3841676" y="3440696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1</a:t>
            </a:r>
          </a:p>
        </p:txBody>
      </p:sp>
      <p:sp>
        <p:nvSpPr>
          <p:cNvPr id="419" name="Text Box 21"/>
          <p:cNvSpPr txBox="1">
            <a:spLocks noChangeArrowheads="1"/>
          </p:cNvSpPr>
          <p:nvPr/>
        </p:nvSpPr>
        <p:spPr bwMode="gray">
          <a:xfrm>
            <a:off x="4143301" y="3440696"/>
            <a:ext cx="246063" cy="254000"/>
          </a:xfrm>
          <a:prstGeom prst="rect">
            <a:avLst/>
          </a:prstGeom>
          <a:gradFill rotWithShape="0">
            <a:gsLst>
              <a:gs pos="0">
                <a:srgbClr val="2FB0FF"/>
              </a:gs>
              <a:gs pos="100000">
                <a:srgbClr val="0077C0"/>
              </a:gs>
            </a:gsLst>
            <a:lin ang="5400000" scaled="1"/>
          </a:gradFill>
          <a:ln w="9525" algn="ctr">
            <a:solidFill>
              <a:srgbClr val="00436C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/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NIC</a:t>
            </a:r>
            <a:b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</a:br>
            <a:r>
              <a:rPr lang="en-US" altLang="ko-KR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Times New Roman" panose="02020603050405020304" pitchFamily="18" charset="0"/>
              </a:rPr>
              <a:t>#2</a:t>
            </a:r>
          </a:p>
        </p:txBody>
      </p:sp>
      <p:pic>
        <p:nvPicPr>
          <p:cNvPr id="420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360" y="2716990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1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913" y="2716990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2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360" y="4821878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3" name="S4131" descr="Untitled-13-01"/>
          <p:cNvPicPr>
            <a:picLocks noChangeAspect="1" noChangeArrowheads="1"/>
          </p:cNvPicPr>
          <p:nvPr/>
        </p:nvPicPr>
        <p:blipFill>
          <a:blip r:embed="rId5" cstate="print">
            <a:lum bright="-30000" contras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913" y="4821878"/>
            <a:ext cx="306393" cy="234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700000" algn="tl" rotWithShape="0">
              <a:srgbClr val="000000">
                <a:alpha val="7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4" name="Picture 142" descr="번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404828" y="5468557"/>
            <a:ext cx="5238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5" name="Rectangle 188"/>
          <p:cNvSpPr>
            <a:spLocks noChangeArrowheads="1"/>
          </p:cNvSpPr>
          <p:nvPr/>
        </p:nvSpPr>
        <p:spPr bwMode="gray">
          <a:xfrm>
            <a:off x="3579076" y="5521515"/>
            <a:ext cx="1827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장애</a:t>
            </a:r>
          </a:p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생</a:t>
            </a:r>
          </a:p>
        </p:txBody>
      </p:sp>
      <p:pic>
        <p:nvPicPr>
          <p:cNvPr id="426" name="아래로 구부러진 화살표 561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703" y="5382130"/>
            <a:ext cx="400050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7" name="Text Box 40"/>
          <p:cNvSpPr txBox="1">
            <a:spLocks noChangeArrowheads="1"/>
          </p:cNvSpPr>
          <p:nvPr/>
        </p:nvSpPr>
        <p:spPr bwMode="auto">
          <a:xfrm>
            <a:off x="6730255" y="2630922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스위치를 이중화 구성하여 네트워크 스위치 자체 장애에 대비</a:t>
            </a:r>
          </a:p>
        </p:txBody>
      </p:sp>
      <p:pic>
        <p:nvPicPr>
          <p:cNvPr id="428" name="Picture 2658" descr="[템플릿] ver10-30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94754" y="2650494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9" name="Picture 2658" descr="[템플릿] ver10-30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94754" y="3032956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" name="Text Box 40"/>
          <p:cNvSpPr txBox="1">
            <a:spLocks noChangeArrowheads="1"/>
          </p:cNvSpPr>
          <p:nvPr/>
        </p:nvSpPr>
        <p:spPr bwMode="auto">
          <a:xfrm>
            <a:off x="6730255" y="2987400"/>
            <a:ext cx="2690454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스위치 장애 시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스위치를 이용하여 서비스 연속성을 보장하도록 자동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ail-over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설정</a:t>
            </a:r>
          </a:p>
        </p:txBody>
      </p:sp>
      <p:sp>
        <p:nvSpPr>
          <p:cNvPr id="431" name="Text Box 40"/>
          <p:cNvSpPr txBox="1">
            <a:spLocks noChangeArrowheads="1"/>
          </p:cNvSpPr>
          <p:nvPr/>
        </p:nvSpPr>
        <p:spPr bwMode="auto">
          <a:xfrm>
            <a:off x="6730255" y="4077469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서버의 네트워크 인터페이스 카드를 이중화 구성하여 네트워크 인터페이스 카드 자체 장애에 대비</a:t>
            </a:r>
          </a:p>
        </p:txBody>
      </p:sp>
      <p:pic>
        <p:nvPicPr>
          <p:cNvPr id="432" name="Picture 2658" descr="[템플릿] ver10-30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94754" y="4097041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3" name="Picture 2658" descr="[템플릿] ver10-30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94754" y="4659523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4" name="Text Box 40"/>
          <p:cNvSpPr txBox="1">
            <a:spLocks noChangeArrowheads="1"/>
          </p:cNvSpPr>
          <p:nvPr/>
        </p:nvSpPr>
        <p:spPr bwMode="auto">
          <a:xfrm>
            <a:off x="6730255" y="4623519"/>
            <a:ext cx="2690454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ctive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인터페이스 카드 장애 시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tand-by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네트워크 인터페이스 카드를 이용하여 서비스 연속성을 보장하도록 자동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ail-over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설정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pSp>
        <p:nvGrpSpPr>
          <p:cNvPr id="275" name="Group 836"/>
          <p:cNvGrpSpPr>
            <a:grpSpLocks/>
          </p:cNvGrpSpPr>
          <p:nvPr/>
        </p:nvGrpSpPr>
        <p:grpSpPr bwMode="auto">
          <a:xfrm>
            <a:off x="2975250" y="3831736"/>
            <a:ext cx="752475" cy="742950"/>
            <a:chOff x="1918" y="3019"/>
            <a:chExt cx="474" cy="468"/>
          </a:xfrm>
        </p:grpSpPr>
        <p:grpSp>
          <p:nvGrpSpPr>
            <p:cNvPr id="276" name="Group 110"/>
            <p:cNvGrpSpPr>
              <a:grpSpLocks noChangeAspect="1"/>
            </p:cNvGrpSpPr>
            <p:nvPr/>
          </p:nvGrpSpPr>
          <p:grpSpPr bwMode="auto">
            <a:xfrm>
              <a:off x="1922" y="3019"/>
              <a:ext cx="470" cy="468"/>
              <a:chOff x="-1559" y="1262"/>
              <a:chExt cx="709" cy="705"/>
            </a:xfrm>
          </p:grpSpPr>
          <p:pic>
            <p:nvPicPr>
              <p:cNvPr id="282" name="Picture 111" descr="도형-원_수정"/>
              <p:cNvPicPr>
                <a:picLocks noChangeAspect="1" noChangeArrowheads="1"/>
              </p:cNvPicPr>
              <p:nvPr/>
            </p:nvPicPr>
            <p:blipFill>
              <a:blip r:embed="rId9">
                <a:lum bright="42000" contrast="-6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139" t="909" r="68611" b="81020"/>
              <a:stretch>
                <a:fillRect/>
              </a:stretch>
            </p:blipFill>
            <p:spPr bwMode="gray">
              <a:xfrm>
                <a:off x="-1559" y="1262"/>
                <a:ext cx="709" cy="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3" name="Rectangle 112"/>
              <p:cNvSpPr>
                <a:spLocks noChangeAspect="1" noChangeArrowheads="1"/>
              </p:cNvSpPr>
              <p:nvPr/>
            </p:nvSpPr>
            <p:spPr bwMode="gray">
              <a:xfrm>
                <a:off x="-1441" y="1462"/>
                <a:ext cx="475" cy="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fontAlgn="t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0" kern="0" dirty="0" smtClean="0">
                    <a:ln>
                      <a:solidFill>
                        <a:srgbClr val="000000">
                          <a:alpha val="0"/>
                        </a:srgbClr>
                      </a:solidFill>
                    </a:ln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안정성 확보</a:t>
                </a:r>
              </a:p>
            </p:txBody>
          </p:sp>
        </p:grpSp>
        <p:grpSp>
          <p:nvGrpSpPr>
            <p:cNvPr id="277" name="Group 829"/>
            <p:cNvGrpSpPr>
              <a:grpSpLocks/>
            </p:cNvGrpSpPr>
            <p:nvPr/>
          </p:nvGrpSpPr>
          <p:grpSpPr bwMode="auto">
            <a:xfrm rot="310330">
              <a:off x="1918" y="3022"/>
              <a:ext cx="474" cy="464"/>
              <a:chOff x="2731" y="3047"/>
              <a:chExt cx="458" cy="448"/>
            </a:xfrm>
          </p:grpSpPr>
          <p:sp>
            <p:nvSpPr>
              <p:cNvPr id="278" name="Arc 825"/>
              <p:cNvSpPr>
                <a:spLocks/>
              </p:cNvSpPr>
              <p:nvPr/>
            </p:nvSpPr>
            <p:spPr bwMode="gray">
              <a:xfrm>
                <a:off x="2962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279" name="Arc 826"/>
              <p:cNvSpPr>
                <a:spLocks/>
              </p:cNvSpPr>
              <p:nvPr/>
            </p:nvSpPr>
            <p:spPr bwMode="gray">
              <a:xfrm rot="5400000">
                <a:off x="2962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280" name="Arc 827"/>
              <p:cNvSpPr>
                <a:spLocks/>
              </p:cNvSpPr>
              <p:nvPr/>
            </p:nvSpPr>
            <p:spPr bwMode="gray">
              <a:xfrm rot="5400000" flipH="1" flipV="1">
                <a:off x="2731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281" name="Arc 828"/>
              <p:cNvSpPr>
                <a:spLocks/>
              </p:cNvSpPr>
              <p:nvPr/>
            </p:nvSpPr>
            <p:spPr bwMode="gray">
              <a:xfrm rot="10800000">
                <a:off x="2737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690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6.10.5 </a:t>
            </a:r>
            <a:r>
              <a:rPr lang="ko-KR" altLang="en-US" dirty="0"/>
              <a:t>주요기능 </a:t>
            </a:r>
            <a:r>
              <a:rPr lang="en-US" altLang="ko-KR" dirty="0" smtClean="0"/>
              <a:t>(4/4</a:t>
            </a:r>
            <a:r>
              <a:rPr lang="en-US" altLang="ko-KR" dirty="0"/>
              <a:t>) </a:t>
            </a:r>
            <a:r>
              <a:rPr lang="en-US" altLang="ko-KR" dirty="0" smtClean="0"/>
              <a:t>&gt; </a:t>
            </a:r>
            <a:r>
              <a:rPr lang="ko-KR" altLang="en-US" dirty="0" smtClean="0"/>
              <a:t>룰 시뮬레이션 및 룰 관리</a:t>
            </a:r>
            <a:endParaRPr lang="ko-KR" altLang="en-US" dirty="0"/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보고 업무 개선을 위해 신규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변경 룰 적용을 위한 룰 관리 기능 및 시뮬레이션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룰 시뮬레이션 및 룰 관리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0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2581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6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의심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6.10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38" name="직사각형 13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2020603020101020101" pitchFamily="18" charset="-127"/>
                <a:ea typeface="KoPub돋움체 Medium" panose="02020603020101020101" pitchFamily="18" charset="-127"/>
                <a:cs typeface="+mn-cs"/>
              </a:endParaRPr>
            </a:p>
          </p:txBody>
        </p:sp>
        <p:grpSp>
          <p:nvGrpSpPr>
            <p:cNvPr id="139" name="그룹 13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4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1200" cap="none" spc="0" normalizeH="0" baseline="0" noProof="0" dirty="0">
                    <a:ln>
                      <a:solidFill>
                        <a:srgbClr val="4472C4">
                          <a:shade val="50000"/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+mn-cs"/>
                  </a:rPr>
                  <a:t>구현 내용</a:t>
                </a:r>
              </a:p>
            </p:txBody>
          </p:sp>
          <p:sp>
            <p:nvSpPr>
              <p:cNvPr id="14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</p:grpSp>
      <p:sp>
        <p:nvSpPr>
          <p:cNvPr id="142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103457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룰 </a:t>
            </a:r>
            <a:r>
              <a:rPr kumimoji="1" lang="ko-KR" altLang="en-US" sz="11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관리</a:t>
            </a:r>
            <a:r>
              <a:rPr kumimoji="1" lang="en-US" altLang="ko-KR" sz="11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/</a:t>
            </a:r>
            <a:r>
              <a:rPr kumimoji="1" lang="ko-KR" altLang="en-US" sz="11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임계치 조정</a:t>
            </a:r>
            <a:endParaRPr kumimoji="1" lang="ko-KR" altLang="en-US" sz="1100" b="0" i="0" u="none" strike="noStrike" kern="1200" cap="none" spc="-70" normalizeH="0" baseline="0" noProof="0" dirty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sp>
        <p:nvSpPr>
          <p:cNvPr id="143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820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marR="0" lvl="0" indent="-84138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룰 변수 파라미터 값 수정</a:t>
            </a:r>
          </a:p>
          <a:p>
            <a:pPr marL="87313" marR="0" lvl="0" indent="-84138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사용자 편의를 고려한 직관적 구성</a:t>
            </a:r>
          </a:p>
          <a:p>
            <a:pPr marL="87313" marR="0" lvl="0" indent="-84138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고객 유형</a:t>
            </a:r>
            <a:r>
              <a:rPr kumimoji="0" lang="en-US" altLang="ko-KR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영업점 </a:t>
            </a:r>
            <a: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잔여 위험 등급 등에 대한 임계치를 사전적으로 조절할 수 있는 관리 기능</a:t>
            </a:r>
          </a:p>
        </p:txBody>
      </p:sp>
      <p:sp>
        <p:nvSpPr>
          <p:cNvPr id="144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135165"/>
            <a:ext cx="71942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룰 시뮬레이션</a:t>
            </a:r>
          </a:p>
        </p:txBody>
      </p:sp>
      <p:sp>
        <p:nvSpPr>
          <p:cNvPr id="145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439434"/>
            <a:ext cx="219011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marR="0" lvl="0" indent="-84138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신규개발 하고자 하는 추출 룰에 대해 </a:t>
            </a:r>
            <a:r>
              <a:rPr kumimoji="0" lang="ko-KR" altLang="en-US" sz="10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사전 </a:t>
            </a:r>
            <a: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검토</a:t>
            </a:r>
            <a:r>
              <a:rPr kumimoji="0" lang="en-US" altLang="ko-KR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/</a:t>
            </a:r>
            <a: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검증 프로세스 및 기능 개발</a:t>
            </a:r>
            <a:br>
              <a:rPr kumimoji="0" lang="ko-KR" altLang="en-US" sz="10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</a:br>
            <a:r>
              <a:rPr kumimoji="0" lang="ko-KR" altLang="en-US" sz="9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 </a:t>
            </a:r>
            <a:r>
              <a:rPr kumimoji="0" lang="en-US" altLang="ko-KR" sz="9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- </a:t>
            </a:r>
            <a:r>
              <a:rPr kumimoji="0" lang="ko-KR" altLang="en-US" sz="9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신규 등록 룰에 대해 임시 적용을 하고 </a:t>
            </a:r>
            <a: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/>
            </a:r>
            <a:b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</a:br>
            <a: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    </a:t>
            </a:r>
            <a:r>
              <a:rPr kumimoji="0" lang="ko-KR" altLang="en-US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추출된 점검대상 </a:t>
            </a:r>
            <a:r>
              <a:rPr kumimoji="0" lang="ko-KR" altLang="en-US" sz="9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거래를 룰 관리 </a:t>
            </a:r>
            <a: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/>
            </a:r>
            <a:b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</a:br>
            <a: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    </a:t>
            </a:r>
            <a:r>
              <a:rPr kumimoji="0" lang="ko-KR" altLang="en-US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담당자에게만 </a:t>
            </a:r>
            <a:r>
              <a:rPr kumimoji="0" lang="ko-KR" altLang="en-US" sz="9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배분</a:t>
            </a:r>
            <a: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일정 </a:t>
            </a:r>
            <a:r>
              <a:rPr kumimoji="0" lang="ko-KR" altLang="en-US" sz="9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기간 모니터링 </a:t>
            </a:r>
            <a:r>
              <a:rPr kumimoji="0" lang="ko-KR" altLang="en-US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후</a:t>
            </a:r>
            <a: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/>
            </a:r>
            <a:b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</a:br>
            <a:r>
              <a:rPr kumimoji="0" lang="en-US" altLang="ko-KR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   </a:t>
            </a:r>
            <a:r>
              <a:rPr kumimoji="0" lang="ko-KR" altLang="en-US" sz="900" b="0" i="0" u="none" strike="noStrike" kern="1200" cap="none" spc="-7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 </a:t>
            </a:r>
            <a:r>
              <a:rPr kumimoji="0" lang="ko-KR" altLang="en-US" sz="900" b="0" i="0" u="none" strike="noStrike" kern="1200" cap="none" spc="-70" normalizeH="0" baseline="0" noProof="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실제 적용 여부 판단</a:t>
            </a:r>
          </a:p>
        </p:txBody>
      </p:sp>
      <p:cxnSp>
        <p:nvCxnSpPr>
          <p:cNvPr id="146" name="직선 연결선 145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892611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47" name="그림 146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148" name="그림 147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4129586"/>
            <a:ext cx="318769" cy="318769"/>
          </a:xfrm>
          <a:prstGeom prst="rect">
            <a:avLst/>
          </a:prstGeom>
        </p:spPr>
      </p:pic>
      <p:sp>
        <p:nvSpPr>
          <p:cNvPr id="149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73050" y="4417240"/>
            <a:ext cx="6367314" cy="20455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150" name="Rectangle 127"/>
          <p:cNvSpPr>
            <a:spLocks noChangeArrowheads="1"/>
          </p:cNvSpPr>
          <p:nvPr/>
        </p:nvSpPr>
        <p:spPr bwMode="gray">
          <a:xfrm>
            <a:off x="272480" y="4378147"/>
            <a:ext cx="6372000" cy="45719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itchFamily="50" charset="-127"/>
              <a:ea typeface="나눔바른고딕" pitchFamily="50" charset="-127"/>
              <a:cs typeface="+mn-cs"/>
            </a:endParaRPr>
          </a:p>
        </p:txBody>
      </p:sp>
      <p:grpSp>
        <p:nvGrpSpPr>
          <p:cNvPr id="151" name="그룹 150"/>
          <p:cNvGrpSpPr/>
          <p:nvPr/>
        </p:nvGrpSpPr>
        <p:grpSpPr>
          <a:xfrm>
            <a:off x="2141700" y="4378148"/>
            <a:ext cx="2633560" cy="239713"/>
            <a:chOff x="1931637" y="4434169"/>
            <a:chExt cx="2633560" cy="239713"/>
          </a:xfrm>
        </p:grpSpPr>
        <p:sp>
          <p:nvSpPr>
            <p:cNvPr id="152" name="AutoShape 128"/>
            <p:cNvSpPr>
              <a:spLocks noChangeArrowheads="1"/>
            </p:cNvSpPr>
            <p:nvPr/>
          </p:nvSpPr>
          <p:spPr bwMode="gray">
            <a:xfrm>
              <a:off x="1931637" y="4434169"/>
              <a:ext cx="2633560" cy="239713"/>
            </a:xfrm>
            <a:prstGeom prst="roundRect">
              <a:avLst>
                <a:gd name="adj" fmla="val 12500"/>
              </a:avLst>
            </a:prstGeom>
            <a:solidFill>
              <a:srgbClr val="2FB0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바른고딕" pitchFamily="50" charset="-127"/>
                <a:ea typeface="나눔바른고딕" pitchFamily="50" charset="-127"/>
                <a:cs typeface="+mn-cs"/>
              </a:endParaRPr>
            </a:p>
          </p:txBody>
        </p:sp>
        <p:sp>
          <p:nvSpPr>
            <p:cNvPr id="153" name="Rectangle 11"/>
            <p:cNvSpPr>
              <a:spLocks noChangeAspect="1" noChangeArrowheads="1"/>
            </p:cNvSpPr>
            <p:nvPr/>
          </p:nvSpPr>
          <p:spPr bwMode="auto">
            <a:xfrm>
              <a:off x="2874116" y="4477081"/>
              <a:ext cx="71173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64F88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cs typeface="+mn-cs"/>
                </a:rPr>
                <a:t>룰 시뮬레이션</a:t>
              </a:r>
              <a:endPara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endParaRPr>
            </a:p>
          </p:txBody>
        </p:sp>
      </p:grpSp>
      <p:sp>
        <p:nvSpPr>
          <p:cNvPr id="154" name="Rs27"/>
          <p:cNvSpPr>
            <a:spLocks noChangeAspect="1" noChangeArrowheads="1"/>
          </p:cNvSpPr>
          <p:nvPr/>
        </p:nvSpPr>
        <p:spPr bwMode="auto">
          <a:xfrm>
            <a:off x="961508" y="6242829"/>
            <a:ext cx="547442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marR="0" lvl="0" indent="-92075" algn="l" defTabSz="879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룰 변경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신규 개발 시 영업점에 배분하지 않고 룰 관리 담당자가 일정 기간 모니터링 후 적용 여부 판단 하는 기능 제공</a:t>
            </a:r>
            <a:endParaRPr kumimoji="0" lang="en-US" altLang="ko-KR" sz="9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pic>
        <p:nvPicPr>
          <p:cNvPr id="155" name="그림 1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500" y="4927250"/>
            <a:ext cx="2218386" cy="107921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56" name="Rectangle 87"/>
          <p:cNvSpPr/>
          <p:nvPr/>
        </p:nvSpPr>
        <p:spPr bwMode="auto">
          <a:xfrm>
            <a:off x="3486511" y="5142476"/>
            <a:ext cx="792000" cy="3240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룰 대상 거래 </a:t>
            </a:r>
            <a:endParaRPr kumimoji="0" lang="en-US" altLang="ko-K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추출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sp>
        <p:nvSpPr>
          <p:cNvPr id="157" name="Rectangle 3"/>
          <p:cNvSpPr/>
          <p:nvPr/>
        </p:nvSpPr>
        <p:spPr bwMode="auto">
          <a:xfrm>
            <a:off x="1477566" y="5142477"/>
            <a:ext cx="684000" cy="3240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룰 신규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등록</a:t>
            </a: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cxnSp>
        <p:nvCxnSpPr>
          <p:cNvPr id="158" name="Straight Arrow Connector 5"/>
          <p:cNvCxnSpPr/>
          <p:nvPr/>
        </p:nvCxnSpPr>
        <p:spPr bwMode="auto">
          <a:xfrm>
            <a:off x="2173281" y="5294606"/>
            <a:ext cx="220356" cy="692"/>
          </a:xfrm>
          <a:prstGeom prst="straightConnector1">
            <a:avLst/>
          </a:prstGeom>
          <a:noFill/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9" name="Rectangle 3"/>
          <p:cNvSpPr/>
          <p:nvPr/>
        </p:nvSpPr>
        <p:spPr bwMode="auto">
          <a:xfrm>
            <a:off x="2395877" y="5142477"/>
            <a:ext cx="864000" cy="3240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임시 적용</a:t>
            </a: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cxnSp>
        <p:nvCxnSpPr>
          <p:cNvPr id="160" name="Straight Arrow Connector 5"/>
          <p:cNvCxnSpPr/>
          <p:nvPr/>
        </p:nvCxnSpPr>
        <p:spPr bwMode="auto">
          <a:xfrm>
            <a:off x="3267123" y="5294606"/>
            <a:ext cx="220356" cy="692"/>
          </a:xfrm>
          <a:prstGeom prst="straightConnector1">
            <a:avLst/>
          </a:prstGeom>
          <a:noFill/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1" name="Straight Arrow Connector 5"/>
          <p:cNvCxnSpPr/>
          <p:nvPr/>
        </p:nvCxnSpPr>
        <p:spPr bwMode="auto">
          <a:xfrm rot="5400000">
            <a:off x="3786234" y="5574405"/>
            <a:ext cx="216000" cy="0"/>
          </a:xfrm>
          <a:prstGeom prst="straightConnector1">
            <a:avLst/>
          </a:prstGeom>
          <a:noFill/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2" name="Rectangle 3"/>
          <p:cNvSpPr/>
          <p:nvPr/>
        </p:nvSpPr>
        <p:spPr bwMode="auto">
          <a:xfrm>
            <a:off x="3447468" y="5596783"/>
            <a:ext cx="900000" cy="324000"/>
          </a:xfrm>
          <a:prstGeom prst="rect">
            <a:avLst/>
          </a:prstGeom>
          <a:solidFill>
            <a:srgbClr val="FFC000"/>
          </a:solidFill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임시 적용 룰의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/>
            </a:r>
            <a:b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</a:b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경우 미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배분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sp>
        <p:nvSpPr>
          <p:cNvPr id="163" name="Rectangle 3"/>
          <p:cNvSpPr/>
          <p:nvPr/>
        </p:nvSpPr>
        <p:spPr bwMode="auto">
          <a:xfrm>
            <a:off x="4587703" y="5596783"/>
            <a:ext cx="576000" cy="3240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추출결과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모니터링</a:t>
            </a: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cxnSp>
        <p:nvCxnSpPr>
          <p:cNvPr id="164" name="Straight Arrow Connector 5"/>
          <p:cNvCxnSpPr/>
          <p:nvPr/>
        </p:nvCxnSpPr>
        <p:spPr bwMode="auto">
          <a:xfrm>
            <a:off x="4359213" y="5758783"/>
            <a:ext cx="220356" cy="692"/>
          </a:xfrm>
          <a:prstGeom prst="straightConnector1">
            <a:avLst/>
          </a:prstGeom>
          <a:noFill/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65" name="Picture 14"/>
          <p:cNvPicPr>
            <a:picLocks noChangeAspect="1"/>
          </p:cNvPicPr>
          <p:nvPr/>
        </p:nvPicPr>
        <p:blipFill>
          <a:blip r:embed="rId5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18235" y="5571117"/>
            <a:ext cx="195256" cy="195451"/>
          </a:xfrm>
          <a:prstGeom prst="rect">
            <a:avLst/>
          </a:prstGeom>
        </p:spPr>
      </p:pic>
      <p:sp>
        <p:nvSpPr>
          <p:cNvPr id="166" name="Rs27"/>
          <p:cNvSpPr>
            <a:spLocks noChangeAspect="1" noChangeArrowheads="1"/>
          </p:cNvSpPr>
          <p:nvPr/>
        </p:nvSpPr>
        <p:spPr bwMode="auto">
          <a:xfrm>
            <a:off x="3352266" y="5955087"/>
            <a:ext cx="10951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marR="0" lvl="0" indent="-92075" algn="l" defTabSz="879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  <a:t>※ </a:t>
            </a: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  <a:t>룰 관리 담당자에게만</a:t>
            </a:r>
            <a:r>
              <a:rPr kumimoji="0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  <a:t/>
            </a:r>
            <a:br>
              <a:rPr kumimoji="0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</a:br>
            <a:r>
              <a:rPr kumimoji="0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  <a:t>   </a:t>
            </a: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itchFamily="34" charset="0"/>
              </a:rPr>
              <a:t> 배분</a:t>
            </a:r>
            <a:endParaRPr kumimoji="0" lang="en-US" altLang="ko-KR" sz="8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itchFamily="34" charset="0"/>
            </a:endParaRPr>
          </a:p>
        </p:txBody>
      </p:sp>
      <p:sp>
        <p:nvSpPr>
          <p:cNvPr id="167" name="Rectangle 3"/>
          <p:cNvSpPr/>
          <p:nvPr/>
        </p:nvSpPr>
        <p:spPr bwMode="auto">
          <a:xfrm>
            <a:off x="5385148" y="5596783"/>
            <a:ext cx="900000" cy="3240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운영 적용 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여부 판단</a:t>
            </a: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cxnSp>
        <p:nvCxnSpPr>
          <p:cNvPr id="168" name="Straight Arrow Connector 5"/>
          <p:cNvCxnSpPr/>
          <p:nvPr/>
        </p:nvCxnSpPr>
        <p:spPr bwMode="auto">
          <a:xfrm>
            <a:off x="5156658" y="5758783"/>
            <a:ext cx="220356" cy="692"/>
          </a:xfrm>
          <a:prstGeom prst="straightConnector1">
            <a:avLst/>
          </a:prstGeom>
          <a:noFill/>
          <a:ln w="6350" cap="flat" cmpd="sng" algn="ctr">
            <a:solidFill>
              <a:srgbClr val="76C1E6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69" name="그룹 168"/>
          <p:cNvGrpSpPr/>
          <p:nvPr/>
        </p:nvGrpSpPr>
        <p:grpSpPr>
          <a:xfrm>
            <a:off x="455732" y="4782027"/>
            <a:ext cx="1080000" cy="144000"/>
            <a:chOff x="1035928" y="4768356"/>
            <a:chExt cx="3093892" cy="316874"/>
          </a:xfrm>
        </p:grpSpPr>
        <p:sp>
          <p:nvSpPr>
            <p:cNvPr id="170" name="Text Box 358" descr="도식1"/>
            <p:cNvSpPr>
              <a:spLocks noChangeArrowheads="1"/>
            </p:cNvSpPr>
            <p:nvPr/>
          </p:nvSpPr>
          <p:spPr bwMode="auto">
            <a:xfrm>
              <a:off x="1035928" y="4768356"/>
              <a:ext cx="3093892" cy="316874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나눔바른고딕" pitchFamily="50" charset="-127"/>
                <a:ea typeface="나눔바른고딕" pitchFamily="50" charset="-127"/>
                <a:cs typeface="+mn-cs"/>
              </a:endParaRPr>
            </a:p>
          </p:txBody>
        </p:sp>
        <p:sp>
          <p:nvSpPr>
            <p:cNvPr id="171" name="Rt40" descr="도식1"/>
            <p:cNvSpPr>
              <a:spLocks noChangeArrowheads="1"/>
            </p:cNvSpPr>
            <p:nvPr/>
          </p:nvSpPr>
          <p:spPr bwMode="auto">
            <a:xfrm>
              <a:off x="1666761" y="4777471"/>
              <a:ext cx="1832269" cy="304769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cs typeface="+mn-cs"/>
                </a:rPr>
                <a:t>룰 시뮬레이션</a:t>
              </a:r>
            </a:p>
          </p:txBody>
        </p:sp>
      </p:grpSp>
      <p:sp>
        <p:nvSpPr>
          <p:cNvPr id="172" name="Rectangle 131"/>
          <p:cNvSpPr>
            <a:spLocks noChangeArrowheads="1"/>
          </p:cNvSpPr>
          <p:nvPr/>
        </p:nvSpPr>
        <p:spPr bwMode="auto">
          <a:xfrm>
            <a:off x="3580364" y="2321124"/>
            <a:ext cx="3060000" cy="189674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marR="0" lvl="0" indent="-87313" algn="l" defTabSz="900113" rtl="0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  <a:defRPr/>
            </a:pP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itchFamily="50" charset="-127"/>
              <a:ea typeface="나눔바른고딕" pitchFamily="50" charset="-127"/>
              <a:cs typeface="+mn-cs"/>
            </a:endParaRPr>
          </a:p>
        </p:txBody>
      </p:sp>
      <p:sp>
        <p:nvSpPr>
          <p:cNvPr id="173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3583104" y="2302338"/>
            <a:ext cx="30600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174" name="Rectangle 126"/>
          <p:cNvSpPr>
            <a:spLocks noChangeArrowheads="1"/>
          </p:cNvSpPr>
          <p:nvPr/>
        </p:nvSpPr>
        <p:spPr bwMode="auto">
          <a:xfrm>
            <a:off x="273050" y="2283335"/>
            <a:ext cx="3136833" cy="195787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E4E8E6"/>
                  </a:outerShdw>
                </a:effectLst>
              </a14:hiddenEffects>
            </a:ext>
          </a:extLst>
        </p:spPr>
        <p:txBody>
          <a:bodyPr lIns="72000" tIns="144000" rIns="72000" bIns="36000" anchor="b"/>
          <a:lstStyle/>
          <a:p>
            <a:pPr marL="87313" marR="0" lvl="0" indent="-87313" algn="l" defTabSz="900113" rtl="0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777777"/>
              </a:buClr>
              <a:buSzPct val="80000"/>
              <a:buFont typeface="Wingdings" pitchFamily="2" charset="2"/>
              <a:buChar char="§"/>
              <a:tabLst/>
              <a:defRPr/>
            </a:pP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itchFamily="50" charset="-127"/>
              <a:ea typeface="나눔바른고딕" pitchFamily="50" charset="-127"/>
              <a:cs typeface="+mn-cs"/>
            </a:endParaRPr>
          </a:p>
        </p:txBody>
      </p:sp>
      <p:sp>
        <p:nvSpPr>
          <p:cNvPr id="175" name="양쪽 모서리가 둥근 사각형 521">
            <a:extLst>
              <a:ext uri="{FF2B5EF4-FFF2-40B4-BE49-F238E27FC236}">
                <a16:creationId xmlns:a16="http://schemas.microsoft.com/office/drawing/2014/main" id="{DB045639-18F2-432A-86EB-363512154C6A}"/>
              </a:ext>
            </a:extLst>
          </p:cNvPr>
          <p:cNvSpPr/>
          <p:nvPr/>
        </p:nvSpPr>
        <p:spPr>
          <a:xfrm>
            <a:off x="244028" y="2302815"/>
            <a:ext cx="3160800" cy="1899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176" name="Rectangle 127"/>
          <p:cNvSpPr>
            <a:spLocks noChangeArrowheads="1"/>
          </p:cNvSpPr>
          <p:nvPr/>
        </p:nvSpPr>
        <p:spPr bwMode="gray">
          <a:xfrm>
            <a:off x="273050" y="2276840"/>
            <a:ext cx="3136833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itchFamily="50" charset="-127"/>
              <a:ea typeface="나눔바른고딕" pitchFamily="50" charset="-127"/>
              <a:cs typeface="+mn-cs"/>
            </a:endParaRPr>
          </a:p>
        </p:txBody>
      </p:sp>
      <p:sp>
        <p:nvSpPr>
          <p:cNvPr id="177" name="AutoShape 128"/>
          <p:cNvSpPr>
            <a:spLocks noChangeArrowheads="1"/>
          </p:cNvSpPr>
          <p:nvPr/>
        </p:nvSpPr>
        <p:spPr bwMode="gray">
          <a:xfrm>
            <a:off x="891650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itchFamily="50" charset="-127"/>
              <a:ea typeface="나눔바른고딕" pitchFamily="50" charset="-127"/>
              <a:cs typeface="+mn-cs"/>
            </a:endParaRPr>
          </a:p>
        </p:txBody>
      </p:sp>
      <p:sp>
        <p:nvSpPr>
          <p:cNvPr id="178" name="Rectangle 11"/>
          <p:cNvSpPr>
            <a:spLocks noChangeAspect="1" noChangeArrowheads="1"/>
          </p:cNvSpPr>
          <p:nvPr/>
        </p:nvSpPr>
        <p:spPr bwMode="auto">
          <a:xfrm>
            <a:off x="1524086" y="2321652"/>
            <a:ext cx="63479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룰 관리 기능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sp>
        <p:nvSpPr>
          <p:cNvPr id="179" name="AutoShape 133"/>
          <p:cNvSpPr>
            <a:spLocks noChangeArrowheads="1"/>
          </p:cNvSpPr>
          <p:nvPr/>
        </p:nvSpPr>
        <p:spPr bwMode="gray">
          <a:xfrm>
            <a:off x="4159734" y="2276840"/>
            <a:ext cx="1901259" cy="245139"/>
          </a:xfrm>
          <a:prstGeom prst="roundRect">
            <a:avLst>
              <a:gd name="adj" fmla="val 12500"/>
            </a:avLst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itchFamily="50" charset="-127"/>
              <a:ea typeface="나눔바른고딕" pitchFamily="50" charset="-127"/>
              <a:cs typeface="+mn-cs"/>
            </a:endParaRPr>
          </a:p>
        </p:txBody>
      </p:sp>
      <p:sp>
        <p:nvSpPr>
          <p:cNvPr id="180" name="Rectangle 11"/>
          <p:cNvSpPr>
            <a:spLocks noChangeAspect="1" noChangeArrowheads="1"/>
          </p:cNvSpPr>
          <p:nvPr/>
        </p:nvSpPr>
        <p:spPr bwMode="auto">
          <a:xfrm>
            <a:off x="4736868" y="2321652"/>
            <a:ext cx="747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64F88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룰 임계치 조정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+mn-cs"/>
            </a:endParaRPr>
          </a:p>
        </p:txBody>
      </p:sp>
      <p:sp>
        <p:nvSpPr>
          <p:cNvPr id="181" name="Rectangle 132"/>
          <p:cNvSpPr>
            <a:spLocks noChangeArrowheads="1"/>
          </p:cNvSpPr>
          <p:nvPr/>
        </p:nvSpPr>
        <p:spPr bwMode="gray">
          <a:xfrm>
            <a:off x="3580363" y="2276840"/>
            <a:ext cx="3060000" cy="25975"/>
          </a:xfrm>
          <a:prstGeom prst="rect">
            <a:avLst/>
          </a:prstGeom>
          <a:solidFill>
            <a:srgbClr val="2FB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itchFamily="50" charset="-127"/>
              <a:ea typeface="나눔바른고딕" pitchFamily="50" charset="-127"/>
              <a:cs typeface="+mn-cs"/>
            </a:endParaRPr>
          </a:p>
        </p:txBody>
      </p:sp>
      <p:sp>
        <p:nvSpPr>
          <p:cNvPr id="182" name="Rs27"/>
          <p:cNvSpPr>
            <a:spLocks noChangeAspect="1" noChangeArrowheads="1"/>
          </p:cNvSpPr>
          <p:nvPr/>
        </p:nvSpPr>
        <p:spPr bwMode="auto">
          <a:xfrm>
            <a:off x="359102" y="3899640"/>
            <a:ext cx="310533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marR="0" lvl="0" indent="-92075" algn="l" defTabSz="879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평가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(RA)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 모델 시뮬레이션을 위한 시뮬레이션 기준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</a:t>
            </a:r>
            <a:b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</a:b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시뮬레이션 결과확인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시뮬레이션 적용을 위한 화면</a:t>
            </a:r>
            <a:endParaRPr kumimoji="0" lang="en-US" altLang="ko-KR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sp>
        <p:nvSpPr>
          <p:cNvPr id="183" name="Rs27"/>
          <p:cNvSpPr>
            <a:spLocks noChangeAspect="1" noChangeArrowheads="1"/>
          </p:cNvSpPr>
          <p:nvPr/>
        </p:nvSpPr>
        <p:spPr bwMode="auto">
          <a:xfrm>
            <a:off x="3698720" y="3899640"/>
            <a:ext cx="280347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92075" marR="0" lvl="0" indent="-92075" algn="l" defTabSz="879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위험평가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(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A)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시뮬레이션을 위한 기준값 관리와 시뮬레이션을 실행하는 화면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sp>
        <p:nvSpPr>
          <p:cNvPr id="184" name="자유형: 도형 4">
            <a:extLst>
              <a:ext uri="{FF2B5EF4-FFF2-40B4-BE49-F238E27FC236}">
                <a16:creationId xmlns:a16="http://schemas.microsoft.com/office/drawing/2014/main" id="{ECF58973-DC72-4E32-8278-80B8EE1FFCFB}"/>
              </a:ext>
            </a:extLst>
          </p:cNvPr>
          <p:cNvSpPr/>
          <p:nvPr/>
        </p:nvSpPr>
        <p:spPr>
          <a:xfrm>
            <a:off x="232538" y="2060848"/>
            <a:ext cx="6623450" cy="175260"/>
          </a:xfrm>
          <a:custGeom>
            <a:avLst/>
            <a:gdLst>
              <a:gd name="connsiteX0" fmla="*/ 0 w 6111240"/>
              <a:gd name="connsiteY0" fmla="*/ 175260 h 175260"/>
              <a:gd name="connsiteX1" fmla="*/ 5920740 w 6111240"/>
              <a:gd name="connsiteY1" fmla="*/ 175260 h 175260"/>
              <a:gd name="connsiteX2" fmla="*/ 6111240 w 6111240"/>
              <a:gd name="connsiteY2" fmla="*/ 0 h 175260"/>
              <a:gd name="connsiteX3" fmla="*/ 5920740 w 6111240"/>
              <a:gd name="connsiteY3" fmla="*/ 0 h 17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240" h="175260">
                <a:moveTo>
                  <a:pt x="0" y="175260"/>
                </a:moveTo>
                <a:lnTo>
                  <a:pt x="5920740" y="175260"/>
                </a:lnTo>
                <a:lnTo>
                  <a:pt x="6111240" y="0"/>
                </a:lnTo>
                <a:lnTo>
                  <a:pt x="5920740" y="0"/>
                </a:lnTo>
              </a:path>
            </a:pathLst>
          </a:custGeom>
          <a:noFill/>
          <a:ln w="25400">
            <a:solidFill>
              <a:schemeClr val="bg1">
                <a:lumMod val="85000"/>
                <a:alpha val="75000"/>
              </a:scheme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85" name="그룹 184"/>
          <p:cNvGrpSpPr/>
          <p:nvPr/>
        </p:nvGrpSpPr>
        <p:grpSpPr>
          <a:xfrm>
            <a:off x="419242" y="2760397"/>
            <a:ext cx="1257394" cy="853330"/>
            <a:chOff x="452376" y="2759425"/>
            <a:chExt cx="1257394" cy="853330"/>
          </a:xfrm>
        </p:grpSpPr>
        <p:pic>
          <p:nvPicPr>
            <p:cNvPr id="186" name="그림 18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0666" y="2914793"/>
              <a:ext cx="1249104" cy="697962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87" name="그룹 186"/>
            <p:cNvGrpSpPr/>
            <p:nvPr/>
          </p:nvGrpSpPr>
          <p:grpSpPr>
            <a:xfrm>
              <a:off x="452376" y="2759425"/>
              <a:ext cx="900000" cy="144000"/>
              <a:chOff x="1035928" y="4768356"/>
              <a:chExt cx="3093892" cy="316874"/>
            </a:xfrm>
          </p:grpSpPr>
          <p:sp>
            <p:nvSpPr>
              <p:cNvPr id="188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KoPub돋움체 Bold" panose="00000800000000000000" pitchFamily="2" charset="-127"/>
                  <a:ea typeface="KoPub돋움체 Bold" panose="00000800000000000000" pitchFamily="2" charset="-127"/>
                  <a:cs typeface="+mn-cs"/>
                </a:endParaRPr>
              </a:p>
            </p:txBody>
          </p:sp>
          <p:sp>
            <p:nvSpPr>
              <p:cNvPr id="189" name="Rt40" descr="도식1"/>
              <p:cNvSpPr>
                <a:spLocks noChangeArrowheads="1"/>
              </p:cNvSpPr>
              <p:nvPr/>
            </p:nvSpPr>
            <p:spPr bwMode="auto">
              <a:xfrm>
                <a:off x="1830701" y="4777471"/>
                <a:ext cx="1504388" cy="304769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+mn-cs"/>
                  </a:rPr>
                  <a:t>룰 리스트</a:t>
                </a:r>
              </a:p>
            </p:txBody>
          </p:sp>
        </p:grpSp>
      </p:grpSp>
      <p:grpSp>
        <p:nvGrpSpPr>
          <p:cNvPr id="190" name="그룹 189"/>
          <p:cNvGrpSpPr/>
          <p:nvPr/>
        </p:nvGrpSpPr>
        <p:grpSpPr>
          <a:xfrm>
            <a:off x="1938207" y="2634777"/>
            <a:ext cx="998569" cy="1032203"/>
            <a:chOff x="1835748" y="2661735"/>
            <a:chExt cx="998569" cy="1032203"/>
          </a:xfrm>
        </p:grpSpPr>
        <p:pic>
          <p:nvPicPr>
            <p:cNvPr id="191" name="그림 19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39487" y="2823808"/>
              <a:ext cx="994830" cy="87013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92" name="그룹 191"/>
            <p:cNvGrpSpPr/>
            <p:nvPr/>
          </p:nvGrpSpPr>
          <p:grpSpPr>
            <a:xfrm>
              <a:off x="1835748" y="2661735"/>
              <a:ext cx="756000" cy="144000"/>
              <a:chOff x="1035928" y="4768356"/>
              <a:chExt cx="3093892" cy="316874"/>
            </a:xfrm>
          </p:grpSpPr>
          <p:sp>
            <p:nvSpPr>
              <p:cNvPr id="193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나눔바른고딕" pitchFamily="50" charset="-127"/>
                  <a:ea typeface="나눔바른고딕" pitchFamily="50" charset="-127"/>
                  <a:cs typeface="+mn-cs"/>
                </a:endParaRPr>
              </a:p>
            </p:txBody>
          </p:sp>
          <p:sp>
            <p:nvSpPr>
              <p:cNvPr id="194" name="Rt40" descr="도식1"/>
              <p:cNvSpPr>
                <a:spLocks noChangeArrowheads="1"/>
              </p:cNvSpPr>
              <p:nvPr/>
            </p:nvSpPr>
            <p:spPr bwMode="auto">
              <a:xfrm>
                <a:off x="1411889" y="4777471"/>
                <a:ext cx="2341998" cy="304769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+mn-cs"/>
                  </a:rPr>
                  <a:t>룰 상세 정보</a:t>
                </a:r>
              </a:p>
            </p:txBody>
          </p:sp>
        </p:grpSp>
      </p:grpSp>
      <p:grpSp>
        <p:nvGrpSpPr>
          <p:cNvPr id="195" name="그룹 194"/>
          <p:cNvGrpSpPr/>
          <p:nvPr/>
        </p:nvGrpSpPr>
        <p:grpSpPr>
          <a:xfrm>
            <a:off x="2512461" y="3105988"/>
            <a:ext cx="792054" cy="650945"/>
            <a:chOff x="2505647" y="3106482"/>
            <a:chExt cx="792054" cy="650945"/>
          </a:xfrm>
        </p:grpSpPr>
        <p:pic>
          <p:nvPicPr>
            <p:cNvPr id="196" name="그림 19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12935" y="3248725"/>
              <a:ext cx="784766" cy="508702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197" name="그룹 196"/>
            <p:cNvGrpSpPr/>
            <p:nvPr/>
          </p:nvGrpSpPr>
          <p:grpSpPr>
            <a:xfrm>
              <a:off x="2505647" y="3106482"/>
              <a:ext cx="756000" cy="144000"/>
              <a:chOff x="1035928" y="4768356"/>
              <a:chExt cx="3093892" cy="316874"/>
            </a:xfrm>
          </p:grpSpPr>
          <p:sp>
            <p:nvSpPr>
              <p:cNvPr id="198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나눔바른고딕" pitchFamily="50" charset="-127"/>
                  <a:ea typeface="나눔바른고딕" pitchFamily="50" charset="-127"/>
                  <a:cs typeface="+mn-cs"/>
                </a:endParaRPr>
              </a:p>
            </p:txBody>
          </p:sp>
          <p:sp>
            <p:nvSpPr>
              <p:cNvPr id="199" name="Rt40" descr="도식1"/>
              <p:cNvSpPr>
                <a:spLocks noChangeArrowheads="1"/>
              </p:cNvSpPr>
              <p:nvPr/>
            </p:nvSpPr>
            <p:spPr bwMode="auto">
              <a:xfrm>
                <a:off x="1756301" y="4777471"/>
                <a:ext cx="1653178" cy="304769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+mn-cs"/>
                  </a:rPr>
                  <a:t>변경사유</a:t>
                </a:r>
              </a:p>
            </p:txBody>
          </p:sp>
        </p:grpSp>
      </p:grpSp>
      <p:cxnSp>
        <p:nvCxnSpPr>
          <p:cNvPr id="200" name="꺾인 연결선 199"/>
          <p:cNvCxnSpPr>
            <a:stCxn id="186" idx="3"/>
            <a:endCxn id="191" idx="2"/>
          </p:cNvCxnSpPr>
          <p:nvPr/>
        </p:nvCxnSpPr>
        <p:spPr bwMode="auto">
          <a:xfrm>
            <a:off x="1676636" y="3264746"/>
            <a:ext cx="762725" cy="402234"/>
          </a:xfrm>
          <a:prstGeom prst="bentConnector4">
            <a:avLst>
              <a:gd name="adj1" fmla="val 17392"/>
              <a:gd name="adj2" fmla="val 135387"/>
            </a:avLst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grpSp>
        <p:nvGrpSpPr>
          <p:cNvPr id="201" name="그룹 200"/>
          <p:cNvGrpSpPr/>
          <p:nvPr/>
        </p:nvGrpSpPr>
        <p:grpSpPr>
          <a:xfrm>
            <a:off x="3820805" y="2711896"/>
            <a:ext cx="1610878" cy="918725"/>
            <a:chOff x="3732478" y="2737394"/>
            <a:chExt cx="1610878" cy="918725"/>
          </a:xfrm>
        </p:grpSpPr>
        <p:grpSp>
          <p:nvGrpSpPr>
            <p:cNvPr id="202" name="그룹 201"/>
            <p:cNvGrpSpPr/>
            <p:nvPr/>
          </p:nvGrpSpPr>
          <p:grpSpPr>
            <a:xfrm>
              <a:off x="3732478" y="2737394"/>
              <a:ext cx="1080000" cy="144000"/>
              <a:chOff x="1035928" y="4768356"/>
              <a:chExt cx="3093892" cy="316874"/>
            </a:xfrm>
          </p:grpSpPr>
          <p:sp>
            <p:nvSpPr>
              <p:cNvPr id="204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나눔바른고딕" pitchFamily="50" charset="-127"/>
                  <a:ea typeface="나눔바른고딕" pitchFamily="50" charset="-127"/>
                  <a:cs typeface="+mn-cs"/>
                </a:endParaRPr>
              </a:p>
            </p:txBody>
          </p:sp>
          <p:sp>
            <p:nvSpPr>
              <p:cNvPr id="205" name="Rt40" descr="도식1"/>
              <p:cNvSpPr>
                <a:spLocks noChangeArrowheads="1"/>
              </p:cNvSpPr>
              <p:nvPr/>
            </p:nvSpPr>
            <p:spPr bwMode="auto">
              <a:xfrm>
                <a:off x="1714974" y="4777471"/>
                <a:ext cx="1735834" cy="304769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+mn-cs"/>
                  </a:rPr>
                  <a:t>룰 관리 상세 </a:t>
                </a:r>
              </a:p>
            </p:txBody>
          </p:sp>
        </p:grpSp>
        <p:pic>
          <p:nvPicPr>
            <p:cNvPr id="203" name="그림 20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35437" y="2889816"/>
              <a:ext cx="1607919" cy="7663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  <p:grpSp>
        <p:nvGrpSpPr>
          <p:cNvPr id="206" name="그룹 205"/>
          <p:cNvGrpSpPr/>
          <p:nvPr/>
        </p:nvGrpSpPr>
        <p:grpSpPr>
          <a:xfrm>
            <a:off x="5119351" y="2966249"/>
            <a:ext cx="1237593" cy="772737"/>
            <a:chOff x="4823400" y="2965595"/>
            <a:chExt cx="1237593" cy="772737"/>
          </a:xfrm>
        </p:grpSpPr>
        <p:pic>
          <p:nvPicPr>
            <p:cNvPr id="207" name="그림 20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23437" y="3128077"/>
              <a:ext cx="1237556" cy="610255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208" name="그룹 207"/>
            <p:cNvGrpSpPr/>
            <p:nvPr/>
          </p:nvGrpSpPr>
          <p:grpSpPr>
            <a:xfrm>
              <a:off x="4823400" y="2965595"/>
              <a:ext cx="1080000" cy="144000"/>
              <a:chOff x="1035928" y="4768356"/>
              <a:chExt cx="3093892" cy="316874"/>
            </a:xfrm>
          </p:grpSpPr>
          <p:sp>
            <p:nvSpPr>
              <p:cNvPr id="209" name="Text Box 358" descr="도식1"/>
              <p:cNvSpPr>
                <a:spLocks noChangeArrowheads="1"/>
              </p:cNvSpPr>
              <p:nvPr/>
            </p:nvSpPr>
            <p:spPr bwMode="auto">
              <a:xfrm>
                <a:off x="1035928" y="4768356"/>
                <a:ext cx="3093892" cy="3168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나눔바른고딕" pitchFamily="50" charset="-127"/>
                  <a:ea typeface="나눔바른고딕" pitchFamily="50" charset="-127"/>
                  <a:cs typeface="+mn-cs"/>
                </a:endParaRPr>
              </a:p>
            </p:txBody>
          </p:sp>
          <p:sp>
            <p:nvSpPr>
              <p:cNvPr id="210" name="Rt40" descr="도식1"/>
              <p:cNvSpPr>
                <a:spLocks noChangeArrowheads="1"/>
              </p:cNvSpPr>
              <p:nvPr/>
            </p:nvSpPr>
            <p:spPr bwMode="auto">
              <a:xfrm>
                <a:off x="1811409" y="4777471"/>
                <a:ext cx="1542964" cy="304769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KoPub돋움체 Bold" panose="00000800000000000000" pitchFamily="2" charset="-127"/>
                    <a:ea typeface="KoPub돋움체 Bold" panose="00000800000000000000" pitchFamily="2" charset="-127"/>
                    <a:cs typeface="+mn-cs"/>
                  </a:rPr>
                  <a:t>임계치 관리</a:t>
                </a:r>
              </a:p>
            </p:txBody>
          </p:sp>
        </p:grpSp>
      </p:grpSp>
      <p:pic>
        <p:nvPicPr>
          <p:cNvPr id="211" name="그림 21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41" y="2390448"/>
            <a:ext cx="318769" cy="318769"/>
          </a:xfrm>
          <a:prstGeom prst="rect">
            <a:avLst/>
          </a:prstGeom>
        </p:spPr>
      </p:pic>
      <p:pic>
        <p:nvPicPr>
          <p:cNvPr id="212" name="그림 211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996" y="2387004"/>
            <a:ext cx="318769" cy="318769"/>
          </a:xfrm>
          <a:prstGeom prst="rect">
            <a:avLst/>
          </a:prstGeom>
        </p:spPr>
      </p:pic>
      <p:pic>
        <p:nvPicPr>
          <p:cNvPr id="213" name="그림 212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886" y="4532171"/>
            <a:ext cx="318769" cy="318769"/>
          </a:xfrm>
          <a:prstGeom prst="rect">
            <a:avLst/>
          </a:prstGeom>
        </p:spPr>
      </p:pic>
      <p:pic>
        <p:nvPicPr>
          <p:cNvPr id="214" name="Rt91">
            <a:extLst>
              <a:ext uri="{FF2B5EF4-FFF2-40B4-BE49-F238E27FC236}">
                <a16:creationId xmlns:a16="http://schemas.microsoft.com/office/drawing/2014/main" id="{6E51A076-7709-4D90-B883-806242A4BD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28452" y="3000201"/>
            <a:ext cx="603350" cy="613853"/>
          </a:xfrm>
          <a:prstGeom prst="rect">
            <a:avLst/>
          </a:prstGeom>
        </p:spPr>
      </p:pic>
      <p:pic>
        <p:nvPicPr>
          <p:cNvPr id="215" name="Rt91">
            <a:extLst>
              <a:ext uri="{FF2B5EF4-FFF2-40B4-BE49-F238E27FC236}">
                <a16:creationId xmlns:a16="http://schemas.microsoft.com/office/drawing/2014/main" id="{6E51A076-7709-4D90-B883-806242A4BD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38822" y="2720609"/>
            <a:ext cx="603350" cy="613853"/>
          </a:xfrm>
          <a:prstGeom prst="rect">
            <a:avLst/>
          </a:prstGeom>
        </p:spPr>
      </p:pic>
      <p:pic>
        <p:nvPicPr>
          <p:cNvPr id="216" name="Rt91">
            <a:extLst>
              <a:ext uri="{FF2B5EF4-FFF2-40B4-BE49-F238E27FC236}">
                <a16:creationId xmlns:a16="http://schemas.microsoft.com/office/drawing/2014/main" id="{6E51A076-7709-4D90-B883-806242A4BD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65713" y="2547083"/>
            <a:ext cx="603350" cy="613853"/>
          </a:xfrm>
          <a:prstGeom prst="rect">
            <a:avLst/>
          </a:prstGeom>
        </p:spPr>
      </p:pic>
      <p:pic>
        <p:nvPicPr>
          <p:cNvPr id="217" name="Rt91">
            <a:extLst>
              <a:ext uri="{FF2B5EF4-FFF2-40B4-BE49-F238E27FC236}">
                <a16:creationId xmlns:a16="http://schemas.microsoft.com/office/drawing/2014/main" id="{6E51A076-7709-4D90-B883-806242A4BD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17685" y="2543279"/>
            <a:ext cx="603350" cy="613853"/>
          </a:xfrm>
          <a:prstGeom prst="rect">
            <a:avLst/>
          </a:prstGeom>
        </p:spPr>
      </p:pic>
      <p:pic>
        <p:nvPicPr>
          <p:cNvPr id="218" name="Rt91">
            <a:extLst>
              <a:ext uri="{FF2B5EF4-FFF2-40B4-BE49-F238E27FC236}">
                <a16:creationId xmlns:a16="http://schemas.microsoft.com/office/drawing/2014/main" id="{6E51A076-7709-4D90-B883-806242A4BD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8785" y="4613065"/>
            <a:ext cx="603350" cy="61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73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 smtClean="0"/>
              <a:t>2.2.3.7 </a:t>
            </a:r>
            <a:r>
              <a:rPr lang="ko-KR" altLang="en-US" dirty="0" smtClean="0"/>
              <a:t>고액현금거래 </a:t>
            </a:r>
            <a:r>
              <a:rPr lang="ko-KR" altLang="en-US" dirty="0"/>
              <a:t>모니터링 구축</a:t>
            </a:r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현행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 프로세스 상의 이슈와 업권의 특성을 고려하여 업무상 많이 발생하는 이슈를 반영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O-BE CTR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 프로세스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액현금거래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모니터링 구축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7" name="오른쪽 화살표 16"/>
          <p:cNvSpPr/>
          <p:nvPr/>
        </p:nvSpPr>
        <p:spPr>
          <a:xfrm>
            <a:off x="3728470" y="3122534"/>
            <a:ext cx="612462" cy="2350106"/>
          </a:xfrm>
          <a:prstGeom prst="rightArrow">
            <a:avLst>
              <a:gd name="adj1" fmla="val 67945"/>
              <a:gd name="adj2" fmla="val 51390"/>
            </a:avLst>
          </a:prstGeom>
          <a:gradFill rotWithShape="1">
            <a:gsLst>
              <a:gs pos="0">
                <a:srgbClr val="FFFFFF"/>
              </a:gs>
              <a:gs pos="14000">
                <a:srgbClr val="C0C0C0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ko-KR" altLang="en-US" dirty="0"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8" name="그룹 17"/>
          <p:cNvGrpSpPr/>
          <p:nvPr/>
        </p:nvGrpSpPr>
        <p:grpSpPr>
          <a:xfrm>
            <a:off x="699378" y="2276872"/>
            <a:ext cx="2867316" cy="209202"/>
            <a:chOff x="2142015" y="2226795"/>
            <a:chExt cx="2292854" cy="226731"/>
          </a:xfrm>
        </p:grpSpPr>
        <p:sp>
          <p:nvSpPr>
            <p:cNvPr id="19" name="Text Box 52"/>
            <p:cNvSpPr txBox="1">
              <a:spLocks noChangeArrowheads="1"/>
            </p:cNvSpPr>
            <p:nvPr/>
          </p:nvSpPr>
          <p:spPr bwMode="auto">
            <a:xfrm>
              <a:off x="2459993" y="2226795"/>
              <a:ext cx="1653980" cy="18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indent="-269574" algn="ctr">
                <a:spcAft>
                  <a:spcPts val="884"/>
                </a:spcAft>
              </a:pP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CTR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보고 프로세스 수립시 고려사항</a:t>
              </a:r>
            </a:p>
          </p:txBody>
        </p:sp>
        <p:sp>
          <p:nvSpPr>
            <p:cNvPr id="20" name="Line 57"/>
            <p:cNvSpPr>
              <a:spLocks noChangeShapeType="1"/>
            </p:cNvSpPr>
            <p:nvPr/>
          </p:nvSpPr>
          <p:spPr bwMode="auto">
            <a:xfrm>
              <a:off x="2142015" y="2453526"/>
              <a:ext cx="229285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l" latinLnBrk="0"/>
              <a:endParaRPr lang="en-GB" sz="11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5531724" y="2276872"/>
            <a:ext cx="2880000" cy="209202"/>
            <a:chOff x="2054923" y="2226795"/>
            <a:chExt cx="2484067" cy="226731"/>
          </a:xfrm>
        </p:grpSpPr>
        <p:sp>
          <p:nvSpPr>
            <p:cNvPr id="23" name="Text Box 52"/>
            <p:cNvSpPr txBox="1">
              <a:spLocks noChangeArrowheads="1"/>
            </p:cNvSpPr>
            <p:nvPr/>
          </p:nvSpPr>
          <p:spPr bwMode="auto">
            <a:xfrm>
              <a:off x="2662793" y="2226795"/>
              <a:ext cx="1312546" cy="18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79623" tIns="0" rIns="79623" bIns="0">
              <a:spAutoFit/>
            </a:bodyPr>
            <a:lstStyle/>
            <a:p>
              <a:pPr indent="-269574" algn="ctr">
                <a:spcAft>
                  <a:spcPts val="884"/>
                </a:spcAft>
              </a:pP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CTR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보고 프로세스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(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예시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)</a:t>
              </a:r>
              <a:endPara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25" name="Line 57"/>
            <p:cNvSpPr>
              <a:spLocks noChangeShapeType="1"/>
            </p:cNvSpPr>
            <p:nvPr/>
          </p:nvSpPr>
          <p:spPr bwMode="auto">
            <a:xfrm>
              <a:off x="2054923" y="2453526"/>
              <a:ext cx="2484067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79623" tIns="0" rIns="79623" bIns="0" anchor="ctr"/>
            <a:lstStyle/>
            <a:p>
              <a:pPr algn="l" latinLnBrk="0"/>
              <a:endParaRPr lang="en-GB" sz="1100" spc="-100" dirty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30" name="직사각형 29"/>
          <p:cNvSpPr/>
          <p:nvPr/>
        </p:nvSpPr>
        <p:spPr bwMode="ltGray">
          <a:xfrm>
            <a:off x="4484948" y="2571939"/>
            <a:ext cx="4896544" cy="3653126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anchor="t" anchorCtr="0"/>
          <a:lstStyle/>
          <a:p>
            <a:pPr marL="6350" lvl="0" defTabSz="1019007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endParaRPr lang="en-US" altLang="ko-KR" sz="1100" u="sng" spc="-100" dirty="0">
              <a:solidFill>
                <a:prstClr val="black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27" name="그림 26"/>
          <p:cNvPicPr preferRelativeResize="0">
            <a:picLocks/>
          </p:cNvPicPr>
          <p:nvPr/>
        </p:nvPicPr>
        <p:blipFill rotWithShape="1">
          <a:blip r:embed="rId2"/>
          <a:srcRect l="1074" t="2480" r="1273" b="1584"/>
          <a:stretch/>
        </p:blipFill>
        <p:spPr>
          <a:xfrm>
            <a:off x="4520952" y="2837709"/>
            <a:ext cx="4825258" cy="3204356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 bwMode="ltGray">
          <a:xfrm>
            <a:off x="513036" y="2568960"/>
            <a:ext cx="3240000" cy="3653126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anchor="t" anchorCtr="0"/>
          <a:lstStyle/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Tx/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대상 거래의 누락 여부 검토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- ATM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거래 등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Tx/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합산조건 검토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-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개인과 개인사업자 합산 등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Tx/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대상 금액의 적정성 검토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-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대출 중도해지</a:t>
            </a: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수수료 합산제외 등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Tx/>
              <a:buAutoNum type="arabicPeriod"/>
              <a:defRPr/>
            </a:pP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보고제외 기관 관리 적정성 검토</a:t>
            </a: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/>
            </a:r>
            <a:b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</a:br>
            <a:r>
              <a: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- </a:t>
            </a:r>
            <a:r>
              <a:rPr lang="ko-KR" altLang="en-US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보고제외기관 리스트 관리 주기 등</a:t>
            </a:r>
            <a:endParaRPr lang="en-US" altLang="ko-KR" sz="11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34950" indent="-228600" defTabSz="1019007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Tx/>
              <a:buAutoNum type="arabicPeriod"/>
              <a:defRPr/>
            </a:pPr>
            <a:r>
              <a:rPr lang="en-US" altLang="ko-KR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TR </a:t>
            </a:r>
            <a:r>
              <a:rPr lang="ko-KR" altLang="en-US" sz="1100" u="sng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점검의견에 대한 효율적인 관리방안</a:t>
            </a:r>
            <a:endParaRPr lang="en-US" altLang="ko-KR" sz="1100" u="sng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2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3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06338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32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9011584" y="2392779"/>
            <a:ext cx="379735" cy="20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77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7.1.1 </a:t>
            </a:r>
            <a:r>
              <a:rPr lang="ko-KR" altLang="en-US" dirty="0" smtClean="0"/>
              <a:t>고액현금거래보고</a:t>
            </a:r>
            <a:r>
              <a:rPr lang="en-US" altLang="ko-KR" dirty="0" smtClean="0"/>
              <a:t>(CTR</a:t>
            </a:r>
            <a:r>
              <a:rPr lang="en-US" altLang="ko-KR" dirty="0"/>
              <a:t>) </a:t>
            </a:r>
            <a:r>
              <a:rPr lang="ko-KR" altLang="en-US" dirty="0"/>
              <a:t>수행 프로세스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동 추출된 고액현금거래보고 집계자료에 대해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TR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보고 및 제외보고를 하는 프로세스를 구축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고액현금거래보고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(CTR)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수행 프로세스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9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수행 내용</a:t>
                </a:r>
              </a:p>
            </p:txBody>
          </p:sp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pic>
        <p:nvPicPr>
          <p:cNvPr id="21" name="그림 2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7854" y="2573308"/>
            <a:ext cx="318769" cy="318769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7854" y="3041582"/>
            <a:ext cx="318769" cy="318769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7854" y="3358492"/>
            <a:ext cx="320400" cy="320400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7854" y="3667412"/>
            <a:ext cx="320400" cy="320400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7854" y="4121702"/>
            <a:ext cx="320400" cy="320400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7854" y="4428486"/>
            <a:ext cx="320400" cy="320400"/>
          </a:xfrm>
          <a:prstGeom prst="rect">
            <a:avLst/>
          </a:prstGeom>
        </p:spPr>
      </p:pic>
      <p:pic>
        <p:nvPicPr>
          <p:cNvPr id="28" name="그림 27">
            <a:extLst>
              <a:ext uri="{FF2B5EF4-FFF2-40B4-BE49-F238E27FC236}">
                <a16:creationId xmlns:a16="http://schemas.microsoft.com/office/drawing/2014/main" id="{66FCB384-0A34-44F2-8E7D-A993E2E991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7854" y="4733770"/>
            <a:ext cx="320400" cy="320400"/>
          </a:xfrm>
          <a:prstGeom prst="rect">
            <a:avLst/>
          </a:prstGeom>
        </p:spPr>
      </p:pic>
      <p:sp>
        <p:nvSpPr>
          <p:cNvPr id="29" name="Rectangle 262"/>
          <p:cNvSpPr>
            <a:spLocks noChangeArrowheads="1"/>
          </p:cNvSpPr>
          <p:nvPr/>
        </p:nvSpPr>
        <p:spPr bwMode="auto">
          <a:xfrm>
            <a:off x="7342346" y="2560271"/>
            <a:ext cx="2208020" cy="2993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85725" indent="-857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CTR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추출 요건에 따라 점검대상 정보를 생성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영업점 조작자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텔러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)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에게 점검 대상 전달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상세조회를 통한 거래 별 제외처리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제외처리 후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CTR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대상에 해당 하는지 판단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 책임자에게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승인 요청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승인완료 건에 대해서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CTR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 생성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자동 생성된 보고파일을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KoFIU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에 보고</a:t>
            </a:r>
            <a:b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-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발송증서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접수증서 수신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 오류 또는 추가요청이 있는 경우 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CTR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정정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취소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추가 보고서 생성</a:t>
            </a: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D3C7065C-9B27-4953-8013-8337A525E4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7854" y="5211948"/>
            <a:ext cx="320400" cy="320400"/>
          </a:xfrm>
          <a:prstGeom prst="rect">
            <a:avLst/>
          </a:prstGeom>
        </p:spPr>
      </p:pic>
      <p:sp>
        <p:nvSpPr>
          <p:cNvPr id="31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89192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/>
          </p:nvPr>
        </p:nvGraphicFramePr>
        <p:xfrm>
          <a:off x="1928813" y="2184201"/>
          <a:ext cx="4788383" cy="4148137"/>
        </p:xfrm>
        <a:graphic>
          <a:graphicData uri="http://schemas.openxmlformats.org/drawingml/2006/table">
            <a:tbl>
              <a:tblPr/>
              <a:tblGrid>
                <a:gridCol w="2808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02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31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 담당자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00" marR="90000" marT="17997" marB="17997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보고 책임자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00" marR="90000" marT="17997" marB="17997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782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0000" marR="90000" marT="17997" marB="17997" anchor="ctr" horzOverflow="overflow">
                    <a:lnL>
                      <a:noFill/>
                    </a:lnL>
                    <a:lnR w="6350" cap="flat" cmpd="sng" algn="ctr">
                      <a:solidFill>
                        <a:srgbClr val="96969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5725" marR="0" lvl="0" indent="-85725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777777"/>
                        </a:buClr>
                        <a:buSzPct val="80000"/>
                        <a:buFont typeface="Wingdings" pitchFamily="2" charset="2"/>
                        <a:buChar char="§"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바른고딕" pitchFamily="50" charset="-127"/>
                        <a:ea typeface="나눔바른고딕" pitchFamily="50" charset="-127"/>
                      </a:endParaRPr>
                    </a:p>
                  </a:txBody>
                  <a:tcPr marL="90000" marR="90000" marT="17997" marB="17997" anchor="ctr" horzOverflow="overflow">
                    <a:lnL w="6350" cap="flat" cmpd="sng" algn="ctr">
                      <a:solidFill>
                        <a:srgbClr val="96969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777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33" name="AutoShape 1248"/>
          <p:cNvCxnSpPr>
            <a:cxnSpLocks noChangeShapeType="1"/>
            <a:endCxn id="114" idx="1"/>
          </p:cNvCxnSpPr>
          <p:nvPr/>
        </p:nvCxnSpPr>
        <p:spPr bwMode="auto">
          <a:xfrm flipV="1">
            <a:off x="1382713" y="2825224"/>
            <a:ext cx="815971" cy="3347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" name="Picture 1241" descr="MS-DOS-Batch-File-256x25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3" y="2265163"/>
            <a:ext cx="366712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 Box 1242"/>
          <p:cNvSpPr txBox="1">
            <a:spLocks noChangeArrowheads="1"/>
          </p:cNvSpPr>
          <p:nvPr/>
        </p:nvSpPr>
        <p:spPr bwMode="auto">
          <a:xfrm>
            <a:off x="1028700" y="2301596"/>
            <a:ext cx="8096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6477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6477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kumimoji="0"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TR 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</a:t>
            </a:r>
            <a:endParaRPr kumimoji="0" lang="en-US" altLang="ko-KR" sz="8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algn="ctr" eaLnBrk="1" hangingPunct="1"/>
            <a:r>
              <a:rPr kumimoji="0"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상 추출</a:t>
            </a:r>
            <a:endParaRPr kumimoji="0" lang="ko-KR" altLang="en-US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6" name="직사각형 27"/>
          <p:cNvSpPr>
            <a:spLocks noChangeArrowheads="1"/>
          </p:cNvSpPr>
          <p:nvPr/>
        </p:nvSpPr>
        <p:spPr bwMode="auto">
          <a:xfrm>
            <a:off x="522288" y="3304976"/>
            <a:ext cx="12192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5725" indent="-85725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대상 정보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검대상 관련 정보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/>
            </a:r>
            <a:b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 - 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거래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계좌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표 등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7" name="AutoShape 1248"/>
          <p:cNvCxnSpPr>
            <a:cxnSpLocks noChangeShapeType="1"/>
            <a:endCxn id="39" idx="1"/>
          </p:cNvCxnSpPr>
          <p:nvPr/>
        </p:nvCxnSpPr>
        <p:spPr bwMode="auto">
          <a:xfrm rot="16200000" flipH="1">
            <a:off x="935832" y="2734269"/>
            <a:ext cx="177800" cy="476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" name="직사각형 37"/>
          <p:cNvSpPr/>
          <p:nvPr/>
        </p:nvSpPr>
        <p:spPr bwMode="auto">
          <a:xfrm>
            <a:off x="1296988" y="2868413"/>
            <a:ext cx="125412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39" name="AutoShape 37"/>
          <p:cNvSpPr>
            <a:spLocks noChangeArrowheads="1"/>
          </p:cNvSpPr>
          <p:nvPr/>
        </p:nvSpPr>
        <p:spPr bwMode="auto">
          <a:xfrm>
            <a:off x="639763" y="2825551"/>
            <a:ext cx="774700" cy="434975"/>
          </a:xfrm>
          <a:prstGeom prst="flowChartMagneticDisk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endParaRPr kumimoji="0" lang="en-US" altLang="ko-KR" sz="1000" dirty="0">
              <a:solidFill>
                <a:srgbClr val="080808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0" name="Text Box 57"/>
          <p:cNvSpPr txBox="1">
            <a:spLocks noChangeArrowheads="1"/>
          </p:cNvSpPr>
          <p:nvPr/>
        </p:nvSpPr>
        <p:spPr bwMode="gray">
          <a:xfrm>
            <a:off x="820738" y="2990651"/>
            <a:ext cx="39528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점검대상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1" name="직사각형 133"/>
          <p:cNvSpPr>
            <a:spLocks noChangeArrowheads="1"/>
          </p:cNvSpPr>
          <p:nvPr/>
        </p:nvSpPr>
        <p:spPr bwMode="auto">
          <a:xfrm>
            <a:off x="488950" y="4519413"/>
            <a:ext cx="81753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5725" indent="-85725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정보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결재이력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서 파일 전송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b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신이력 등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1301750" y="4084438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3" name="AutoShape 37"/>
          <p:cNvSpPr>
            <a:spLocks noChangeArrowheads="1"/>
          </p:cNvSpPr>
          <p:nvPr/>
        </p:nvSpPr>
        <p:spPr bwMode="auto">
          <a:xfrm>
            <a:off x="644525" y="4041576"/>
            <a:ext cx="773113" cy="436562"/>
          </a:xfrm>
          <a:prstGeom prst="flowChartMagneticDisk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endParaRPr kumimoji="0" lang="en-US" altLang="ko-KR" sz="1000" dirty="0">
              <a:solidFill>
                <a:srgbClr val="080808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4" name="Text Box 57"/>
          <p:cNvSpPr txBox="1">
            <a:spLocks noChangeArrowheads="1"/>
          </p:cNvSpPr>
          <p:nvPr/>
        </p:nvSpPr>
        <p:spPr bwMode="gray">
          <a:xfrm>
            <a:off x="825500" y="4208263"/>
            <a:ext cx="39528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보고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7" name="직사각형 195"/>
          <p:cNvSpPr>
            <a:spLocks noChangeArrowheads="1"/>
          </p:cNvSpPr>
          <p:nvPr/>
        </p:nvSpPr>
        <p:spPr bwMode="auto">
          <a:xfrm>
            <a:off x="527050" y="5758622"/>
            <a:ext cx="11509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85725" indent="-85725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8388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8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기관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대상자 </a:t>
            </a:r>
            <a:r>
              <a:rPr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보</a:t>
            </a:r>
            <a:endParaRPr lang="en-US" altLang="ko-KR" sz="80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고제외 기관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객 정보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eaLnBrk="1" latinLnBrk="0" hangingPunct="1">
              <a:buClr>
                <a:srgbClr val="777777"/>
              </a:buClr>
              <a:buSzPct val="80000"/>
              <a:buFont typeface="Wingdings" panose="05000000000000000000" pitchFamily="2" charset="2"/>
              <a:buChar char="§"/>
            </a:pP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계현황</a:t>
            </a:r>
            <a:r>
              <a:rPr lang="en-US" altLang="ko-KR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8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보 등</a:t>
            </a:r>
            <a:endParaRPr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1257300" y="5368097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1257300" y="5483984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1298575" y="5334759"/>
            <a:ext cx="125413" cy="13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800" kern="0" dirty="0">
              <a:solidFill>
                <a:srgbClr val="FFFFFF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81" name="AutoShape 37"/>
          <p:cNvSpPr>
            <a:spLocks noChangeArrowheads="1"/>
          </p:cNvSpPr>
          <p:nvPr/>
        </p:nvSpPr>
        <p:spPr bwMode="auto">
          <a:xfrm>
            <a:off x="641350" y="5291897"/>
            <a:ext cx="773113" cy="436562"/>
          </a:xfrm>
          <a:prstGeom prst="flowChartMagneticDisk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17000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endParaRPr kumimoji="0" lang="en-US" altLang="ko-KR" sz="1000" dirty="0">
              <a:solidFill>
                <a:srgbClr val="080808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2" name="Text Box 57"/>
          <p:cNvSpPr txBox="1">
            <a:spLocks noChangeArrowheads="1"/>
          </p:cNvSpPr>
          <p:nvPr/>
        </p:nvSpPr>
        <p:spPr bwMode="gray">
          <a:xfrm>
            <a:off x="822325" y="5458584"/>
            <a:ext cx="39528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defTabSz="10636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defTabSz="10636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공통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eaLnBrk="1" latinLnBrk="0" hangingPunct="1"/>
            <a:r>
              <a:rPr lang="ko-KR" altLang="en-US" sz="8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endParaRPr lang="en-US" altLang="ko-KR" sz="8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pic>
        <p:nvPicPr>
          <p:cNvPr id="93" name="그림 92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16" y="2279154"/>
            <a:ext cx="318769" cy="318769"/>
          </a:xfrm>
          <a:prstGeom prst="rect">
            <a:avLst/>
          </a:prstGeom>
        </p:spPr>
      </p:pic>
      <p:pic>
        <p:nvPicPr>
          <p:cNvPr id="100" name="Picture 88" descr="예시"/>
          <p:cNvPicPr>
            <a:picLocks noChangeAspect="1" noChangeArrowheads="1"/>
          </p:cNvPicPr>
          <p:nvPr/>
        </p:nvPicPr>
        <p:blipFill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571823">
            <a:off x="6422427" y="21136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" name="AutoShape 23" descr="채우기4"/>
          <p:cNvSpPr>
            <a:spLocks noChangeArrowheads="1"/>
          </p:cNvSpPr>
          <p:nvPr/>
        </p:nvSpPr>
        <p:spPr bwMode="auto">
          <a:xfrm>
            <a:off x="5538550" y="5752502"/>
            <a:ext cx="557213" cy="21431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 algn="ctr">
            <a:solidFill>
              <a:srgbClr val="4A7EBB"/>
            </a:solidFill>
            <a:round/>
            <a:headEnd/>
            <a:tailEnd/>
          </a:ln>
          <a:effectLst>
            <a:outerShdw dist="23000" dir="5400000" rotWithShape="0">
              <a:srgbClr val="B2B2B2"/>
            </a:outerShdw>
          </a:effectLst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b="1" dirty="0">
                <a:solidFill>
                  <a:srgbClr val="FFFFFF"/>
                </a:solidFill>
                <a:latin typeface="나눔바른고딕" pitchFamily="50" charset="-127"/>
                <a:ea typeface="나눔바른고딕" pitchFamily="50" charset="-127"/>
              </a:rPr>
              <a:t>종료</a:t>
            </a:r>
          </a:p>
        </p:txBody>
      </p:sp>
      <p:sp>
        <p:nvSpPr>
          <p:cNvPr id="102" name="AutoShape 23" descr="채우기4"/>
          <p:cNvSpPr>
            <a:spLocks noChangeArrowheads="1"/>
          </p:cNvSpPr>
          <p:nvPr/>
        </p:nvSpPr>
        <p:spPr bwMode="gray">
          <a:xfrm>
            <a:off x="3511240" y="3260676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거래 별</a:t>
            </a:r>
            <a:endParaRPr lang="en-US" altLang="ko-KR" sz="80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제외 처리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3" name="AutoShape 1244" descr="채우기4"/>
          <p:cNvSpPr>
            <a:spLocks noChangeArrowheads="1"/>
          </p:cNvSpPr>
          <p:nvPr/>
        </p:nvSpPr>
        <p:spPr bwMode="gray">
          <a:xfrm>
            <a:off x="3421240" y="3850928"/>
            <a:ext cx="1080000" cy="363600"/>
          </a:xfrm>
          <a:prstGeom prst="flowChartDecision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en-US" altLang="ko-KR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CTR </a:t>
            </a: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보고</a:t>
            </a:r>
            <a:endParaRPr lang="en-US" altLang="ko-KR" sz="80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대상 판단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4" name="AutoShape 23" descr="채우기4"/>
          <p:cNvSpPr>
            <a:spLocks noChangeArrowheads="1"/>
          </p:cNvSpPr>
          <p:nvPr/>
        </p:nvSpPr>
        <p:spPr bwMode="gray">
          <a:xfrm>
            <a:off x="3511240" y="4495180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점검 대상</a:t>
            </a:r>
            <a:endParaRPr lang="en-US" altLang="ko-KR" sz="80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제외 처리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5" name="AutoShape 1244" descr="채우기4"/>
          <p:cNvSpPr>
            <a:spLocks noChangeArrowheads="1"/>
          </p:cNvSpPr>
          <p:nvPr/>
        </p:nvSpPr>
        <p:spPr bwMode="gray">
          <a:xfrm>
            <a:off x="5277156" y="3233571"/>
            <a:ext cx="1080000" cy="365125"/>
          </a:xfrm>
          <a:prstGeom prst="flowChartDecision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결재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cxnSp>
        <p:nvCxnSpPr>
          <p:cNvPr id="106" name="AutoShape 1248"/>
          <p:cNvCxnSpPr>
            <a:cxnSpLocks noChangeShapeType="1"/>
            <a:stCxn id="105" idx="0"/>
            <a:endCxn id="114" idx="3"/>
          </p:cNvCxnSpPr>
          <p:nvPr/>
        </p:nvCxnSpPr>
        <p:spPr bwMode="auto">
          <a:xfrm rot="16200000" flipV="1">
            <a:off x="4253747" y="1670162"/>
            <a:ext cx="408347" cy="2718472"/>
          </a:xfrm>
          <a:prstGeom prst="bentConnector2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7" name="Text Box 36"/>
          <p:cNvSpPr txBox="1">
            <a:spLocks noChangeArrowheads="1"/>
          </p:cNvSpPr>
          <p:nvPr/>
        </p:nvSpPr>
        <p:spPr bwMode="auto">
          <a:xfrm>
            <a:off x="3194294" y="3299354"/>
            <a:ext cx="182742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제외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108" name="AutoShape 23" descr="채우기4"/>
          <p:cNvSpPr>
            <a:spLocks noChangeArrowheads="1"/>
          </p:cNvSpPr>
          <p:nvPr/>
        </p:nvSpPr>
        <p:spPr bwMode="gray">
          <a:xfrm>
            <a:off x="5367156" y="3850928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CTR </a:t>
            </a: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보고서</a:t>
            </a:r>
            <a:endParaRPr lang="en-US" altLang="ko-KR" sz="80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생</a:t>
            </a:r>
            <a:r>
              <a:rPr lang="ko-KR" altLang="en-US" sz="800" dirty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성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09" name="AutoShape 23" descr="채우기4"/>
          <p:cNvSpPr>
            <a:spLocks noChangeArrowheads="1"/>
          </p:cNvSpPr>
          <p:nvPr/>
        </p:nvSpPr>
        <p:spPr bwMode="gray">
          <a:xfrm>
            <a:off x="5367156" y="4497344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KoFIU </a:t>
            </a: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보고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10" name="AutoShape 1244" descr="채우기4"/>
          <p:cNvSpPr>
            <a:spLocks noChangeArrowheads="1"/>
          </p:cNvSpPr>
          <p:nvPr/>
        </p:nvSpPr>
        <p:spPr bwMode="gray">
          <a:xfrm>
            <a:off x="5277156" y="5057668"/>
            <a:ext cx="1080000" cy="365125"/>
          </a:xfrm>
          <a:prstGeom prst="flowChartDecision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보고서 오류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11" name="AutoShape 23" descr="채우기4"/>
          <p:cNvSpPr>
            <a:spLocks noChangeArrowheads="1"/>
          </p:cNvSpPr>
          <p:nvPr/>
        </p:nvSpPr>
        <p:spPr bwMode="gray">
          <a:xfrm>
            <a:off x="2809962" y="5675684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CTR </a:t>
            </a: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정정</a:t>
            </a:r>
            <a:r>
              <a:rPr lang="en-US" altLang="ko-KR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/</a:t>
            </a: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취소</a:t>
            </a:r>
            <a:r>
              <a:rPr lang="en-US" altLang="ko-KR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/</a:t>
            </a: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추가</a:t>
            </a:r>
            <a:endParaRPr lang="en-US" altLang="ko-KR" sz="80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보고서 생성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cxnSp>
        <p:nvCxnSpPr>
          <p:cNvPr id="112" name="AutoShape 1248"/>
          <p:cNvCxnSpPr>
            <a:cxnSpLocks noChangeShapeType="1"/>
            <a:stCxn id="116" idx="3"/>
            <a:endCxn id="102" idx="1"/>
          </p:cNvCxnSpPr>
          <p:nvPr/>
        </p:nvCxnSpPr>
        <p:spPr bwMode="auto">
          <a:xfrm flipV="1">
            <a:off x="3188684" y="3415476"/>
            <a:ext cx="322556" cy="1316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" name="AutoShape 1248"/>
          <p:cNvCxnSpPr>
            <a:cxnSpLocks noChangeShapeType="1"/>
            <a:stCxn id="114" idx="2"/>
            <a:endCxn id="116" idx="0"/>
          </p:cNvCxnSpPr>
          <p:nvPr/>
        </p:nvCxnSpPr>
        <p:spPr bwMode="auto">
          <a:xfrm>
            <a:off x="2648684" y="2980024"/>
            <a:ext cx="0" cy="25420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4" name="AutoShape 23" descr="채우기4"/>
          <p:cNvSpPr>
            <a:spLocks noChangeArrowheads="1"/>
          </p:cNvSpPr>
          <p:nvPr/>
        </p:nvSpPr>
        <p:spPr bwMode="gray">
          <a:xfrm>
            <a:off x="2198684" y="2670424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800" dirty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CTR</a:t>
            </a:r>
            <a:r>
              <a:rPr lang="ko-KR" altLang="en-US" sz="800" dirty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점검 대상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모니터링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16" name="AutoShape 1244" descr="채우기4"/>
          <p:cNvSpPr>
            <a:spLocks noChangeArrowheads="1"/>
          </p:cNvSpPr>
          <p:nvPr/>
        </p:nvSpPr>
        <p:spPr bwMode="gray">
          <a:xfrm>
            <a:off x="2108684" y="3234229"/>
            <a:ext cx="1080000" cy="365125"/>
          </a:xfrm>
          <a:prstGeom prst="flowChartDecision">
            <a:avLst/>
          </a:prstGeom>
          <a:solidFill>
            <a:srgbClr val="C0C0C0"/>
          </a:solidFill>
          <a:ln w="3175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Clr>
                <a:srgbClr val="000000"/>
              </a:buClr>
            </a:pPr>
            <a:r>
              <a:rPr lang="ko-KR" altLang="en-US" sz="800" dirty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거래 별 </a:t>
            </a:r>
            <a:endParaRPr lang="en-US" altLang="ko-KR" sz="80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>
              <a:buClr>
                <a:srgbClr val="000000"/>
              </a:buClr>
            </a:pPr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제외 판단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17" name="AutoShape 23" descr="채우기4"/>
          <p:cNvSpPr>
            <a:spLocks noChangeArrowheads="1"/>
          </p:cNvSpPr>
          <p:nvPr/>
        </p:nvSpPr>
        <p:spPr bwMode="gray">
          <a:xfrm>
            <a:off x="2813477" y="5085432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결재 요청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cxnSp>
        <p:nvCxnSpPr>
          <p:cNvPr id="118" name="AutoShape 1248"/>
          <p:cNvCxnSpPr>
            <a:cxnSpLocks noChangeShapeType="1"/>
            <a:stCxn id="116" idx="2"/>
            <a:endCxn id="129" idx="0"/>
          </p:cNvCxnSpPr>
          <p:nvPr/>
        </p:nvCxnSpPr>
        <p:spPr bwMode="auto">
          <a:xfrm>
            <a:off x="2648684" y="3599354"/>
            <a:ext cx="0" cy="275325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9" name="AutoShape 1248"/>
          <p:cNvCxnSpPr>
            <a:cxnSpLocks noChangeShapeType="1"/>
            <a:stCxn id="102" idx="2"/>
            <a:endCxn id="103" idx="0"/>
          </p:cNvCxnSpPr>
          <p:nvPr/>
        </p:nvCxnSpPr>
        <p:spPr bwMode="auto">
          <a:xfrm>
            <a:off x="3961240" y="3570276"/>
            <a:ext cx="0" cy="280652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0" name="AutoShape 1248"/>
          <p:cNvCxnSpPr>
            <a:cxnSpLocks noChangeShapeType="1"/>
            <a:stCxn id="103" idx="2"/>
            <a:endCxn id="104" idx="0"/>
          </p:cNvCxnSpPr>
          <p:nvPr/>
        </p:nvCxnSpPr>
        <p:spPr bwMode="auto">
          <a:xfrm>
            <a:off x="3961240" y="4214528"/>
            <a:ext cx="0" cy="280652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1" name="AutoShape 1248"/>
          <p:cNvCxnSpPr>
            <a:cxnSpLocks noChangeShapeType="1"/>
            <a:stCxn id="103" idx="1"/>
            <a:endCxn id="129" idx="3"/>
          </p:cNvCxnSpPr>
          <p:nvPr/>
        </p:nvCxnSpPr>
        <p:spPr bwMode="auto">
          <a:xfrm flipH="1" flipV="1">
            <a:off x="3098684" y="4029479"/>
            <a:ext cx="322556" cy="3249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2" name="AutoShape 1248"/>
          <p:cNvCxnSpPr>
            <a:cxnSpLocks noChangeShapeType="1"/>
            <a:stCxn id="117" idx="3"/>
            <a:endCxn id="105" idx="1"/>
          </p:cNvCxnSpPr>
          <p:nvPr/>
        </p:nvCxnSpPr>
        <p:spPr bwMode="auto">
          <a:xfrm flipV="1">
            <a:off x="3713477" y="3416134"/>
            <a:ext cx="1563679" cy="1824098"/>
          </a:xfrm>
          <a:prstGeom prst="bentConnector3">
            <a:avLst>
              <a:gd name="adj1" fmla="val 57723"/>
            </a:avLst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3" name="AutoShape 1248"/>
          <p:cNvCxnSpPr>
            <a:cxnSpLocks noChangeShapeType="1"/>
            <a:stCxn id="105" idx="2"/>
            <a:endCxn id="108" idx="0"/>
          </p:cNvCxnSpPr>
          <p:nvPr/>
        </p:nvCxnSpPr>
        <p:spPr bwMode="auto">
          <a:xfrm>
            <a:off x="5817156" y="3598696"/>
            <a:ext cx="0" cy="252232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AutoShape 1248"/>
          <p:cNvCxnSpPr>
            <a:cxnSpLocks noChangeShapeType="1"/>
            <a:stCxn id="108" idx="2"/>
            <a:endCxn id="109" idx="0"/>
          </p:cNvCxnSpPr>
          <p:nvPr/>
        </p:nvCxnSpPr>
        <p:spPr bwMode="auto">
          <a:xfrm>
            <a:off x="5817156" y="4160528"/>
            <a:ext cx="0" cy="336816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5" name="AutoShape 1248"/>
          <p:cNvCxnSpPr>
            <a:cxnSpLocks noChangeShapeType="1"/>
            <a:stCxn id="109" idx="2"/>
            <a:endCxn id="110" idx="0"/>
          </p:cNvCxnSpPr>
          <p:nvPr/>
        </p:nvCxnSpPr>
        <p:spPr bwMode="auto">
          <a:xfrm>
            <a:off x="5817156" y="4806944"/>
            <a:ext cx="0" cy="250724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6" name="AutoShape 1248"/>
          <p:cNvCxnSpPr>
            <a:cxnSpLocks noChangeShapeType="1"/>
            <a:stCxn id="110" idx="2"/>
            <a:endCxn id="101" idx="0"/>
          </p:cNvCxnSpPr>
          <p:nvPr/>
        </p:nvCxnSpPr>
        <p:spPr bwMode="auto">
          <a:xfrm>
            <a:off x="5817156" y="5422793"/>
            <a:ext cx="1" cy="329709"/>
          </a:xfrm>
          <a:prstGeom prst="straightConnector1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AutoShape 1248"/>
          <p:cNvCxnSpPr>
            <a:cxnSpLocks noChangeShapeType="1"/>
            <a:stCxn id="110" idx="1"/>
            <a:endCxn id="111" idx="2"/>
          </p:cNvCxnSpPr>
          <p:nvPr/>
        </p:nvCxnSpPr>
        <p:spPr bwMode="auto">
          <a:xfrm rot="10800000" flipV="1">
            <a:off x="3259962" y="5240230"/>
            <a:ext cx="2017194" cy="745053"/>
          </a:xfrm>
          <a:prstGeom prst="bentConnector4">
            <a:avLst>
              <a:gd name="adj1" fmla="val 32859"/>
              <a:gd name="adj2" fmla="val 130682"/>
            </a:avLst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AutoShape 1248"/>
          <p:cNvCxnSpPr>
            <a:cxnSpLocks noChangeShapeType="1"/>
            <a:stCxn id="111" idx="3"/>
            <a:endCxn id="108" idx="1"/>
          </p:cNvCxnSpPr>
          <p:nvPr/>
        </p:nvCxnSpPr>
        <p:spPr bwMode="auto">
          <a:xfrm flipV="1">
            <a:off x="3709962" y="4005728"/>
            <a:ext cx="1657194" cy="1824756"/>
          </a:xfrm>
          <a:prstGeom prst="bentConnector3">
            <a:avLst>
              <a:gd name="adj1" fmla="val 54685"/>
            </a:avLst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AutoShape 23" descr="채우기4"/>
          <p:cNvSpPr>
            <a:spLocks noChangeArrowheads="1"/>
          </p:cNvSpPr>
          <p:nvPr/>
        </p:nvSpPr>
        <p:spPr bwMode="gray">
          <a:xfrm>
            <a:off x="2198684" y="3874679"/>
            <a:ext cx="900000" cy="309600"/>
          </a:xfrm>
          <a:prstGeom prst="rect">
            <a:avLst/>
          </a:prstGeom>
          <a:solidFill>
            <a:srgbClr val="EAF6F6"/>
          </a:solidFill>
          <a:ln w="6350" algn="ctr">
            <a:solidFill>
              <a:srgbClr val="97D7FF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보고 대상</a:t>
            </a:r>
            <a:endParaRPr lang="en-US" altLang="ko-KR" sz="800" dirty="0" smtClean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  <a:p>
            <a:pPr algn="ctr" eaLnBrk="1" latinLnBrk="0" hangingPunct="1"/>
            <a:r>
              <a:rPr lang="ko-KR" altLang="en-US" sz="80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</a:rPr>
              <a:t>확인</a:t>
            </a:r>
            <a:endParaRPr lang="en-US" altLang="ko-KR" sz="80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cxnSp>
        <p:nvCxnSpPr>
          <p:cNvPr id="130" name="AutoShape 1248"/>
          <p:cNvCxnSpPr>
            <a:cxnSpLocks noChangeShapeType="1"/>
            <a:stCxn id="129" idx="2"/>
            <a:endCxn id="117" idx="1"/>
          </p:cNvCxnSpPr>
          <p:nvPr/>
        </p:nvCxnSpPr>
        <p:spPr bwMode="auto">
          <a:xfrm rot="16200000" flipH="1">
            <a:off x="2203104" y="4629858"/>
            <a:ext cx="1055953" cy="164793"/>
          </a:xfrm>
          <a:prstGeom prst="bentConnector2">
            <a:avLst/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AutoShape 1248"/>
          <p:cNvCxnSpPr>
            <a:cxnSpLocks noChangeShapeType="1"/>
            <a:stCxn id="104" idx="2"/>
            <a:endCxn id="117" idx="0"/>
          </p:cNvCxnSpPr>
          <p:nvPr/>
        </p:nvCxnSpPr>
        <p:spPr bwMode="auto">
          <a:xfrm rot="5400000">
            <a:off x="3472033" y="4596225"/>
            <a:ext cx="280652" cy="69776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3" name="Text Box 36"/>
          <p:cNvSpPr txBox="1">
            <a:spLocks noChangeArrowheads="1"/>
          </p:cNvSpPr>
          <p:nvPr/>
        </p:nvSpPr>
        <p:spPr bwMode="auto">
          <a:xfrm>
            <a:off x="5862818" y="3617537"/>
            <a:ext cx="182742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승인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134" name="Text Box 36"/>
          <p:cNvSpPr txBox="1">
            <a:spLocks noChangeArrowheads="1"/>
          </p:cNvSpPr>
          <p:nvPr/>
        </p:nvSpPr>
        <p:spPr bwMode="auto">
          <a:xfrm>
            <a:off x="2699686" y="3617537"/>
            <a:ext cx="182742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의심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135" name="Text Box 36"/>
          <p:cNvSpPr txBox="1">
            <a:spLocks noChangeArrowheads="1"/>
          </p:cNvSpPr>
          <p:nvPr/>
        </p:nvSpPr>
        <p:spPr bwMode="auto">
          <a:xfrm>
            <a:off x="3563806" y="4278171"/>
            <a:ext cx="365485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제외대상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136" name="Text Box 36"/>
          <p:cNvSpPr txBox="1">
            <a:spLocks noChangeArrowheads="1"/>
          </p:cNvSpPr>
          <p:nvPr/>
        </p:nvSpPr>
        <p:spPr bwMode="auto">
          <a:xfrm>
            <a:off x="3131746" y="3875434"/>
            <a:ext cx="365485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점검대상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141" name="Text Box 36"/>
          <p:cNvSpPr txBox="1">
            <a:spLocks noChangeArrowheads="1"/>
          </p:cNvSpPr>
          <p:nvPr/>
        </p:nvSpPr>
        <p:spPr bwMode="auto">
          <a:xfrm>
            <a:off x="5862818" y="3077641"/>
            <a:ext cx="182742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반송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142" name="Text Box 36"/>
          <p:cNvSpPr txBox="1">
            <a:spLocks noChangeArrowheads="1"/>
          </p:cNvSpPr>
          <p:nvPr/>
        </p:nvSpPr>
        <p:spPr bwMode="auto">
          <a:xfrm>
            <a:off x="5862818" y="5472069"/>
            <a:ext cx="182742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정상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143" name="Text Box 36"/>
          <p:cNvSpPr txBox="1">
            <a:spLocks noChangeArrowheads="1"/>
          </p:cNvSpPr>
          <p:nvPr/>
        </p:nvSpPr>
        <p:spPr bwMode="auto">
          <a:xfrm>
            <a:off x="5181440" y="5099604"/>
            <a:ext cx="182742" cy="11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lnSpc>
                <a:spcPct val="90000"/>
              </a:lnSpc>
              <a:buSzPct val="80000"/>
            </a:pPr>
            <a:r>
              <a:rPr lang="ko-KR" altLang="en-US" sz="800" b="0" dirty="0" smtClean="0">
                <a:solidFill>
                  <a:srgbClr val="000000"/>
                </a:solidFill>
                <a:latin typeface="나눔바른고딕" pitchFamily="50" charset="-127"/>
                <a:ea typeface="나눔바른고딕" pitchFamily="50" charset="-127"/>
                <a:cs typeface="Times New Roman" panose="02020603050405020304" pitchFamily="18" charset="0"/>
              </a:rPr>
              <a:t>오류</a:t>
            </a:r>
            <a:endParaRPr lang="ko-KR" altLang="en-US" sz="800" b="0" dirty="0">
              <a:solidFill>
                <a:srgbClr val="000000"/>
              </a:solidFill>
              <a:latin typeface="나눔바른고딕" pitchFamily="50" charset="-127"/>
              <a:ea typeface="나눔바른고딕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145" name="그림 144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9653" y="2606708"/>
            <a:ext cx="318769" cy="318769"/>
          </a:xfrm>
          <a:prstGeom prst="rect">
            <a:avLst/>
          </a:prstGeom>
        </p:spPr>
      </p:pic>
      <p:pic>
        <p:nvPicPr>
          <p:cNvPr id="147" name="그림 146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2845" y="3234229"/>
            <a:ext cx="320400" cy="320400"/>
          </a:xfrm>
          <a:prstGeom prst="rect">
            <a:avLst/>
          </a:prstGeom>
        </p:spPr>
      </p:pic>
      <p:pic>
        <p:nvPicPr>
          <p:cNvPr id="149" name="그림 148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7958" y="3839470"/>
            <a:ext cx="320400" cy="320400"/>
          </a:xfrm>
          <a:prstGeom prst="rect">
            <a:avLst/>
          </a:prstGeom>
        </p:spPr>
      </p:pic>
      <p:pic>
        <p:nvPicPr>
          <p:cNvPr id="151" name="그림 150">
            <a:extLst>
              <a:ext uri="{FF2B5EF4-FFF2-40B4-BE49-F238E27FC236}">
                <a16:creationId xmlns:a16="http://schemas.microsoft.com/office/drawing/2014/main" id="{0DF57400-F1D5-4835-A2C3-97EC339C1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71696" y="5009776"/>
            <a:ext cx="320400" cy="320400"/>
          </a:xfrm>
          <a:prstGeom prst="rect">
            <a:avLst/>
          </a:prstGeom>
        </p:spPr>
      </p:pic>
      <p:pic>
        <p:nvPicPr>
          <p:cNvPr id="153" name="그림 152">
            <a:extLst>
              <a:ext uri="{FF2B5EF4-FFF2-40B4-BE49-F238E27FC236}">
                <a16:creationId xmlns:a16="http://schemas.microsoft.com/office/drawing/2014/main" id="{1DCB9805-13C4-45C6-9B4E-18A31200FD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5478" y="3773784"/>
            <a:ext cx="320400" cy="320400"/>
          </a:xfrm>
          <a:prstGeom prst="rect">
            <a:avLst/>
          </a:prstGeom>
        </p:spPr>
      </p:pic>
      <p:pic>
        <p:nvPicPr>
          <p:cNvPr id="155" name="그림 154">
            <a:extLst>
              <a:ext uri="{FF2B5EF4-FFF2-40B4-BE49-F238E27FC236}">
                <a16:creationId xmlns:a16="http://schemas.microsoft.com/office/drawing/2014/main" id="{66FCB384-0A34-44F2-8E7D-A993E2E991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6247" y="4431000"/>
            <a:ext cx="320400" cy="320400"/>
          </a:xfrm>
          <a:prstGeom prst="rect">
            <a:avLst/>
          </a:prstGeom>
        </p:spPr>
      </p:pic>
      <p:pic>
        <p:nvPicPr>
          <p:cNvPr id="157" name="그림 156">
            <a:extLst>
              <a:ext uri="{FF2B5EF4-FFF2-40B4-BE49-F238E27FC236}">
                <a16:creationId xmlns:a16="http://schemas.microsoft.com/office/drawing/2014/main" id="{D3C7065C-9B27-4953-8013-8337A525E4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84748" y="5604920"/>
            <a:ext cx="320400" cy="320400"/>
          </a:xfrm>
          <a:prstGeom prst="rect">
            <a:avLst/>
          </a:prstGeom>
        </p:spPr>
      </p:pic>
      <p:sp>
        <p:nvSpPr>
          <p:cNvPr id="96" name="Text Box 1249"/>
          <p:cNvSpPr txBox="1">
            <a:spLocks noChangeArrowheads="1"/>
          </p:cNvSpPr>
          <p:nvPr/>
        </p:nvSpPr>
        <p:spPr bwMode="auto">
          <a:xfrm>
            <a:off x="4701183" y="5973399"/>
            <a:ext cx="20160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647700" fontAlgn="auto">
              <a:spcBef>
                <a:spcPts val="0"/>
              </a:spcBef>
              <a:defRPr/>
            </a:pP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※ </a:t>
            </a:r>
            <a:r>
              <a:rPr kumimoji="0" lang="ko-KR" altLang="en-US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산은행에 최적화된 컨설팅 프로세스 개선 결과를 반영하여 구축합니다</a:t>
            </a:r>
            <a:r>
              <a:rPr kumimoji="0" lang="en-US" altLang="ko-KR" sz="8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.</a:t>
            </a:r>
            <a:endParaRPr kumimoji="0" lang="en-US" altLang="ko-KR" sz="8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41013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124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7.1.2 </a:t>
            </a:r>
            <a:r>
              <a:rPr lang="en-US" altLang="ko-KR" dirty="0"/>
              <a:t>CTR </a:t>
            </a:r>
            <a:r>
              <a:rPr lang="ko-KR" altLang="en-US" dirty="0"/>
              <a:t>대량 거래 보고 누락 방지 기능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14524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보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CTR)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누락 방지를 위해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송현황 모니터링 기능과 에러 발생시 전송단계 및 오류 메시지를 직관적으로 확인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오류 건 및 정상 보고 건에 대해 정정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취소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추가 보고 등을 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CTR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대량 거래 보고 누락 방지 </a:t>
              </a: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9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</a:t>
                </a:r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내용</a:t>
                </a:r>
              </a:p>
            </p:txBody>
          </p:sp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31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87975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28" name="그룹 127"/>
          <p:cNvGrpSpPr/>
          <p:nvPr/>
        </p:nvGrpSpPr>
        <p:grpSpPr>
          <a:xfrm>
            <a:off x="452501" y="2280017"/>
            <a:ext cx="5253340" cy="3381231"/>
            <a:chOff x="452501" y="2352025"/>
            <a:chExt cx="5253340" cy="3381231"/>
          </a:xfrm>
        </p:grpSpPr>
        <p:grpSp>
          <p:nvGrpSpPr>
            <p:cNvPr id="98" name="그룹 97"/>
            <p:cNvGrpSpPr/>
            <p:nvPr/>
          </p:nvGrpSpPr>
          <p:grpSpPr>
            <a:xfrm>
              <a:off x="459369" y="2352025"/>
              <a:ext cx="1569472" cy="188600"/>
              <a:chOff x="361442" y="2178385"/>
              <a:chExt cx="1569472" cy="188600"/>
            </a:xfrm>
          </p:grpSpPr>
          <p:sp>
            <p:nvSpPr>
              <p:cNvPr id="99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00" name="Rt40" descr="도식1"/>
              <p:cNvSpPr>
                <a:spLocks noChangeArrowheads="1"/>
              </p:cNvSpPr>
              <p:nvPr/>
            </p:nvSpPr>
            <p:spPr bwMode="auto">
              <a:xfrm>
                <a:off x="710972" y="2195741"/>
                <a:ext cx="870431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en-US" altLang="ko-KR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KoFIU </a:t>
                </a:r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보고 관리</a:t>
                </a:r>
              </a:p>
            </p:txBody>
          </p:sp>
        </p:grpSp>
        <p:pic>
          <p:nvPicPr>
            <p:cNvPr id="104" name="그림 10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52501" y="2547820"/>
              <a:ext cx="5253340" cy="318543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  <p:grpSp>
        <p:nvGrpSpPr>
          <p:cNvPr id="120" name="그룹 119"/>
          <p:cNvGrpSpPr/>
          <p:nvPr/>
        </p:nvGrpSpPr>
        <p:grpSpPr>
          <a:xfrm>
            <a:off x="992071" y="4807560"/>
            <a:ext cx="2799346" cy="1509536"/>
            <a:chOff x="3311593" y="2892077"/>
            <a:chExt cx="2799346" cy="1509536"/>
          </a:xfrm>
        </p:grpSpPr>
        <p:grpSp>
          <p:nvGrpSpPr>
            <p:cNvPr id="108" name="그룹 107"/>
            <p:cNvGrpSpPr/>
            <p:nvPr/>
          </p:nvGrpSpPr>
          <p:grpSpPr>
            <a:xfrm>
              <a:off x="3346564" y="2892077"/>
              <a:ext cx="1116000" cy="188600"/>
              <a:chOff x="361442" y="2178385"/>
              <a:chExt cx="1569472" cy="188600"/>
            </a:xfrm>
          </p:grpSpPr>
          <p:sp>
            <p:nvSpPr>
              <p:cNvPr id="109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10" name="Rt40" descr="도식1"/>
              <p:cNvSpPr>
                <a:spLocks noChangeArrowheads="1"/>
              </p:cNvSpPr>
              <p:nvPr/>
            </p:nvSpPr>
            <p:spPr bwMode="auto">
              <a:xfrm>
                <a:off x="646848" y="2195741"/>
                <a:ext cx="998683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전송이력 조회</a:t>
                </a:r>
              </a:p>
            </p:txBody>
          </p:sp>
        </p:grpSp>
        <p:pic>
          <p:nvPicPr>
            <p:cNvPr id="113" name="그림 1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11593" y="3084274"/>
              <a:ext cx="2799346" cy="1317339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</p:grpSp>
      <p:grpSp>
        <p:nvGrpSpPr>
          <p:cNvPr id="127" name="그룹 126"/>
          <p:cNvGrpSpPr/>
          <p:nvPr/>
        </p:nvGrpSpPr>
        <p:grpSpPr>
          <a:xfrm>
            <a:off x="4399762" y="4650304"/>
            <a:ext cx="2230425" cy="1299672"/>
            <a:chOff x="2984384" y="2339503"/>
            <a:chExt cx="2230425" cy="1299672"/>
          </a:xfrm>
        </p:grpSpPr>
        <p:pic>
          <p:nvPicPr>
            <p:cNvPr id="115" name="그림 1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85959" y="2543800"/>
              <a:ext cx="2228850" cy="109537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16" name="그룹 115"/>
            <p:cNvGrpSpPr/>
            <p:nvPr/>
          </p:nvGrpSpPr>
          <p:grpSpPr>
            <a:xfrm>
              <a:off x="2984384" y="2339503"/>
              <a:ext cx="1116000" cy="188600"/>
              <a:chOff x="361442" y="2178385"/>
              <a:chExt cx="1569472" cy="188600"/>
            </a:xfrm>
          </p:grpSpPr>
          <p:sp>
            <p:nvSpPr>
              <p:cNvPr id="117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18" name="Rt40" descr="도식1"/>
              <p:cNvSpPr>
                <a:spLocks noChangeArrowheads="1"/>
              </p:cNvSpPr>
              <p:nvPr/>
            </p:nvSpPr>
            <p:spPr bwMode="auto">
              <a:xfrm>
                <a:off x="635576" y="2195741"/>
                <a:ext cx="1021227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en-US" altLang="ko-KR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CTR </a:t>
                </a:r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오류확인</a:t>
                </a:r>
              </a:p>
            </p:txBody>
          </p:sp>
        </p:grpSp>
      </p:grpSp>
      <p:grpSp>
        <p:nvGrpSpPr>
          <p:cNvPr id="126" name="그룹 125"/>
          <p:cNvGrpSpPr/>
          <p:nvPr/>
        </p:nvGrpSpPr>
        <p:grpSpPr>
          <a:xfrm>
            <a:off x="3895277" y="2362693"/>
            <a:ext cx="2707950" cy="1944659"/>
            <a:chOff x="3958830" y="4093552"/>
            <a:chExt cx="2707950" cy="1944659"/>
          </a:xfrm>
        </p:grpSpPr>
        <p:pic>
          <p:nvPicPr>
            <p:cNvPr id="121" name="그림 1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58830" y="4285506"/>
              <a:ext cx="2707950" cy="175270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122" name="그룹 121"/>
            <p:cNvGrpSpPr/>
            <p:nvPr/>
          </p:nvGrpSpPr>
          <p:grpSpPr>
            <a:xfrm>
              <a:off x="3970983" y="4093552"/>
              <a:ext cx="1116000" cy="188600"/>
              <a:chOff x="361442" y="2178385"/>
              <a:chExt cx="1569472" cy="188600"/>
            </a:xfrm>
          </p:grpSpPr>
          <p:sp>
            <p:nvSpPr>
              <p:cNvPr id="123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124" name="Rt40" descr="도식1"/>
              <p:cNvSpPr>
                <a:spLocks noChangeArrowheads="1"/>
              </p:cNvSpPr>
              <p:nvPr/>
            </p:nvSpPr>
            <p:spPr bwMode="auto">
              <a:xfrm>
                <a:off x="530749" y="2195741"/>
                <a:ext cx="1230882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en-US" altLang="ko-KR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CTR</a:t>
                </a:r>
                <a:r>
                  <a:rPr lang="ko-KR" altLang="en-US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정정보고</a:t>
                </a:r>
                <a:r>
                  <a:rPr lang="en-US" altLang="ko-KR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(</a:t>
                </a:r>
                <a:r>
                  <a:rPr lang="ko-KR" altLang="en-US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재보고</a:t>
                </a:r>
                <a:r>
                  <a:rPr lang="en-US" altLang="ko-KR" sz="1000" spc="-15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)</a:t>
                </a:r>
                <a:endParaRPr lang="ko-KR" altLang="en-US" sz="1000" spc="-15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endParaRPr>
              </a:p>
            </p:txBody>
          </p:sp>
        </p:grpSp>
      </p:grpSp>
      <p:cxnSp>
        <p:nvCxnSpPr>
          <p:cNvPr id="129" name="꺾인 연결선 128"/>
          <p:cNvCxnSpPr>
            <a:stCxn id="104" idx="1"/>
            <a:endCxn id="113" idx="1"/>
          </p:cNvCxnSpPr>
          <p:nvPr/>
        </p:nvCxnSpPr>
        <p:spPr bwMode="auto">
          <a:xfrm rot="10800000" flipH="1" flipV="1">
            <a:off x="452501" y="4068529"/>
            <a:ext cx="539570" cy="1589897"/>
          </a:xfrm>
          <a:prstGeom prst="bentConnector3">
            <a:avLst>
              <a:gd name="adj1" fmla="val -23697"/>
            </a:avLst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33" name="꺾인 연결선 132"/>
          <p:cNvCxnSpPr>
            <a:stCxn id="113" idx="3"/>
            <a:endCxn id="115" idx="1"/>
          </p:cNvCxnSpPr>
          <p:nvPr/>
        </p:nvCxnSpPr>
        <p:spPr bwMode="auto">
          <a:xfrm flipV="1">
            <a:off x="3791417" y="5402289"/>
            <a:ext cx="609920" cy="256138"/>
          </a:xfrm>
          <a:prstGeom prst="bentConnector3">
            <a:avLst>
              <a:gd name="adj1" fmla="val 50000"/>
            </a:avLst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36" name="꺾인 연결선 135"/>
          <p:cNvCxnSpPr>
            <a:stCxn id="115" idx="3"/>
            <a:endCxn id="121" idx="3"/>
          </p:cNvCxnSpPr>
          <p:nvPr/>
        </p:nvCxnSpPr>
        <p:spPr bwMode="auto">
          <a:xfrm flipH="1" flipV="1">
            <a:off x="6603227" y="3431000"/>
            <a:ext cx="26960" cy="1971289"/>
          </a:xfrm>
          <a:prstGeom prst="bentConnector3">
            <a:avLst>
              <a:gd name="adj1" fmla="val -589236"/>
            </a:avLst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pic>
        <p:nvPicPr>
          <p:cNvPr id="145" name="그림 144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1874" y="2240868"/>
            <a:ext cx="318769" cy="318769"/>
          </a:xfrm>
          <a:prstGeom prst="rect">
            <a:avLst/>
          </a:prstGeom>
        </p:spPr>
      </p:pic>
      <p:pic>
        <p:nvPicPr>
          <p:cNvPr id="146" name="그림 145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1278" y="4788542"/>
            <a:ext cx="318769" cy="318769"/>
          </a:xfrm>
          <a:prstGeom prst="rect">
            <a:avLst/>
          </a:prstGeom>
        </p:spPr>
      </p:pic>
      <p:pic>
        <p:nvPicPr>
          <p:cNvPr id="147" name="그림 146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0893" y="4605549"/>
            <a:ext cx="320400" cy="320400"/>
          </a:xfrm>
          <a:prstGeom prst="rect">
            <a:avLst/>
          </a:prstGeom>
        </p:spPr>
      </p:pic>
      <p:pic>
        <p:nvPicPr>
          <p:cNvPr id="148" name="그림 147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46035" y="2308417"/>
            <a:ext cx="320400" cy="320400"/>
          </a:xfrm>
          <a:prstGeom prst="rect">
            <a:avLst/>
          </a:prstGeom>
        </p:spPr>
      </p:pic>
      <p:pic>
        <p:nvPicPr>
          <p:cNvPr id="149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571823">
            <a:off x="2254143" y="234302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571823">
            <a:off x="6285852" y="243734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571823">
            <a:off x="6300880" y="475790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" name="Picture 88" descr="예시"/>
          <p:cNvPicPr>
            <a:picLocks noChangeAspect="1" noChangeArrowheads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571823">
            <a:off x="3431756" y="489418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5" name="그룹 174"/>
          <p:cNvGrpSpPr/>
          <p:nvPr/>
        </p:nvGrpSpPr>
        <p:grpSpPr>
          <a:xfrm>
            <a:off x="7113487" y="2528900"/>
            <a:ext cx="2436879" cy="777297"/>
            <a:chOff x="7113487" y="2573308"/>
            <a:chExt cx="2436879" cy="777297"/>
          </a:xfrm>
        </p:grpSpPr>
        <p:sp>
          <p:nvSpPr>
            <p:cNvPr id="153" name="Text Box 63">
              <a:extLst>
                <a:ext uri="{FF2B5EF4-FFF2-40B4-BE49-F238E27FC236}">
                  <a16:creationId xmlns:a16="http://schemas.microsoft.com/office/drawing/2014/main" id="{C5F9D3F7-C9E8-4781-9034-6DE870AADD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2573308"/>
              <a:ext cx="112306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en-US" altLang="ko-KR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KoFIU </a:t>
              </a: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 관리 화면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54" name="Rs27">
              <a:extLst>
                <a:ext uri="{FF2B5EF4-FFF2-40B4-BE49-F238E27FC236}">
                  <a16:creationId xmlns:a16="http://schemas.microsoft.com/office/drawing/2014/main" id="{0C0D0E15-537B-471F-BB7B-EC217A4E60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2888940"/>
              <a:ext cx="2190118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고액현금거래보고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(</a:t>
              </a:r>
              <a:r>
                <a:rPr lang="en-US" altLang="ko-KR" sz="1000" spc="-7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CTR)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 건에 대해 전송상태를 확인하고 정상 또는 오류 건에 대해 정정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취소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0000300000000000000" pitchFamily="2" charset="-127"/>
                  <a:ea typeface="KoPub돋움체 Light" panose="00000300000000000000" pitchFamily="2" charset="-127"/>
                </a:rPr>
                <a:t>추가 보고를 할 수 있는 화면</a:t>
              </a:r>
              <a:endPara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endParaRPr>
            </a:p>
          </p:txBody>
        </p:sp>
        <p:pic>
          <p:nvPicPr>
            <p:cNvPr id="157" name="그림 156">
              <a:extLst>
                <a:ext uri="{FF2B5EF4-FFF2-40B4-BE49-F238E27FC236}">
                  <a16:creationId xmlns:a16="http://schemas.microsoft.com/office/drawing/2014/main" id="{E6D6BB3F-DAEE-46F7-8354-F2A09E087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13487" y="2573308"/>
              <a:ext cx="318769" cy="318769"/>
            </a:xfrm>
            <a:prstGeom prst="rect">
              <a:avLst/>
            </a:prstGeom>
          </p:spPr>
        </p:pic>
      </p:grpSp>
      <p:grpSp>
        <p:nvGrpSpPr>
          <p:cNvPr id="172" name="그룹 171"/>
          <p:cNvGrpSpPr/>
          <p:nvPr/>
        </p:nvGrpSpPr>
        <p:grpSpPr>
          <a:xfrm>
            <a:off x="7113487" y="3573016"/>
            <a:ext cx="2436879" cy="771513"/>
            <a:chOff x="7113487" y="3609020"/>
            <a:chExt cx="2436879" cy="771513"/>
          </a:xfrm>
        </p:grpSpPr>
        <p:sp>
          <p:nvSpPr>
            <p:cNvPr id="155" name="Text Box 63">
              <a:extLst>
                <a:ext uri="{FF2B5EF4-FFF2-40B4-BE49-F238E27FC236}">
                  <a16:creationId xmlns:a16="http://schemas.microsoft.com/office/drawing/2014/main" id="{9BAD3354-F8D3-4196-A35F-BB5B34A887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0248" y="3611761"/>
              <a:ext cx="915635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F9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3C4A5B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415164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25488" indent="-27940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16013" indent="-222250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563688" indent="-227013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09775" indent="-223838" defTabSz="89376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4669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241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3813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38575" indent="-223838" defTabSz="893763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defTabSz="457200">
                <a:defRPr/>
              </a:pPr>
              <a:r>
                <a:rPr lang="ko-KR" altLang="en-US" sz="11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전송이력조회화면</a:t>
              </a:r>
              <a:endParaRPr lang="ko-KR" altLang="en-US" sz="11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156" name="Rs27">
              <a:extLst>
                <a:ext uri="{FF2B5EF4-FFF2-40B4-BE49-F238E27FC236}">
                  <a16:creationId xmlns:a16="http://schemas.microsoft.com/office/drawing/2014/main" id="{968E9253-47DC-4BD6-8B8F-E7534EC5CB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60248" y="3918868"/>
              <a:ext cx="2190118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0F0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87313" indent="-84138"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  <a:defRPr/>
              </a:pP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액현금거래보고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CTR)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건의 전송상태를 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Flow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로 보여주고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정상발송 또는 에러시 발송오류</a:t>
              </a:r>
              <a:r>
                <a:rPr lang="en-US" altLang="ko-KR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sz="1000" spc="-7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접수오류 등의 상태를 보여주는 화면</a:t>
              </a:r>
              <a:endParaRPr lang="ko-KR" altLang="en-US" sz="9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pic>
          <p:nvPicPr>
            <p:cNvPr id="158" name="그림 157">
              <a:extLst>
                <a:ext uri="{FF2B5EF4-FFF2-40B4-BE49-F238E27FC236}">
                  <a16:creationId xmlns:a16="http://schemas.microsoft.com/office/drawing/2014/main" id="{CE68769D-7128-4807-88C2-CCBF74A3B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13487" y="3609020"/>
              <a:ext cx="318769" cy="318769"/>
            </a:xfrm>
            <a:prstGeom prst="rect">
              <a:avLst/>
            </a:prstGeom>
          </p:spPr>
        </p:pic>
      </p:grpSp>
      <p:cxnSp>
        <p:nvCxnSpPr>
          <p:cNvPr id="159" name="직선 연결선 158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33661" y="3429000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직선 연결선 162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33661" y="4473116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8" name="직선 연결선 167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3726" y="5517232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0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4634066"/>
            <a:ext cx="92429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TR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오류확인화면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1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947555"/>
            <a:ext cx="21901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건에 대한 보고 중 오류로 응답건에 대한 오류 메시지를 확인하고 재보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정정보고를 할 수 있는 화면</a:t>
            </a:r>
          </a:p>
        </p:txBody>
      </p:sp>
      <p:pic>
        <p:nvPicPr>
          <p:cNvPr id="165" name="그림 164">
            <a:extLst>
              <a:ext uri="{FF2B5EF4-FFF2-40B4-BE49-F238E27FC236}">
                <a16:creationId xmlns:a16="http://schemas.microsoft.com/office/drawing/2014/main" id="{ABA4C402-3787-418C-A5B2-8C1F7D2647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9615" y="4634066"/>
            <a:ext cx="320400" cy="320400"/>
          </a:xfrm>
          <a:prstGeom prst="rect">
            <a:avLst/>
          </a:prstGeom>
        </p:spPr>
      </p:pic>
      <p:sp>
        <p:nvSpPr>
          <p:cNvPr id="166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80313" y="5638001"/>
            <a:ext cx="110735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TR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정보고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재보고</a:t>
            </a:r>
            <a:r>
              <a:rPr lang="en-US" altLang="ko-KR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7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80313" y="5951490"/>
            <a:ext cx="21901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오류 응답된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건에 대해 상단의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오류사항을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인하고 정정보고서를 작성하여 재보고 할 수 있는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화면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71" name="그림 170">
            <a:extLst>
              <a:ext uri="{FF2B5EF4-FFF2-40B4-BE49-F238E27FC236}">
                <a16:creationId xmlns:a16="http://schemas.microsoft.com/office/drawing/2014/main" id="{1B4D65A0-3DC0-42CA-9156-D7554D0D2A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25090" y="5647077"/>
            <a:ext cx="320400" cy="320400"/>
          </a:xfrm>
          <a:prstGeom prst="rect">
            <a:avLst/>
          </a:prstGeom>
        </p:spPr>
      </p:pic>
      <p:sp>
        <p:nvSpPr>
          <p:cNvPr id="6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41013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53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7.1.3 </a:t>
            </a:r>
            <a:r>
              <a:rPr lang="en-US" altLang="ko-KR" dirty="0"/>
              <a:t>CTR Rule </a:t>
            </a:r>
            <a:r>
              <a:rPr lang="ko-KR" altLang="en-US" dirty="0"/>
              <a:t>관리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의 보고 기준금액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산금액 등을 쉽게 관리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CTR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보고 기준 금액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/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합산 금액 관리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19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 smtClean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</a:t>
                </a:r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내용</a:t>
                </a:r>
              </a:p>
            </p:txBody>
          </p:sp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pic>
        <p:nvPicPr>
          <p:cNvPr id="21" name="그림 20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7854" y="2573308"/>
            <a:ext cx="318769" cy="318769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7854" y="3367267"/>
            <a:ext cx="318769" cy="318769"/>
          </a:xfrm>
          <a:prstGeom prst="rect">
            <a:avLst/>
          </a:prstGeom>
        </p:spPr>
      </p:pic>
      <p:sp>
        <p:nvSpPr>
          <p:cNvPr id="29" name="Rectangle 262"/>
          <p:cNvSpPr>
            <a:spLocks noChangeArrowheads="1"/>
          </p:cNvSpPr>
          <p:nvPr/>
        </p:nvSpPr>
        <p:spPr bwMode="auto">
          <a:xfrm>
            <a:off x="7342346" y="2560271"/>
            <a:ext cx="2208020" cy="1146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85725" indent="-85725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고액현금거래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 기준 금액 설정을 위한 공통 코드 관리</a:t>
            </a:r>
            <a:b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-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시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)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건당 기준 금액</a:t>
            </a:r>
            <a:b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</a:b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-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시</a:t>
            </a:r>
            <a:r>
              <a:rPr lang="en-US" altLang="ko-KR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) </a:t>
            </a: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합산 기준 금액</a:t>
            </a:r>
          </a:p>
          <a:p>
            <a:pPr marL="0" indent="0" eaLnBrk="1" hangingPunct="1">
              <a:lnSpc>
                <a:spcPct val="110000"/>
              </a:lnSpc>
              <a:spcBef>
                <a:spcPct val="90000"/>
              </a:spcBef>
              <a:buClr>
                <a:srgbClr val="969696"/>
              </a:buClr>
              <a:buSzPct val="80000"/>
            </a:pPr>
            <a:r>
              <a:rPr lang="ko-KR" altLang="en-US" sz="10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기준 금액이 변경 되는 경우에도 유연하게 대응 가능</a:t>
            </a:r>
          </a:p>
        </p:txBody>
      </p:sp>
      <p:sp>
        <p:nvSpPr>
          <p:cNvPr id="31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2079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352063" y="2782735"/>
            <a:ext cx="3567210" cy="3591779"/>
          </a:xfrm>
          <a:prstGeom prst="rect">
            <a:avLst/>
          </a:prstGeom>
          <a:noFill/>
          <a:ln w="12700" algn="ctr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US" altLang="ko-KR" sz="867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 rotWithShape="1">
          <a:blip r:embed="rId4"/>
          <a:srcRect b="4847"/>
          <a:stretch/>
        </p:blipFill>
        <p:spPr>
          <a:xfrm>
            <a:off x="459069" y="2892838"/>
            <a:ext cx="3337303" cy="3398761"/>
          </a:xfrm>
          <a:prstGeom prst="rect">
            <a:avLst/>
          </a:prstGeom>
        </p:spPr>
      </p:pic>
      <p:graphicFrame>
        <p:nvGraphicFramePr>
          <p:cNvPr id="34" name="표 33"/>
          <p:cNvGraphicFramePr>
            <a:graphicFrameLocks noGrp="1"/>
          </p:cNvGraphicFramePr>
          <p:nvPr>
            <p:extLst/>
          </p:nvPr>
        </p:nvGraphicFramePr>
        <p:xfrm>
          <a:off x="4396710" y="5597107"/>
          <a:ext cx="2015664" cy="662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1888">
                  <a:extLst>
                    <a:ext uri="{9D8B030D-6E8A-4147-A177-3AD203B41FA5}">
                      <a16:colId xmlns:a16="http://schemas.microsoft.com/office/drawing/2014/main" val="3527169430"/>
                    </a:ext>
                  </a:extLst>
                </a:gridCol>
                <a:gridCol w="671888">
                  <a:extLst>
                    <a:ext uri="{9D8B030D-6E8A-4147-A177-3AD203B41FA5}">
                      <a16:colId xmlns:a16="http://schemas.microsoft.com/office/drawing/2014/main" val="786423845"/>
                    </a:ext>
                  </a:extLst>
                </a:gridCol>
                <a:gridCol w="671888">
                  <a:extLst>
                    <a:ext uri="{9D8B030D-6E8A-4147-A177-3AD203B41FA5}">
                      <a16:colId xmlns:a16="http://schemas.microsoft.com/office/drawing/2014/main" val="1861062950"/>
                    </a:ext>
                  </a:extLst>
                </a:gridCol>
              </a:tblGrid>
              <a:tr h="2146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공통코드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ID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코드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ID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코드명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798396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301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01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10000000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456051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301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02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20000000</a:t>
                      </a:r>
                      <a:endParaRPr lang="ko-KR" altLang="en-US" sz="800" dirty="0" smtClean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7888669"/>
                  </a:ext>
                </a:extLst>
              </a:tr>
            </a:tbl>
          </a:graphicData>
        </a:graphic>
      </p:graphicFrame>
      <p:graphicFrame>
        <p:nvGraphicFramePr>
          <p:cNvPr id="35" name="표 34"/>
          <p:cNvGraphicFramePr>
            <a:graphicFrameLocks noGrp="1"/>
          </p:cNvGraphicFramePr>
          <p:nvPr>
            <p:extLst/>
          </p:nvPr>
        </p:nvGraphicFramePr>
        <p:xfrm>
          <a:off x="4390926" y="5050987"/>
          <a:ext cx="1885778" cy="44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2889">
                  <a:extLst>
                    <a:ext uri="{9D8B030D-6E8A-4147-A177-3AD203B41FA5}">
                      <a16:colId xmlns:a16="http://schemas.microsoft.com/office/drawing/2014/main" val="3527169430"/>
                    </a:ext>
                  </a:extLst>
                </a:gridCol>
                <a:gridCol w="942889">
                  <a:extLst>
                    <a:ext uri="{9D8B030D-6E8A-4147-A177-3AD203B41FA5}">
                      <a16:colId xmlns:a16="http://schemas.microsoft.com/office/drawing/2014/main" val="1277540431"/>
                    </a:ext>
                  </a:extLst>
                </a:gridCol>
              </a:tblGrid>
              <a:tr h="2146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공통코드</a:t>
                      </a:r>
                      <a:r>
                        <a:rPr lang="en-US" altLang="ko-KR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ID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공통코드명</a:t>
                      </a:r>
                      <a:endParaRPr lang="ko-KR" altLang="en-US" sz="800" dirty="0"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798396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301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99060" marR="99060" marT="49530" marB="4953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CTR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합산기준금액</a:t>
                      </a: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456051"/>
                  </a:ext>
                </a:extLst>
              </a:tr>
            </a:tbl>
          </a:graphicData>
        </a:graphic>
      </p:graphicFrame>
      <p:sp>
        <p:nvSpPr>
          <p:cNvPr id="36" name="Rectangle 127"/>
          <p:cNvSpPr>
            <a:spLocks noChangeArrowheads="1"/>
          </p:cNvSpPr>
          <p:nvPr/>
        </p:nvSpPr>
        <p:spPr bwMode="gray">
          <a:xfrm>
            <a:off x="768201" y="4383572"/>
            <a:ext cx="2447925" cy="523399"/>
          </a:xfrm>
          <a:prstGeom prst="rect">
            <a:avLst/>
          </a:prstGeom>
          <a:noFill/>
          <a:ln w="28575" algn="ctr">
            <a:solidFill>
              <a:srgbClr val="FF66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l" eaLnBrk="1" hangingPunct="1"/>
            <a:endParaRPr kumimoji="0" lang="ko-KR" altLang="en-US" dirty="0">
              <a:latin typeface="나눔바른고딕" pitchFamily="50" charset="-127"/>
              <a:ea typeface="나눔바른고딕" pitchFamily="50" charset="-127"/>
            </a:endParaRP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 rotWithShape="1">
          <a:blip r:embed="rId5"/>
          <a:srcRect t="20588" r="36686" b="12116"/>
          <a:stretch/>
        </p:blipFill>
        <p:spPr>
          <a:xfrm>
            <a:off x="2040110" y="2374322"/>
            <a:ext cx="4713089" cy="1128493"/>
          </a:xfrm>
          <a:prstGeom prst="rect">
            <a:avLst/>
          </a:prstGeom>
          <a:noFill/>
          <a:ln w="12700" algn="ctr">
            <a:solidFill>
              <a:srgbClr val="B2B2B2"/>
            </a:solidFill>
            <a:miter lim="800000"/>
            <a:headEnd/>
            <a:tailEnd/>
          </a:ln>
        </p:spPr>
      </p:pic>
      <p:sp>
        <p:nvSpPr>
          <p:cNvPr id="38" name="직사각형 37"/>
          <p:cNvSpPr/>
          <p:nvPr/>
        </p:nvSpPr>
        <p:spPr>
          <a:xfrm>
            <a:off x="4165185" y="4762955"/>
            <a:ext cx="2437015" cy="1611559"/>
          </a:xfrm>
          <a:prstGeom prst="rect">
            <a:avLst/>
          </a:prstGeom>
          <a:noFill/>
          <a:ln w="12700" algn="ctr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altLang="ko-KR" sz="9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BMS</a:t>
            </a:r>
            <a:endParaRPr lang="en-US" altLang="ko-KR" sz="9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39" name="그룹 38"/>
          <p:cNvGrpSpPr/>
          <p:nvPr/>
        </p:nvGrpSpPr>
        <p:grpSpPr>
          <a:xfrm>
            <a:off x="345480" y="2580257"/>
            <a:ext cx="1224000" cy="188600"/>
            <a:chOff x="307903" y="2251498"/>
            <a:chExt cx="1569472" cy="188600"/>
          </a:xfrm>
        </p:grpSpPr>
        <p:sp>
          <p:nvSpPr>
            <p:cNvPr id="40" name="Text Box 358" descr="도식1"/>
            <p:cNvSpPr>
              <a:spLocks noChangeArrowheads="1"/>
            </p:cNvSpPr>
            <p:nvPr/>
          </p:nvSpPr>
          <p:spPr bwMode="auto">
            <a:xfrm>
              <a:off x="307903" y="2251498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dirty="0"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1" name="Rt40" descr="도식1"/>
            <p:cNvSpPr>
              <a:spLocks noChangeArrowheads="1"/>
            </p:cNvSpPr>
            <p:nvPr/>
          </p:nvSpPr>
          <p:spPr bwMode="auto">
            <a:xfrm>
              <a:off x="599336" y="2270677"/>
              <a:ext cx="986616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en-US" altLang="ko-KR" sz="10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CTR </a:t>
              </a:r>
              <a:r>
                <a:rPr lang="ko-KR" altLang="en-US" sz="10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추출 프로그램</a:t>
              </a:r>
            </a:p>
          </p:txBody>
        </p:sp>
      </p:grpSp>
      <p:grpSp>
        <p:nvGrpSpPr>
          <p:cNvPr id="42" name="그룹 41"/>
          <p:cNvGrpSpPr/>
          <p:nvPr/>
        </p:nvGrpSpPr>
        <p:grpSpPr>
          <a:xfrm>
            <a:off x="2030895" y="2168860"/>
            <a:ext cx="1224000" cy="188600"/>
            <a:chOff x="307903" y="2251498"/>
            <a:chExt cx="1569472" cy="188600"/>
          </a:xfrm>
        </p:grpSpPr>
        <p:sp>
          <p:nvSpPr>
            <p:cNvPr id="43" name="Text Box 358" descr="도식1"/>
            <p:cNvSpPr>
              <a:spLocks noChangeArrowheads="1"/>
            </p:cNvSpPr>
            <p:nvPr/>
          </p:nvSpPr>
          <p:spPr bwMode="auto">
            <a:xfrm>
              <a:off x="307903" y="2251498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dirty="0"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0000800000000000000" pitchFamily="2" charset="-127"/>
                <a:ea typeface="KoPub돋움체 Bold" panose="00000800000000000000" pitchFamily="2" charset="-127"/>
              </a:endParaRPr>
            </a:p>
          </p:txBody>
        </p:sp>
        <p:sp>
          <p:nvSpPr>
            <p:cNvPr id="44" name="Rt40" descr="도식1"/>
            <p:cNvSpPr>
              <a:spLocks noChangeArrowheads="1"/>
            </p:cNvSpPr>
            <p:nvPr/>
          </p:nvSpPr>
          <p:spPr bwMode="auto">
            <a:xfrm>
              <a:off x="442102" y="2270677"/>
              <a:ext cx="1301099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en-US" altLang="ko-KR" sz="10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CTR </a:t>
              </a:r>
              <a:r>
                <a:rPr lang="ko-KR" altLang="en-US" sz="1000" spc="-150" dirty="0" smtClean="0">
                  <a:solidFill>
                    <a:srgbClr val="F8F8F8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보고 기준 금액 관리</a:t>
              </a:r>
            </a:p>
          </p:txBody>
        </p:sp>
      </p:grpSp>
      <p:cxnSp>
        <p:nvCxnSpPr>
          <p:cNvPr id="45" name="꺾인 연결선 44"/>
          <p:cNvCxnSpPr>
            <a:stCxn id="36" idx="2"/>
            <a:endCxn id="38" idx="1"/>
          </p:cNvCxnSpPr>
          <p:nvPr/>
        </p:nvCxnSpPr>
        <p:spPr bwMode="auto">
          <a:xfrm rot="16200000" flipH="1">
            <a:off x="2747792" y="4151342"/>
            <a:ext cx="661764" cy="2173021"/>
          </a:xfrm>
          <a:prstGeom prst="bentConnector2">
            <a:avLst/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46" name="꺾인 연결선 45"/>
          <p:cNvCxnSpPr>
            <a:stCxn id="37" idx="2"/>
            <a:endCxn id="38" idx="0"/>
          </p:cNvCxnSpPr>
          <p:nvPr/>
        </p:nvCxnSpPr>
        <p:spPr bwMode="auto">
          <a:xfrm rot="16200000" flipH="1">
            <a:off x="4260104" y="3639366"/>
            <a:ext cx="1260140" cy="987038"/>
          </a:xfrm>
          <a:prstGeom prst="bentConnector3">
            <a:avLst>
              <a:gd name="adj1" fmla="val 50000"/>
            </a:avLst>
          </a:prstGeom>
          <a:noFill/>
          <a:ln w="28575" algn="ctr">
            <a:solidFill>
              <a:srgbClr val="FF6600"/>
            </a:solidFill>
            <a:miter lim="800000"/>
            <a:headEnd type="triangle"/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41013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48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40428" y="225189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3646013" y="516013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6264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7.1.4 </a:t>
            </a:r>
            <a:r>
              <a:rPr lang="ko-KR" altLang="en-US" dirty="0" smtClean="0"/>
              <a:t>주요기능 </a:t>
            </a:r>
            <a:r>
              <a:rPr lang="en-US" altLang="ko-KR" dirty="0" smtClean="0"/>
              <a:t>(1/2) &gt; </a:t>
            </a:r>
            <a:r>
              <a:rPr lang="en-US" altLang="ko-KR" dirty="0"/>
              <a:t>CTR </a:t>
            </a:r>
            <a:r>
              <a:rPr lang="ko-KR" altLang="en-US" dirty="0"/>
              <a:t>조회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14524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CTR)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추출 건을 조회하고 보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외 건에 대해 결재상신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점검대상모니터링 화면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내용</a:t>
                </a: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2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액현금거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CTR)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건을 조회하고 보고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외 건에 대해 결재상신 하는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943902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248171"/>
            <a:ext cx="21901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해당 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TR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 건에 대한 현금 거래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상세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/>
            </a:r>
            <a:b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정보를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인 후 보고 또는 제외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처리 할 수 있는 점검대상 상세정보 화면으로 이동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701348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938323"/>
            <a:ext cx="318769" cy="318769"/>
          </a:xfrm>
          <a:prstGeom prst="rect">
            <a:avLst/>
          </a:prstGeom>
        </p:spPr>
      </p:pic>
      <p:grpSp>
        <p:nvGrpSpPr>
          <p:cNvPr id="41" name="그룹 40"/>
          <p:cNvGrpSpPr/>
          <p:nvPr/>
        </p:nvGrpSpPr>
        <p:grpSpPr>
          <a:xfrm>
            <a:off x="466642" y="2352025"/>
            <a:ext cx="6039194" cy="3955465"/>
            <a:chOff x="466642" y="2352025"/>
            <a:chExt cx="6039194" cy="3955465"/>
          </a:xfrm>
        </p:grpSpPr>
        <p:grpSp>
          <p:nvGrpSpPr>
            <p:cNvPr id="6" name="그룹 5"/>
            <p:cNvGrpSpPr/>
            <p:nvPr/>
          </p:nvGrpSpPr>
          <p:grpSpPr>
            <a:xfrm>
              <a:off x="466642" y="2352025"/>
              <a:ext cx="6039194" cy="3955465"/>
              <a:chOff x="466642" y="2352025"/>
              <a:chExt cx="6039194" cy="3955465"/>
            </a:xfrm>
          </p:grpSpPr>
          <p:grpSp>
            <p:nvGrpSpPr>
              <p:cNvPr id="31" name="그룹 30"/>
              <p:cNvGrpSpPr/>
              <p:nvPr/>
            </p:nvGrpSpPr>
            <p:grpSpPr>
              <a:xfrm>
                <a:off x="469976" y="2352025"/>
                <a:ext cx="1569472" cy="188600"/>
                <a:chOff x="361442" y="2178385"/>
                <a:chExt cx="1569472" cy="188600"/>
              </a:xfrm>
            </p:grpSpPr>
            <p:sp>
              <p:nvSpPr>
                <p:cNvPr id="33" name="Text Box 358" descr="도식1"/>
                <p:cNvSpPr>
                  <a:spLocks noChangeArrowheads="1"/>
                </p:cNvSpPr>
                <p:nvPr/>
              </p:nvSpPr>
              <p:spPr bwMode="auto">
                <a:xfrm>
                  <a:off x="361442" y="2178385"/>
                  <a:ext cx="1569472" cy="188600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rgbClr val="0070C0"/>
                    </a:gs>
                  </a:gsLst>
                  <a:lin ang="10800000" scaled="1"/>
                  <a:tileRect/>
                </a:gradFill>
                <a:ln w="12700" cap="rnd" cmpd="sng">
                  <a:noFill/>
                  <a:prstDash val="solid"/>
                  <a:headEnd type="none" w="lg" len="med"/>
                  <a:tailEnd type="none" w="lg" len="med"/>
                </a:ln>
                <a:effectLst>
                  <a:outerShdw blurRad="38100" dist="12700" dir="5400000" sx="99000" sy="99000" algn="t" rotWithShape="0">
                    <a:prstClr val="black">
                      <a:alpha val="25000"/>
                    </a:prstClr>
                  </a:outerShdw>
                </a:effectLst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tIns="180000"/>
                <a:lstStyle/>
                <a:p>
                  <a:pPr algn="ctr" latinLnBrk="0"/>
                  <a:endParaRPr lang="ko-KR" altLang="en-US" sz="1000" b="1" dirty="0">
                    <a:gradFill>
                      <a:gsLst>
                        <a:gs pos="0">
                          <a:prstClr val="white"/>
                        </a:gs>
                        <a:gs pos="100000">
                          <a:prstClr val="white"/>
                        </a:gs>
                      </a:gsLst>
                      <a:lin ang="5400000" scaled="0"/>
                    </a:gra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나눔바른고딕" pitchFamily="50" charset="-127"/>
                    <a:ea typeface="나눔바른고딕" pitchFamily="50" charset="-127"/>
                  </a:endParaRPr>
                </a:p>
              </p:txBody>
            </p:sp>
            <p:sp>
              <p:nvSpPr>
                <p:cNvPr id="34" name="Rt40" descr="도식1"/>
                <p:cNvSpPr>
                  <a:spLocks noChangeArrowheads="1"/>
                </p:cNvSpPr>
                <p:nvPr/>
              </p:nvSpPr>
              <p:spPr bwMode="auto">
                <a:xfrm>
                  <a:off x="678908" y="2195741"/>
                  <a:ext cx="934551" cy="153888"/>
                </a:xfrm>
                <a:prstGeom prst="rect">
                  <a:avLst/>
                </a:prstGeom>
                <a:noFill/>
                <a:ln w="12700" cap="rnd" cmpd="sng">
                  <a:noFill/>
                  <a:prstDash val="solid"/>
                  <a:headEnd type="none" w="lg" len="med"/>
                  <a:tailEnd type="none" w="lg" len="med"/>
                </a:ln>
                <a:effectLst/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lIns="0" tIns="0" rIns="0" bIns="0" anchor="ctr" anchorCtr="0">
                  <a:spAutoFit/>
                  <a:scene3d>
                    <a:camera prst="orthographicFront"/>
                    <a:lightRig rig="threePt" dir="t"/>
                  </a:scene3d>
                  <a:sp3d>
                    <a:bevelT w="0" h="1270"/>
                  </a:sp3d>
                </a:bodyPr>
                <a:lstStyle/>
                <a:p>
                  <a:pPr algn="ctr" latinLnBrk="0"/>
                  <a:r>
                    <a:rPr lang="ko-KR" altLang="en-US" sz="1000" dirty="0" smtClean="0">
                      <a:solidFill>
                        <a:prstClr val="white"/>
                      </a:solidFill>
                      <a:latin typeface="KoPub돋움체 Bold" panose="00000800000000000000" pitchFamily="2" charset="-127"/>
                      <a:ea typeface="KoPub돋움체 Bold" panose="00000800000000000000" pitchFamily="2" charset="-127"/>
                    </a:rPr>
                    <a:t>점검대상 모니터링</a:t>
                  </a:r>
                </a:p>
              </p:txBody>
            </p:sp>
          </p:grpSp>
          <p:pic>
            <p:nvPicPr>
              <p:cNvPr id="37" name="그림 3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66642" y="2543195"/>
                <a:ext cx="6039194" cy="3764295"/>
              </a:xfrm>
              <a:prstGeom prst="rect">
                <a:avLst/>
              </a:prstGeom>
            </p:spPr>
          </p:pic>
        </p:grpSp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12460" y="3356992"/>
              <a:ext cx="200025" cy="581331"/>
            </a:xfrm>
            <a:prstGeom prst="rect">
              <a:avLst/>
            </a:prstGeom>
          </p:spPr>
        </p:pic>
        <p:pic>
          <p:nvPicPr>
            <p:cNvPr id="39" name="그림 3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32878" y="3580097"/>
              <a:ext cx="200025" cy="121252"/>
            </a:xfrm>
            <a:prstGeom prst="rect">
              <a:avLst/>
            </a:prstGeom>
          </p:spPr>
        </p:pic>
      </p:grpSp>
      <p:sp>
        <p:nvSpPr>
          <p:cNvPr id="3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41013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35" name="Picture 88" descr="예시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197952" y="2387336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313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7.1.4 </a:t>
            </a:r>
            <a:r>
              <a:rPr lang="ko-KR" altLang="en-US" dirty="0"/>
              <a:t>주요기능 </a:t>
            </a:r>
            <a:r>
              <a:rPr lang="en-US" altLang="ko-KR" dirty="0" smtClean="0"/>
              <a:t>(2/2</a:t>
            </a:r>
            <a:r>
              <a:rPr lang="en-US" altLang="ko-KR" dirty="0"/>
              <a:t>) </a:t>
            </a:r>
            <a:r>
              <a:rPr lang="en-US" altLang="ko-KR" dirty="0" smtClean="0"/>
              <a:t>&gt; CTR </a:t>
            </a:r>
            <a:r>
              <a:rPr lang="ko-KR" altLang="en-US" dirty="0"/>
              <a:t>상세조회</a:t>
            </a:r>
          </a:p>
        </p:txBody>
      </p:sp>
      <p:sp>
        <p:nvSpPr>
          <p:cNvPr id="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50999"/>
            <a:ext cx="9414524" cy="191399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CTR)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추출 건에 대해 실제 현금이 수반된 거래인지 확인하여 보고 또는 제외 처리 할 수 있는 기능을 제공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9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점검대상 상세정보 화면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-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예시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11" name="그룹 10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12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" name="양쪽 모서리가 둥근 사각형 521">
            <a:extLst>
              <a:ext uri="{FF2B5EF4-FFF2-40B4-BE49-F238E27FC236}">
                <a16:creationId xmlns:a16="http://schemas.microsoft.com/office/drawing/2014/main" id="{1D5E882C-61DA-4E5B-9E75-1D8CD7AD4BC4}"/>
              </a:ext>
            </a:extLst>
          </p:cNvPr>
          <p:cNvSpPr/>
          <p:nvPr/>
        </p:nvSpPr>
        <p:spPr>
          <a:xfrm>
            <a:off x="263699" y="2089423"/>
            <a:ext cx="6696000" cy="4399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10E8524-AC0C-463B-8931-3569A2C14623}"/>
              </a:ext>
            </a:extLst>
          </p:cNvPr>
          <p:cNvGrpSpPr/>
          <p:nvPr/>
        </p:nvGrpSpPr>
        <p:grpSpPr>
          <a:xfrm>
            <a:off x="6955778" y="2069250"/>
            <a:ext cx="2717684" cy="4420090"/>
            <a:chOff x="6951840" y="1844822"/>
            <a:chExt cx="2717684" cy="442009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4832A5FE-031B-485A-A309-BE2A0750944F}"/>
                </a:ext>
              </a:extLst>
            </p:cNvPr>
            <p:cNvSpPr/>
            <p:nvPr/>
          </p:nvSpPr>
          <p:spPr>
            <a:xfrm>
              <a:off x="6951840" y="1844822"/>
              <a:ext cx="2717340" cy="4420090"/>
            </a:xfrm>
            <a:prstGeom prst="rect">
              <a:avLst/>
            </a:prstGeom>
            <a:solidFill>
              <a:srgbClr val="ECF7FE"/>
            </a:solidFill>
            <a:ln w="12700">
              <a:solidFill>
                <a:srgbClr val="7C8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</p:txBody>
        </p: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3F28A4B1-C03E-420A-AAB1-A57E91C95B98}"/>
                </a:ext>
              </a:extLst>
            </p:cNvPr>
            <p:cNvGrpSpPr/>
            <p:nvPr/>
          </p:nvGrpSpPr>
          <p:grpSpPr>
            <a:xfrm>
              <a:off x="6951840" y="1844822"/>
              <a:ext cx="2717684" cy="299934"/>
              <a:chOff x="6951840" y="2030557"/>
              <a:chExt cx="2717684" cy="288032"/>
            </a:xfrm>
          </p:grpSpPr>
          <p:sp>
            <p:nvSpPr>
              <p:cNvPr id="20" name="양쪽 모서리가 둥근 사각형 517">
                <a:extLst>
                  <a:ext uri="{FF2B5EF4-FFF2-40B4-BE49-F238E27FC236}">
                    <a16:creationId xmlns:a16="http://schemas.microsoft.com/office/drawing/2014/main" id="{3E3D28BE-959C-480B-8AD1-3B8A1BB208AE}"/>
                  </a:ext>
                </a:extLst>
              </p:cNvPr>
              <p:cNvSpPr/>
              <p:nvPr/>
            </p:nvSpPr>
            <p:spPr>
              <a:xfrm>
                <a:off x="6951840" y="2030557"/>
                <a:ext cx="2717340" cy="288032"/>
              </a:xfrm>
              <a:prstGeom prst="rect">
                <a:avLst/>
              </a:prstGeom>
              <a:solidFill>
                <a:srgbClr val="005E9E"/>
              </a:solidFill>
              <a:ln>
                <a:noFill/>
              </a:ln>
              <a:effectLst>
                <a:outerShdw blurRad="254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vert="horz" lIns="0" tIns="0" rIns="0" bIns="0" anchor="ctr" anchorCtr="0"/>
              <a:lstStyle/>
              <a:p>
                <a:pPr algn="ctr"/>
                <a:r>
                  <a:rPr lang="ko-KR" altLang="en-US" sz="120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rgbClr val="FFFFFF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구현 내용</a:t>
                </a:r>
              </a:p>
            </p:txBody>
          </p:sp>
          <p:sp>
            <p:nvSpPr>
              <p:cNvPr id="21" name="양쪽 모서리가 둥근 사각형 517">
                <a:extLst>
                  <a:ext uri="{FF2B5EF4-FFF2-40B4-BE49-F238E27FC236}">
                    <a16:creationId xmlns:a16="http://schemas.microsoft.com/office/drawing/2014/main" id="{44EC17C8-AF98-4F87-8AE2-101CBA21F03A}"/>
                  </a:ext>
                </a:extLst>
              </p:cNvPr>
              <p:cNvSpPr/>
              <p:nvPr/>
            </p:nvSpPr>
            <p:spPr>
              <a:xfrm>
                <a:off x="6951882" y="2030561"/>
                <a:ext cx="2717642" cy="144016"/>
              </a:xfrm>
              <a:prstGeom prst="rect">
                <a:avLst/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22" name="Text Box 63">
            <a:extLst>
              <a:ext uri="{FF2B5EF4-FFF2-40B4-BE49-F238E27FC236}">
                <a16:creationId xmlns:a16="http://schemas.microsoft.com/office/drawing/2014/main" id="{C5F9D3F7-C9E8-4781-9034-6DE870AA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2573308"/>
            <a:ext cx="22890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요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Rs27">
            <a:extLst>
              <a:ext uri="{FF2B5EF4-FFF2-40B4-BE49-F238E27FC236}">
                <a16:creationId xmlns:a16="http://schemas.microsoft.com/office/drawing/2014/main" id="{0C0D0E15-537B-471F-BB7B-EC217A4E60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2888940"/>
            <a:ext cx="21901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액현금거래</a:t>
            </a:r>
            <a:r>
              <a:rPr lang="en-US" altLang="ko-KR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CTR) </a:t>
            </a:r>
            <a:r>
              <a:rPr lang="ko-KR" altLang="en-US" sz="1000" spc="-7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추출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건에 대해 실제 현금이 수반된 거래인지 확인하여 보고 또는 제외 처리 할 수 있는 기능</a:t>
            </a:r>
            <a:endParaRPr lang="ko-KR" altLang="en-US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5" name="Text Box 63">
            <a:extLst>
              <a:ext uri="{FF2B5EF4-FFF2-40B4-BE49-F238E27FC236}">
                <a16:creationId xmlns:a16="http://schemas.microsoft.com/office/drawing/2014/main" id="{9BAD3354-F8D3-4196-A35F-BB5B34A88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0248" y="3943902"/>
            <a:ext cx="49051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38F9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3C4A5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415164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25488" indent="-27940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16013" indent="-222250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63688" indent="-227013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09775" indent="-223838" defTabSz="893763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4669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241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3813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38575" indent="-223838" defTabSz="893763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457200">
              <a:defRPr/>
            </a:pPr>
            <a:r>
              <a:rPr lang="ko-KR" altLang="en-US" sz="11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능 상세</a:t>
            </a:r>
            <a:endParaRPr lang="ko-KR" altLang="en-US" sz="11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Rs27">
            <a:extLst>
              <a:ext uri="{FF2B5EF4-FFF2-40B4-BE49-F238E27FC236}">
                <a16:creationId xmlns:a16="http://schemas.microsoft.com/office/drawing/2014/main" id="{968E9253-47DC-4BD6-8B8F-E7534EC5CB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60248" y="4248171"/>
            <a:ext cx="2190118" cy="1282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추출건에 대해 실제 현금이 수반된 거래인지 판단하기 위해 고객정보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계좌정보</a:t>
            </a:r>
            <a:r>
              <a:rPr lang="en-US" altLang="ko-KR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거래원장조회 정보 등을 제공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실제 현금을 수반한 거래에 대해 결재상신 할 수 있는 상태로 변경</a:t>
            </a:r>
            <a:endParaRPr lang="en-US" altLang="ko-KR" sz="1000" spc="-70" dirty="0" smtClean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87313" indent="-84138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spc="-7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대체거래등 실제 현금을 수반하지 않은 거래로 판단 될 경우 제외처리를 통해 보고대상에서 제외 처리</a:t>
            </a:r>
            <a:endParaRPr lang="en-US" altLang="ko-KR" sz="1000" spc="-7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F9612716-9862-4B92-8080-735319A03F5B}"/>
              </a:ext>
            </a:extLst>
          </p:cNvPr>
          <p:cNvCxnSpPr>
            <a:cxnSpLocks/>
          </p:cNvCxnSpPr>
          <p:nvPr/>
        </p:nvCxnSpPr>
        <p:spPr>
          <a:xfrm>
            <a:off x="6955778" y="3701348"/>
            <a:ext cx="2717340" cy="0"/>
          </a:xfrm>
          <a:prstGeom prst="line">
            <a:avLst/>
          </a:prstGeom>
          <a:solidFill>
            <a:srgbClr val="DEF2FE"/>
          </a:solidFill>
          <a:ln w="12700">
            <a:solidFill>
              <a:srgbClr val="00497A">
                <a:alpha val="35000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E6D6BB3F-DAEE-46F7-8354-F2A09E0873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487" y="2573308"/>
            <a:ext cx="318769" cy="318769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CE68769D-7128-4807-88C2-CCBF74A3B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3487" y="3938323"/>
            <a:ext cx="318769" cy="318769"/>
          </a:xfrm>
          <a:prstGeom prst="rect">
            <a:avLst/>
          </a:prstGeom>
        </p:spPr>
      </p:pic>
      <p:grpSp>
        <p:nvGrpSpPr>
          <p:cNvPr id="35" name="그룹 34"/>
          <p:cNvGrpSpPr/>
          <p:nvPr/>
        </p:nvGrpSpPr>
        <p:grpSpPr>
          <a:xfrm>
            <a:off x="469976" y="2352025"/>
            <a:ext cx="1569472" cy="188600"/>
            <a:chOff x="361442" y="2178385"/>
            <a:chExt cx="1569472" cy="188600"/>
          </a:xfrm>
        </p:grpSpPr>
        <p:sp>
          <p:nvSpPr>
            <p:cNvPr id="37" name="Text Box 358" descr="도식1"/>
            <p:cNvSpPr>
              <a:spLocks noChangeArrowheads="1"/>
            </p:cNvSpPr>
            <p:nvPr/>
          </p:nvSpPr>
          <p:spPr bwMode="auto">
            <a:xfrm>
              <a:off x="361442" y="2178385"/>
              <a:ext cx="1569472" cy="188600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108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12700" dir="5400000" sx="99000" sy="99000" algn="t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tIns="180000"/>
            <a:lstStyle/>
            <a:p>
              <a:pPr algn="ctr" latinLnBrk="0"/>
              <a:endParaRPr lang="ko-KR" altLang="en-US" sz="1000" b="1" dirty="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바른고딕" pitchFamily="50" charset="-127"/>
                <a:ea typeface="나눔바른고딕" pitchFamily="50" charset="-127"/>
              </a:endParaRPr>
            </a:p>
          </p:txBody>
        </p:sp>
        <p:sp>
          <p:nvSpPr>
            <p:cNvPr id="38" name="Rt40" descr="도식1"/>
            <p:cNvSpPr>
              <a:spLocks noChangeArrowheads="1"/>
            </p:cNvSpPr>
            <p:nvPr/>
          </p:nvSpPr>
          <p:spPr bwMode="auto">
            <a:xfrm>
              <a:off x="678909" y="2195741"/>
              <a:ext cx="934551" cy="153888"/>
            </a:xfrm>
            <a:prstGeom prst="rect">
              <a:avLst/>
            </a:prstGeom>
            <a:noFill/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>
              <a:spAutoFit/>
              <a:scene3d>
                <a:camera prst="orthographicFront"/>
                <a:lightRig rig="threePt" dir="t"/>
              </a:scene3d>
              <a:sp3d>
                <a:bevelT w="0" h="1270"/>
              </a:sp3d>
            </a:bodyPr>
            <a:lstStyle/>
            <a:p>
              <a:pPr algn="ctr" latinLnBrk="0"/>
              <a:r>
                <a:rPr lang="ko-KR" altLang="en-US" sz="1000" dirty="0" smtClean="0">
                  <a:solidFill>
                    <a:prstClr val="white"/>
                  </a:solidFill>
                  <a:latin typeface="KoPub돋움체 Bold" panose="00000800000000000000" pitchFamily="2" charset="-127"/>
                  <a:ea typeface="KoPub돋움체 Bold" panose="00000800000000000000" pitchFamily="2" charset="-127"/>
                </a:rPr>
                <a:t>점검대상 상세정보</a:t>
              </a:r>
            </a:p>
          </p:txBody>
        </p:sp>
      </p:grpSp>
      <p:pic>
        <p:nvPicPr>
          <p:cNvPr id="33" name="그림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2460" y="3356992"/>
            <a:ext cx="200025" cy="581331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2878" y="3580097"/>
            <a:ext cx="200025" cy="121252"/>
          </a:xfrm>
          <a:prstGeom prst="rect">
            <a:avLst/>
          </a:prstGeom>
        </p:spPr>
      </p:pic>
      <p:grpSp>
        <p:nvGrpSpPr>
          <p:cNvPr id="7" name="그룹 6"/>
          <p:cNvGrpSpPr/>
          <p:nvPr/>
        </p:nvGrpSpPr>
        <p:grpSpPr>
          <a:xfrm>
            <a:off x="466643" y="2540625"/>
            <a:ext cx="6039194" cy="3766865"/>
            <a:chOff x="466643" y="2540625"/>
            <a:chExt cx="6039194" cy="3766865"/>
          </a:xfrm>
        </p:grpSpPr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6643" y="2540625"/>
              <a:ext cx="6039194" cy="3766865"/>
            </a:xfrm>
            <a:prstGeom prst="rect">
              <a:avLst/>
            </a:prstGeom>
          </p:spPr>
        </p:pic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09015" y="2974695"/>
              <a:ext cx="571500" cy="57150"/>
            </a:xfrm>
            <a:prstGeom prst="rect">
              <a:avLst/>
            </a:prstGeom>
          </p:spPr>
        </p:pic>
        <p:pic>
          <p:nvPicPr>
            <p:cNvPr id="6" name="그림 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21977" y="5229200"/>
              <a:ext cx="322711" cy="504056"/>
            </a:xfrm>
            <a:prstGeom prst="rect">
              <a:avLst/>
            </a:prstGeom>
          </p:spPr>
        </p:pic>
      </p:grpSp>
      <p:grpSp>
        <p:nvGrpSpPr>
          <p:cNvPr id="15" name="그룹 14"/>
          <p:cNvGrpSpPr/>
          <p:nvPr/>
        </p:nvGrpSpPr>
        <p:grpSpPr>
          <a:xfrm>
            <a:off x="3972052" y="3390394"/>
            <a:ext cx="2787115" cy="1921794"/>
            <a:chOff x="3972052" y="3390394"/>
            <a:chExt cx="2787115" cy="1921794"/>
          </a:xfrm>
        </p:grpSpPr>
        <p:pic>
          <p:nvPicPr>
            <p:cNvPr id="41" name="그림 4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80892" y="3573582"/>
              <a:ext cx="2778275" cy="1738606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grpSp>
          <p:nvGrpSpPr>
            <p:cNvPr id="42" name="그룹 41"/>
            <p:cNvGrpSpPr/>
            <p:nvPr/>
          </p:nvGrpSpPr>
          <p:grpSpPr>
            <a:xfrm>
              <a:off x="3972052" y="3390394"/>
              <a:ext cx="810675" cy="188600"/>
              <a:chOff x="361442" y="2178385"/>
              <a:chExt cx="1569472" cy="188600"/>
            </a:xfrm>
          </p:grpSpPr>
          <p:sp>
            <p:nvSpPr>
              <p:cNvPr id="43" name="Text Box 358" descr="도식1"/>
              <p:cNvSpPr>
                <a:spLocks noChangeArrowheads="1"/>
              </p:cNvSpPr>
              <p:nvPr/>
            </p:nvSpPr>
            <p:spPr bwMode="auto">
              <a:xfrm>
                <a:off x="361442" y="2178385"/>
                <a:ext cx="1569472" cy="188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0070C0"/>
                  </a:gs>
                </a:gsLst>
                <a:lin ang="10800000" scaled="1"/>
                <a:tileRect/>
              </a:gradFill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>
                <a:outerShdw blurRad="38100" dist="12700" dir="5400000" sx="99000" sy="99000" algn="t" rotWithShape="0">
                  <a:prstClr val="black">
                    <a:alpha val="25000"/>
                  </a:prst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tIns="180000"/>
              <a:lstStyle/>
              <a:p>
                <a:pPr algn="ctr" latinLnBrk="0"/>
                <a:endParaRPr lang="ko-KR" altLang="en-US" sz="1000" b="1" dirty="0">
                  <a:gradFill>
                    <a:gsLst>
                      <a:gs pos="0">
                        <a:prstClr val="white"/>
                      </a:gs>
                      <a:gs pos="100000">
                        <a:prstClr val="white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나눔바른고딕" pitchFamily="50" charset="-127"/>
                  <a:ea typeface="나눔바른고딕" pitchFamily="50" charset="-127"/>
                </a:endParaRPr>
              </a:p>
            </p:txBody>
          </p:sp>
          <p:sp>
            <p:nvSpPr>
              <p:cNvPr id="44" name="Rt40" descr="도식1"/>
              <p:cNvSpPr>
                <a:spLocks noChangeArrowheads="1"/>
              </p:cNvSpPr>
              <p:nvPr/>
            </p:nvSpPr>
            <p:spPr bwMode="auto">
              <a:xfrm>
                <a:off x="711706" y="2195741"/>
                <a:ext cx="868961" cy="153888"/>
              </a:xfrm>
              <a:prstGeom prst="rect">
                <a:avLst/>
              </a:prstGeom>
              <a:noFill/>
              <a:ln w="12700" cap="rnd" cmpd="sng">
                <a:noFill/>
                <a:prstDash val="solid"/>
                <a:headEnd type="none" w="lg" len="med"/>
                <a:tailEnd type="none" w="lg" len="med"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pAutoFit/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pPr algn="ctr" latinLnBrk="0"/>
                <a:r>
                  <a:rPr lang="ko-KR" altLang="en-US" sz="1000" dirty="0" smtClean="0">
                    <a:solidFill>
                      <a:prstClr val="white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제외사유</a:t>
                </a:r>
              </a:p>
            </p:txBody>
          </p:sp>
        </p:grpSp>
      </p:grpSp>
      <p:sp>
        <p:nvSpPr>
          <p:cNvPr id="4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41013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고액현금거래 모니터링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7.1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능 구현 방안</a:t>
            </a:r>
          </a:p>
        </p:txBody>
      </p:sp>
      <p:pic>
        <p:nvPicPr>
          <p:cNvPr id="45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229394" y="2424971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pic>
        <p:nvPicPr>
          <p:cNvPr id="48" name="Picture 88" descr="예시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6455616" y="344964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6375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직사각형 172"/>
          <p:cNvSpPr/>
          <p:nvPr/>
        </p:nvSpPr>
        <p:spPr>
          <a:xfrm>
            <a:off x="1850207" y="4537027"/>
            <a:ext cx="7675301" cy="1916307"/>
          </a:xfrm>
          <a:prstGeom prst="rect">
            <a:avLst/>
          </a:prstGeom>
          <a:noFill/>
          <a:ln w="19050">
            <a:solidFill>
              <a:srgbClr val="038C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0" name="직사각형 79"/>
          <p:cNvSpPr/>
          <p:nvPr/>
        </p:nvSpPr>
        <p:spPr>
          <a:xfrm>
            <a:off x="7149244" y="4946200"/>
            <a:ext cx="1901656" cy="14546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8 </a:t>
            </a:r>
            <a:r>
              <a:rPr lang="ko-KR" altLang="en-US" dirty="0"/>
              <a:t>직원알기제도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7373813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련 규정에 따라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E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도를 운영할 수 있는 체계를 구성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부서와 업무에 대한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을 평가하여 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YE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절차에 반영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KYE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운영 체계 구성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45" name="직사각형 44"/>
          <p:cNvSpPr/>
          <p:nvPr/>
        </p:nvSpPr>
        <p:spPr>
          <a:xfrm>
            <a:off x="1928664" y="2060848"/>
            <a:ext cx="1692000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대상 식별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1928664" y="2528900"/>
            <a:ext cx="1692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임직원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1928664" y="2960968"/>
            <a:ext cx="1692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계약직</a:t>
            </a:r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위촉직</a:t>
            </a:r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촉탁직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1928664" y="3393036"/>
            <a:ext cx="1692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파견 직원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3873000" y="2528900"/>
            <a:ext cx="1080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채용시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873000" y="2960968"/>
            <a:ext cx="1080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계약시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3873000" y="3393036"/>
            <a:ext cx="1080000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정기적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3872880" y="2060848"/>
            <a:ext cx="1080120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이행 시기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cxnSp>
        <p:nvCxnSpPr>
          <p:cNvPr id="68" name="직선 연결선 67"/>
          <p:cNvCxnSpPr/>
          <p:nvPr/>
        </p:nvCxnSpPr>
        <p:spPr>
          <a:xfrm>
            <a:off x="346014" y="4697639"/>
            <a:ext cx="9323510" cy="0"/>
          </a:xfrm>
          <a:prstGeom prst="line">
            <a:avLst/>
          </a:prstGeom>
          <a:ln w="12700">
            <a:solidFill>
              <a:srgbClr val="FD641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/>
          <p:cNvSpPr/>
          <p:nvPr/>
        </p:nvSpPr>
        <p:spPr>
          <a:xfrm>
            <a:off x="2000671" y="4800842"/>
            <a:ext cx="4500501" cy="309659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부서 위험평가 모델 구성 </a:t>
            </a:r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(Risk Factor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식별</a:t>
            </a:r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)</a:t>
            </a:r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473489"/>
              </p:ext>
            </p:extLst>
          </p:nvPr>
        </p:nvGraphicFramePr>
        <p:xfrm>
          <a:off x="2015187" y="5157192"/>
          <a:ext cx="3484250" cy="1189293"/>
        </p:xfrm>
        <a:graphic>
          <a:graphicData uri="http://schemas.openxmlformats.org/drawingml/2006/table">
            <a:tbl>
              <a:tblPr/>
              <a:tblGrid>
                <a:gridCol w="970298">
                  <a:extLst>
                    <a:ext uri="{9D8B030D-6E8A-4147-A177-3AD203B41FA5}">
                      <a16:colId xmlns:a16="http://schemas.microsoft.com/office/drawing/2014/main" val="1064494994"/>
                    </a:ext>
                  </a:extLst>
                </a:gridCol>
                <a:gridCol w="418992">
                  <a:extLst>
                    <a:ext uri="{9D8B030D-6E8A-4147-A177-3AD203B41FA5}">
                      <a16:colId xmlns:a16="http://schemas.microsoft.com/office/drawing/2014/main" val="4136037256"/>
                    </a:ext>
                  </a:extLst>
                </a:gridCol>
                <a:gridCol w="418992">
                  <a:extLst>
                    <a:ext uri="{9D8B030D-6E8A-4147-A177-3AD203B41FA5}">
                      <a16:colId xmlns:a16="http://schemas.microsoft.com/office/drawing/2014/main" val="3525237432"/>
                    </a:ext>
                  </a:extLst>
                </a:gridCol>
                <a:gridCol w="418992">
                  <a:extLst>
                    <a:ext uri="{9D8B030D-6E8A-4147-A177-3AD203B41FA5}">
                      <a16:colId xmlns:a16="http://schemas.microsoft.com/office/drawing/2014/main" val="1893672492"/>
                    </a:ext>
                  </a:extLst>
                </a:gridCol>
                <a:gridCol w="418992">
                  <a:extLst>
                    <a:ext uri="{9D8B030D-6E8A-4147-A177-3AD203B41FA5}">
                      <a16:colId xmlns:a16="http://schemas.microsoft.com/office/drawing/2014/main" val="2138468273"/>
                    </a:ext>
                  </a:extLst>
                </a:gridCol>
                <a:gridCol w="418992">
                  <a:extLst>
                    <a:ext uri="{9D8B030D-6E8A-4147-A177-3AD203B41FA5}">
                      <a16:colId xmlns:a16="http://schemas.microsoft.com/office/drawing/2014/main" val="2703926714"/>
                    </a:ext>
                  </a:extLst>
                </a:gridCol>
                <a:gridCol w="418992">
                  <a:extLst>
                    <a:ext uri="{9D8B030D-6E8A-4147-A177-3AD203B41FA5}">
                      <a16:colId xmlns:a16="http://schemas.microsoft.com/office/drawing/2014/main" val="2225678994"/>
                    </a:ext>
                  </a:extLst>
                </a:gridCol>
              </a:tblGrid>
              <a:tr h="1698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구분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고객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상품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거래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자금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계약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F8F8F8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102685"/>
                  </a:ext>
                </a:extLst>
              </a:tr>
              <a:tr h="16989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글로벌사업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754101"/>
                  </a:ext>
                </a:extLst>
              </a:tr>
              <a:tr h="16989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외환업무지원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143527"/>
                  </a:ext>
                </a:extLst>
              </a:tr>
              <a:tr h="16989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매금융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3646333"/>
                  </a:ext>
                </a:extLst>
              </a:tr>
              <a:tr h="16989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금융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0115886"/>
                  </a:ext>
                </a:extLst>
              </a:tr>
              <a:tr h="16989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총무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3448439"/>
                  </a:ext>
                </a:extLst>
              </a:tr>
              <a:tr h="169899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…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626" marR="8626" marT="86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4039143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5637076" y="5157192"/>
            <a:ext cx="864096" cy="360000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b="1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고위험</a:t>
            </a:r>
            <a:endParaRPr lang="ko-KR" altLang="en-US" sz="1100" b="1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5637076" y="5571838"/>
            <a:ext cx="86409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b="1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중위험</a:t>
            </a:r>
            <a:endParaRPr lang="ko-KR" altLang="en-US" sz="1100" b="1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5637076" y="5986484"/>
            <a:ext cx="86409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b="1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저위험</a:t>
            </a:r>
            <a:endParaRPr lang="ko-KR" altLang="en-US" sz="1100" b="1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7149244" y="4800842"/>
            <a:ext cx="1901656" cy="309659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상시 모니터링 연계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7977336" y="5157192"/>
            <a:ext cx="86409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배임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7977336" y="5571838"/>
            <a:ext cx="86409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횡령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7977336" y="5986484"/>
            <a:ext cx="864096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금융범죄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5241032" y="2060848"/>
            <a:ext cx="4284476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KYE </a:t>
            </a:r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절차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5241032" y="2528900"/>
            <a:ext cx="2255664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atch List Filtering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84" name="직선 화살표 연결선 83"/>
          <p:cNvCxnSpPr>
            <a:stCxn id="49" idx="3"/>
            <a:endCxn id="82" idx="1"/>
          </p:cNvCxnSpPr>
          <p:nvPr/>
        </p:nvCxnSpPr>
        <p:spPr>
          <a:xfrm>
            <a:off x="4953000" y="2708900"/>
            <a:ext cx="28803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직사각형 84"/>
          <p:cNvSpPr/>
          <p:nvPr/>
        </p:nvSpPr>
        <p:spPr>
          <a:xfrm>
            <a:off x="5241032" y="2924944"/>
            <a:ext cx="1080000" cy="260931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성명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6416696" y="2924944"/>
            <a:ext cx="1080000" cy="260931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국적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88" name="직선 화살표 연결선 87"/>
          <p:cNvCxnSpPr>
            <a:stCxn id="46" idx="3"/>
            <a:endCxn id="49" idx="1"/>
          </p:cNvCxnSpPr>
          <p:nvPr/>
        </p:nvCxnSpPr>
        <p:spPr>
          <a:xfrm>
            <a:off x="3620664" y="2708900"/>
            <a:ext cx="252336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/>
          <p:cNvCxnSpPr>
            <a:stCxn id="46" idx="3"/>
            <a:endCxn id="51" idx="1"/>
          </p:cNvCxnSpPr>
          <p:nvPr/>
        </p:nvCxnSpPr>
        <p:spPr>
          <a:xfrm>
            <a:off x="3620664" y="2708900"/>
            <a:ext cx="252336" cy="86413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/>
          <p:cNvCxnSpPr>
            <a:stCxn id="47" idx="3"/>
            <a:endCxn id="50" idx="1"/>
          </p:cNvCxnSpPr>
          <p:nvPr/>
        </p:nvCxnSpPr>
        <p:spPr>
          <a:xfrm>
            <a:off x="3620664" y="3140968"/>
            <a:ext cx="252336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화살표 연결선 94"/>
          <p:cNvCxnSpPr>
            <a:stCxn id="47" idx="3"/>
            <a:endCxn id="51" idx="1"/>
          </p:cNvCxnSpPr>
          <p:nvPr/>
        </p:nvCxnSpPr>
        <p:spPr>
          <a:xfrm>
            <a:off x="3620664" y="3140968"/>
            <a:ext cx="252336" cy="43206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화살표 연결선 97"/>
          <p:cNvCxnSpPr>
            <a:stCxn id="48" idx="3"/>
            <a:endCxn id="50" idx="1"/>
          </p:cNvCxnSpPr>
          <p:nvPr/>
        </p:nvCxnSpPr>
        <p:spPr>
          <a:xfrm flipV="1">
            <a:off x="3620664" y="3140968"/>
            <a:ext cx="252336" cy="43206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>
            <a:stCxn id="48" idx="3"/>
            <a:endCxn id="51" idx="1"/>
          </p:cNvCxnSpPr>
          <p:nvPr/>
        </p:nvCxnSpPr>
        <p:spPr>
          <a:xfrm>
            <a:off x="3620664" y="3573036"/>
            <a:ext cx="252336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모서리가 둥근 직사각형 68"/>
          <p:cNvSpPr/>
          <p:nvPr/>
        </p:nvSpPr>
        <p:spPr>
          <a:xfrm>
            <a:off x="433220" y="4777164"/>
            <a:ext cx="1236966" cy="1676171"/>
          </a:xfrm>
          <a:prstGeom prst="roundRect">
            <a:avLst>
              <a:gd name="adj" fmla="val 0"/>
            </a:avLst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서 별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모델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구성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433220" y="2528900"/>
            <a:ext cx="1240889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규 채용시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387290" y="2060848"/>
            <a:ext cx="1325350" cy="36000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2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관련 규정 분석</a:t>
            </a:r>
            <a:endParaRPr lang="en-US" altLang="ko-KR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433220" y="2956983"/>
            <a:ext cx="1240889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적 </a:t>
            </a:r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KYE </a:t>
            </a: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수행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433220" y="3897052"/>
            <a:ext cx="1240889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ML</a:t>
            </a:r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위험에 기반한 </a:t>
            </a:r>
            <a:r>
              <a:rPr lang="en-US" altLang="ko-KR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KYE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5" name="아래쪽 화살표 104"/>
          <p:cNvSpPr/>
          <p:nvPr/>
        </p:nvSpPr>
        <p:spPr>
          <a:xfrm>
            <a:off x="965434" y="4429387"/>
            <a:ext cx="158544" cy="223749"/>
          </a:xfrm>
          <a:prstGeom prst="downArrow">
            <a:avLst>
              <a:gd name="adj1" fmla="val 50000"/>
              <a:gd name="adj2" fmla="val 72322"/>
            </a:avLst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387289" y="2469491"/>
            <a:ext cx="1325350" cy="188037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4" name="직사각형 113"/>
          <p:cNvSpPr/>
          <p:nvPr/>
        </p:nvSpPr>
        <p:spPr>
          <a:xfrm>
            <a:off x="5241032" y="3393036"/>
            <a:ext cx="2255664" cy="360000"/>
          </a:xfrm>
          <a:prstGeom prst="rect">
            <a:avLst/>
          </a:prstGeom>
          <a:solidFill>
            <a:srgbClr val="7C7C7B">
              <a:lumMod val="20000"/>
              <a:lumOff val="8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KYE </a:t>
            </a:r>
            <a:r>
              <a:rPr lang="ko-KR" altLang="en-US" sz="1100" kern="0" spc="60" dirty="0" smtClean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위험평가</a:t>
            </a:r>
            <a:endParaRPr lang="ko-KR" altLang="en-US" sz="1100" kern="0" spc="60" dirty="0"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5241032" y="3789040"/>
            <a:ext cx="1080000" cy="260931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서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6416696" y="3789040"/>
            <a:ext cx="1080000" cy="260931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업무</a:t>
            </a:r>
            <a:endParaRPr lang="ko-KR" altLang="en-US" sz="1100" kern="0" spc="60" dirty="0"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17" name="이등변 삼각형 116"/>
          <p:cNvSpPr/>
          <p:nvPr/>
        </p:nvSpPr>
        <p:spPr bwMode="ltGray">
          <a:xfrm rot="5400000" flipV="1">
            <a:off x="6336074" y="5571820"/>
            <a:ext cx="1050277" cy="360038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>
              <a:solidFill>
                <a:schemeClr val="lt1"/>
              </a:solidFill>
            </a:endParaRPr>
          </a:p>
        </p:txBody>
      </p:sp>
      <p:sp>
        <p:nvSpPr>
          <p:cNvPr id="118" name="직사각형 117"/>
          <p:cNvSpPr/>
          <p:nvPr/>
        </p:nvSpPr>
        <p:spPr>
          <a:xfrm>
            <a:off x="7205906" y="5157192"/>
            <a:ext cx="663418" cy="576064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사고</a:t>
            </a:r>
            <a:endParaRPr lang="en-US" altLang="ko-KR" sz="1100" kern="0" spc="6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부서</a:t>
            </a:r>
            <a:endParaRPr lang="ko-KR" altLang="en-US" sz="11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7205906" y="5779947"/>
            <a:ext cx="663418" cy="576064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사고</a:t>
            </a:r>
            <a:endParaRPr lang="en-US" altLang="ko-KR" sz="1100" kern="0" spc="60" dirty="0" smtClean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algn="ctr" defTabSz="914400"/>
            <a:r>
              <a:rPr lang="ko-KR" altLang="en-US" sz="1100" kern="0" spc="60" dirty="0" smtClean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업무</a:t>
            </a:r>
            <a:endParaRPr lang="ko-KR" altLang="en-US" sz="11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23" name="직선 화살표 연결선 122"/>
          <p:cNvCxnSpPr>
            <a:stCxn id="50" idx="3"/>
            <a:endCxn id="82" idx="1"/>
          </p:cNvCxnSpPr>
          <p:nvPr/>
        </p:nvCxnSpPr>
        <p:spPr>
          <a:xfrm flipV="1">
            <a:off x="4953000" y="2708900"/>
            <a:ext cx="288032" cy="43206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125"/>
          <p:cNvCxnSpPr>
            <a:stCxn id="51" idx="3"/>
            <a:endCxn id="82" idx="1"/>
          </p:cNvCxnSpPr>
          <p:nvPr/>
        </p:nvCxnSpPr>
        <p:spPr>
          <a:xfrm flipV="1">
            <a:off x="4953000" y="2708900"/>
            <a:ext cx="288032" cy="86413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직선 화살표 연결선 128"/>
          <p:cNvCxnSpPr>
            <a:stCxn id="51" idx="3"/>
            <a:endCxn id="114" idx="1"/>
          </p:cNvCxnSpPr>
          <p:nvPr/>
        </p:nvCxnSpPr>
        <p:spPr>
          <a:xfrm>
            <a:off x="4953000" y="3573036"/>
            <a:ext cx="28803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직사각형 136"/>
          <p:cNvSpPr/>
          <p:nvPr/>
        </p:nvSpPr>
        <p:spPr>
          <a:xfrm>
            <a:off x="5241032" y="4339505"/>
            <a:ext cx="2255664" cy="358134"/>
          </a:xfrm>
          <a:prstGeom prst="rect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YE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평가 모델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서 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/ </a:t>
            </a:r>
            <a:r>
              <a:rPr lang="ko-KR" altLang="en-US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업무 위험 평가</a:t>
            </a:r>
            <a:r>
              <a:rPr lang="en-US" altLang="ko-KR" sz="9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)</a:t>
            </a:r>
            <a:endParaRPr lang="ko-KR" altLang="en-US" sz="9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8" name="위쪽/아래쪽 화살표 137"/>
          <p:cNvSpPr/>
          <p:nvPr/>
        </p:nvSpPr>
        <p:spPr>
          <a:xfrm>
            <a:off x="6260792" y="4001016"/>
            <a:ext cx="216145" cy="324036"/>
          </a:xfrm>
          <a:prstGeom prst="upDownArrow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endParaRPr lang="ko-KR" altLang="en-US" sz="12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143" name="직사각형 142"/>
          <p:cNvSpPr/>
          <p:nvPr/>
        </p:nvSpPr>
        <p:spPr>
          <a:xfrm>
            <a:off x="7653300" y="2528900"/>
            <a:ext cx="926409" cy="360000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en-US" altLang="ko-KR" sz="1100" kern="0" spc="6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WLF Alert</a:t>
            </a:r>
            <a:endParaRPr lang="ko-KR" altLang="en-US" sz="1100" kern="0" spc="60" dirty="0"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4" name="직사각형 143"/>
          <p:cNvSpPr/>
          <p:nvPr/>
        </p:nvSpPr>
        <p:spPr>
          <a:xfrm>
            <a:off x="7653300" y="3393036"/>
            <a:ext cx="926409" cy="360000"/>
          </a:xfrm>
          <a:prstGeom prst="rect">
            <a:avLst/>
          </a:prstGeom>
          <a:solidFill>
            <a:srgbClr val="BD0032"/>
          </a:solidFill>
          <a:ln w="3175" cap="flat" cmpd="sng" algn="ctr">
            <a:solidFill>
              <a:srgbClr val="BD0032"/>
            </a:solidFill>
            <a:prstDash val="solid"/>
          </a:ln>
          <a:effectLst/>
        </p:spPr>
        <p:txBody>
          <a:bodyPr numCol="1" rtlCol="0" anchor="ctr"/>
          <a:lstStyle/>
          <a:p>
            <a:pPr algn="ctr" defTabSz="914400"/>
            <a:r>
              <a:rPr lang="ko-KR" altLang="en-US" sz="1100" kern="0" spc="60" dirty="0"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고위험</a:t>
            </a:r>
          </a:p>
        </p:txBody>
      </p:sp>
      <p:cxnSp>
        <p:nvCxnSpPr>
          <p:cNvPr id="145" name="직선 화살표 연결선 144"/>
          <p:cNvCxnSpPr>
            <a:stCxn id="114" idx="3"/>
            <a:endCxn id="144" idx="1"/>
          </p:cNvCxnSpPr>
          <p:nvPr/>
        </p:nvCxnSpPr>
        <p:spPr>
          <a:xfrm>
            <a:off x="7496696" y="3573036"/>
            <a:ext cx="156604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직선 화살표 연결선 149"/>
          <p:cNvCxnSpPr>
            <a:stCxn id="82" idx="3"/>
            <a:endCxn id="143" idx="1"/>
          </p:cNvCxnSpPr>
          <p:nvPr/>
        </p:nvCxnSpPr>
        <p:spPr>
          <a:xfrm>
            <a:off x="7496696" y="2708900"/>
            <a:ext cx="156604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직사각형 160"/>
          <p:cNvSpPr/>
          <p:nvPr/>
        </p:nvSpPr>
        <p:spPr>
          <a:xfrm>
            <a:off x="8805428" y="3213016"/>
            <a:ext cx="589785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적격</a:t>
            </a:r>
            <a:endParaRPr lang="ko-KR" altLang="en-US" sz="1100" dirty="0">
              <a:solidFill>
                <a:schemeClr val="tx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3" name="직사각형 162"/>
          <p:cNvSpPr/>
          <p:nvPr/>
        </p:nvSpPr>
        <p:spPr>
          <a:xfrm>
            <a:off x="8805428" y="2789836"/>
            <a:ext cx="589785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적격</a:t>
            </a:r>
          </a:p>
        </p:txBody>
      </p:sp>
      <p:cxnSp>
        <p:nvCxnSpPr>
          <p:cNvPr id="166" name="꺾인 연결선 165"/>
          <p:cNvCxnSpPr>
            <a:stCxn id="143" idx="3"/>
            <a:endCxn id="163" idx="1"/>
          </p:cNvCxnSpPr>
          <p:nvPr/>
        </p:nvCxnSpPr>
        <p:spPr>
          <a:xfrm>
            <a:off x="8579709" y="2708900"/>
            <a:ext cx="225719" cy="26093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꺾인 연결선 166"/>
          <p:cNvCxnSpPr>
            <a:stCxn id="144" idx="3"/>
            <a:endCxn id="163" idx="1"/>
          </p:cNvCxnSpPr>
          <p:nvPr/>
        </p:nvCxnSpPr>
        <p:spPr>
          <a:xfrm flipV="1">
            <a:off x="8579709" y="2969836"/>
            <a:ext cx="225719" cy="603200"/>
          </a:xfrm>
          <a:prstGeom prst="bentConnector3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꺾인 연결선 169"/>
          <p:cNvCxnSpPr>
            <a:stCxn id="143" idx="3"/>
            <a:endCxn id="161" idx="1"/>
          </p:cNvCxnSpPr>
          <p:nvPr/>
        </p:nvCxnSpPr>
        <p:spPr>
          <a:xfrm>
            <a:off x="8579709" y="2708900"/>
            <a:ext cx="225719" cy="68411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9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9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06338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447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9.1 </a:t>
            </a:r>
            <a:r>
              <a:rPr lang="ko-KR" altLang="en-US" dirty="0"/>
              <a:t>해외지점 자금세탁 방지 글로벌 기준 수립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6463308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 방지 글로벌 기준을 마련하기 위해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글로벌 규제 기준에 따른 해외 지점 표준 정책과 절차서를 개발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해외지점 자금세탁 방지 글로벌 기준 수립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30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1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6449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9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외지점 관리 방안</a:t>
            </a:r>
          </a:p>
        </p:txBody>
      </p:sp>
      <p:sp>
        <p:nvSpPr>
          <p:cNvPr id="3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28" name="AutoShape 14"/>
          <p:cNvSpPr>
            <a:spLocks noChangeArrowheads="1"/>
          </p:cNvSpPr>
          <p:nvPr/>
        </p:nvSpPr>
        <p:spPr bwMode="auto">
          <a:xfrm>
            <a:off x="903170" y="2887188"/>
            <a:ext cx="3352409" cy="3289035"/>
          </a:xfrm>
          <a:prstGeom prst="triangle">
            <a:avLst>
              <a:gd name="adj" fmla="val 50000"/>
            </a:avLst>
          </a:prstGeom>
          <a:solidFill>
            <a:srgbClr val="DC6900">
              <a:lumMod val="75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맑은 고딕"/>
              <a:cs typeface="Arial"/>
              <a:sym typeface="Arial"/>
            </a:endParaRPr>
          </a:p>
        </p:txBody>
      </p:sp>
      <p:sp>
        <p:nvSpPr>
          <p:cNvPr id="29" name="AutoShape 15"/>
          <p:cNvSpPr>
            <a:spLocks noChangeArrowheads="1"/>
          </p:cNvSpPr>
          <p:nvPr/>
        </p:nvSpPr>
        <p:spPr bwMode="auto">
          <a:xfrm>
            <a:off x="1461905" y="2887188"/>
            <a:ext cx="2234939" cy="2193891"/>
          </a:xfrm>
          <a:prstGeom prst="triangle">
            <a:avLst>
              <a:gd name="adj" fmla="val 50000"/>
            </a:avLst>
          </a:prstGeom>
          <a:solidFill>
            <a:srgbClr val="DC6900">
              <a:lumMod val="60000"/>
              <a:lumOff val="40000"/>
              <a:alpha val="50196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맑은 고딕"/>
              <a:cs typeface="Arial"/>
              <a:sym typeface="Arial"/>
            </a:endParaRPr>
          </a:p>
        </p:txBody>
      </p:sp>
      <p:sp>
        <p:nvSpPr>
          <p:cNvPr id="33" name="AutoShape 16"/>
          <p:cNvSpPr>
            <a:spLocks noChangeArrowheads="1"/>
          </p:cNvSpPr>
          <p:nvPr/>
        </p:nvSpPr>
        <p:spPr bwMode="auto">
          <a:xfrm>
            <a:off x="2023814" y="2887188"/>
            <a:ext cx="1114295" cy="1095144"/>
          </a:xfrm>
          <a:prstGeom prst="triangle">
            <a:avLst>
              <a:gd name="adj" fmla="val 50000"/>
            </a:avLst>
          </a:prstGeom>
          <a:solidFill>
            <a:srgbClr val="DC6900">
              <a:lumMod val="20000"/>
              <a:lumOff val="80000"/>
            </a:srgbClr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맑은 고딕"/>
              <a:cs typeface="Arial"/>
              <a:sym typeface="Arial"/>
            </a:endParaRPr>
          </a:p>
        </p:txBody>
      </p:sp>
      <p:sp>
        <p:nvSpPr>
          <p:cNvPr id="38" name="Text Box 18"/>
          <p:cNvSpPr txBox="1">
            <a:spLocks noChangeArrowheads="1"/>
          </p:cNvSpPr>
          <p:nvPr/>
        </p:nvSpPr>
        <p:spPr bwMode="auto">
          <a:xfrm>
            <a:off x="2042862" y="5416106"/>
            <a:ext cx="968262" cy="554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/>
                <a:sym typeface="Arial"/>
              </a:rPr>
              <a:t>해외지점 표준 절차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/>
              <a:sym typeface="Arial"/>
            </a:endParaRPr>
          </a:p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/>
                <a:sym typeface="Arial"/>
              </a:rPr>
              <a:t>(Procedure)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/>
              <a:sym typeface="Arial"/>
            </a:endParaRPr>
          </a:p>
        </p:txBody>
      </p:sp>
      <p:sp>
        <p:nvSpPr>
          <p:cNvPr id="44" name="Text Box 19"/>
          <p:cNvSpPr txBox="1">
            <a:spLocks noChangeArrowheads="1"/>
          </p:cNvSpPr>
          <p:nvPr/>
        </p:nvSpPr>
        <p:spPr bwMode="auto">
          <a:xfrm>
            <a:off x="2147625" y="4353384"/>
            <a:ext cx="853975" cy="554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/>
                <a:sym typeface="Arial"/>
              </a:rPr>
              <a:t>해외지점 표준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/>
              <a:sym typeface="Arial"/>
            </a:endParaRPr>
          </a:p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/>
                <a:sym typeface="Arial"/>
              </a:rPr>
              <a:t>정책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/>
              <a:sym typeface="Arial"/>
            </a:endParaRPr>
          </a:p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/>
                <a:sym typeface="Arial"/>
              </a:rPr>
              <a:t>(Policy)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/>
              <a:sym typeface="Arial"/>
            </a:endParaRPr>
          </a:p>
        </p:txBody>
      </p:sp>
      <p:sp>
        <p:nvSpPr>
          <p:cNvPr id="45" name="Text Box 20"/>
          <p:cNvSpPr txBox="1">
            <a:spLocks noChangeArrowheads="1"/>
          </p:cNvSpPr>
          <p:nvPr/>
        </p:nvSpPr>
        <p:spPr bwMode="auto">
          <a:xfrm>
            <a:off x="2376198" y="3369916"/>
            <a:ext cx="403178" cy="37105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/>
                <a:sym typeface="Arial"/>
              </a:rPr>
              <a:t>글로벌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/>
              <a:sym typeface="Arial"/>
            </a:endParaRPr>
          </a:p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/>
                <a:sym typeface="Arial"/>
              </a:rPr>
              <a:t>정책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/>
              <a:sym typeface="Arial"/>
            </a:endParaRPr>
          </a:p>
        </p:txBody>
      </p:sp>
      <p:cxnSp>
        <p:nvCxnSpPr>
          <p:cNvPr id="46" name="Straight Arrow Connector 31"/>
          <p:cNvCxnSpPr/>
          <p:nvPr/>
        </p:nvCxnSpPr>
        <p:spPr>
          <a:xfrm flipV="1">
            <a:off x="655140" y="2887183"/>
            <a:ext cx="1711533" cy="3163986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47" name="TextBox 46"/>
          <p:cNvSpPr txBox="1"/>
          <p:nvPr/>
        </p:nvSpPr>
        <p:spPr>
          <a:xfrm rot="18086503">
            <a:off x="682700" y="4145759"/>
            <a:ext cx="1519083" cy="445569"/>
          </a:xfrm>
          <a:prstGeom prst="rect">
            <a:avLst/>
          </a:prstGeom>
          <a:solidFill>
            <a:srgbClr val="FFFFFF"/>
          </a:solidFill>
        </p:spPr>
        <p:txBody>
          <a:bodyPr wrap="square" lIns="75500" tIns="37750" rIns="75500" bIns="3775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  <a:sym typeface="Arial"/>
              </a:rPr>
              <a:t>관리정보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  <a:sym typeface="Arial"/>
              </a:rPr>
              <a:t>및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  <a:sym typeface="Arial"/>
              </a:rPr>
              <a:t>주요 위험 지표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  <a:sym typeface="Arial"/>
            </a:endParaRPr>
          </a:p>
        </p:txBody>
      </p:sp>
      <p:cxnSp>
        <p:nvCxnSpPr>
          <p:cNvPr id="48" name="Straight Arrow Connector 33"/>
          <p:cNvCxnSpPr/>
          <p:nvPr/>
        </p:nvCxnSpPr>
        <p:spPr>
          <a:xfrm flipH="1" flipV="1">
            <a:off x="2812207" y="2887183"/>
            <a:ext cx="1611357" cy="3163986"/>
          </a:xfrm>
          <a:prstGeom prst="straightConnector1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49" name="TextBox 48"/>
          <p:cNvSpPr txBox="1"/>
          <p:nvPr/>
        </p:nvSpPr>
        <p:spPr>
          <a:xfrm rot="3730393">
            <a:off x="3211256" y="4100597"/>
            <a:ext cx="1018886" cy="630235"/>
          </a:xfrm>
          <a:prstGeom prst="rect">
            <a:avLst/>
          </a:prstGeom>
          <a:solidFill>
            <a:srgbClr val="FFFFFF"/>
          </a:solidFill>
        </p:spPr>
        <p:txBody>
          <a:bodyPr wrap="square" lIns="75500" tIns="37750" rIns="75500" bIns="3775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  <a:sym typeface="Arial"/>
              </a:rPr>
              <a:t>규정 준수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  <a:sym typeface="Arial"/>
              </a:rPr>
              <a:t>모니터링 및 테스트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  <a:sym typeface="Arial"/>
            </a:endParaRPr>
          </a:p>
        </p:txBody>
      </p:sp>
      <p:sp>
        <p:nvSpPr>
          <p:cNvPr id="50" name="직사각형 49"/>
          <p:cNvSpPr/>
          <p:nvPr/>
        </p:nvSpPr>
        <p:spPr bwMode="ltGray">
          <a:xfrm>
            <a:off x="535918" y="2139671"/>
            <a:ext cx="4318464" cy="413320"/>
          </a:xfrm>
          <a:prstGeom prst="rect">
            <a:avLst/>
          </a:prstGeom>
          <a:solidFill>
            <a:srgbClr val="FFFFFF">
              <a:lumMod val="95000"/>
            </a:srgbClr>
          </a:solidFill>
          <a:ln w="38100" cap="flat" cmpd="sng" algn="ctr">
            <a:solidFill>
              <a:srgbClr val="DC6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576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+mn-cs"/>
              </a:rPr>
              <a:t>자금세탁 방지 글로벌 기준</a:t>
            </a:r>
          </a:p>
        </p:txBody>
      </p:sp>
      <p:graphicFrame>
        <p:nvGraphicFramePr>
          <p:cNvPr id="51" name="Table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3275821"/>
              </p:ext>
            </p:extLst>
          </p:nvPr>
        </p:nvGraphicFramePr>
        <p:xfrm>
          <a:off x="5453185" y="2456891"/>
          <a:ext cx="3872483" cy="3852426"/>
        </p:xfrm>
        <a:graphic>
          <a:graphicData uri="http://schemas.openxmlformats.org/drawingml/2006/table">
            <a:tbl>
              <a:tblPr firstRow="1" bandRow="1"/>
              <a:tblGrid>
                <a:gridCol w="249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232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0866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해외 지점 관리방안 도출 고려사항</a:t>
                      </a:r>
                      <a:endParaRPr lang="en-US" sz="1400" b="1" dirty="0" smtClean="0">
                        <a:solidFill>
                          <a:schemeClr val="tx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b="1" dirty="0">
                        <a:solidFill>
                          <a:srgbClr val="002B50"/>
                        </a:solidFill>
                        <a:latin typeface="Georgia" panose="02040502050405020303" pitchFamily="18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002B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51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1</a:t>
                      </a:r>
                      <a:endParaRPr lang="en-US" sz="12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각 국가 간의 일관성 증진</a:t>
                      </a:r>
                      <a:r>
                        <a:rPr 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:</a:t>
                      </a:r>
                      <a:r>
                        <a:rPr lang="en-US" sz="12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ko-KR" altLang="en-US" sz="12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원칙 </a:t>
                      </a:r>
                      <a:r>
                        <a:rPr lang="en-US" altLang="ko-KR" sz="12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해야 할 일과 하지 말아야 할 일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및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조직의 위험 선호도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정의</a:t>
                      </a:r>
                      <a:endParaRPr lang="en-US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51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2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규정 준수 인프라 강화</a:t>
                      </a:r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규제 및 반 금융 범죄를 위한 규정 준수 제도 강화</a:t>
                      </a:r>
                      <a:endParaRPr lang="en-US" sz="1200" b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93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3</a:t>
                      </a:r>
                      <a:endParaRPr lang="en-US" sz="12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규제기관 포함 이해관계자의 이해와 일치</a:t>
                      </a:r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한국</a:t>
                      </a:r>
                      <a:r>
                        <a:rPr lang="en-US" altLang="ko-KR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미국 및 기타 국가 규제기관 등 이해관계자의 이해 및 기대 사항에 부합</a:t>
                      </a:r>
                      <a:endParaRPr lang="en-US" sz="1200" b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51897">
                <a:tc>
                  <a:txBody>
                    <a:bodyPr/>
                    <a:lstStyle>
                      <a:lvl1pPr marL="0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96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992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488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984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480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977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473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969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4</a:t>
                      </a:r>
                      <a:endParaRPr lang="en-US" sz="12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96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992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488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984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480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977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473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969" algn="l" defTabSz="898992" rtl="0" eaLnBrk="1" latinLnBrk="1" hangingPunct="1">
                        <a:defRPr sz="1765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ko-KR" alt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글로벌 거버넌스 강화</a:t>
                      </a:r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정책과 절차서를 통해 명확한 보고라인</a:t>
                      </a:r>
                      <a:r>
                        <a:rPr lang="en-US" altLang="ko-KR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경영 정보</a:t>
                      </a:r>
                      <a:r>
                        <a:rPr lang="en-US" altLang="ko-KR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투명성 및 일관성 증진에 대한 </a:t>
                      </a:r>
                      <a:r>
                        <a:rPr lang="en-US" altLang="ko-KR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/>
                      </a:r>
                      <a:br>
                        <a:rPr lang="en-US" altLang="ko-KR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</a:br>
                      <a:r>
                        <a:rPr lang="en-US" altLang="ko-KR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Tone-of-top </a:t>
                      </a:r>
                      <a:r>
                        <a:rPr lang="ko-KR" alt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  <a:cs typeface="+mn-cs"/>
                        </a:rPr>
                        <a:t>메시지 전달</a:t>
                      </a:r>
                      <a:endParaRPr lang="en-CA" sz="1200" b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3181966"/>
                  </a:ext>
                </a:extLst>
              </a:tr>
            </a:tbl>
          </a:graphicData>
        </a:graphic>
      </p:graphicFrame>
      <p:sp>
        <p:nvSpPr>
          <p:cNvPr id="52" name="Right Brace 56"/>
          <p:cNvSpPr/>
          <p:nvPr/>
        </p:nvSpPr>
        <p:spPr>
          <a:xfrm flipH="1">
            <a:off x="4953000" y="2852936"/>
            <a:ext cx="364355" cy="3199229"/>
          </a:xfrm>
          <a:prstGeom prst="rightBrace">
            <a:avLst>
              <a:gd name="adj1" fmla="val 86624"/>
              <a:gd name="adj2" fmla="val 50209"/>
            </a:avLst>
          </a:prstGeom>
          <a:noFill/>
          <a:ln w="317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맑은 고딕"/>
              <a:cs typeface="Arial"/>
              <a:sym typeface="Arial"/>
            </a:endParaRPr>
          </a:p>
        </p:txBody>
      </p:sp>
      <p:pic>
        <p:nvPicPr>
          <p:cNvPr id="53" name="Rt91">
            <a:extLst>
              <a:ext uri="{FF2B5EF4-FFF2-40B4-BE49-F238E27FC236}">
                <a16:creationId xmlns:a16="http://schemas.microsoft.com/office/drawing/2014/main" id="{6E51A076-7709-4D90-B883-806242A4BD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7773" y="2887183"/>
            <a:ext cx="603350" cy="61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75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9.2 </a:t>
            </a:r>
            <a:r>
              <a:rPr lang="ko-KR" altLang="en-US" dirty="0" smtClean="0"/>
              <a:t>해외지점 </a:t>
            </a:r>
            <a:r>
              <a:rPr lang="ko-KR" altLang="en-US" dirty="0"/>
              <a:t>자금세탁 방지 업무 보고 절차 수립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6463308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외지점 자금세탁 방지 업무 보고 절차와 자금세탁 방지 제도 이행 현황을 모니터링 할 수 있는 체계를 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해외지점 자금세탁 방지 업무 보고 절차 수립</a:t>
              </a:r>
              <a:endParaRPr lang="en-US" altLang="ko-KR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25" name="타원 24"/>
          <p:cNvSpPr/>
          <p:nvPr/>
        </p:nvSpPr>
        <p:spPr bwMode="ltGray">
          <a:xfrm>
            <a:off x="775353" y="2523484"/>
            <a:ext cx="1314980" cy="558041"/>
          </a:xfrm>
          <a:prstGeom prst="ellipse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해외지점 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ocal CO</a:t>
            </a:r>
            <a:endParaRPr lang="ko-KR" altLang="en-US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타원 25"/>
          <p:cNvSpPr/>
          <p:nvPr/>
        </p:nvSpPr>
        <p:spPr bwMode="ltGray">
          <a:xfrm>
            <a:off x="3023305" y="2523484"/>
            <a:ext cx="1314980" cy="558041"/>
          </a:xfrm>
          <a:prstGeom prst="ellipse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ocal </a:t>
            </a:r>
          </a:p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준법위원회</a:t>
            </a:r>
          </a:p>
        </p:txBody>
      </p:sp>
      <p:sp>
        <p:nvSpPr>
          <p:cNvPr id="27" name="타원 26"/>
          <p:cNvSpPr/>
          <p:nvPr/>
        </p:nvSpPr>
        <p:spPr bwMode="ltGray">
          <a:xfrm>
            <a:off x="5271255" y="2523484"/>
            <a:ext cx="1373933" cy="558041"/>
          </a:xfrm>
          <a:prstGeom prst="ellipse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본점 </a:t>
            </a:r>
            <a:r>
              <a:rPr lang="ko-KR" altLang="en-US" sz="1100" kern="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자금세탁</a:t>
            </a:r>
            <a:endParaRPr lang="en-US" altLang="ko-KR" sz="1100" kern="0" dirty="0" smtClean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  <a:p>
            <a:pPr algn="ctr"/>
            <a:r>
              <a:rPr lang="ko-KR" altLang="en-US" sz="1100" kern="0" dirty="0" smtClean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방지부</a:t>
            </a:r>
            <a:endParaRPr lang="ko-KR" altLang="en-US" sz="11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8" name="타원 27"/>
          <p:cNvSpPr/>
          <p:nvPr/>
        </p:nvSpPr>
        <p:spPr bwMode="ltGray">
          <a:xfrm>
            <a:off x="7562456" y="2523484"/>
            <a:ext cx="1314980" cy="558041"/>
          </a:xfrm>
          <a:prstGeom prst="ellipse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en-US" altLang="ko-KR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Global </a:t>
            </a:r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준법위원회</a:t>
            </a:r>
          </a:p>
        </p:txBody>
      </p:sp>
      <p:cxnSp>
        <p:nvCxnSpPr>
          <p:cNvPr id="29" name="직선 화살표 연결선 28"/>
          <p:cNvCxnSpPr/>
          <p:nvPr/>
        </p:nvCxnSpPr>
        <p:spPr>
          <a:xfrm>
            <a:off x="2090333" y="2775587"/>
            <a:ext cx="932971" cy="0"/>
          </a:xfrm>
          <a:prstGeom prst="straightConnector1">
            <a:avLst/>
          </a:prstGeom>
          <a:noFill/>
          <a:ln w="31750" cap="flat" cmpd="sng" algn="ctr">
            <a:solidFill>
              <a:srgbClr val="9DDBFD"/>
            </a:solidFill>
            <a:prstDash val="solid"/>
            <a:tailEnd type="arrow"/>
          </a:ln>
          <a:effectLst/>
        </p:spPr>
      </p:cxnSp>
      <p:cxnSp>
        <p:nvCxnSpPr>
          <p:cNvPr id="30" name="직선 화살표 연결선 29"/>
          <p:cNvCxnSpPr/>
          <p:nvPr/>
        </p:nvCxnSpPr>
        <p:spPr>
          <a:xfrm>
            <a:off x="4338284" y="2775587"/>
            <a:ext cx="932971" cy="0"/>
          </a:xfrm>
          <a:prstGeom prst="straightConnector1">
            <a:avLst/>
          </a:prstGeom>
          <a:noFill/>
          <a:ln w="31750" cap="flat" cmpd="sng" algn="ctr">
            <a:solidFill>
              <a:srgbClr val="9DDBFD"/>
            </a:solidFill>
            <a:prstDash val="solid"/>
            <a:tailEnd type="arrow"/>
          </a:ln>
          <a:effectLst/>
        </p:spPr>
      </p:cxnSp>
      <p:cxnSp>
        <p:nvCxnSpPr>
          <p:cNvPr id="31" name="직선 화살표 연결선 30"/>
          <p:cNvCxnSpPr/>
          <p:nvPr/>
        </p:nvCxnSpPr>
        <p:spPr>
          <a:xfrm>
            <a:off x="6629484" y="2775587"/>
            <a:ext cx="932971" cy="0"/>
          </a:xfrm>
          <a:prstGeom prst="straightConnector1">
            <a:avLst/>
          </a:prstGeom>
          <a:noFill/>
          <a:ln w="31750" cap="flat" cmpd="sng" algn="ctr">
            <a:solidFill>
              <a:srgbClr val="9DDBFD"/>
            </a:solidFill>
            <a:prstDash val="solid"/>
            <a:tailEnd type="arrow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632507" y="3146638"/>
            <a:ext cx="1553837" cy="73866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0135" indent="-170135" defTabSz="914400">
              <a:spcAft>
                <a:spcPts val="423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연간 준법 감시 계획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(ACP: </a:t>
            </a:r>
            <a:r>
              <a:rPr lang="en-US" altLang="ko-KR" sz="120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nnual </a:t>
            </a:r>
            <a:r>
              <a:rPr lang="en-US" altLang="ko-KR" sz="1200" dirty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ompliance </a:t>
            </a:r>
            <a:r>
              <a:rPr lang="en-US" altLang="ko-KR" sz="120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lan)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 작성</a:t>
            </a:r>
            <a:endParaRPr lang="en-US" altLang="ko-KR" sz="12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720608" y="3146638"/>
            <a:ext cx="1897724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0135" indent="-170135" defTabSz="914400">
              <a:spcAft>
                <a:spcPts val="423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해외지점 준법위원회의</a:t>
            </a:r>
            <a:r>
              <a:rPr lang="en-US" altLang="ko-KR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 ACP </a:t>
            </a: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 검토 및 승인</a:t>
            </a:r>
            <a:endParaRPr lang="en-US" altLang="ko-KR" sz="12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947241" y="3146638"/>
            <a:ext cx="2021572" cy="7899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0135" indent="-170135" defTabSz="914400">
              <a:spcAft>
                <a:spcPts val="423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본점 자금세탁방지부와 </a:t>
            </a:r>
            <a:r>
              <a:rPr lang="en-US" altLang="ko-KR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CCO</a:t>
            </a: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의 검토 및 승인 </a:t>
            </a:r>
            <a:endParaRPr lang="en-US" altLang="ko-KR" sz="12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  <a:p>
            <a:pPr marL="170135" indent="-170135" defTabSz="914400">
              <a:spcAft>
                <a:spcPts val="423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승인된 보고서 </a:t>
            </a:r>
            <a:r>
              <a:rPr lang="en-US" altLang="ko-KR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Global </a:t>
            </a: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준법위원회에 </a:t>
            </a:r>
            <a:r>
              <a:rPr lang="en-US" altLang="ko-KR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Escalatio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375756" y="3146638"/>
            <a:ext cx="1897724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0135" indent="-170135" defTabSz="914400">
              <a:spcAft>
                <a:spcPts val="423"/>
              </a:spcAft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ACP </a:t>
            </a:r>
            <a:r>
              <a:rPr lang="ko-KR" altLang="en-US" sz="1200" dirty="0">
                <a:solidFill>
                  <a:srgbClr val="000000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보고서 및 프로그램 최종 승인</a:t>
            </a:r>
            <a:endParaRPr lang="en-US" altLang="ko-KR" sz="1200" dirty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335961" y="2132856"/>
            <a:ext cx="3095399" cy="2154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algn="ctr" defTabSz="914400">
              <a:spcAft>
                <a:spcPts val="846"/>
              </a:spcAft>
            </a:pPr>
            <a:r>
              <a:rPr lang="ko-KR" altLang="en-US" sz="140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해외지점 자금세탁 방지 업무 보고 절차 </a:t>
            </a:r>
            <a:r>
              <a:rPr lang="en-US" altLang="ko-KR" sz="140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140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案</a:t>
            </a:r>
            <a:r>
              <a:rPr lang="en-US" altLang="ko-KR" sz="140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)</a:t>
            </a:r>
            <a:endParaRPr lang="ko-KR" altLang="en-US" sz="1400" dirty="0"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37" name="직선 연결선 36"/>
          <p:cNvCxnSpPr/>
          <p:nvPr/>
        </p:nvCxnSpPr>
        <p:spPr>
          <a:xfrm>
            <a:off x="416497" y="2375311"/>
            <a:ext cx="9073008" cy="9573"/>
          </a:xfrm>
          <a:prstGeom prst="line">
            <a:avLst/>
          </a:prstGeom>
          <a:noFill/>
          <a:ln w="19050">
            <a:solidFill>
              <a:srgbClr val="038C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3" name="한쪽 모서리가 둥근 사각형 52"/>
          <p:cNvSpPr/>
          <p:nvPr/>
        </p:nvSpPr>
        <p:spPr bwMode="ltGray">
          <a:xfrm rot="10800000" flipV="1">
            <a:off x="548183" y="4311023"/>
            <a:ext cx="2870947" cy="215856"/>
          </a:xfrm>
          <a:prstGeom prst="round1Rect">
            <a:avLst>
              <a:gd name="adj" fmla="val 50000"/>
            </a:avLst>
          </a:prstGeom>
          <a:solidFill>
            <a:srgbClr val="FFB600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i="0" u="none" strike="noStrike" kern="0" cap="none" spc="0" normalizeH="0" baseline="0" noProof="0" dirty="0" smtClean="0">
                <a:ln>
                  <a:noFill/>
                </a:ln>
                <a:solidFill>
                  <a:srgbClr val="DC6900">
                    <a:lumMod val="50000"/>
                  </a:srgbClr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10</a:t>
            </a:r>
            <a:r>
              <a:rPr lang="ko-KR" altLang="en-US" sz="1100" kern="0" dirty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월</a:t>
            </a:r>
            <a:endParaRPr kumimoji="0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DC6900">
                  <a:lumMod val="50000"/>
                </a:srgbClr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5" name="오각형 54"/>
          <p:cNvSpPr/>
          <p:nvPr/>
        </p:nvSpPr>
        <p:spPr bwMode="ltGray">
          <a:xfrm>
            <a:off x="548184" y="4563386"/>
            <a:ext cx="1489928" cy="284517"/>
          </a:xfrm>
          <a:prstGeom prst="homePlate">
            <a:avLst/>
          </a:prstGeom>
          <a:solidFill>
            <a:srgbClr val="DC6900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36000" rIns="0" bIns="0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lvl="0" algn="ctr" defTabSz="914400">
              <a:defRPr/>
            </a:pPr>
            <a:r>
              <a:rPr lang="ko-KR" altLang="en-US" sz="1100" kern="0" dirty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법령 및 규제 요건 검토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737211" y="4085782"/>
            <a:ext cx="2321149" cy="2154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R="0" lvl="0" indent="-257888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846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ACP </a:t>
            </a:r>
            <a:r>
              <a:rPr lang="ko-KR" altLang="en-US" sz="140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프로그램의 </a:t>
            </a:r>
            <a:r>
              <a:rPr lang="en-US" altLang="ko-KR" sz="140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Timeline </a:t>
            </a:r>
            <a:r>
              <a:rPr lang="ko-KR" altLang="en-US" sz="140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예시</a:t>
            </a:r>
          </a:p>
        </p:txBody>
      </p:sp>
      <p:cxnSp>
        <p:nvCxnSpPr>
          <p:cNvPr id="79" name="직선 연결선 78"/>
          <p:cNvCxnSpPr/>
          <p:nvPr/>
        </p:nvCxnSpPr>
        <p:spPr>
          <a:xfrm>
            <a:off x="555851" y="4312171"/>
            <a:ext cx="8683828" cy="0"/>
          </a:xfrm>
          <a:prstGeom prst="line">
            <a:avLst/>
          </a:prstGeom>
          <a:noFill/>
          <a:ln w="19050">
            <a:solidFill>
              <a:srgbClr val="038C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한쪽 모서리가 둥근 사각형 56"/>
          <p:cNvSpPr/>
          <p:nvPr/>
        </p:nvSpPr>
        <p:spPr bwMode="ltGray">
          <a:xfrm rot="10800000" flipV="1">
            <a:off x="3436579" y="4311023"/>
            <a:ext cx="2870947" cy="215856"/>
          </a:xfrm>
          <a:prstGeom prst="round1Rect">
            <a:avLst>
              <a:gd name="adj" fmla="val 50000"/>
            </a:avLst>
          </a:prstGeom>
          <a:solidFill>
            <a:srgbClr val="FFB600">
              <a:lumMod val="60000"/>
              <a:lumOff val="4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i="0" u="none" strike="noStrike" kern="0" cap="none" spc="0" normalizeH="0" baseline="0" noProof="0" dirty="0" smtClean="0">
                <a:ln>
                  <a:noFill/>
                </a:ln>
                <a:solidFill>
                  <a:srgbClr val="DC6900">
                    <a:lumMod val="50000"/>
                  </a:srgbClr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11</a:t>
            </a:r>
            <a:r>
              <a:rPr kumimoji="0" lang="ko-KR" altLang="en-US" sz="1100" i="0" u="none" strike="noStrike" kern="0" cap="none" spc="0" normalizeH="0" baseline="0" noProof="0" dirty="0" smtClean="0">
                <a:ln>
                  <a:noFill/>
                </a:ln>
                <a:solidFill>
                  <a:srgbClr val="DC6900">
                    <a:lumMod val="50000"/>
                  </a:srgbClr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월</a:t>
            </a:r>
          </a:p>
        </p:txBody>
      </p:sp>
      <p:sp>
        <p:nvSpPr>
          <p:cNvPr id="58" name="한쪽 모서리가 둥근 사각형 57"/>
          <p:cNvSpPr/>
          <p:nvPr/>
        </p:nvSpPr>
        <p:spPr bwMode="ltGray">
          <a:xfrm rot="10800000" flipV="1">
            <a:off x="6324974" y="4311023"/>
            <a:ext cx="2870947" cy="215856"/>
          </a:xfrm>
          <a:prstGeom prst="round1Rect">
            <a:avLst>
              <a:gd name="adj" fmla="val 50000"/>
            </a:avLst>
          </a:prstGeom>
          <a:solidFill>
            <a:srgbClr val="DC6900">
              <a:lumMod val="60000"/>
              <a:lumOff val="4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kern="0" dirty="0" smtClean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12</a:t>
            </a:r>
            <a:r>
              <a:rPr lang="ko-KR" altLang="en-US" sz="1100" kern="0" dirty="0" smtClean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월</a:t>
            </a:r>
            <a:endParaRPr kumimoji="0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DC6900">
                  <a:lumMod val="50000"/>
                </a:srgbClr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59" name="직선 연결선 58"/>
          <p:cNvCxnSpPr/>
          <p:nvPr/>
        </p:nvCxnSpPr>
        <p:spPr>
          <a:xfrm>
            <a:off x="3436579" y="4468155"/>
            <a:ext cx="0" cy="1266816"/>
          </a:xfrm>
          <a:prstGeom prst="line">
            <a:avLst/>
          </a:prstGeom>
          <a:noFill/>
          <a:ln w="9525" cap="flat" cmpd="sng" algn="ctr">
            <a:solidFill>
              <a:srgbClr val="DC69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60" name="직선 연결선 59"/>
          <p:cNvCxnSpPr/>
          <p:nvPr/>
        </p:nvCxnSpPr>
        <p:spPr>
          <a:xfrm>
            <a:off x="6326054" y="4468155"/>
            <a:ext cx="0" cy="1178003"/>
          </a:xfrm>
          <a:prstGeom prst="line">
            <a:avLst/>
          </a:prstGeom>
          <a:noFill/>
          <a:ln w="9525" cap="flat" cmpd="sng" algn="ctr">
            <a:solidFill>
              <a:srgbClr val="DC69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61" name="직선 연결선 60"/>
          <p:cNvCxnSpPr/>
          <p:nvPr/>
        </p:nvCxnSpPr>
        <p:spPr>
          <a:xfrm>
            <a:off x="9188214" y="4468155"/>
            <a:ext cx="7707" cy="1208187"/>
          </a:xfrm>
          <a:prstGeom prst="line">
            <a:avLst/>
          </a:prstGeom>
          <a:noFill/>
          <a:ln w="9525" cap="flat" cmpd="sng" algn="ctr">
            <a:solidFill>
              <a:srgbClr val="DC69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63" name="오각형 62"/>
          <p:cNvSpPr/>
          <p:nvPr/>
        </p:nvSpPr>
        <p:spPr bwMode="ltGray">
          <a:xfrm>
            <a:off x="4477579" y="5385725"/>
            <a:ext cx="1847396" cy="284517"/>
          </a:xfrm>
          <a:prstGeom prst="homePlate">
            <a:avLst/>
          </a:prstGeom>
          <a:solidFill>
            <a:srgbClr val="DC6900">
              <a:lumMod val="75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36000" rIns="0" bIns="0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0135" lvl="0" algn="ctr" defTabSz="914400">
              <a:defRPr/>
            </a:pPr>
            <a:r>
              <a:rPr lang="en-US" altLang="ko-KR" sz="11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ACP </a:t>
            </a:r>
            <a:r>
              <a:rPr lang="ko-KR" altLang="en-US" sz="11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보고서 작성</a:t>
            </a:r>
          </a:p>
        </p:txBody>
      </p:sp>
      <p:sp>
        <p:nvSpPr>
          <p:cNvPr id="65" name="오각형 64"/>
          <p:cNvSpPr/>
          <p:nvPr/>
        </p:nvSpPr>
        <p:spPr bwMode="ltGray">
          <a:xfrm>
            <a:off x="1974586" y="4836478"/>
            <a:ext cx="1486866" cy="284517"/>
          </a:xfrm>
          <a:prstGeom prst="homePlate">
            <a:avLst/>
          </a:prstGeom>
          <a:solidFill>
            <a:srgbClr val="DC6900">
              <a:lumMod val="40000"/>
              <a:lumOff val="6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36000" rIns="0" bIns="0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lvl="0" algn="ctr" defTabSz="914400">
              <a:defRPr/>
            </a:pPr>
            <a:r>
              <a:rPr lang="en-US" altLang="ko-KR" sz="1100" kern="0" dirty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Compliance </a:t>
            </a:r>
            <a:r>
              <a:rPr lang="ko-KR" altLang="en-US" sz="1100" kern="0" dirty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프로그램 </a:t>
            </a:r>
            <a:r>
              <a:rPr lang="en-US" altLang="ko-KR" sz="1100" kern="0" dirty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67" name="오각형 66"/>
          <p:cNvSpPr/>
          <p:nvPr/>
        </p:nvSpPr>
        <p:spPr bwMode="ltGray">
          <a:xfrm>
            <a:off x="3446978" y="5122101"/>
            <a:ext cx="1030602" cy="284517"/>
          </a:xfrm>
          <a:prstGeom prst="homePlate">
            <a:avLst/>
          </a:prstGeom>
          <a:solidFill>
            <a:srgbClr val="DC6900">
              <a:lumMod val="60000"/>
              <a:lumOff val="4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36000" rIns="0" bIns="0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lvl="0" indent="80590" algn="ctr" defTabSz="914400">
              <a:defRPr/>
            </a:pPr>
            <a:r>
              <a:rPr lang="en-US" altLang="ko-KR" sz="1100" kern="0" dirty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ACP </a:t>
            </a:r>
            <a:r>
              <a:rPr lang="ko-KR" altLang="en-US" sz="1100" kern="0" dirty="0">
                <a:solidFill>
                  <a:srgbClr val="DC6900">
                    <a:lumMod val="50000"/>
                  </a:srgb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계획 확인</a:t>
            </a:r>
          </a:p>
        </p:txBody>
      </p:sp>
      <p:sp>
        <p:nvSpPr>
          <p:cNvPr id="69" name="오각형 68"/>
          <p:cNvSpPr/>
          <p:nvPr/>
        </p:nvSpPr>
        <p:spPr bwMode="ltGray">
          <a:xfrm>
            <a:off x="6324974" y="5683908"/>
            <a:ext cx="2855533" cy="211911"/>
          </a:xfrm>
          <a:prstGeom prst="homePlate">
            <a:avLst>
              <a:gd name="adj" fmla="val 0"/>
            </a:avLst>
          </a:prstGeom>
          <a:solidFill>
            <a:srgbClr val="DC6900">
              <a:lumMod val="5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36000" rIns="0" bIns="0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검토 및 승인</a:t>
            </a:r>
            <a:endParaRPr kumimoji="0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1" name="이등변 삼각형 70"/>
          <p:cNvSpPr/>
          <p:nvPr/>
        </p:nvSpPr>
        <p:spPr bwMode="ltGray">
          <a:xfrm>
            <a:off x="6195771" y="5897712"/>
            <a:ext cx="258406" cy="140728"/>
          </a:xfrm>
          <a:prstGeom prst="triangle">
            <a:avLst/>
          </a:prstGeom>
          <a:solidFill>
            <a:srgbClr val="DC6900"/>
          </a:solidFill>
          <a:ln w="3175" cap="flat" cmpd="sng" algn="ctr">
            <a:solidFill>
              <a:srgbClr val="DC6900">
                <a:shade val="50000"/>
              </a:srgbClr>
            </a:solidFill>
            <a:prstDash val="solid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2" name="이등변 삼각형 71"/>
          <p:cNvSpPr/>
          <p:nvPr/>
        </p:nvSpPr>
        <p:spPr bwMode="ltGray">
          <a:xfrm>
            <a:off x="8941686" y="5897712"/>
            <a:ext cx="258406" cy="140728"/>
          </a:xfrm>
          <a:prstGeom prst="triangle">
            <a:avLst/>
          </a:prstGeom>
          <a:solidFill>
            <a:srgbClr val="DC6900"/>
          </a:solidFill>
          <a:ln w="3175" cap="flat" cmpd="sng" algn="ctr">
            <a:solidFill>
              <a:srgbClr val="DC6900">
                <a:shade val="50000"/>
              </a:srgbClr>
            </a:solidFill>
            <a:prstDash val="solid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3" name="이등변 삼각형 72"/>
          <p:cNvSpPr/>
          <p:nvPr/>
        </p:nvSpPr>
        <p:spPr bwMode="ltGray">
          <a:xfrm>
            <a:off x="7623537" y="5897712"/>
            <a:ext cx="258406" cy="140728"/>
          </a:xfrm>
          <a:prstGeom prst="triangle">
            <a:avLst/>
          </a:prstGeom>
          <a:solidFill>
            <a:srgbClr val="DC6900"/>
          </a:solidFill>
          <a:ln w="3175" cap="flat" cmpd="sng" algn="ctr">
            <a:solidFill>
              <a:srgbClr val="DC6900">
                <a:shade val="50000"/>
              </a:srgbClr>
            </a:solidFill>
            <a:prstDash val="solid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745088" y="6068325"/>
            <a:ext cx="114524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2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Local</a:t>
            </a:r>
            <a:r>
              <a:rPr kumimoji="0" lang="en-US" altLang="ko-KR" sz="9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 </a:t>
            </a:r>
            <a:r>
              <a:rPr kumimoji="0" lang="ko-KR" altLang="en-US" sz="9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준법 감시 위원회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7365268" y="6068325"/>
            <a:ext cx="791503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23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본사 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AML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부서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386528" y="6068325"/>
            <a:ext cx="791503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23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Global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준법 감시 위원회</a:t>
            </a:r>
            <a:endParaRPr kumimoji="0" lang="en-US" altLang="ko-K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77" name="직사각형 76"/>
          <p:cNvSpPr/>
          <p:nvPr/>
        </p:nvSpPr>
        <p:spPr bwMode="ltGray">
          <a:xfrm>
            <a:off x="486167" y="4064975"/>
            <a:ext cx="8787452" cy="2352357"/>
          </a:xfrm>
          <a:prstGeom prst="rect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pic>
        <p:nvPicPr>
          <p:cNvPr id="52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8936763" y="2202203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6449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9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외지점 관리 방안</a:t>
            </a:r>
          </a:p>
        </p:txBody>
      </p:sp>
      <p:sp>
        <p:nvSpPr>
          <p:cNvPr id="70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8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49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.2 </a:t>
            </a:r>
            <a:r>
              <a:rPr lang="ko-KR" altLang="en-US" dirty="0" smtClean="0"/>
              <a:t>고가용성 및 안정성 확보 방안 </a:t>
            </a:r>
            <a:r>
              <a:rPr lang="en-US" altLang="ko-KR" dirty="0" smtClean="0"/>
              <a:t>(4/4)</a:t>
            </a:r>
            <a:endParaRPr lang="ko-KR" altLang="en-US" dirty="0"/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243729"/>
            <a:ext cx="9433048" cy="394532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서버와 스토리지 파이버 채널을 이중화 구성함으로써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SAN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위치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또는 파이버 채널 포트 장애 발생 시에도 정상적인 서비스가 제공되도록 하고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SAN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간에 장애 발생 시에도 안정적인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서비스가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공되도록 구성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SAN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장애 시 안정성 확보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1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1135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1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스템 구성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1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119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50096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grpSp>
        <p:nvGrpSpPr>
          <p:cNvPr id="275" name="그룹 274"/>
          <p:cNvGrpSpPr/>
          <p:nvPr/>
        </p:nvGrpSpPr>
        <p:grpSpPr>
          <a:xfrm>
            <a:off x="6352356" y="2186781"/>
            <a:ext cx="3183530" cy="4302919"/>
            <a:chOff x="6352356" y="2186781"/>
            <a:chExt cx="3183530" cy="4302919"/>
          </a:xfrm>
        </p:grpSpPr>
        <p:sp>
          <p:nvSpPr>
            <p:cNvPr id="276" name="Freeform 78"/>
            <p:cNvSpPr>
              <a:spLocks/>
            </p:cNvSpPr>
            <p:nvPr/>
          </p:nvSpPr>
          <p:spPr bwMode="auto">
            <a:xfrm flipH="1">
              <a:off x="6352356" y="6024479"/>
              <a:ext cx="341764" cy="251430"/>
            </a:xfrm>
            <a:custGeom>
              <a:avLst/>
              <a:gdLst>
                <a:gd name="T0" fmla="*/ 0 w 204"/>
                <a:gd name="T1" fmla="*/ 1031 h 91"/>
                <a:gd name="T2" fmla="*/ 208 w 204"/>
                <a:gd name="T3" fmla="*/ 1031 h 91"/>
                <a:gd name="T4" fmla="*/ 314 w 204"/>
                <a:gd name="T5" fmla="*/ 0 h 91"/>
                <a:gd name="T6" fmla="*/ 106 w 204"/>
                <a:gd name="T7" fmla="*/ 0 h 91"/>
                <a:gd name="T8" fmla="*/ 0 w 204"/>
                <a:gd name="T9" fmla="*/ 1031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4"/>
                <a:gd name="T16" fmla="*/ 0 h 91"/>
                <a:gd name="T17" fmla="*/ 204 w 204"/>
                <a:gd name="T18" fmla="*/ 91 h 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4" h="91">
                  <a:moveTo>
                    <a:pt x="0" y="91"/>
                  </a:moveTo>
                  <a:lnTo>
                    <a:pt x="136" y="91"/>
                  </a:lnTo>
                  <a:lnTo>
                    <a:pt x="204" y="0"/>
                  </a:lnTo>
                  <a:lnTo>
                    <a:pt x="68" y="0"/>
                  </a:lnTo>
                  <a:lnTo>
                    <a:pt x="0" y="9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4D4D4D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0" tIns="0" rIns="0" bIns="0" anchor="ctr"/>
            <a:lstStyle/>
            <a:p>
              <a:endPara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grpSp>
          <p:nvGrpSpPr>
            <p:cNvPr id="277" name="그룹 276"/>
            <p:cNvGrpSpPr/>
            <p:nvPr/>
          </p:nvGrpSpPr>
          <p:grpSpPr>
            <a:xfrm>
              <a:off x="6451724" y="2186781"/>
              <a:ext cx="3084162" cy="4268291"/>
              <a:chOff x="6451724" y="2186781"/>
              <a:chExt cx="2943389" cy="4268291"/>
            </a:xfrm>
          </p:grpSpPr>
          <p:sp>
            <p:nvSpPr>
              <p:cNvPr id="279" name="AutoShape 79"/>
              <p:cNvSpPr>
                <a:spLocks noChangeArrowheads="1"/>
              </p:cNvSpPr>
              <p:nvPr/>
            </p:nvSpPr>
            <p:spPr bwMode="auto">
              <a:xfrm>
                <a:off x="6451724" y="2186781"/>
                <a:ext cx="2901233" cy="4098161"/>
              </a:xfrm>
              <a:prstGeom prst="roundRect">
                <a:avLst>
                  <a:gd name="adj" fmla="val 1500"/>
                </a:avLst>
              </a:prstGeom>
              <a:solidFill>
                <a:srgbClr val="F8F8F8"/>
              </a:solidFill>
              <a:ln w="6350" algn="ctr">
                <a:solidFill>
                  <a:srgbClr val="D5D5D5"/>
                </a:solidFill>
                <a:prstDash val="dash"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280" name="AutoShape 81"/>
              <p:cNvSpPr>
                <a:spLocks noChangeArrowheads="1"/>
              </p:cNvSpPr>
              <p:nvPr/>
            </p:nvSpPr>
            <p:spPr bwMode="auto">
              <a:xfrm>
                <a:off x="6493880" y="2221409"/>
                <a:ext cx="2901233" cy="4233663"/>
              </a:xfrm>
              <a:prstGeom prst="roundRect">
                <a:avLst>
                  <a:gd name="adj" fmla="val 1500"/>
                </a:avLst>
              </a:prstGeom>
              <a:noFill/>
              <a:ln w="6350" algn="ctr">
                <a:solidFill>
                  <a:srgbClr val="D5D5D5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pic>
          <p:nvPicPr>
            <p:cNvPr id="278" name="Picture 8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8506827" y="5890483"/>
              <a:ext cx="915386" cy="59921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</p:pic>
      </p:grpSp>
      <p:grpSp>
        <p:nvGrpSpPr>
          <p:cNvPr id="281" name="Group 185"/>
          <p:cNvGrpSpPr>
            <a:grpSpLocks/>
          </p:cNvGrpSpPr>
          <p:nvPr/>
        </p:nvGrpSpPr>
        <p:grpSpPr bwMode="auto">
          <a:xfrm>
            <a:off x="3440915" y="2203450"/>
            <a:ext cx="2916241" cy="4248151"/>
            <a:chOff x="2213" y="1388"/>
            <a:chExt cx="1837" cy="2676"/>
          </a:xfrm>
        </p:grpSpPr>
        <p:sp>
          <p:nvSpPr>
            <p:cNvPr id="282" name="Rectangle 158"/>
            <p:cNvSpPr>
              <a:spLocks noChangeArrowheads="1"/>
            </p:cNvSpPr>
            <p:nvPr/>
          </p:nvSpPr>
          <p:spPr bwMode="auto">
            <a:xfrm>
              <a:off x="2213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kumimoji="0" lang="ko-KR" altLang="en-US" sz="1800" dirty="0"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endParaRPr>
            </a:p>
          </p:txBody>
        </p:sp>
        <p:grpSp>
          <p:nvGrpSpPr>
            <p:cNvPr id="283" name="Group 179"/>
            <p:cNvGrpSpPr>
              <a:grpSpLocks/>
            </p:cNvGrpSpPr>
            <p:nvPr/>
          </p:nvGrpSpPr>
          <p:grpSpPr bwMode="auto">
            <a:xfrm>
              <a:off x="2213" y="1388"/>
              <a:ext cx="1240" cy="136"/>
              <a:chOff x="2286" y="1388"/>
              <a:chExt cx="1240" cy="136"/>
            </a:xfrm>
          </p:grpSpPr>
          <p:grpSp>
            <p:nvGrpSpPr>
              <p:cNvPr id="284" name="Group 165"/>
              <p:cNvGrpSpPr>
                <a:grpSpLocks/>
              </p:cNvGrpSpPr>
              <p:nvPr/>
            </p:nvGrpSpPr>
            <p:grpSpPr bwMode="auto">
              <a:xfrm>
                <a:off x="2286" y="1388"/>
                <a:ext cx="1240" cy="136"/>
                <a:chOff x="1313" y="1782"/>
                <a:chExt cx="1240" cy="136"/>
              </a:xfrm>
            </p:grpSpPr>
            <p:sp>
              <p:nvSpPr>
                <p:cNvPr id="286" name="AutoShape 161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87" name="Rectangle 162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88" name="Rectangle 163" descr="넓은 상향 대각선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pattFill prst="wdUpDiag">
                  <a:fgClr>
                    <a:srgbClr val="CBCBCB"/>
                  </a:fgClr>
                  <a:bgClr>
                    <a:srgbClr val="BFBFBF"/>
                  </a:bgClr>
                </a:patt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649288"/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285" name="Rectangle 166"/>
              <p:cNvSpPr>
                <a:spLocks noChangeArrowheads="1"/>
              </p:cNvSpPr>
              <p:nvPr/>
            </p:nvSpPr>
            <p:spPr bwMode="auto">
              <a:xfrm>
                <a:off x="2570" y="1403"/>
                <a:ext cx="695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en-US" altLang="ko-KR" sz="1100" dirty="0" smtClean="0"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SAN </a:t>
                </a:r>
                <a:r>
                  <a:rPr lang="ko-KR" altLang="en-US" sz="1100" dirty="0" smtClean="0"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스위치 안정성</a:t>
                </a:r>
                <a:endParaRPr lang="ko-KR" altLang="en-US" sz="1100" dirty="0"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grpSp>
        <p:nvGrpSpPr>
          <p:cNvPr id="289" name="Group 275"/>
          <p:cNvGrpSpPr>
            <a:grpSpLocks/>
          </p:cNvGrpSpPr>
          <p:nvPr/>
        </p:nvGrpSpPr>
        <p:grpSpPr bwMode="auto">
          <a:xfrm>
            <a:off x="394155" y="2203450"/>
            <a:ext cx="2916241" cy="4248151"/>
            <a:chOff x="214" y="1388"/>
            <a:chExt cx="1837" cy="2676"/>
          </a:xfrm>
        </p:grpSpPr>
        <p:sp>
          <p:nvSpPr>
            <p:cNvPr id="290" name="Rectangle 158"/>
            <p:cNvSpPr>
              <a:spLocks noChangeArrowheads="1"/>
            </p:cNvSpPr>
            <p:nvPr/>
          </p:nvSpPr>
          <p:spPr bwMode="auto">
            <a:xfrm>
              <a:off x="214" y="1388"/>
              <a:ext cx="1837" cy="26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529ED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DDDDDD"/>
              </a:outerShdw>
            </a:effectLst>
          </p:spPr>
          <p:txBody>
            <a:bodyPr lIns="90000" tIns="46800" rIns="10800" bIns="46800"/>
            <a:lstStyle/>
            <a:p>
              <a:pPr>
                <a:defRPr/>
              </a:pPr>
              <a:endParaRPr lang="ko-KR" altLang="en-US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grpSp>
          <p:nvGrpSpPr>
            <p:cNvPr id="291" name="Group 216"/>
            <p:cNvGrpSpPr>
              <a:grpSpLocks/>
            </p:cNvGrpSpPr>
            <p:nvPr/>
          </p:nvGrpSpPr>
          <p:grpSpPr bwMode="auto">
            <a:xfrm>
              <a:off x="214" y="1388"/>
              <a:ext cx="1240" cy="136"/>
              <a:chOff x="1313" y="1320"/>
              <a:chExt cx="1240" cy="136"/>
            </a:xfrm>
          </p:grpSpPr>
          <p:grpSp>
            <p:nvGrpSpPr>
              <p:cNvPr id="292" name="Group 165"/>
              <p:cNvGrpSpPr>
                <a:grpSpLocks/>
              </p:cNvGrpSpPr>
              <p:nvPr/>
            </p:nvGrpSpPr>
            <p:grpSpPr bwMode="auto">
              <a:xfrm>
                <a:off x="1313" y="1320"/>
                <a:ext cx="1240" cy="136"/>
                <a:chOff x="1313" y="1782"/>
                <a:chExt cx="1240" cy="136"/>
              </a:xfrm>
            </p:grpSpPr>
            <p:sp>
              <p:nvSpPr>
                <p:cNvPr id="294" name="AutoShape 161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240" cy="136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round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95" name="Rectangle 162"/>
                <p:cNvSpPr>
                  <a:spLocks noChangeArrowheads="1"/>
                </p:cNvSpPr>
                <p:nvPr/>
              </p:nvSpPr>
              <p:spPr bwMode="auto">
                <a:xfrm>
                  <a:off x="2457" y="1782"/>
                  <a:ext cx="96" cy="68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  <p:sp>
              <p:nvSpPr>
                <p:cNvPr id="296" name="Rectangle 163"/>
                <p:cNvSpPr>
                  <a:spLocks noChangeArrowheads="1"/>
                </p:cNvSpPr>
                <p:nvPr/>
              </p:nvSpPr>
              <p:spPr bwMode="auto">
                <a:xfrm>
                  <a:off x="1313" y="1782"/>
                  <a:ext cx="167" cy="136"/>
                </a:xfrm>
                <a:prstGeom prst="rect">
                  <a:avLst/>
                </a:prstGeom>
                <a:solidFill>
                  <a:srgbClr val="529ED2"/>
                </a:solidFill>
                <a:ln w="12700" algn="ctr">
                  <a:solidFill>
                    <a:srgbClr val="529ED2"/>
                  </a:solidFill>
                  <a:miter lim="800000"/>
                  <a:headEnd/>
                  <a:tailEnd/>
                </a:ln>
              </p:spPr>
              <p:txBody>
                <a:bodyPr lIns="36000" tIns="36000" rIns="36000" bIns="25200" anchor="ctr"/>
                <a:lstStyle/>
                <a:p>
                  <a:endParaRPr lang="ko-KR" altLang="en-US" dirty="0">
                    <a:latin typeface="KoPub돋움체 Bold" panose="02020603020101020101" pitchFamily="18" charset="-127"/>
                    <a:ea typeface="KoPub돋움체 Bold" panose="02020603020101020101" pitchFamily="18" charset="-127"/>
                  </a:endParaRPr>
                </a:p>
              </p:txBody>
            </p:sp>
          </p:grpSp>
          <p:sp>
            <p:nvSpPr>
              <p:cNvPr id="293" name="Rectangle 166"/>
              <p:cNvSpPr>
                <a:spLocks noChangeArrowheads="1"/>
              </p:cNvSpPr>
              <p:nvPr/>
            </p:nvSpPr>
            <p:spPr bwMode="auto">
              <a:xfrm>
                <a:off x="1602" y="1335"/>
                <a:ext cx="675" cy="107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algn="ctr" fontAlgn="ctr" latinLnBrk="0"/>
                <a:r>
                  <a:rPr lang="ko-KR" altLang="en-US" sz="1100" dirty="0" smtClean="0">
                    <a:solidFill>
                      <a:schemeClr val="bg1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파이버</a:t>
                </a:r>
                <a:r>
                  <a:rPr lang="en-US" altLang="ko-KR" sz="1100" dirty="0" smtClean="0">
                    <a:solidFill>
                      <a:schemeClr val="bg1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 </a:t>
                </a:r>
                <a:r>
                  <a:rPr lang="ko-KR" altLang="en-US" sz="1100" dirty="0" smtClean="0">
                    <a:solidFill>
                      <a:schemeClr val="bg1"/>
                    </a:solidFill>
                    <a:latin typeface="KoPub돋움체 Bold" panose="02020603020101020101" pitchFamily="18" charset="-127"/>
                    <a:ea typeface="KoPub돋움체 Bold" panose="02020603020101020101" pitchFamily="18" charset="-127"/>
                  </a:rPr>
                  <a:t>채널 안정성</a:t>
                </a:r>
                <a:endParaRPr lang="ko-KR" altLang="en-US" sz="110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endParaRPr>
              </a:p>
            </p:txBody>
          </p:sp>
        </p:grpSp>
      </p:grpSp>
      <p:sp>
        <p:nvSpPr>
          <p:cNvPr id="297" name="AutoShape 137" descr="oj-02"/>
          <p:cNvSpPr>
            <a:spLocks noChangeArrowheads="1"/>
          </p:cNvSpPr>
          <p:nvPr/>
        </p:nvSpPr>
        <p:spPr bwMode="auto">
          <a:xfrm>
            <a:off x="6570664" y="2289160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파이버 채널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298" name="AutoShape 137" descr="oj-02"/>
          <p:cNvSpPr>
            <a:spLocks noChangeArrowheads="1"/>
          </p:cNvSpPr>
          <p:nvPr/>
        </p:nvSpPr>
        <p:spPr bwMode="auto">
          <a:xfrm>
            <a:off x="6570664" y="3901599"/>
            <a:ext cx="2849961" cy="239386"/>
          </a:xfrm>
          <a:prstGeom prst="roundRect">
            <a:avLst>
              <a:gd name="adj" fmla="val 50000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9525" algn="ctr">
            <a:solidFill>
              <a:srgbClr val="2077AC"/>
            </a:solidFill>
            <a:round/>
            <a:headEnd/>
            <a:tailEnd/>
          </a:ln>
          <a:effectLst>
            <a:outerShdw algn="ctr" rotWithShape="0">
              <a:srgbClr val="789FCE"/>
            </a:outerShdw>
          </a:effectLst>
        </p:spPr>
        <p:txBody>
          <a:bodyPr lIns="0" tIns="0" rIns="0" bIns="0" anchor="ctr"/>
          <a:lstStyle/>
          <a:p>
            <a:pPr marL="1588" lvl="1" algn="ctr" defTabSz="942975" fontAlgn="ctr" latinLnBrk="0">
              <a:defRPr/>
            </a:pPr>
            <a:r>
              <a:rPr kumimoji="0" lang="en-US" altLang="ko-KR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SAN </a:t>
            </a:r>
            <a:r>
              <a:rPr kumimoji="0" lang="ko-KR" altLang="en-US" sz="1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charset="0"/>
              </a:rPr>
              <a:t>스위치 이중화</a:t>
            </a:r>
            <a:endParaRPr kumimoji="0" lang="ko-KR" altLang="en-US" sz="11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  <a:cs typeface="Arial" charset="0"/>
            </a:endParaRPr>
          </a:p>
        </p:txBody>
      </p:sp>
      <p:sp>
        <p:nvSpPr>
          <p:cNvPr id="299" name="Text Box 40"/>
          <p:cNvSpPr txBox="1">
            <a:spLocks noChangeArrowheads="1"/>
          </p:cNvSpPr>
          <p:nvPr/>
        </p:nvSpPr>
        <p:spPr bwMode="auto">
          <a:xfrm>
            <a:off x="6730255" y="2630922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파이버 채널을 이중화 구성하여 파이버 채널 자체 장애에 대비</a:t>
            </a:r>
          </a:p>
        </p:txBody>
      </p:sp>
      <p:pic>
        <p:nvPicPr>
          <p:cNvPr id="300" name="Picture 2658" descr="[템플릿] ver10-3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94754" y="2650494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1" name="Picture 2658" descr="[템플릿] ver10-3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94754" y="3032956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2" name="Text Box 40"/>
          <p:cNvSpPr txBox="1">
            <a:spLocks noChangeArrowheads="1"/>
          </p:cNvSpPr>
          <p:nvPr/>
        </p:nvSpPr>
        <p:spPr bwMode="auto">
          <a:xfrm>
            <a:off x="6730255" y="2987400"/>
            <a:ext cx="2690454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ynamic Load Balancing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소프트웨어에 의해 장애 발생 파이버 채널에는 데이터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I/O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발생하지 않도록 구성하여 서비스 연속성을 보장</a:t>
            </a:r>
          </a:p>
        </p:txBody>
      </p:sp>
      <p:sp>
        <p:nvSpPr>
          <p:cNvPr id="303" name="Text Box 40"/>
          <p:cNvSpPr txBox="1">
            <a:spLocks noChangeArrowheads="1"/>
          </p:cNvSpPr>
          <p:nvPr/>
        </p:nvSpPr>
        <p:spPr bwMode="auto">
          <a:xfrm>
            <a:off x="6730255" y="4257489"/>
            <a:ext cx="269045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N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위치를 이중화 구성하여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N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위치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자체 장애에 대비</a:t>
            </a:r>
          </a:p>
        </p:txBody>
      </p:sp>
      <p:pic>
        <p:nvPicPr>
          <p:cNvPr id="304" name="Picture 2658" descr="[템플릿] ver10-3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94754" y="4277061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5" name="Picture 2658" descr="[템플릿] ver10-3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94754" y="4839543"/>
            <a:ext cx="100873" cy="10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6" name="Text Box 40"/>
          <p:cNvSpPr txBox="1">
            <a:spLocks noChangeArrowheads="1"/>
          </p:cNvSpPr>
          <p:nvPr/>
        </p:nvSpPr>
        <p:spPr bwMode="auto">
          <a:xfrm>
            <a:off x="6730255" y="4803539"/>
            <a:ext cx="2690454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atinLnBrk="0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Dynamic Load Balancing </a:t>
            </a:r>
            <a:r>
              <a:rPr lang="ko-KR" altLang="en-US" sz="10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소프트웨어에 의해 장애 발생 </a:t>
            </a:r>
            <a:r>
              <a:rPr lang="en-US" altLang="ko-KR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SAN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스위치에는 </a:t>
            </a:r>
            <a:r>
              <a:rPr lang="ko-KR" altLang="en-US" sz="10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데이터 </a:t>
            </a:r>
            <a:r>
              <a:rPr lang="en-US" altLang="ko-KR" sz="10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I/O</a:t>
            </a:r>
            <a:r>
              <a:rPr lang="ko-KR" altLang="en-US" sz="1000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를 발생하지 않도록 </a:t>
            </a:r>
            <a:r>
              <a:rPr lang="ko-KR" altLang="en-US" sz="1000" dirty="0" smtClean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하여 안정적인 서비스 제공</a:t>
            </a:r>
            <a:endParaRPr lang="ko-KR" altLang="en-US" sz="1000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07" name="Picture 56" descr="디비박스-진파랑"/>
          <p:cNvPicPr>
            <a:picLocks noChangeAspect="1" noChangeArrowheads="1"/>
          </p:cNvPicPr>
          <p:nvPr/>
        </p:nvPicPr>
        <p:blipFill>
          <a:blip r:embed="rId5" cstate="print">
            <a:lum bright="-6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344" y="5634571"/>
            <a:ext cx="1040875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" name="Text Box 57"/>
          <p:cNvSpPr txBox="1">
            <a:spLocks noChangeArrowheads="1"/>
          </p:cNvSpPr>
          <p:nvPr/>
        </p:nvSpPr>
        <p:spPr bwMode="gray">
          <a:xfrm>
            <a:off x="1607725" y="5823701"/>
            <a:ext cx="480901" cy="16158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ctr">
            <a:spAutoFit/>
          </a:bodyPr>
          <a:lstStyle>
            <a:lvl1pPr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441325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882650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323975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1765300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2225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6797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1369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5941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defRPr/>
            </a:pPr>
            <a:r>
              <a:rPr lang="ko-KR" altLang="en-US" sz="105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스토리지</a:t>
            </a:r>
          </a:p>
        </p:txBody>
      </p:sp>
      <p:sp>
        <p:nvSpPr>
          <p:cNvPr id="309" name="Rectangle 188"/>
          <p:cNvSpPr>
            <a:spLocks noChangeArrowheads="1"/>
          </p:cNvSpPr>
          <p:nvPr/>
        </p:nvSpPr>
        <p:spPr bwMode="auto">
          <a:xfrm>
            <a:off x="766401" y="3717032"/>
            <a:ext cx="2070100" cy="21590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0" latinLnBrk="0" hangingPunct="0"/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ulti Channel</a:t>
            </a:r>
            <a:endParaRPr lang="ko-KR" altLang="en-US" sz="90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0" name="Rectangle 188"/>
          <p:cNvSpPr>
            <a:spLocks noChangeArrowheads="1"/>
          </p:cNvSpPr>
          <p:nvPr/>
        </p:nvSpPr>
        <p:spPr bwMode="auto">
          <a:xfrm>
            <a:off x="775027" y="4977172"/>
            <a:ext cx="2070100" cy="21590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0" latinLnBrk="0" hangingPunct="0"/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ulti Channel</a:t>
            </a:r>
            <a:endParaRPr lang="ko-KR" altLang="en-US" sz="90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1" name="Line 20"/>
          <p:cNvSpPr>
            <a:spLocks noChangeShapeType="1"/>
          </p:cNvSpPr>
          <p:nvPr/>
        </p:nvSpPr>
        <p:spPr bwMode="auto">
          <a:xfrm flipH="1">
            <a:off x="1092527" y="3705758"/>
            <a:ext cx="0" cy="711200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2" name="Line 20"/>
          <p:cNvSpPr>
            <a:spLocks noChangeShapeType="1"/>
          </p:cNvSpPr>
          <p:nvPr/>
        </p:nvSpPr>
        <p:spPr bwMode="auto">
          <a:xfrm flipH="1">
            <a:off x="2524452" y="3683533"/>
            <a:ext cx="0" cy="719137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3" name="Line 20"/>
          <p:cNvSpPr>
            <a:spLocks noChangeShapeType="1"/>
          </p:cNvSpPr>
          <p:nvPr/>
        </p:nvSpPr>
        <p:spPr bwMode="auto">
          <a:xfrm>
            <a:off x="1087764" y="3689883"/>
            <a:ext cx="1430338" cy="706437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4" name="Line 20"/>
          <p:cNvSpPr>
            <a:spLocks noChangeShapeType="1"/>
          </p:cNvSpPr>
          <p:nvPr/>
        </p:nvSpPr>
        <p:spPr bwMode="auto">
          <a:xfrm flipH="1">
            <a:off x="1081414" y="3683533"/>
            <a:ext cx="1433513" cy="728662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5" name="Line 20"/>
          <p:cNvSpPr>
            <a:spLocks noChangeShapeType="1"/>
          </p:cNvSpPr>
          <p:nvPr/>
        </p:nvSpPr>
        <p:spPr bwMode="auto">
          <a:xfrm>
            <a:off x="1176664" y="4813833"/>
            <a:ext cx="307975" cy="817562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6" name="Line 20"/>
          <p:cNvSpPr>
            <a:spLocks noChangeShapeType="1"/>
          </p:cNvSpPr>
          <p:nvPr/>
        </p:nvSpPr>
        <p:spPr bwMode="auto">
          <a:xfrm>
            <a:off x="1233814" y="4821771"/>
            <a:ext cx="314325" cy="800100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7" name="Line 20"/>
          <p:cNvSpPr>
            <a:spLocks noChangeShapeType="1"/>
          </p:cNvSpPr>
          <p:nvPr/>
        </p:nvSpPr>
        <p:spPr bwMode="auto">
          <a:xfrm flipH="1">
            <a:off x="2129164" y="4791608"/>
            <a:ext cx="333375" cy="833437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8" name="Line 20"/>
          <p:cNvSpPr>
            <a:spLocks noChangeShapeType="1"/>
          </p:cNvSpPr>
          <p:nvPr/>
        </p:nvSpPr>
        <p:spPr bwMode="auto">
          <a:xfrm flipH="1">
            <a:off x="2194252" y="4820183"/>
            <a:ext cx="328613" cy="819150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19" name="Text Box 21"/>
          <p:cNvSpPr txBox="1">
            <a:spLocks noChangeArrowheads="1"/>
          </p:cNvSpPr>
          <p:nvPr/>
        </p:nvSpPr>
        <p:spPr bwMode="auto">
          <a:xfrm>
            <a:off x="446414" y="4756683"/>
            <a:ext cx="528638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AN</a:t>
            </a:r>
            <a:b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witch #1</a:t>
            </a:r>
          </a:p>
        </p:txBody>
      </p:sp>
      <p:sp>
        <p:nvSpPr>
          <p:cNvPr id="320" name="Text Box 21"/>
          <p:cNvSpPr txBox="1">
            <a:spLocks noChangeArrowheads="1"/>
          </p:cNvSpPr>
          <p:nvPr/>
        </p:nvSpPr>
        <p:spPr bwMode="auto">
          <a:xfrm>
            <a:off x="2773689" y="4756683"/>
            <a:ext cx="528638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AN</a:t>
            </a:r>
            <a:b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witch #2</a:t>
            </a:r>
          </a:p>
        </p:txBody>
      </p:sp>
      <p:sp>
        <p:nvSpPr>
          <p:cNvPr id="321" name="Text Box 21"/>
          <p:cNvSpPr txBox="1">
            <a:spLocks noChangeArrowheads="1"/>
          </p:cNvSpPr>
          <p:nvPr/>
        </p:nvSpPr>
        <p:spPr bwMode="auto">
          <a:xfrm>
            <a:off x="911371" y="34964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버 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#</a:t>
            </a: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</a:p>
        </p:txBody>
      </p:sp>
      <p:sp>
        <p:nvSpPr>
          <p:cNvPr id="322" name="Text Box 21"/>
          <p:cNvSpPr txBox="1">
            <a:spLocks noChangeArrowheads="1"/>
          </p:cNvSpPr>
          <p:nvPr/>
        </p:nvSpPr>
        <p:spPr bwMode="auto">
          <a:xfrm>
            <a:off x="2349897" y="34964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버 </a:t>
            </a: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#2</a:t>
            </a:r>
          </a:p>
        </p:txBody>
      </p:sp>
      <p:sp>
        <p:nvSpPr>
          <p:cNvPr id="323" name="Text Box 21"/>
          <p:cNvSpPr txBox="1">
            <a:spLocks noChangeArrowheads="1"/>
          </p:cNvSpPr>
          <p:nvPr/>
        </p:nvSpPr>
        <p:spPr bwMode="auto">
          <a:xfrm>
            <a:off x="2584777" y="4186596"/>
            <a:ext cx="597921" cy="25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Fiber </a:t>
            </a:r>
            <a:b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</a:b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Channel</a:t>
            </a:r>
            <a:r>
              <a:rPr lang="ko-KR" altLang="en-US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#2</a:t>
            </a:r>
          </a:p>
        </p:txBody>
      </p:sp>
      <p:pic>
        <p:nvPicPr>
          <p:cNvPr id="324" name="그림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614" y="4397908"/>
            <a:ext cx="636588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5" name="그림 1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5364" y="4397908"/>
            <a:ext cx="636588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6" name="Freeform 340"/>
          <p:cNvSpPr>
            <a:spLocks/>
          </p:cNvSpPr>
          <p:nvPr/>
        </p:nvSpPr>
        <p:spPr bwMode="gray">
          <a:xfrm>
            <a:off x="960764" y="3678771"/>
            <a:ext cx="1519238" cy="1943100"/>
          </a:xfrm>
          <a:custGeom>
            <a:avLst/>
            <a:gdLst>
              <a:gd name="T0" fmla="*/ 0 w 957"/>
              <a:gd name="T1" fmla="*/ 0 h 1224"/>
              <a:gd name="T2" fmla="*/ 957 w 957"/>
              <a:gd name="T3" fmla="*/ 495 h 1224"/>
              <a:gd name="T4" fmla="*/ 651 w 957"/>
              <a:gd name="T5" fmla="*/ 1224 h 1224"/>
              <a:gd name="T6" fmla="*/ 0 60000 65536"/>
              <a:gd name="T7" fmla="*/ 0 60000 65536"/>
              <a:gd name="T8" fmla="*/ 0 60000 65536"/>
              <a:gd name="T9" fmla="*/ 0 w 957"/>
              <a:gd name="T10" fmla="*/ 0 h 1224"/>
              <a:gd name="T11" fmla="*/ 957 w 957"/>
              <a:gd name="T12" fmla="*/ 1224 h 12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57" h="1224">
                <a:moveTo>
                  <a:pt x="0" y="0"/>
                </a:moveTo>
                <a:lnTo>
                  <a:pt x="957" y="495"/>
                </a:lnTo>
                <a:lnTo>
                  <a:pt x="651" y="1224"/>
                </a:lnTo>
              </a:path>
            </a:pathLst>
          </a:custGeom>
          <a:noFill/>
          <a:ln w="50800">
            <a:solidFill>
              <a:srgbClr val="00699E">
                <a:alpha val="65881"/>
              </a:srgb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27" name="Freeform 341"/>
          <p:cNvSpPr>
            <a:spLocks/>
          </p:cNvSpPr>
          <p:nvPr/>
        </p:nvSpPr>
        <p:spPr bwMode="gray">
          <a:xfrm flipH="1">
            <a:off x="1140152" y="3678771"/>
            <a:ext cx="1519238" cy="1943100"/>
          </a:xfrm>
          <a:custGeom>
            <a:avLst/>
            <a:gdLst>
              <a:gd name="T0" fmla="*/ 0 w 957"/>
              <a:gd name="T1" fmla="*/ 0 h 1224"/>
              <a:gd name="T2" fmla="*/ 957 w 957"/>
              <a:gd name="T3" fmla="*/ 495 h 1224"/>
              <a:gd name="T4" fmla="*/ 651 w 957"/>
              <a:gd name="T5" fmla="*/ 1224 h 1224"/>
              <a:gd name="T6" fmla="*/ 0 60000 65536"/>
              <a:gd name="T7" fmla="*/ 0 60000 65536"/>
              <a:gd name="T8" fmla="*/ 0 60000 65536"/>
              <a:gd name="T9" fmla="*/ 0 w 957"/>
              <a:gd name="T10" fmla="*/ 0 h 1224"/>
              <a:gd name="T11" fmla="*/ 957 w 957"/>
              <a:gd name="T12" fmla="*/ 1224 h 12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57" h="1224">
                <a:moveTo>
                  <a:pt x="0" y="0"/>
                </a:moveTo>
                <a:lnTo>
                  <a:pt x="957" y="495"/>
                </a:lnTo>
                <a:lnTo>
                  <a:pt x="651" y="1224"/>
                </a:lnTo>
              </a:path>
            </a:pathLst>
          </a:custGeom>
          <a:noFill/>
          <a:ln w="50800">
            <a:solidFill>
              <a:srgbClr val="00699E">
                <a:alpha val="65881"/>
              </a:srgb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28" name="Picture 142" descr="번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1877" y="3810533"/>
            <a:ext cx="5619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9" name="Rectangle 188"/>
          <p:cNvSpPr>
            <a:spLocks noChangeArrowheads="1"/>
          </p:cNvSpPr>
          <p:nvPr/>
        </p:nvSpPr>
        <p:spPr bwMode="gray">
          <a:xfrm>
            <a:off x="2432622" y="3876075"/>
            <a:ext cx="1827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장애</a:t>
            </a:r>
          </a:p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생</a:t>
            </a:r>
          </a:p>
        </p:txBody>
      </p:sp>
      <p:pic>
        <p:nvPicPr>
          <p:cNvPr id="330" name="Picture 99" descr="Picture3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394" y="2702426"/>
            <a:ext cx="643440" cy="72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1" name="Picture 99" descr="Picture3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0920" y="2702426"/>
            <a:ext cx="643440" cy="72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2" name="Picture 56" descr="디비박스-진파랑"/>
          <p:cNvPicPr>
            <a:picLocks noChangeAspect="1" noChangeArrowheads="1"/>
          </p:cNvPicPr>
          <p:nvPr/>
        </p:nvPicPr>
        <p:blipFill>
          <a:blip r:embed="rId5" cstate="print">
            <a:lum bright="-6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762" y="5634571"/>
            <a:ext cx="1040875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3" name="Text Box 57"/>
          <p:cNvSpPr txBox="1">
            <a:spLocks noChangeArrowheads="1"/>
          </p:cNvSpPr>
          <p:nvPr/>
        </p:nvSpPr>
        <p:spPr bwMode="gray">
          <a:xfrm>
            <a:off x="4591708" y="5823701"/>
            <a:ext cx="480901" cy="16158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ctr">
            <a:spAutoFit/>
          </a:bodyPr>
          <a:lstStyle>
            <a:lvl1pPr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441325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882650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323975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1765300" algn="l" defTabSz="1063625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2225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6797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1369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594100" defTabSz="1063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defRPr/>
            </a:pPr>
            <a:r>
              <a:rPr lang="ko-KR" altLang="en-US" sz="105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스토리지</a:t>
            </a:r>
          </a:p>
        </p:txBody>
      </p:sp>
      <p:sp>
        <p:nvSpPr>
          <p:cNvPr id="334" name="Rectangle 188"/>
          <p:cNvSpPr>
            <a:spLocks noChangeArrowheads="1"/>
          </p:cNvSpPr>
          <p:nvPr/>
        </p:nvSpPr>
        <p:spPr bwMode="auto">
          <a:xfrm>
            <a:off x="3855008" y="5157316"/>
            <a:ext cx="2070100" cy="21590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0" latinLnBrk="0" hangingPunct="0"/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ulti Channel</a:t>
            </a:r>
            <a:endParaRPr lang="ko-KR" altLang="en-US" sz="90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5" name="Line 20"/>
          <p:cNvSpPr>
            <a:spLocks noChangeShapeType="1"/>
          </p:cNvSpPr>
          <p:nvPr/>
        </p:nvSpPr>
        <p:spPr bwMode="auto">
          <a:xfrm flipH="1">
            <a:off x="4086945" y="3705758"/>
            <a:ext cx="0" cy="711200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6" name="Line 20"/>
          <p:cNvSpPr>
            <a:spLocks noChangeShapeType="1"/>
          </p:cNvSpPr>
          <p:nvPr/>
        </p:nvSpPr>
        <p:spPr bwMode="auto">
          <a:xfrm flipH="1">
            <a:off x="5518870" y="3683533"/>
            <a:ext cx="0" cy="719137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7" name="Line 20"/>
          <p:cNvSpPr>
            <a:spLocks noChangeShapeType="1"/>
          </p:cNvSpPr>
          <p:nvPr/>
        </p:nvSpPr>
        <p:spPr bwMode="auto">
          <a:xfrm>
            <a:off x="4082182" y="3689883"/>
            <a:ext cx="1430338" cy="706437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8" name="Line 20"/>
          <p:cNvSpPr>
            <a:spLocks noChangeShapeType="1"/>
          </p:cNvSpPr>
          <p:nvPr/>
        </p:nvSpPr>
        <p:spPr bwMode="auto">
          <a:xfrm flipH="1">
            <a:off x="4075832" y="3683533"/>
            <a:ext cx="1433513" cy="728662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39" name="Line 20"/>
          <p:cNvSpPr>
            <a:spLocks noChangeShapeType="1"/>
          </p:cNvSpPr>
          <p:nvPr/>
        </p:nvSpPr>
        <p:spPr bwMode="auto">
          <a:xfrm>
            <a:off x="4171082" y="4813833"/>
            <a:ext cx="307975" cy="817562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0" name="Line 20"/>
          <p:cNvSpPr>
            <a:spLocks noChangeShapeType="1"/>
          </p:cNvSpPr>
          <p:nvPr/>
        </p:nvSpPr>
        <p:spPr bwMode="auto">
          <a:xfrm>
            <a:off x="4228232" y="4821771"/>
            <a:ext cx="314325" cy="800100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1" name="Line 20"/>
          <p:cNvSpPr>
            <a:spLocks noChangeShapeType="1"/>
          </p:cNvSpPr>
          <p:nvPr/>
        </p:nvSpPr>
        <p:spPr bwMode="auto">
          <a:xfrm flipH="1">
            <a:off x="5123582" y="4791608"/>
            <a:ext cx="333375" cy="833437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2" name="Line 20"/>
          <p:cNvSpPr>
            <a:spLocks noChangeShapeType="1"/>
          </p:cNvSpPr>
          <p:nvPr/>
        </p:nvSpPr>
        <p:spPr bwMode="auto">
          <a:xfrm flipH="1">
            <a:off x="5188670" y="4820183"/>
            <a:ext cx="328613" cy="819150"/>
          </a:xfrm>
          <a:prstGeom prst="line">
            <a:avLst/>
          </a:prstGeom>
          <a:noFill/>
          <a:ln w="9525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43" name="Text Box 21"/>
          <p:cNvSpPr txBox="1">
            <a:spLocks noChangeArrowheads="1"/>
          </p:cNvSpPr>
          <p:nvPr/>
        </p:nvSpPr>
        <p:spPr bwMode="auto">
          <a:xfrm>
            <a:off x="3440832" y="4756683"/>
            <a:ext cx="528638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AN</a:t>
            </a:r>
            <a:b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witch #1</a:t>
            </a:r>
          </a:p>
        </p:txBody>
      </p:sp>
      <p:sp>
        <p:nvSpPr>
          <p:cNvPr id="344" name="Text Box 21"/>
          <p:cNvSpPr txBox="1">
            <a:spLocks noChangeArrowheads="1"/>
          </p:cNvSpPr>
          <p:nvPr/>
        </p:nvSpPr>
        <p:spPr bwMode="auto">
          <a:xfrm>
            <a:off x="5768107" y="4756683"/>
            <a:ext cx="528638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latinLnBrk="0">
              <a:lnSpc>
                <a:spcPct val="90000"/>
              </a:lnSpc>
              <a:buSzPct val="80000"/>
            </a:pP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AN</a:t>
            </a:r>
            <a:b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Switch #2</a:t>
            </a:r>
          </a:p>
        </p:txBody>
      </p:sp>
      <p:sp>
        <p:nvSpPr>
          <p:cNvPr id="345" name="Text Box 21"/>
          <p:cNvSpPr txBox="1">
            <a:spLocks noChangeArrowheads="1"/>
          </p:cNvSpPr>
          <p:nvPr/>
        </p:nvSpPr>
        <p:spPr bwMode="auto">
          <a:xfrm>
            <a:off x="3905789" y="34964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버 </a:t>
            </a:r>
            <a:r>
              <a:rPr lang="en-US" altLang="ko-KR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#</a:t>
            </a: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</a:t>
            </a:r>
          </a:p>
        </p:txBody>
      </p:sp>
      <p:sp>
        <p:nvSpPr>
          <p:cNvPr id="346" name="Text Box 21"/>
          <p:cNvSpPr txBox="1">
            <a:spLocks noChangeArrowheads="1"/>
          </p:cNvSpPr>
          <p:nvPr/>
        </p:nvSpPr>
        <p:spPr bwMode="auto">
          <a:xfrm>
            <a:off x="5344315" y="3496446"/>
            <a:ext cx="365485" cy="12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90000"/>
              </a:lnSpc>
              <a:buSzPct val="80000"/>
            </a:pPr>
            <a:r>
              <a:rPr lang="ko-KR" altLang="en-US" sz="900" b="0" dirty="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서버 </a:t>
            </a:r>
            <a:r>
              <a:rPr lang="en-US" altLang="ko-KR" sz="900" b="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#2</a:t>
            </a:r>
          </a:p>
        </p:txBody>
      </p:sp>
      <p:pic>
        <p:nvPicPr>
          <p:cNvPr id="347" name="그림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1032" y="4397908"/>
            <a:ext cx="636588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" name="그림 1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9782" y="4397908"/>
            <a:ext cx="636588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9" name="Freeform 341"/>
          <p:cNvSpPr>
            <a:spLocks/>
          </p:cNvSpPr>
          <p:nvPr/>
        </p:nvSpPr>
        <p:spPr bwMode="gray">
          <a:xfrm flipH="1">
            <a:off x="4134570" y="3678771"/>
            <a:ext cx="1519238" cy="1943100"/>
          </a:xfrm>
          <a:custGeom>
            <a:avLst/>
            <a:gdLst>
              <a:gd name="T0" fmla="*/ 0 w 957"/>
              <a:gd name="T1" fmla="*/ 0 h 1224"/>
              <a:gd name="T2" fmla="*/ 957 w 957"/>
              <a:gd name="T3" fmla="*/ 495 h 1224"/>
              <a:gd name="T4" fmla="*/ 651 w 957"/>
              <a:gd name="T5" fmla="*/ 1224 h 1224"/>
              <a:gd name="T6" fmla="*/ 0 60000 65536"/>
              <a:gd name="T7" fmla="*/ 0 60000 65536"/>
              <a:gd name="T8" fmla="*/ 0 60000 65536"/>
              <a:gd name="T9" fmla="*/ 0 w 957"/>
              <a:gd name="T10" fmla="*/ 0 h 1224"/>
              <a:gd name="T11" fmla="*/ 957 w 957"/>
              <a:gd name="T12" fmla="*/ 1224 h 12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57" h="1224">
                <a:moveTo>
                  <a:pt x="0" y="0"/>
                </a:moveTo>
                <a:lnTo>
                  <a:pt x="957" y="495"/>
                </a:lnTo>
                <a:lnTo>
                  <a:pt x="651" y="1224"/>
                </a:lnTo>
              </a:path>
            </a:pathLst>
          </a:custGeom>
          <a:noFill/>
          <a:ln w="50800">
            <a:solidFill>
              <a:srgbClr val="00699E">
                <a:alpha val="65881"/>
              </a:srgb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350" name="Picture 142" descr="번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008715" y="4437766"/>
            <a:ext cx="5619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1" name="Rectangle 188"/>
          <p:cNvSpPr>
            <a:spLocks noChangeArrowheads="1"/>
          </p:cNvSpPr>
          <p:nvPr/>
        </p:nvSpPr>
        <p:spPr bwMode="gray">
          <a:xfrm>
            <a:off x="5199460" y="4503308"/>
            <a:ext cx="1827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8826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88265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장애</a:t>
            </a:r>
          </a:p>
          <a:p>
            <a:pPr latinLnBrk="0"/>
            <a:r>
              <a:rPr lang="ko-KR" altLang="en-US" sz="8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FFFFFF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발생</a:t>
            </a:r>
          </a:p>
        </p:txBody>
      </p:sp>
      <p:pic>
        <p:nvPicPr>
          <p:cNvPr id="352" name="Picture 99" descr="Picture3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812" y="2702426"/>
            <a:ext cx="643440" cy="72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3" name="Picture 99" descr="Picture3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338" y="2702426"/>
            <a:ext cx="643440" cy="72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4" name="Freeform 344"/>
          <p:cNvSpPr>
            <a:spLocks/>
          </p:cNvSpPr>
          <p:nvPr/>
        </p:nvSpPr>
        <p:spPr bwMode="gray">
          <a:xfrm>
            <a:off x="3987531" y="3678771"/>
            <a:ext cx="398463" cy="1974850"/>
          </a:xfrm>
          <a:custGeom>
            <a:avLst/>
            <a:gdLst>
              <a:gd name="T0" fmla="*/ 0 w 251"/>
              <a:gd name="T1" fmla="*/ 0 h 1244"/>
              <a:gd name="T2" fmla="*/ 0 w 251"/>
              <a:gd name="T3" fmla="*/ 567 h 1244"/>
              <a:gd name="T4" fmla="*/ 251 w 251"/>
              <a:gd name="T5" fmla="*/ 1244 h 1244"/>
              <a:gd name="T6" fmla="*/ 0 60000 65536"/>
              <a:gd name="T7" fmla="*/ 0 60000 65536"/>
              <a:gd name="T8" fmla="*/ 0 60000 65536"/>
              <a:gd name="T9" fmla="*/ 0 w 251"/>
              <a:gd name="T10" fmla="*/ 0 h 1244"/>
              <a:gd name="T11" fmla="*/ 251 w 251"/>
              <a:gd name="T12" fmla="*/ 1244 h 12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1" h="1244">
                <a:moveTo>
                  <a:pt x="0" y="0"/>
                </a:moveTo>
                <a:lnTo>
                  <a:pt x="0" y="567"/>
                </a:lnTo>
                <a:lnTo>
                  <a:pt x="251" y="1244"/>
                </a:lnTo>
              </a:path>
            </a:pathLst>
          </a:custGeom>
          <a:noFill/>
          <a:ln w="50800">
            <a:solidFill>
              <a:srgbClr val="00699E">
                <a:alpha val="65881"/>
              </a:srgb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eaLnBrk="0" latinLnBrk="0" hangingPunct="0"/>
            <a:endParaRPr lang="ko-KR" altLang="en-US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364" name="Rectangle 188"/>
          <p:cNvSpPr>
            <a:spLocks noChangeArrowheads="1"/>
          </p:cNvSpPr>
          <p:nvPr/>
        </p:nvSpPr>
        <p:spPr bwMode="auto">
          <a:xfrm>
            <a:off x="3760819" y="3717032"/>
            <a:ext cx="2070100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anchor="ctr"/>
          <a:lstStyle>
            <a:lvl1pPr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0" latinLnBrk="0" hangingPunct="0"/>
            <a:r>
              <a:rPr lang="en-US" altLang="ko-KR" sz="900" dirty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ulti Channel</a:t>
            </a:r>
            <a:endParaRPr lang="ko-KR" altLang="en-US" sz="900" dirty="0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grpSp>
        <p:nvGrpSpPr>
          <p:cNvPr id="104" name="Group 836"/>
          <p:cNvGrpSpPr>
            <a:grpSpLocks/>
          </p:cNvGrpSpPr>
          <p:nvPr/>
        </p:nvGrpSpPr>
        <p:grpSpPr bwMode="auto">
          <a:xfrm>
            <a:off x="2975250" y="3831736"/>
            <a:ext cx="752475" cy="742950"/>
            <a:chOff x="1918" y="3019"/>
            <a:chExt cx="474" cy="468"/>
          </a:xfrm>
        </p:grpSpPr>
        <p:grpSp>
          <p:nvGrpSpPr>
            <p:cNvPr id="105" name="Group 110"/>
            <p:cNvGrpSpPr>
              <a:grpSpLocks noChangeAspect="1"/>
            </p:cNvGrpSpPr>
            <p:nvPr/>
          </p:nvGrpSpPr>
          <p:grpSpPr bwMode="auto">
            <a:xfrm>
              <a:off x="1922" y="3019"/>
              <a:ext cx="470" cy="468"/>
              <a:chOff x="-1559" y="1262"/>
              <a:chExt cx="709" cy="705"/>
            </a:xfrm>
          </p:grpSpPr>
          <p:pic>
            <p:nvPicPr>
              <p:cNvPr id="111" name="Picture 111" descr="도형-원_수정"/>
              <p:cNvPicPr>
                <a:picLocks noChangeAspect="1" noChangeArrowheads="1"/>
              </p:cNvPicPr>
              <p:nvPr/>
            </p:nvPicPr>
            <p:blipFill>
              <a:blip r:embed="rId9">
                <a:lum bright="42000" contrast="-6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139" t="909" r="68611" b="81020"/>
              <a:stretch>
                <a:fillRect/>
              </a:stretch>
            </p:blipFill>
            <p:spPr bwMode="gray">
              <a:xfrm>
                <a:off x="-1559" y="1262"/>
                <a:ext cx="709" cy="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2" name="Rectangle 112"/>
              <p:cNvSpPr>
                <a:spLocks noChangeAspect="1" noChangeArrowheads="1"/>
              </p:cNvSpPr>
              <p:nvPr/>
            </p:nvSpPr>
            <p:spPr bwMode="gray">
              <a:xfrm>
                <a:off x="-1441" y="1462"/>
                <a:ext cx="475" cy="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ctr" fontAlgn="t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200" b="0" kern="0" dirty="0" smtClean="0">
                    <a:ln>
                      <a:solidFill>
                        <a:srgbClr val="000000">
                          <a:alpha val="0"/>
                        </a:srgbClr>
                      </a:solidFill>
                    </a:ln>
                    <a:solidFill>
                      <a:srgbClr val="000000"/>
                    </a:solidFill>
                    <a:latin typeface="KoPub돋움체 Bold" panose="00000800000000000000" pitchFamily="2" charset="-127"/>
                    <a:ea typeface="KoPub돋움체 Bold" panose="00000800000000000000" pitchFamily="2" charset="-127"/>
                  </a:rPr>
                  <a:t>안정성 확보</a:t>
                </a:r>
              </a:p>
            </p:txBody>
          </p:sp>
        </p:grpSp>
        <p:grpSp>
          <p:nvGrpSpPr>
            <p:cNvPr id="106" name="Group 829"/>
            <p:cNvGrpSpPr>
              <a:grpSpLocks/>
            </p:cNvGrpSpPr>
            <p:nvPr/>
          </p:nvGrpSpPr>
          <p:grpSpPr bwMode="auto">
            <a:xfrm rot="310330">
              <a:off x="1918" y="3022"/>
              <a:ext cx="474" cy="464"/>
              <a:chOff x="2731" y="3047"/>
              <a:chExt cx="458" cy="448"/>
            </a:xfrm>
          </p:grpSpPr>
          <p:sp>
            <p:nvSpPr>
              <p:cNvPr id="107" name="Arc 825"/>
              <p:cNvSpPr>
                <a:spLocks/>
              </p:cNvSpPr>
              <p:nvPr/>
            </p:nvSpPr>
            <p:spPr bwMode="gray">
              <a:xfrm>
                <a:off x="2962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08" name="Arc 826"/>
              <p:cNvSpPr>
                <a:spLocks/>
              </p:cNvSpPr>
              <p:nvPr/>
            </p:nvSpPr>
            <p:spPr bwMode="gray">
              <a:xfrm rot="5400000">
                <a:off x="2962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09" name="Arc 827"/>
              <p:cNvSpPr>
                <a:spLocks/>
              </p:cNvSpPr>
              <p:nvPr/>
            </p:nvSpPr>
            <p:spPr bwMode="gray">
              <a:xfrm rot="5400000" flipH="1" flipV="1">
                <a:off x="2731" y="3047"/>
                <a:ext cx="227" cy="227"/>
              </a:xfrm>
              <a:custGeom>
                <a:avLst/>
                <a:gdLst>
                  <a:gd name="T0" fmla="*/ 0 w 21592"/>
                  <a:gd name="T1" fmla="*/ 0 h 21600"/>
                  <a:gd name="T2" fmla="*/ 0 w 21592"/>
                  <a:gd name="T3" fmla="*/ 0 h 21600"/>
                  <a:gd name="T4" fmla="*/ 0 w 2159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592"/>
                  <a:gd name="T10" fmla="*/ 0 h 21600"/>
                  <a:gd name="T11" fmla="*/ 21592 w 2159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592" h="21600" fill="none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</a:path>
                  <a:path w="21592" h="21600" stroke="0" extrusionOk="0">
                    <a:moveTo>
                      <a:pt x="-1" y="0"/>
                    </a:moveTo>
                    <a:cubicBezTo>
                      <a:pt x="11706" y="0"/>
                      <a:pt x="21281" y="9324"/>
                      <a:pt x="21592" y="21026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  <p:sp>
            <p:nvSpPr>
              <p:cNvPr id="110" name="Arc 828"/>
              <p:cNvSpPr>
                <a:spLocks/>
              </p:cNvSpPr>
              <p:nvPr/>
            </p:nvSpPr>
            <p:spPr bwMode="gray">
              <a:xfrm rot="10800000">
                <a:off x="2737" y="3267"/>
                <a:ext cx="228" cy="227"/>
              </a:xfrm>
              <a:custGeom>
                <a:avLst/>
                <a:gdLst>
                  <a:gd name="T0" fmla="*/ 0 w 21758"/>
                  <a:gd name="T1" fmla="*/ 0 h 21600"/>
                  <a:gd name="T2" fmla="*/ 0 w 21758"/>
                  <a:gd name="T3" fmla="*/ 0 h 21600"/>
                  <a:gd name="T4" fmla="*/ 0 w 2175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21758"/>
                  <a:gd name="T10" fmla="*/ 0 h 21600"/>
                  <a:gd name="T11" fmla="*/ 21758 w 2175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758" h="21600" fill="none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</a:path>
                  <a:path w="21758" h="21600" stroke="0" extrusionOk="0">
                    <a:moveTo>
                      <a:pt x="0" y="1"/>
                    </a:moveTo>
                    <a:cubicBezTo>
                      <a:pt x="74" y="0"/>
                      <a:pt x="148" y="0"/>
                      <a:pt x="223" y="0"/>
                    </a:cubicBezTo>
                    <a:cubicBezTo>
                      <a:pt x="11503" y="0"/>
                      <a:pt x="20884" y="8680"/>
                      <a:pt x="21758" y="19926"/>
                    </a:cubicBezTo>
                    <a:lnTo>
                      <a:pt x="223" y="21600"/>
                    </a:lnTo>
                    <a:lnTo>
                      <a:pt x="0" y="1"/>
                    </a:lnTo>
                    <a:close/>
                  </a:path>
                </a:pathLst>
              </a:custGeom>
              <a:noFill/>
              <a:ln w="25400">
                <a:solidFill>
                  <a:srgbClr val="29B8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algn="l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 kern="0" dirty="0" smtClean="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334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9.3 </a:t>
            </a:r>
            <a:r>
              <a:rPr lang="ko-KR" altLang="en-US" dirty="0" smtClean="0"/>
              <a:t>해외지점 </a:t>
            </a:r>
            <a:r>
              <a:rPr lang="ko-KR" altLang="en-US" dirty="0"/>
              <a:t>자금세탁 방지 업무 보고 절차 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6463308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외지점 자금세탁 방지 업무 보고 절차와 자금세탁 방지 제도 이행 현황을 모니터링 할 수 있는 체계를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해외지점 자금세탁 방지 업무 보고 절차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–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해외지점 모니터링 절차</a:t>
              </a:r>
              <a:endParaRPr lang="en-US" altLang="ko-KR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aphicFrame>
        <p:nvGraphicFramePr>
          <p:cNvPr id="80" name="표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78666"/>
              </p:ext>
            </p:extLst>
          </p:nvPr>
        </p:nvGraphicFramePr>
        <p:xfrm>
          <a:off x="415925" y="2234293"/>
          <a:ext cx="9074150" cy="4206919"/>
        </p:xfrm>
        <a:graphic>
          <a:graphicData uri="http://schemas.openxmlformats.org/drawingml/2006/table">
            <a:tbl>
              <a:tblPr/>
              <a:tblGrid>
                <a:gridCol w="17983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757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1469"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1000" dirty="0"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90055" marR="90055" marT="40341" marB="40341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CDC"/>
                    </a:solidFill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해외지점 </a:t>
                      </a:r>
                      <a:r>
                        <a:rPr lang="en-US" altLang="ko-KR" sz="1400" b="1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Monitoring </a:t>
                      </a:r>
                      <a:r>
                        <a:rPr lang="ko-KR" altLang="en-US" sz="1400" b="1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모니터링 절차</a:t>
                      </a:r>
                      <a:endParaRPr lang="en-US" altLang="ko-KR" sz="1400" b="1" dirty="0" smtClean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panose="020B0604020202020204" pitchFamily="34" charset="0"/>
                      </a:endParaRPr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3567"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b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국외점포</a:t>
                      </a:r>
                      <a:endParaRPr lang="ko-KR" altLang="en-US" sz="1200" b="0" dirty="0">
                        <a:solidFill>
                          <a:schemeClr val="tx2">
                            <a:lumMod val="50000"/>
                          </a:schemeClr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panose="020B0604020202020204" pitchFamily="34" charset="0"/>
                      </a:endParaRPr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EDFD"/>
                    </a:solidFill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1000" dirty="0"/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6426"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200" b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본점 자금세탁방지부</a:t>
                      </a:r>
                      <a:endParaRPr lang="ko-KR" altLang="en-US" sz="1200" b="0" dirty="0">
                        <a:solidFill>
                          <a:schemeClr val="tx2">
                            <a:lumMod val="50000"/>
                          </a:schemeClr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panose="020B0604020202020204" pitchFamily="34" charset="0"/>
                      </a:endParaRPr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C9F9"/>
                    </a:solidFill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1000" dirty="0"/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804"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b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Chief Compliance Officer (CCO)</a:t>
                      </a:r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C9F9"/>
                    </a:solidFill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1000" dirty="0"/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804"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200" b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Global Compliance</a:t>
                      </a:r>
                      <a:r>
                        <a:rPr lang="en-US" altLang="ko-KR" sz="1200" b="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  <a:cs typeface="Arial" panose="020B0604020202020204" pitchFamily="34" charset="0"/>
                        </a:rPr>
                        <a:t> Committee (GCC)</a:t>
                      </a:r>
                      <a:endParaRPr lang="en-US" altLang="ko-KR" sz="1200" b="0" dirty="0" smtClean="0">
                        <a:solidFill>
                          <a:schemeClr val="tx2">
                            <a:lumMod val="50000"/>
                          </a:schemeClr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  <a:cs typeface="Arial" panose="020B0604020202020204" pitchFamily="34" charset="0"/>
                      </a:endParaRPr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C9F9"/>
                    </a:solidFill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1000" dirty="0"/>
                    </a:p>
                  </a:txBody>
                  <a:tcPr marL="90055" marR="90055" marT="40341" marB="40341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1" name="모서리가 둥근 직사각형 80"/>
          <p:cNvSpPr/>
          <p:nvPr/>
        </p:nvSpPr>
        <p:spPr bwMode="ltGray">
          <a:xfrm>
            <a:off x="2470907" y="2613955"/>
            <a:ext cx="990343" cy="260930"/>
          </a:xfrm>
          <a:prstGeom prst="roundRect">
            <a:avLst>
              <a:gd name="adj" fmla="val 50000"/>
            </a:avLst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kern="0" dirty="0" smtClean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월 시작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2" name="모서리가 둥근 직사각형 81"/>
          <p:cNvSpPr/>
          <p:nvPr/>
        </p:nvSpPr>
        <p:spPr bwMode="ltGray">
          <a:xfrm>
            <a:off x="3822000" y="2600908"/>
            <a:ext cx="1089377" cy="287023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획된 활동 진행</a:t>
            </a:r>
          </a:p>
        </p:txBody>
      </p:sp>
      <p:sp>
        <p:nvSpPr>
          <p:cNvPr id="83" name="순서도: 판단 82"/>
          <p:cNvSpPr/>
          <p:nvPr/>
        </p:nvSpPr>
        <p:spPr bwMode="ltGray">
          <a:xfrm>
            <a:off x="5222610" y="2600908"/>
            <a:ext cx="1089377" cy="287023"/>
          </a:xfrm>
          <a:prstGeom prst="flowChartDecision">
            <a:avLst/>
          </a:prstGeom>
          <a:solidFill>
            <a:srgbClr val="FFB600">
              <a:lumMod val="60000"/>
              <a:lumOff val="40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활동 완료</a:t>
            </a:r>
            <a:endParaRPr kumimoji="0" lang="ko-KR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84" name="직선 화살표 연결선 83"/>
          <p:cNvCxnSpPr>
            <a:stCxn id="81" idx="3"/>
            <a:endCxn id="82" idx="1"/>
          </p:cNvCxnSpPr>
          <p:nvPr/>
        </p:nvCxnSpPr>
        <p:spPr>
          <a:xfrm>
            <a:off x="3461249" y="2744420"/>
            <a:ext cx="360750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5" name="직선 화살표 연결선 84"/>
          <p:cNvCxnSpPr>
            <a:stCxn id="82" idx="3"/>
            <a:endCxn id="83" idx="1"/>
          </p:cNvCxnSpPr>
          <p:nvPr/>
        </p:nvCxnSpPr>
        <p:spPr>
          <a:xfrm>
            <a:off x="4911377" y="2744420"/>
            <a:ext cx="311233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" name="순서도: 판단 85"/>
          <p:cNvSpPr/>
          <p:nvPr/>
        </p:nvSpPr>
        <p:spPr bwMode="ltGray">
          <a:xfrm>
            <a:off x="6623220" y="2600908"/>
            <a:ext cx="1089377" cy="287023"/>
          </a:xfrm>
          <a:prstGeom prst="flowChartDecision">
            <a:avLst/>
          </a:prstGeom>
          <a:solidFill>
            <a:srgbClr val="FFB600">
              <a:lumMod val="60000"/>
              <a:lumOff val="40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지연된 승인</a:t>
            </a:r>
            <a:r>
              <a:rPr lang="ko-KR" altLang="en-US" sz="8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건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87" name="직선 화살표 연결선 86"/>
          <p:cNvCxnSpPr>
            <a:stCxn id="83" idx="3"/>
            <a:endCxn id="86" idx="1"/>
          </p:cNvCxnSpPr>
          <p:nvPr/>
        </p:nvCxnSpPr>
        <p:spPr>
          <a:xfrm>
            <a:off x="6311987" y="2744420"/>
            <a:ext cx="311233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8" name="순서도: 판단 87"/>
          <p:cNvSpPr/>
          <p:nvPr/>
        </p:nvSpPr>
        <p:spPr bwMode="ltGray">
          <a:xfrm>
            <a:off x="8023830" y="2600908"/>
            <a:ext cx="1089377" cy="287023"/>
          </a:xfrm>
          <a:prstGeom prst="flowChartDecision">
            <a:avLst/>
          </a:prstGeom>
          <a:solidFill>
            <a:srgbClr val="FFB600">
              <a:lumMod val="60000"/>
              <a:lumOff val="40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기간 내에 해결</a:t>
            </a:r>
          </a:p>
        </p:txBody>
      </p:sp>
      <p:cxnSp>
        <p:nvCxnSpPr>
          <p:cNvPr id="89" name="직선 화살표 연결선 88"/>
          <p:cNvCxnSpPr>
            <a:stCxn id="86" idx="3"/>
            <a:endCxn id="88" idx="1"/>
          </p:cNvCxnSpPr>
          <p:nvPr/>
        </p:nvCxnSpPr>
        <p:spPr>
          <a:xfrm>
            <a:off x="7712597" y="2744420"/>
            <a:ext cx="311233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0" name="모서리가 둥근 직사각형 89"/>
          <p:cNvSpPr/>
          <p:nvPr/>
        </p:nvSpPr>
        <p:spPr bwMode="ltGray">
          <a:xfrm>
            <a:off x="5222610" y="3118632"/>
            <a:ext cx="1089377" cy="287023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증빙 첨부한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월별 보고서</a:t>
            </a:r>
          </a:p>
        </p:txBody>
      </p:sp>
      <p:cxnSp>
        <p:nvCxnSpPr>
          <p:cNvPr id="91" name="직선 화살표 연결선 90"/>
          <p:cNvCxnSpPr>
            <a:stCxn id="83" idx="2"/>
            <a:endCxn id="90" idx="0"/>
          </p:cNvCxnSpPr>
          <p:nvPr/>
        </p:nvCxnSpPr>
        <p:spPr>
          <a:xfrm>
            <a:off x="5767298" y="2887931"/>
            <a:ext cx="0" cy="230700"/>
          </a:xfrm>
          <a:prstGeom prst="straightConnector1">
            <a:avLst/>
          </a:prstGeom>
          <a:noFill/>
          <a:ln w="19050" cap="flat" cmpd="sng" algn="ctr">
            <a:solidFill>
              <a:srgbClr val="DC6900"/>
            </a:solidFill>
            <a:prstDash val="solid"/>
            <a:tailEnd type="triangle" w="sm" len="sm"/>
          </a:ln>
          <a:effectLst/>
        </p:spPr>
      </p:cxnSp>
      <p:sp>
        <p:nvSpPr>
          <p:cNvPr id="92" name="모서리가 둥근 직사각형 91"/>
          <p:cNvSpPr/>
          <p:nvPr/>
        </p:nvSpPr>
        <p:spPr bwMode="ltGray">
          <a:xfrm>
            <a:off x="6623220" y="3118632"/>
            <a:ext cx="1089377" cy="287023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‘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연된 승인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’ </a:t>
            </a: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명시</a:t>
            </a:r>
          </a:p>
        </p:txBody>
      </p:sp>
      <p:cxnSp>
        <p:nvCxnSpPr>
          <p:cNvPr id="93" name="직선 화살표 연결선 92"/>
          <p:cNvCxnSpPr>
            <a:stCxn id="86" idx="2"/>
            <a:endCxn id="92" idx="0"/>
          </p:cNvCxnSpPr>
          <p:nvPr/>
        </p:nvCxnSpPr>
        <p:spPr>
          <a:xfrm>
            <a:off x="7167908" y="2887931"/>
            <a:ext cx="0" cy="23070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4" name="모서리가 둥근 직사각형 93"/>
          <p:cNvSpPr/>
          <p:nvPr/>
        </p:nvSpPr>
        <p:spPr bwMode="ltGray">
          <a:xfrm>
            <a:off x="8023830" y="3118632"/>
            <a:ext cx="1089377" cy="287023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정한 계획서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승인 요청</a:t>
            </a:r>
          </a:p>
        </p:txBody>
      </p:sp>
      <p:cxnSp>
        <p:nvCxnSpPr>
          <p:cNvPr id="95" name="직선 화살표 연결선 94"/>
          <p:cNvCxnSpPr>
            <a:stCxn id="88" idx="2"/>
            <a:endCxn id="94" idx="0"/>
          </p:cNvCxnSpPr>
          <p:nvPr/>
        </p:nvCxnSpPr>
        <p:spPr>
          <a:xfrm>
            <a:off x="8568519" y="2887931"/>
            <a:ext cx="0" cy="23070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6" name="모서리가 둥근 직사각형 95"/>
          <p:cNvSpPr/>
          <p:nvPr/>
        </p:nvSpPr>
        <p:spPr bwMode="ltGray">
          <a:xfrm>
            <a:off x="8023830" y="4016196"/>
            <a:ext cx="1089377" cy="287023"/>
          </a:xfrm>
          <a:prstGeom prst="roundRect">
            <a:avLst>
              <a:gd name="adj" fmla="val 0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승인요청 취소 제출</a:t>
            </a:r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*</a:t>
            </a:r>
            <a:endParaRPr lang="ko-KR" altLang="en-US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97" name="직선 화살표 연결선 71"/>
          <p:cNvCxnSpPr>
            <a:stCxn id="88" idx="3"/>
            <a:endCxn id="96" idx="3"/>
          </p:cNvCxnSpPr>
          <p:nvPr/>
        </p:nvCxnSpPr>
        <p:spPr>
          <a:xfrm>
            <a:off x="9113207" y="2744420"/>
            <a:ext cx="12508" cy="1415288"/>
          </a:xfrm>
          <a:prstGeom prst="bentConnector3">
            <a:avLst>
              <a:gd name="adj1" fmla="val 1200000"/>
            </a:avLst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8" name="모서리가 둥근 직사각형 97"/>
          <p:cNvSpPr/>
          <p:nvPr/>
        </p:nvSpPr>
        <p:spPr bwMode="ltGray">
          <a:xfrm>
            <a:off x="5222610" y="3744774"/>
            <a:ext cx="1089377" cy="287023"/>
          </a:xfrm>
          <a:prstGeom prst="roundRect">
            <a:avLst>
              <a:gd name="adj" fmla="val 0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월별 보고서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제출</a:t>
            </a:r>
          </a:p>
        </p:txBody>
      </p:sp>
      <p:cxnSp>
        <p:nvCxnSpPr>
          <p:cNvPr id="99" name="직선 화살표 연결선 98"/>
          <p:cNvCxnSpPr>
            <a:stCxn id="90" idx="2"/>
            <a:endCxn id="98" idx="0"/>
          </p:cNvCxnSpPr>
          <p:nvPr/>
        </p:nvCxnSpPr>
        <p:spPr>
          <a:xfrm>
            <a:off x="5767298" y="3405655"/>
            <a:ext cx="0" cy="339119"/>
          </a:xfrm>
          <a:prstGeom prst="straightConnector1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  <a:tailEnd type="triangle" w="sm" len="sm"/>
          </a:ln>
          <a:effectLst/>
        </p:spPr>
      </p:cxnSp>
      <p:cxnSp>
        <p:nvCxnSpPr>
          <p:cNvPr id="100" name="직선 화살표 연결선 83"/>
          <p:cNvCxnSpPr>
            <a:stCxn id="92" idx="2"/>
            <a:endCxn id="98" idx="3"/>
          </p:cNvCxnSpPr>
          <p:nvPr/>
        </p:nvCxnSpPr>
        <p:spPr>
          <a:xfrm rot="5400000">
            <a:off x="6498632" y="3219009"/>
            <a:ext cx="482631" cy="855922"/>
          </a:xfrm>
          <a:prstGeom prst="bentConnector2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1" name="모서리가 둥근 직사각형 100"/>
          <p:cNvSpPr/>
          <p:nvPr/>
        </p:nvSpPr>
        <p:spPr bwMode="ltGray">
          <a:xfrm>
            <a:off x="2421390" y="4463707"/>
            <a:ext cx="1089377" cy="287023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제출된 보고서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검토</a:t>
            </a:r>
          </a:p>
        </p:txBody>
      </p:sp>
      <p:cxnSp>
        <p:nvCxnSpPr>
          <p:cNvPr id="102" name="직선 화살표 연결선 89"/>
          <p:cNvCxnSpPr>
            <a:stCxn id="98" idx="1"/>
            <a:endCxn id="101" idx="0"/>
          </p:cNvCxnSpPr>
          <p:nvPr/>
        </p:nvCxnSpPr>
        <p:spPr>
          <a:xfrm rot="10800000" flipV="1">
            <a:off x="2966080" y="3888285"/>
            <a:ext cx="2256531" cy="575422"/>
          </a:xfrm>
          <a:prstGeom prst="bentConnector2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순서도: 판단 102"/>
          <p:cNvSpPr/>
          <p:nvPr/>
        </p:nvSpPr>
        <p:spPr bwMode="ltGray">
          <a:xfrm>
            <a:off x="3822000" y="4463707"/>
            <a:ext cx="1089377" cy="287023"/>
          </a:xfrm>
          <a:prstGeom prst="flowChartDecision">
            <a:avLst/>
          </a:prstGeom>
          <a:solidFill>
            <a:srgbClr val="FFB600">
              <a:lumMod val="60000"/>
              <a:lumOff val="40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불일치</a:t>
            </a:r>
            <a:r>
              <a:rPr kumimoji="0" lang="ko-KR" altLang="en-US" sz="8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확인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04" name="직선 화살표 연결선 103"/>
          <p:cNvCxnSpPr>
            <a:stCxn id="101" idx="3"/>
            <a:endCxn id="103" idx="1"/>
          </p:cNvCxnSpPr>
          <p:nvPr/>
        </p:nvCxnSpPr>
        <p:spPr>
          <a:xfrm>
            <a:off x="3510767" y="4607219"/>
            <a:ext cx="311233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직선 화살표 연결선 104"/>
          <p:cNvCxnSpPr>
            <a:stCxn id="103" idx="3"/>
            <a:endCxn id="106" idx="1"/>
          </p:cNvCxnSpPr>
          <p:nvPr/>
        </p:nvCxnSpPr>
        <p:spPr>
          <a:xfrm>
            <a:off x="4911376" y="4607219"/>
            <a:ext cx="311232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6" name="순서도: 판단 105"/>
          <p:cNvSpPr/>
          <p:nvPr/>
        </p:nvSpPr>
        <p:spPr bwMode="ltGray">
          <a:xfrm>
            <a:off x="5222609" y="4463707"/>
            <a:ext cx="1089377" cy="287023"/>
          </a:xfrm>
          <a:prstGeom prst="flowChartDecision">
            <a:avLst/>
          </a:prstGeom>
          <a:solidFill>
            <a:srgbClr val="FFB600">
              <a:lumMod val="60000"/>
              <a:lumOff val="40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승인</a:t>
            </a:r>
            <a:r>
              <a:rPr lang="en-US" altLang="ko-KR" sz="8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8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인정</a:t>
            </a:r>
            <a:r>
              <a:rPr lang="en-US" altLang="ko-KR" sz="800" kern="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?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7" name="타원 106"/>
          <p:cNvSpPr/>
          <p:nvPr/>
        </p:nvSpPr>
        <p:spPr bwMode="ltGray">
          <a:xfrm>
            <a:off x="7868213" y="4496198"/>
            <a:ext cx="283668" cy="222042"/>
          </a:xfrm>
          <a:prstGeom prst="ellipse">
            <a:avLst/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none" lIns="85963" tIns="42981" rIns="85963" bIns="42981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A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08" name="직선 화살표 연결선 107"/>
          <p:cNvCxnSpPr>
            <a:stCxn id="106" idx="3"/>
            <a:endCxn id="111" idx="1"/>
          </p:cNvCxnSpPr>
          <p:nvPr/>
        </p:nvCxnSpPr>
        <p:spPr>
          <a:xfrm>
            <a:off x="6311985" y="4607219"/>
            <a:ext cx="311234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9" name="타원 108"/>
          <p:cNvSpPr/>
          <p:nvPr/>
        </p:nvSpPr>
        <p:spPr bwMode="ltGray">
          <a:xfrm>
            <a:off x="6325768" y="2892260"/>
            <a:ext cx="283668" cy="222042"/>
          </a:xfrm>
          <a:prstGeom prst="ellipse">
            <a:avLst/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none" lIns="85963" tIns="42981" rIns="85963" bIns="42981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A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10" name="직선 화살표 연결선 71"/>
          <p:cNvCxnSpPr>
            <a:stCxn id="109" idx="0"/>
            <a:endCxn id="86" idx="1"/>
          </p:cNvCxnSpPr>
          <p:nvPr/>
        </p:nvCxnSpPr>
        <p:spPr>
          <a:xfrm rot="5400000" flipH="1" flipV="1">
            <a:off x="6471491" y="2740533"/>
            <a:ext cx="147841" cy="155617"/>
          </a:xfrm>
          <a:prstGeom prst="bentConnector2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1" name="모서리가 둥근 직사각형 110"/>
          <p:cNvSpPr/>
          <p:nvPr/>
        </p:nvSpPr>
        <p:spPr bwMode="ltGray">
          <a:xfrm>
            <a:off x="6623220" y="4463707"/>
            <a:ext cx="1089377" cy="287023"/>
          </a:xfrm>
          <a:prstGeom prst="roundRect">
            <a:avLst>
              <a:gd name="adj" fmla="val 0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올바른 승인 요청 요구</a:t>
            </a:r>
          </a:p>
        </p:txBody>
      </p:sp>
      <p:cxnSp>
        <p:nvCxnSpPr>
          <p:cNvPr id="112" name="직선 화살표 연결선 111"/>
          <p:cNvCxnSpPr>
            <a:stCxn id="111" idx="3"/>
            <a:endCxn id="107" idx="2"/>
          </p:cNvCxnSpPr>
          <p:nvPr/>
        </p:nvCxnSpPr>
        <p:spPr>
          <a:xfrm>
            <a:off x="7712597" y="4607219"/>
            <a:ext cx="155616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3" name="모서리가 둥근 직사각형 112"/>
          <p:cNvSpPr/>
          <p:nvPr/>
        </p:nvSpPr>
        <p:spPr bwMode="ltGray">
          <a:xfrm>
            <a:off x="2421390" y="5204737"/>
            <a:ext cx="1089377" cy="287023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당성 조사</a:t>
            </a:r>
          </a:p>
        </p:txBody>
      </p:sp>
      <p:sp>
        <p:nvSpPr>
          <p:cNvPr id="114" name="타원 113"/>
          <p:cNvSpPr/>
          <p:nvPr/>
        </p:nvSpPr>
        <p:spPr bwMode="ltGray">
          <a:xfrm>
            <a:off x="8426685" y="3594004"/>
            <a:ext cx="283668" cy="222042"/>
          </a:xfrm>
          <a:prstGeom prst="ellipse">
            <a:avLst/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none" lIns="85963" tIns="42981" rIns="85963" bIns="42981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B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15" name="직선 화살표 연결선 114"/>
          <p:cNvCxnSpPr>
            <a:stCxn id="94" idx="2"/>
            <a:endCxn id="114" idx="0"/>
          </p:cNvCxnSpPr>
          <p:nvPr/>
        </p:nvCxnSpPr>
        <p:spPr>
          <a:xfrm>
            <a:off x="8568519" y="3405655"/>
            <a:ext cx="0" cy="18835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6" name="직선 화살표 연결선 115"/>
          <p:cNvCxnSpPr>
            <a:stCxn id="96" idx="0"/>
            <a:endCxn id="114" idx="4"/>
          </p:cNvCxnSpPr>
          <p:nvPr/>
        </p:nvCxnSpPr>
        <p:spPr>
          <a:xfrm flipV="1">
            <a:off x="8568519" y="3816046"/>
            <a:ext cx="0" cy="20015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7" name="타원 116"/>
          <p:cNvSpPr/>
          <p:nvPr/>
        </p:nvSpPr>
        <p:spPr bwMode="ltGray">
          <a:xfrm>
            <a:off x="2824243" y="4861476"/>
            <a:ext cx="283668" cy="222042"/>
          </a:xfrm>
          <a:prstGeom prst="ellipse">
            <a:avLst/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none" lIns="85963" tIns="42981" rIns="85963" bIns="42981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B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18" name="직선 화살표 연결선 117"/>
          <p:cNvCxnSpPr>
            <a:stCxn id="117" idx="4"/>
            <a:endCxn id="113" idx="0"/>
          </p:cNvCxnSpPr>
          <p:nvPr/>
        </p:nvCxnSpPr>
        <p:spPr>
          <a:xfrm>
            <a:off x="2966078" y="5083518"/>
            <a:ext cx="1" cy="121219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9" name="다이아몬드 118"/>
          <p:cNvSpPr/>
          <p:nvPr/>
        </p:nvSpPr>
        <p:spPr bwMode="ltGray">
          <a:xfrm>
            <a:off x="3822000" y="5204737"/>
            <a:ext cx="1089377" cy="287023"/>
          </a:xfrm>
          <a:prstGeom prst="diamond">
            <a:avLst/>
          </a:prstGeom>
          <a:solidFill>
            <a:srgbClr val="FFB600">
              <a:lumMod val="60000"/>
              <a:lumOff val="40000"/>
            </a:srgbClr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시행 조치에</a:t>
            </a:r>
            <a:endParaRPr kumimoji="0" lang="en-US" altLang="ko-KR" sz="8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노출 여부</a:t>
            </a:r>
          </a:p>
        </p:txBody>
      </p:sp>
      <p:cxnSp>
        <p:nvCxnSpPr>
          <p:cNvPr id="120" name="직선 화살표 연결선 119"/>
          <p:cNvCxnSpPr>
            <a:stCxn id="113" idx="3"/>
            <a:endCxn id="119" idx="1"/>
          </p:cNvCxnSpPr>
          <p:nvPr/>
        </p:nvCxnSpPr>
        <p:spPr>
          <a:xfrm>
            <a:off x="3510767" y="5348248"/>
            <a:ext cx="311233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1" name="모서리가 둥근 직사각형 120"/>
          <p:cNvSpPr/>
          <p:nvPr/>
        </p:nvSpPr>
        <p:spPr bwMode="ltGray">
          <a:xfrm>
            <a:off x="5222608" y="5204737"/>
            <a:ext cx="1089377" cy="287023"/>
          </a:xfrm>
          <a:prstGeom prst="roundRect">
            <a:avLst>
              <a:gd name="adj" fmla="val 0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CO &amp; GCC 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에게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scalation</a:t>
            </a:r>
            <a:endParaRPr lang="ko-KR" altLang="en-US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2" name="직선 화살표 연결선 121"/>
          <p:cNvCxnSpPr>
            <a:stCxn id="119" idx="3"/>
            <a:endCxn id="121" idx="1"/>
          </p:cNvCxnSpPr>
          <p:nvPr/>
        </p:nvCxnSpPr>
        <p:spPr>
          <a:xfrm>
            <a:off x="4911377" y="5348248"/>
            <a:ext cx="311231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3" name="모서리가 둥근 직사각형 122"/>
          <p:cNvSpPr/>
          <p:nvPr/>
        </p:nvSpPr>
        <p:spPr bwMode="ltGray">
          <a:xfrm>
            <a:off x="6623221" y="5204737"/>
            <a:ext cx="1089377" cy="287023"/>
          </a:xfrm>
          <a:prstGeom prst="roundRect">
            <a:avLst>
              <a:gd name="adj" fmla="val 0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CO</a:t>
            </a:r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에 제출 및 </a:t>
            </a:r>
            <a:endParaRPr lang="en-US" altLang="ko-KR" sz="8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승인 요청</a:t>
            </a:r>
          </a:p>
        </p:txBody>
      </p:sp>
      <p:cxnSp>
        <p:nvCxnSpPr>
          <p:cNvPr id="124" name="직선 화살표 연결선 168"/>
          <p:cNvCxnSpPr>
            <a:stCxn id="119" idx="0"/>
            <a:endCxn id="123" idx="0"/>
          </p:cNvCxnSpPr>
          <p:nvPr/>
        </p:nvCxnSpPr>
        <p:spPr>
          <a:xfrm rot="5400000" flipH="1" flipV="1">
            <a:off x="5768657" y="3804127"/>
            <a:ext cx="9790" cy="2801221"/>
          </a:xfrm>
          <a:prstGeom prst="bentConnector3">
            <a:avLst>
              <a:gd name="adj1" fmla="val 1800000"/>
            </a:avLst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5" name="모서리가 둥근 직사각형 124"/>
          <p:cNvSpPr/>
          <p:nvPr/>
        </p:nvSpPr>
        <p:spPr bwMode="ltGray">
          <a:xfrm>
            <a:off x="8341799" y="4476753"/>
            <a:ext cx="990343" cy="260930"/>
          </a:xfrm>
          <a:prstGeom prst="roundRect">
            <a:avLst>
              <a:gd name="adj" fmla="val 50000"/>
            </a:avLst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wrap="none" lIns="85963" tIns="42981" rIns="85963" bIns="42981" rtlCol="0" anchor="ctr"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GCC</a:t>
            </a: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에 보고</a:t>
            </a:r>
          </a:p>
        </p:txBody>
      </p:sp>
      <p:cxnSp>
        <p:nvCxnSpPr>
          <p:cNvPr id="126" name="직선 화살표 연결선 179"/>
          <p:cNvCxnSpPr>
            <a:stCxn id="106" idx="2"/>
            <a:endCxn id="125" idx="2"/>
          </p:cNvCxnSpPr>
          <p:nvPr/>
        </p:nvCxnSpPr>
        <p:spPr>
          <a:xfrm rot="5400000" flipH="1" flipV="1">
            <a:off x="7295610" y="3209370"/>
            <a:ext cx="13047" cy="3069673"/>
          </a:xfrm>
          <a:prstGeom prst="bentConnector3">
            <a:avLst>
              <a:gd name="adj1" fmla="val -1350745"/>
            </a:avLst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7" name="직선 화살표 연결선 182"/>
          <p:cNvCxnSpPr>
            <a:stCxn id="103" idx="2"/>
            <a:endCxn id="125" idx="2"/>
          </p:cNvCxnSpPr>
          <p:nvPr/>
        </p:nvCxnSpPr>
        <p:spPr>
          <a:xfrm rot="5400000" flipH="1" flipV="1">
            <a:off x="6595306" y="2509066"/>
            <a:ext cx="13047" cy="4470282"/>
          </a:xfrm>
          <a:prstGeom prst="bentConnector3">
            <a:avLst>
              <a:gd name="adj1" fmla="val -1350745"/>
            </a:avLst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8" name="타원 127"/>
          <p:cNvSpPr/>
          <p:nvPr/>
        </p:nvSpPr>
        <p:spPr bwMode="ltGray">
          <a:xfrm>
            <a:off x="7138239" y="4038814"/>
            <a:ext cx="283668" cy="222042"/>
          </a:xfrm>
          <a:prstGeom prst="ellipse">
            <a:avLst/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none" lIns="85963" tIns="42981" rIns="85963" bIns="42981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C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29" name="직선 화살표 연결선 83"/>
          <p:cNvCxnSpPr>
            <a:stCxn id="128" idx="2"/>
            <a:endCxn id="98" idx="2"/>
          </p:cNvCxnSpPr>
          <p:nvPr/>
        </p:nvCxnSpPr>
        <p:spPr>
          <a:xfrm rot="10800000">
            <a:off x="5767298" y="4031797"/>
            <a:ext cx="1370941" cy="118037"/>
          </a:xfrm>
          <a:prstGeom prst="bentConnector2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0" name="모서리가 둥근 직사각형 129"/>
          <p:cNvSpPr/>
          <p:nvPr/>
        </p:nvSpPr>
        <p:spPr bwMode="ltGray">
          <a:xfrm>
            <a:off x="2421389" y="6022297"/>
            <a:ext cx="1089377" cy="287023"/>
          </a:xfrm>
          <a:prstGeom prst="roundRect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책 마련 회의</a:t>
            </a:r>
          </a:p>
        </p:txBody>
      </p:sp>
      <p:sp>
        <p:nvSpPr>
          <p:cNvPr id="131" name="모서리가 둥근 직사각형 130"/>
          <p:cNvSpPr/>
          <p:nvPr/>
        </p:nvSpPr>
        <p:spPr bwMode="ltGray">
          <a:xfrm>
            <a:off x="3821999" y="6022297"/>
            <a:ext cx="1089377" cy="287023"/>
          </a:xfrm>
          <a:prstGeom prst="roundRect">
            <a:avLst>
              <a:gd name="adj" fmla="val 0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승인 및 예방책 </a:t>
            </a:r>
          </a:p>
        </p:txBody>
      </p:sp>
      <p:cxnSp>
        <p:nvCxnSpPr>
          <p:cNvPr id="132" name="직선 화살표 연결선 131"/>
          <p:cNvCxnSpPr/>
          <p:nvPr/>
        </p:nvCxnSpPr>
        <p:spPr>
          <a:xfrm>
            <a:off x="3510766" y="6183496"/>
            <a:ext cx="311233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3" name="모서리가 둥근 직사각형 132"/>
          <p:cNvSpPr/>
          <p:nvPr/>
        </p:nvSpPr>
        <p:spPr bwMode="ltGray">
          <a:xfrm>
            <a:off x="6623221" y="5644826"/>
            <a:ext cx="1089377" cy="287023"/>
          </a:xfrm>
          <a:prstGeom prst="roundRect">
            <a:avLst>
              <a:gd name="adj" fmla="val 0"/>
            </a:avLst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8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승인 및 예방책</a:t>
            </a:r>
          </a:p>
        </p:txBody>
      </p:sp>
      <p:cxnSp>
        <p:nvCxnSpPr>
          <p:cNvPr id="134" name="직선 화살표 연결선 133"/>
          <p:cNvCxnSpPr>
            <a:stCxn id="123" idx="2"/>
            <a:endCxn id="133" idx="0"/>
          </p:cNvCxnSpPr>
          <p:nvPr/>
        </p:nvCxnSpPr>
        <p:spPr>
          <a:xfrm>
            <a:off x="7167910" y="5491760"/>
            <a:ext cx="0" cy="153066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직선 화살표 연결선 205"/>
          <p:cNvCxnSpPr>
            <a:stCxn id="121" idx="2"/>
            <a:endCxn id="130" idx="0"/>
          </p:cNvCxnSpPr>
          <p:nvPr/>
        </p:nvCxnSpPr>
        <p:spPr>
          <a:xfrm rot="5400000">
            <a:off x="4101420" y="4356419"/>
            <a:ext cx="530536" cy="2801219"/>
          </a:xfrm>
          <a:prstGeom prst="bentConnector3">
            <a:avLst>
              <a:gd name="adj1" fmla="val 50000"/>
            </a:avLst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6" name="타원 135"/>
          <p:cNvSpPr/>
          <p:nvPr/>
        </p:nvSpPr>
        <p:spPr bwMode="ltGray">
          <a:xfrm>
            <a:off x="8585849" y="6057673"/>
            <a:ext cx="283668" cy="222042"/>
          </a:xfrm>
          <a:prstGeom prst="ellipse">
            <a:avLst/>
          </a:prstGeom>
          <a:solidFill>
            <a:srgbClr val="038CDC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none" lIns="85963" tIns="42981" rIns="85963" bIns="42981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ts val="7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C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37" name="직선 화살표 연결선 136"/>
          <p:cNvCxnSpPr/>
          <p:nvPr/>
        </p:nvCxnSpPr>
        <p:spPr>
          <a:xfrm>
            <a:off x="4911375" y="6183496"/>
            <a:ext cx="3674474" cy="0"/>
          </a:xfrm>
          <a:prstGeom prst="straightConnector1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직선 화살표 연결선 213"/>
          <p:cNvCxnSpPr>
            <a:stCxn id="133" idx="3"/>
            <a:endCxn id="136" idx="0"/>
          </p:cNvCxnSpPr>
          <p:nvPr/>
        </p:nvCxnSpPr>
        <p:spPr>
          <a:xfrm>
            <a:off x="7712598" y="5788338"/>
            <a:ext cx="1015085" cy="269335"/>
          </a:xfrm>
          <a:prstGeom prst="bentConnector2">
            <a:avLst/>
          </a:prstGeom>
          <a:noFill/>
          <a:ln w="25400">
            <a:solidFill>
              <a:srgbClr val="169EF2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9" name="TextBox 138"/>
          <p:cNvSpPr txBox="1"/>
          <p:nvPr/>
        </p:nvSpPr>
        <p:spPr>
          <a:xfrm>
            <a:off x="5505567" y="2884561"/>
            <a:ext cx="89768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6303876" y="2600908"/>
            <a:ext cx="269304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니요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7718317" y="2600908"/>
            <a:ext cx="269304" cy="10259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DC6900">
                    <a:lumMod val="50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니요</a:t>
            </a:r>
            <a:endParaRPr lang="ko-KR" altLang="en-US" sz="800" dirty="0">
              <a:solidFill>
                <a:srgbClr val="DC6900">
                  <a:lumMod val="50000"/>
                </a:srgbClr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6955736" y="2892261"/>
            <a:ext cx="89768" cy="10259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9112188" y="2600908"/>
            <a:ext cx="269304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니요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8353794" y="2892261"/>
            <a:ext cx="89768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4918348" y="4473116"/>
            <a:ext cx="89768" cy="10259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5547077" y="4742024"/>
            <a:ext cx="89768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4045211" y="4762050"/>
            <a:ext cx="269304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니요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6281320" y="4473116"/>
            <a:ext cx="269304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니요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4864559" y="5224327"/>
            <a:ext cx="89768" cy="10259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예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4052900" y="5092956"/>
            <a:ext cx="269304" cy="104901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57888" defTabSz="914400">
              <a:lnSpc>
                <a:spcPts val="752"/>
              </a:lnSpc>
              <a:spcAft>
                <a:spcPts val="846"/>
              </a:spcAft>
            </a:pPr>
            <a:r>
              <a:rPr lang="ko-KR" altLang="en-US" sz="800" dirty="0" smtClean="0">
                <a:solidFill>
                  <a:srgbClr val="333333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Arial" panose="020B0604020202020204" pitchFamily="34" charset="0"/>
              </a:rPr>
              <a:t>아니요</a:t>
            </a:r>
            <a:endParaRPr lang="ko-KR" altLang="en-US" sz="800" dirty="0">
              <a:solidFill>
                <a:srgbClr val="333333"/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51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152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5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6449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 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9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해외지점 관리 방안</a:t>
            </a:r>
          </a:p>
        </p:txBody>
      </p:sp>
      <p:sp>
        <p:nvSpPr>
          <p:cNvPr id="155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0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961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0.1 </a:t>
            </a:r>
            <a:r>
              <a:rPr lang="ko-KR" altLang="en-US" dirty="0" smtClean="0"/>
              <a:t>자금세탁방지</a:t>
            </a:r>
            <a:r>
              <a:rPr lang="en-US" altLang="ko-KR" dirty="0" smtClean="0"/>
              <a:t> </a:t>
            </a:r>
            <a:r>
              <a:rPr lang="ko-KR" altLang="en-US" dirty="0"/>
              <a:t>내부통제 이행 상황 평가 방안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7617470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이행 상황을 평가하기 위한 평가 체크리스트와 평가 모델을 개발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평가를 위한 절차를 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금세탁방지 내부통제 이행 상황 평가 방안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37" name="Title 11"/>
          <p:cNvSpPr txBox="1">
            <a:spLocks/>
          </p:cNvSpPr>
          <p:nvPr/>
        </p:nvSpPr>
        <p:spPr>
          <a:xfrm>
            <a:off x="415924" y="2264897"/>
            <a:ext cx="9154717" cy="44402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400"/>
            <a:r>
              <a:rPr lang="ko-KR" altLang="en-US" sz="1600" kern="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평가를 위한 초기 준비와 계획 단계 후</a:t>
            </a:r>
            <a:r>
              <a:rPr lang="en-US" altLang="ko-KR" sz="1600" kern="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600" kern="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유위험 및 내부통제 환경평가가 수행됩니다</a:t>
            </a:r>
            <a:r>
              <a:rPr lang="en-US" altLang="ko-KR" sz="1600" kern="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. </a:t>
            </a:r>
            <a:br>
              <a:rPr lang="en-US" altLang="ko-KR" sz="1600" kern="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ko-KR" altLang="en-US" sz="1600" kern="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에 따라 잔여 위험 등급이 산출된 등급은 경영진 검토 및 승인을 필요로 합니다</a:t>
            </a:r>
            <a:r>
              <a:rPr lang="en-US" altLang="ko-KR" sz="1600" kern="0" dirty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. </a:t>
            </a:r>
          </a:p>
        </p:txBody>
      </p:sp>
      <p:graphicFrame>
        <p:nvGraphicFramePr>
          <p:cNvPr id="138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663336"/>
              </p:ext>
            </p:extLst>
          </p:nvPr>
        </p:nvGraphicFramePr>
        <p:xfrm>
          <a:off x="560512" y="3505178"/>
          <a:ext cx="8929565" cy="1507998"/>
        </p:xfrm>
        <a:graphic>
          <a:graphicData uri="http://schemas.openxmlformats.org/drawingml/2006/table">
            <a:tbl>
              <a:tblPr bandRow="1"/>
              <a:tblGrid>
                <a:gridCol w="1785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59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59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59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59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325118"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12713" indent="-112713" rtl="0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위험 평가 범위 정의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rtl="0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평가 단위 수립</a:t>
                      </a:r>
                      <a:endParaRPr lang="en-US" sz="1200" b="0" baseline="0" dirty="0" smtClean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rtl="0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데이터 출처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식별</a:t>
                      </a:r>
                      <a:endParaRPr lang="en-US" sz="1200" b="0" baseline="0" dirty="0" smtClean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rtl="0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필요한 데이터 및 증빙자료 요청</a:t>
                      </a:r>
                      <a:endParaRPr lang="en-US" sz="1200" b="0" baseline="0" dirty="0" smtClean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rtl="0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평가 관련 인터뷰 수행 계획 및 일정 관리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5438" marR="75438" marT="37719" marB="3771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리스크 평가 방법론 업데이트 및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데이터 정리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평가 단위 별 고유 위험 평가 수행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해당 담당자와 결과 공유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5438" marR="75438" marT="37719" marB="3771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부통제 과정 및 절차 검토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부통제 과정 및 절차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관련 인터뷰 수행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</a:p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평가 단위 별 내부통제 점수 측정</a:t>
                      </a:r>
                      <a:endParaRPr lang="en-US" sz="1200" b="0" baseline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해당 담당자와 결과 공유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5438" marR="75438" marT="37719" marB="3771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유 위험과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부통제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점수에 따라 잔여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위험도 산출</a:t>
                      </a:r>
                      <a:endParaRPr lang="en-US" altLang="ko-KR" sz="1200" b="0" baseline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marR="0" lvl="0" indent="-1127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해당 담당자와 결과 공유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marL="112713" indent="-112713" latinLnBrk="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평가 점수에 대해 경영진 검토 및 승인</a:t>
                      </a:r>
                      <a:endParaRPr lang="en-US" sz="1200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5438" marR="75438" marT="37719" marB="3771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1pPr>
                      <a:lvl2pPr marL="333493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2pPr>
                      <a:lvl3pPr marL="666985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3pPr>
                      <a:lvl4pPr marL="1000478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4pPr>
                      <a:lvl5pPr marL="133397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5pPr>
                      <a:lvl6pPr marL="1667464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6pPr>
                      <a:lvl7pPr marL="2000957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7pPr>
                      <a:lvl8pPr marL="2334450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8pPr>
                      <a:lvl9pPr marL="2667942" algn="l" defTabSz="666985" rtl="0" eaLnBrk="1" latinLnBrk="1" hangingPunct="1">
                        <a:defRPr sz="1361" kern="1200">
                          <a:solidFill>
                            <a:schemeClr val="dk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112713" marR="0" indent="-112713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결과 집계 후 경영진에 보고 수행</a:t>
                      </a:r>
                      <a:endParaRPr lang="en-US" sz="1200" dirty="0">
                        <a:solidFill>
                          <a:schemeClr val="tx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75438" marR="75438" marT="37719" marB="3771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0" name="Pentagon 36"/>
          <p:cNvSpPr/>
          <p:nvPr/>
        </p:nvSpPr>
        <p:spPr>
          <a:xfrm>
            <a:off x="559450" y="3006560"/>
            <a:ext cx="1900820" cy="426181"/>
          </a:xfrm>
          <a:prstGeom prst="homePlate">
            <a:avLst/>
          </a:prstGeom>
          <a:solidFill>
            <a:srgbClr val="79C9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 </a:t>
            </a: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범위  및 </a:t>
            </a:r>
            <a:r>
              <a:rPr kumimoji="0" 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 </a:t>
            </a: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계획</a:t>
            </a:r>
            <a:endParaRPr kumimoji="0" lang="en-US" sz="120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</p:txBody>
      </p:sp>
      <p:sp>
        <p:nvSpPr>
          <p:cNvPr id="141" name="Chevron 37"/>
          <p:cNvSpPr/>
          <p:nvPr/>
        </p:nvSpPr>
        <p:spPr bwMode="ltGray">
          <a:xfrm>
            <a:off x="4079222" y="2997806"/>
            <a:ext cx="1895952" cy="434935"/>
          </a:xfrm>
          <a:prstGeom prst="chevron">
            <a:avLst/>
          </a:prstGeom>
          <a:solidFill>
            <a:srgbClr val="79C9F9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0512" tIns="30256" rIns="60512" bIns="302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내부통제 환경</a:t>
            </a:r>
            <a:r>
              <a:rPr kumimoji="0" 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 </a:t>
            </a: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평가</a:t>
            </a:r>
            <a:endParaRPr kumimoji="0" lang="en-US" sz="120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</p:txBody>
      </p:sp>
      <p:sp>
        <p:nvSpPr>
          <p:cNvPr id="142" name="Chevron 38"/>
          <p:cNvSpPr/>
          <p:nvPr/>
        </p:nvSpPr>
        <p:spPr bwMode="ltGray">
          <a:xfrm>
            <a:off x="2321770" y="2999437"/>
            <a:ext cx="1895952" cy="433304"/>
          </a:xfrm>
          <a:prstGeom prst="chevron">
            <a:avLst/>
          </a:prstGeom>
          <a:solidFill>
            <a:srgbClr val="79C9F9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0512" tIns="30256" rIns="60512" bIns="302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고유 위험 평가</a:t>
            </a:r>
            <a:endParaRPr kumimoji="0" lang="en-US" sz="120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</p:txBody>
      </p:sp>
      <p:sp>
        <p:nvSpPr>
          <p:cNvPr id="143" name="Chevron 39"/>
          <p:cNvSpPr/>
          <p:nvPr/>
        </p:nvSpPr>
        <p:spPr bwMode="ltGray">
          <a:xfrm>
            <a:off x="7594125" y="2995523"/>
            <a:ext cx="1895952" cy="437218"/>
          </a:xfrm>
          <a:prstGeom prst="chevron">
            <a:avLst/>
          </a:prstGeom>
          <a:solidFill>
            <a:srgbClr val="79C9F9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0512" tIns="30256" rIns="60512" bIns="302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보고</a:t>
            </a:r>
            <a:endParaRPr kumimoji="0" lang="en-US" sz="120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</p:txBody>
      </p:sp>
      <p:sp>
        <p:nvSpPr>
          <p:cNvPr id="144" name="Chevron 40"/>
          <p:cNvSpPr/>
          <p:nvPr/>
        </p:nvSpPr>
        <p:spPr bwMode="ltGray">
          <a:xfrm>
            <a:off x="5836674" y="2997806"/>
            <a:ext cx="1895952" cy="434935"/>
          </a:xfrm>
          <a:prstGeom prst="chevron">
            <a:avLst/>
          </a:prstGeom>
          <a:solidFill>
            <a:srgbClr val="79C9F9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0512" tIns="30256" rIns="60512" bIns="302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잔여 위험</a:t>
            </a:r>
            <a:r>
              <a:rPr kumimoji="0" 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 </a:t>
            </a: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및</a:t>
            </a:r>
            <a:r>
              <a:rPr kumimoji="0" 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 </a:t>
            </a:r>
            <a:r>
              <a:rPr kumimoji="0" lang="ko-KR" altLang="en-US" sz="12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승인절차</a:t>
            </a:r>
            <a:endParaRPr kumimoji="0" lang="en-US" sz="1200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</p:txBody>
      </p:sp>
      <p:sp>
        <p:nvSpPr>
          <p:cNvPr id="145" name="Oval 41"/>
          <p:cNvSpPr/>
          <p:nvPr/>
        </p:nvSpPr>
        <p:spPr>
          <a:xfrm>
            <a:off x="438601" y="2896085"/>
            <a:ext cx="302563" cy="307060"/>
          </a:xfrm>
          <a:prstGeom prst="ellipse">
            <a:avLst/>
          </a:prstGeom>
          <a:solidFill>
            <a:srgbClr val="D04A02">
              <a:lumMod val="5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1</a:t>
            </a:r>
          </a:p>
        </p:txBody>
      </p:sp>
      <p:sp>
        <p:nvSpPr>
          <p:cNvPr id="146" name="Oval 42"/>
          <p:cNvSpPr/>
          <p:nvPr/>
        </p:nvSpPr>
        <p:spPr>
          <a:xfrm>
            <a:off x="2338791" y="2896085"/>
            <a:ext cx="302563" cy="307060"/>
          </a:xfrm>
          <a:prstGeom prst="ellipse">
            <a:avLst/>
          </a:prstGeom>
          <a:solidFill>
            <a:srgbClr val="D04A02">
              <a:lumMod val="5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2</a:t>
            </a:r>
          </a:p>
        </p:txBody>
      </p:sp>
      <p:sp>
        <p:nvSpPr>
          <p:cNvPr id="147" name="Oval 43"/>
          <p:cNvSpPr/>
          <p:nvPr/>
        </p:nvSpPr>
        <p:spPr>
          <a:xfrm>
            <a:off x="4056488" y="2896085"/>
            <a:ext cx="302563" cy="307060"/>
          </a:xfrm>
          <a:prstGeom prst="ellipse">
            <a:avLst/>
          </a:prstGeom>
          <a:solidFill>
            <a:srgbClr val="D04A02">
              <a:lumMod val="5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3</a:t>
            </a:r>
          </a:p>
        </p:txBody>
      </p:sp>
      <p:sp>
        <p:nvSpPr>
          <p:cNvPr id="148" name="Oval 44"/>
          <p:cNvSpPr/>
          <p:nvPr/>
        </p:nvSpPr>
        <p:spPr>
          <a:xfrm>
            <a:off x="5796919" y="2896085"/>
            <a:ext cx="302563" cy="307060"/>
          </a:xfrm>
          <a:prstGeom prst="ellipse">
            <a:avLst/>
          </a:prstGeom>
          <a:solidFill>
            <a:srgbClr val="D04A02">
              <a:lumMod val="5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4</a:t>
            </a:r>
          </a:p>
        </p:txBody>
      </p:sp>
      <p:sp>
        <p:nvSpPr>
          <p:cNvPr id="149" name="Oval 45"/>
          <p:cNvSpPr/>
          <p:nvPr/>
        </p:nvSpPr>
        <p:spPr>
          <a:xfrm>
            <a:off x="7575697" y="2896085"/>
            <a:ext cx="302563" cy="307060"/>
          </a:xfrm>
          <a:prstGeom prst="ellipse">
            <a:avLst/>
          </a:prstGeom>
          <a:solidFill>
            <a:srgbClr val="D04A02">
              <a:lumMod val="50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5</a:t>
            </a:r>
          </a:p>
        </p:txBody>
      </p:sp>
      <p:grpSp>
        <p:nvGrpSpPr>
          <p:cNvPr id="150" name="Group 46"/>
          <p:cNvGrpSpPr/>
          <p:nvPr/>
        </p:nvGrpSpPr>
        <p:grpSpPr>
          <a:xfrm>
            <a:off x="7329264" y="4259860"/>
            <a:ext cx="2088415" cy="2049460"/>
            <a:chOff x="4869194" y="3804277"/>
            <a:chExt cx="1725963" cy="1539789"/>
          </a:xfrm>
        </p:grpSpPr>
        <p:pic>
          <p:nvPicPr>
            <p:cNvPr id="151" name="Picture 4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5130" y="3804277"/>
              <a:ext cx="810027" cy="1005092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pic>
          <p:nvPicPr>
            <p:cNvPr id="152" name="Picture 4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48746" y="4005096"/>
              <a:ext cx="855083" cy="902388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pic>
          <p:nvPicPr>
            <p:cNvPr id="153" name="Picture 53"/>
            <p:cNvPicPr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5196" y="4236737"/>
              <a:ext cx="816194" cy="1003822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pic>
          <p:nvPicPr>
            <p:cNvPr id="154" name="Picture 54"/>
            <p:cNvPicPr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69194" y="4438479"/>
              <a:ext cx="966318" cy="905587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</p:grpSp>
      <p:sp>
        <p:nvSpPr>
          <p:cNvPr id="3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34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2153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10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8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1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42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0.2 </a:t>
            </a:r>
            <a:r>
              <a:rPr lang="ko-KR" altLang="en-US" dirty="0"/>
              <a:t>영업점 </a:t>
            </a:r>
            <a:r>
              <a:rPr lang="ko-KR" altLang="en-US" dirty="0" smtClean="0"/>
              <a:t>자금세탁방지</a:t>
            </a:r>
            <a:r>
              <a:rPr lang="en-US" altLang="ko-KR" dirty="0" smtClean="0"/>
              <a:t> </a:t>
            </a:r>
            <a:r>
              <a:rPr lang="ko-KR" altLang="en-US" dirty="0"/>
              <a:t>이행 평가 절차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6649256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영업점 자금세탁방지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행 평가를 위한 평가 체크리스트를 개발하고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주요 취약점을 개선하기 위한 절차를 수립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영업점 자금세탁방지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이행 평가 절차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5" name="직사각형 74"/>
          <p:cNvSpPr/>
          <p:nvPr/>
        </p:nvSpPr>
        <p:spPr bwMode="ltGray">
          <a:xfrm>
            <a:off x="7893128" y="2265723"/>
            <a:ext cx="1523953" cy="503985"/>
          </a:xfrm>
          <a:prstGeom prst="rect">
            <a:avLst/>
          </a:prstGeom>
          <a:solidFill>
            <a:srgbClr val="038CDC"/>
          </a:solidFill>
          <a:ln w="3175" cap="flat" cmpd="sng" algn="ctr">
            <a:noFill/>
            <a:prstDash val="solid"/>
          </a:ln>
          <a:effectLst/>
        </p:spPr>
        <p:txBody>
          <a:bodyPr rIns="0" rtlCol="0" anchor="ctr"/>
          <a:lstStyle/>
          <a:p>
            <a:pPr algn="ctr" defTabSz="1018712">
              <a:defRPr/>
            </a:pPr>
            <a:endParaRPr lang="ko-KR" altLang="en-US" sz="1400" b="1" kern="0" dirty="0" smtClean="0">
              <a:solidFill>
                <a:srgbClr val="FFFFFF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6" name="직사각형 75"/>
          <p:cNvSpPr/>
          <p:nvPr/>
        </p:nvSpPr>
        <p:spPr bwMode="ltGray">
          <a:xfrm>
            <a:off x="2273872" y="2825914"/>
            <a:ext cx="1704668" cy="304028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72000" tIns="108000" rIns="0" bIns="0" rtlCol="0" anchor="t" anchorCtr="0"/>
          <a:lstStyle/>
          <a:p>
            <a:pPr marL="93644" indent="-93644" defTabSz="1018712">
              <a:buFont typeface="Arial" pitchFamily="34" charset="0"/>
              <a:buChar char="•"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7" name="직사각형 76"/>
          <p:cNvSpPr/>
          <p:nvPr/>
        </p:nvSpPr>
        <p:spPr bwMode="ltGray">
          <a:xfrm>
            <a:off x="494978" y="2828757"/>
            <a:ext cx="1714302" cy="304028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72000" tIns="108000" rIns="0" bIns="0" rtlCol="0" anchor="t" anchorCtr="0"/>
          <a:lstStyle/>
          <a:p>
            <a:pPr marL="93644" indent="-93644" defTabSz="1018712">
              <a:buFont typeface="Arial" pitchFamily="34" charset="0"/>
              <a:buChar char="•"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8" name="직사각형 77"/>
          <p:cNvSpPr/>
          <p:nvPr/>
        </p:nvSpPr>
        <p:spPr bwMode="ltGray">
          <a:xfrm>
            <a:off x="5794056" y="2825914"/>
            <a:ext cx="1714302" cy="304028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72000" tIns="108000" rIns="0" bIns="0" rtlCol="0" anchor="t" anchorCtr="0"/>
          <a:lstStyle/>
          <a:p>
            <a:pPr marL="93644" indent="-93644" defTabSz="1018712">
              <a:buFont typeface="Arial" pitchFamily="34" charset="0"/>
              <a:buChar char="•"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9" name="직사각형 78"/>
          <p:cNvSpPr/>
          <p:nvPr/>
        </p:nvSpPr>
        <p:spPr bwMode="ltGray">
          <a:xfrm>
            <a:off x="4027697" y="2825914"/>
            <a:ext cx="1714302" cy="304028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72000" tIns="108000" rIns="0" bIns="0" rtlCol="0" anchor="t" anchorCtr="0"/>
          <a:lstStyle/>
          <a:p>
            <a:pPr marL="93644" indent="-93644" defTabSz="1018712">
              <a:buFont typeface="Arial" pitchFamily="34" charset="0"/>
              <a:buChar char="•"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0" name="직사각형 79"/>
          <p:cNvSpPr/>
          <p:nvPr/>
        </p:nvSpPr>
        <p:spPr bwMode="ltGray">
          <a:xfrm>
            <a:off x="7560320" y="2825913"/>
            <a:ext cx="1714302" cy="304028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72000" tIns="108000" rIns="0" bIns="0" rtlCol="0" anchor="t" anchorCtr="0"/>
          <a:lstStyle/>
          <a:p>
            <a:pPr marL="93644" indent="-93644" defTabSz="1018712">
              <a:buFont typeface="Arial" pitchFamily="34" charset="0"/>
              <a:buChar char="•"/>
              <a:defRPr/>
            </a:pPr>
            <a:endParaRPr lang="en-US" altLang="ko-KR" sz="1050" kern="0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2" name="오각형 81"/>
          <p:cNvSpPr/>
          <p:nvPr/>
        </p:nvSpPr>
        <p:spPr bwMode="ltGray">
          <a:xfrm>
            <a:off x="423446" y="2265724"/>
            <a:ext cx="1964304" cy="503985"/>
          </a:xfrm>
          <a:prstGeom prst="homePlate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3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방법론 </a:t>
            </a:r>
            <a:r>
              <a:rPr lang="ko-KR" altLang="en-US" sz="13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및 템플릿 </a:t>
            </a:r>
            <a:r>
              <a:rPr lang="ko-KR" altLang="en-US" sz="13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구성</a:t>
            </a:r>
          </a:p>
        </p:txBody>
      </p:sp>
      <p:sp>
        <p:nvSpPr>
          <p:cNvPr id="85" name="갈매기형 수장 84"/>
          <p:cNvSpPr/>
          <p:nvPr/>
        </p:nvSpPr>
        <p:spPr bwMode="ltGray">
          <a:xfrm>
            <a:off x="2176929" y="2265724"/>
            <a:ext cx="1964305" cy="503985"/>
          </a:xfrm>
          <a:prstGeom prst="chevron">
            <a:avLst/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3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초 </a:t>
            </a:r>
            <a:r>
              <a:rPr lang="ko-KR" altLang="en-US" sz="13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데이터 수집</a:t>
            </a:r>
            <a:endParaRPr lang="ko-KR" altLang="en-US" sz="13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8" name="갈매기형 수장 87"/>
          <p:cNvSpPr/>
          <p:nvPr/>
        </p:nvSpPr>
        <p:spPr bwMode="ltGray">
          <a:xfrm>
            <a:off x="3940391" y="2265724"/>
            <a:ext cx="1964304" cy="503985"/>
          </a:xfrm>
          <a:prstGeom prst="chevron">
            <a:avLst/>
          </a:prstGeom>
          <a:solidFill>
            <a:srgbClr val="79C9F9"/>
          </a:solidFill>
          <a:ln w="6350">
            <a:solidFill>
              <a:srgbClr val="22A8F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3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</a:t>
            </a:r>
            <a:r>
              <a:rPr lang="ko-KR" altLang="en-US" sz="13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내부통제 평가</a:t>
            </a:r>
            <a:endParaRPr lang="en-US" altLang="ko-KR" sz="13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갈매기형 수장 90"/>
          <p:cNvSpPr/>
          <p:nvPr/>
        </p:nvSpPr>
        <p:spPr bwMode="ltGray">
          <a:xfrm>
            <a:off x="5709274" y="2265724"/>
            <a:ext cx="1964305" cy="503985"/>
          </a:xfrm>
          <a:prstGeom prst="chevron">
            <a:avLst/>
          </a:prstGeom>
          <a:solidFill>
            <a:srgbClr val="22A8F0"/>
          </a:solidFill>
          <a:ln w="6350">
            <a:solidFill>
              <a:srgbClr val="038CDC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300" i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주요 </a:t>
            </a:r>
            <a:r>
              <a:rPr lang="ko-KR" altLang="en-US" sz="1300" i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취약점 식별</a:t>
            </a:r>
            <a:endParaRPr lang="ko-KR" altLang="en-US" sz="1300" i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3" name="갈매기형 수장 92"/>
          <p:cNvSpPr/>
          <p:nvPr/>
        </p:nvSpPr>
        <p:spPr bwMode="ltGray">
          <a:xfrm>
            <a:off x="7453192" y="2265723"/>
            <a:ext cx="1964304" cy="503985"/>
          </a:xfrm>
          <a:prstGeom prst="chevron">
            <a:avLst/>
          </a:prstGeom>
          <a:solidFill>
            <a:srgbClr val="038CDC"/>
          </a:solidFill>
          <a:ln w="3175" cap="flat" cmpd="sng" algn="ctr">
            <a:noFill/>
            <a:prstDash val="solid"/>
          </a:ln>
          <a:effectLst/>
        </p:spPr>
        <p:txBody>
          <a:bodyPr rIns="0" rtlCol="0" anchor="ctr"/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선영역 도출</a:t>
            </a:r>
          </a:p>
        </p:txBody>
      </p:sp>
      <p:sp>
        <p:nvSpPr>
          <p:cNvPr id="95" name="오각형 94"/>
          <p:cNvSpPr/>
          <p:nvPr/>
        </p:nvSpPr>
        <p:spPr bwMode="ltGray">
          <a:xfrm>
            <a:off x="5957464" y="2961180"/>
            <a:ext cx="1387485" cy="433972"/>
          </a:xfrm>
          <a:prstGeom prst="homePlate">
            <a:avLst/>
          </a:prstGeom>
          <a:solidFill>
            <a:srgbClr val="22A8F0"/>
          </a:solidFill>
          <a:ln w="3175" cap="flat" cmpd="sng" algn="ctr">
            <a:solidFill>
              <a:srgbClr val="60232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전행 차원</a:t>
            </a:r>
            <a:endParaRPr kumimoji="0" lang="en-US" altLang="ko-KR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취약점 </a:t>
            </a:r>
          </a:p>
        </p:txBody>
      </p:sp>
      <p:sp>
        <p:nvSpPr>
          <p:cNvPr id="96" name="오각형 95"/>
          <p:cNvSpPr/>
          <p:nvPr/>
        </p:nvSpPr>
        <p:spPr bwMode="ltGray">
          <a:xfrm>
            <a:off x="5957464" y="5237163"/>
            <a:ext cx="1387485" cy="433972"/>
          </a:xfrm>
          <a:prstGeom prst="homePlate">
            <a:avLst/>
          </a:prstGeom>
          <a:solidFill>
            <a:srgbClr val="22A8F0"/>
          </a:solidFill>
          <a:ln w="3175" cap="flat" cmpd="sng" algn="ctr">
            <a:solidFill>
              <a:srgbClr val="602320"/>
            </a:solidFill>
            <a:prstDash val="solid"/>
          </a:ln>
          <a:effectLst/>
        </p:spPr>
        <p:txBody>
          <a:bodyPr rtlCol="0" anchor="ctr"/>
          <a:lstStyle/>
          <a:p>
            <a:pPr algn="ctr" defTabSz="1018712"/>
            <a:r>
              <a:rPr lang="ko-KR" altLang="en-US" sz="12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점別</a:t>
            </a:r>
            <a:endParaRPr lang="en-US" altLang="ko-KR" sz="12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defTabSz="1018712"/>
            <a:r>
              <a:rPr lang="ko-KR" altLang="en-US" sz="1200" kern="0" dirty="0">
                <a:solidFill>
                  <a:srgbClr val="FFFF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취약점</a:t>
            </a:r>
            <a:endParaRPr lang="en-US" altLang="ko-KR" sz="1200" kern="0" dirty="0">
              <a:solidFill>
                <a:srgbClr val="FFFF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7" name="오각형 96"/>
          <p:cNvSpPr/>
          <p:nvPr/>
        </p:nvSpPr>
        <p:spPr bwMode="ltGray">
          <a:xfrm>
            <a:off x="7723823" y="2961180"/>
            <a:ext cx="1387485" cy="433972"/>
          </a:xfrm>
          <a:prstGeom prst="homePlate">
            <a:avLst>
              <a:gd name="adj" fmla="val 0"/>
            </a:avLst>
          </a:prstGeom>
          <a:solidFill>
            <a:srgbClr val="038CDC"/>
          </a:solidFill>
          <a:ln w="3175" cap="flat" cmpd="sng" algn="ctr">
            <a:solidFill>
              <a:srgbClr val="60232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선과제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로드맵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459283" y="4085398"/>
            <a:ext cx="243213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74320" defTabSz="1018712" latinLnBrk="1"/>
            <a:endParaRPr lang="ko-KR" altLang="en-US" sz="1600" b="1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459283" y="3909839"/>
            <a:ext cx="243213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indent="-274320" defTabSz="1018712" latinLnBrk="1"/>
            <a:endParaRPr lang="ko-KR" altLang="en-US" sz="1600" b="1" dirty="0" smtClean="0">
              <a:solidFill>
                <a:srgbClr val="000000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0" name="오각형 99"/>
          <p:cNvSpPr/>
          <p:nvPr/>
        </p:nvSpPr>
        <p:spPr bwMode="ltGray">
          <a:xfrm>
            <a:off x="658387" y="2961180"/>
            <a:ext cx="1387485" cy="433972"/>
          </a:xfrm>
          <a:prstGeom prst="homePlate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평가 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템플릿</a:t>
            </a:r>
          </a:p>
        </p:txBody>
      </p:sp>
      <p:sp>
        <p:nvSpPr>
          <p:cNvPr id="101" name="오각형 100"/>
          <p:cNvSpPr/>
          <p:nvPr/>
        </p:nvSpPr>
        <p:spPr bwMode="ltGray">
          <a:xfrm>
            <a:off x="658387" y="5237162"/>
            <a:ext cx="1387485" cy="433972"/>
          </a:xfrm>
          <a:prstGeom prst="homePlate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평가 설문지</a:t>
            </a:r>
          </a:p>
        </p:txBody>
      </p:sp>
      <p:sp>
        <p:nvSpPr>
          <p:cNvPr id="102" name="오각형 101"/>
          <p:cNvSpPr/>
          <p:nvPr/>
        </p:nvSpPr>
        <p:spPr bwMode="ltGray">
          <a:xfrm>
            <a:off x="2454994" y="2961180"/>
            <a:ext cx="1387485" cy="433972"/>
          </a:xfrm>
          <a:prstGeom prst="homePlate">
            <a:avLst/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정보</a:t>
            </a:r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시스템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3" name="오각형 102"/>
          <p:cNvSpPr/>
          <p:nvPr/>
        </p:nvSpPr>
        <p:spPr bwMode="ltGray">
          <a:xfrm>
            <a:off x="2454994" y="5237162"/>
            <a:ext cx="1387485" cy="433972"/>
          </a:xfrm>
          <a:prstGeom prst="homePlate">
            <a:avLst/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점別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en-US" altLang="ko-KR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Local CO</a:t>
            </a:r>
            <a:endParaRPr lang="ko-KR" altLang="en-US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4" name="오각형 103"/>
          <p:cNvSpPr/>
          <p:nvPr/>
        </p:nvSpPr>
        <p:spPr bwMode="ltGray">
          <a:xfrm>
            <a:off x="2454994" y="4099171"/>
            <a:ext cx="1387485" cy="433972"/>
          </a:xfrm>
          <a:prstGeom prst="homePlate">
            <a:avLst/>
          </a:prstGeom>
          <a:solidFill>
            <a:srgbClr val="ABDDFB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본점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금세탁방지부</a:t>
            </a:r>
          </a:p>
        </p:txBody>
      </p:sp>
      <p:cxnSp>
        <p:nvCxnSpPr>
          <p:cNvPr id="105" name="꺾인 연결선 104"/>
          <p:cNvCxnSpPr>
            <a:stCxn id="100" idx="3"/>
            <a:endCxn id="104" idx="1"/>
          </p:cNvCxnSpPr>
          <p:nvPr/>
        </p:nvCxnSpPr>
        <p:spPr>
          <a:xfrm>
            <a:off x="2045872" y="3178167"/>
            <a:ext cx="409122" cy="1137991"/>
          </a:xfrm>
          <a:prstGeom prst="bentConnector3">
            <a:avLst/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06" name="꺾인 연결선 105"/>
          <p:cNvCxnSpPr>
            <a:stCxn id="100" idx="3"/>
            <a:endCxn id="103" idx="1"/>
          </p:cNvCxnSpPr>
          <p:nvPr/>
        </p:nvCxnSpPr>
        <p:spPr>
          <a:xfrm>
            <a:off x="2045872" y="3178167"/>
            <a:ext cx="409122" cy="22759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07" name="오각형 106"/>
          <p:cNvSpPr/>
          <p:nvPr/>
        </p:nvSpPr>
        <p:spPr bwMode="ltGray">
          <a:xfrm>
            <a:off x="4191105" y="2961180"/>
            <a:ext cx="1387485" cy="433972"/>
          </a:xfrm>
          <a:prstGeom prst="homePlate">
            <a:avLst/>
          </a:prstGeom>
          <a:solidFill>
            <a:srgbClr val="79C9F9"/>
          </a:solidFill>
          <a:ln w="3175" cap="flat" cmpd="sng" algn="ctr">
            <a:solidFill>
              <a:srgbClr val="60232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고유 위험</a:t>
            </a:r>
          </a:p>
        </p:txBody>
      </p:sp>
      <p:sp>
        <p:nvSpPr>
          <p:cNvPr id="108" name="오각형 107"/>
          <p:cNvSpPr/>
          <p:nvPr/>
        </p:nvSpPr>
        <p:spPr bwMode="ltGray">
          <a:xfrm>
            <a:off x="4191105" y="4099171"/>
            <a:ext cx="1387485" cy="433972"/>
          </a:xfrm>
          <a:prstGeom prst="homePlate">
            <a:avLst/>
          </a:prstGeom>
          <a:solidFill>
            <a:srgbClr val="79C9F9"/>
          </a:solidFill>
          <a:ln w="3175" cap="flat" cmpd="sng" algn="ctr">
            <a:solidFill>
              <a:srgbClr val="602320"/>
            </a:solidFill>
            <a:prstDash val="solid"/>
          </a:ln>
          <a:effectLst/>
        </p:spPr>
        <p:txBody>
          <a:bodyPr rtlCol="0" anchor="ctr"/>
          <a:lstStyle/>
          <a:p>
            <a:pPr algn="ctr" defTabSz="1018712"/>
            <a:r>
              <a:rPr lang="ko-KR" altLang="en-US" sz="12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</a:t>
            </a:r>
            <a:endParaRPr lang="en-US" altLang="ko-KR" sz="1200" kern="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 defTabSz="1018712"/>
            <a:r>
              <a:rPr lang="ko-KR" altLang="en-US" sz="12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운영 수준</a:t>
            </a:r>
          </a:p>
        </p:txBody>
      </p:sp>
      <p:sp>
        <p:nvSpPr>
          <p:cNvPr id="109" name="오각형 108"/>
          <p:cNvSpPr/>
          <p:nvPr/>
        </p:nvSpPr>
        <p:spPr bwMode="ltGray">
          <a:xfrm>
            <a:off x="4191105" y="5237163"/>
            <a:ext cx="1387485" cy="433972"/>
          </a:xfrm>
          <a:prstGeom prst="homePlate">
            <a:avLst/>
          </a:prstGeom>
          <a:solidFill>
            <a:srgbClr val="79C9F9"/>
          </a:solidFill>
          <a:ln w="3175" cap="flat" cmpd="sng" algn="ctr">
            <a:solidFill>
              <a:srgbClr val="602320"/>
            </a:solidFill>
            <a:prstDash val="solid"/>
          </a:ln>
          <a:effectLst/>
        </p:spPr>
        <p:txBody>
          <a:bodyPr rtlCol="0" anchor="ctr"/>
          <a:lstStyle/>
          <a:p>
            <a:pPr algn="ctr" defTabSz="1018712"/>
            <a:r>
              <a:rPr lang="ko-KR" altLang="en-US" sz="1200" kern="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잔여 위험</a:t>
            </a:r>
          </a:p>
        </p:txBody>
      </p:sp>
      <p:cxnSp>
        <p:nvCxnSpPr>
          <p:cNvPr id="110" name="꺾인 연결선 109"/>
          <p:cNvCxnSpPr>
            <a:stCxn id="103" idx="3"/>
            <a:endCxn id="108" idx="1"/>
          </p:cNvCxnSpPr>
          <p:nvPr/>
        </p:nvCxnSpPr>
        <p:spPr>
          <a:xfrm flipV="1">
            <a:off x="3842480" y="4316158"/>
            <a:ext cx="348625" cy="11379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1" name="꺾인 연결선 110"/>
          <p:cNvCxnSpPr>
            <a:stCxn id="104" idx="3"/>
            <a:endCxn id="107" idx="1"/>
          </p:cNvCxnSpPr>
          <p:nvPr/>
        </p:nvCxnSpPr>
        <p:spPr>
          <a:xfrm flipV="1">
            <a:off x="3842480" y="3178167"/>
            <a:ext cx="348625" cy="11379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2" name="직선 화살표 연결선 111"/>
          <p:cNvCxnSpPr>
            <a:stCxn id="102" idx="3"/>
            <a:endCxn id="107" idx="1"/>
          </p:cNvCxnSpPr>
          <p:nvPr/>
        </p:nvCxnSpPr>
        <p:spPr>
          <a:xfrm>
            <a:off x="3842480" y="3178167"/>
            <a:ext cx="348625" cy="0"/>
          </a:xfrm>
          <a:prstGeom prst="straightConnector1">
            <a:avLst/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3" name="꺾인 연결선 112"/>
          <p:cNvCxnSpPr>
            <a:stCxn id="108" idx="3"/>
            <a:endCxn id="95" idx="1"/>
          </p:cNvCxnSpPr>
          <p:nvPr/>
        </p:nvCxnSpPr>
        <p:spPr>
          <a:xfrm flipV="1">
            <a:off x="5578590" y="3178167"/>
            <a:ext cx="378874" cy="1137991"/>
          </a:xfrm>
          <a:prstGeom prst="bentConnector3">
            <a:avLst/>
          </a:prstGeom>
          <a:noFill/>
          <a:ln w="9525" cap="flat" cmpd="sng" algn="ctr">
            <a:solidFill>
              <a:srgbClr val="DC6900">
                <a:shade val="95000"/>
                <a:satMod val="105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4" name="꺾인 연결선 113"/>
          <p:cNvCxnSpPr>
            <a:stCxn id="108" idx="3"/>
            <a:endCxn id="96" idx="1"/>
          </p:cNvCxnSpPr>
          <p:nvPr/>
        </p:nvCxnSpPr>
        <p:spPr>
          <a:xfrm>
            <a:off x="5578590" y="4316158"/>
            <a:ext cx="378874" cy="1137991"/>
          </a:xfrm>
          <a:prstGeom prst="bentConnector3">
            <a:avLst/>
          </a:prstGeom>
          <a:noFill/>
          <a:ln w="9525" cap="flat" cmpd="sng" algn="ctr">
            <a:solidFill>
              <a:srgbClr val="038CDC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5" name="꺾인 연결선 114"/>
          <p:cNvCxnSpPr>
            <a:stCxn id="109" idx="3"/>
            <a:endCxn id="95" idx="1"/>
          </p:cNvCxnSpPr>
          <p:nvPr/>
        </p:nvCxnSpPr>
        <p:spPr>
          <a:xfrm flipV="1">
            <a:off x="5578590" y="3178167"/>
            <a:ext cx="378874" cy="227598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38CDC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6" name="꺾인 연결선 115"/>
          <p:cNvCxnSpPr>
            <a:stCxn id="107" idx="3"/>
            <a:endCxn id="96" idx="1"/>
          </p:cNvCxnSpPr>
          <p:nvPr/>
        </p:nvCxnSpPr>
        <p:spPr>
          <a:xfrm>
            <a:off x="5578590" y="3178167"/>
            <a:ext cx="378874" cy="227598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38CDC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7" name="꺾인 연결선 116"/>
          <p:cNvCxnSpPr>
            <a:stCxn id="96" idx="3"/>
            <a:endCxn id="97" idx="1"/>
          </p:cNvCxnSpPr>
          <p:nvPr/>
        </p:nvCxnSpPr>
        <p:spPr>
          <a:xfrm flipV="1">
            <a:off x="7344949" y="3178167"/>
            <a:ext cx="378874" cy="227598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38CDC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18" name="직선 화살표 연결선 117"/>
          <p:cNvCxnSpPr>
            <a:stCxn id="101" idx="3"/>
            <a:endCxn id="103" idx="1"/>
          </p:cNvCxnSpPr>
          <p:nvPr/>
        </p:nvCxnSpPr>
        <p:spPr>
          <a:xfrm>
            <a:off x="2045872" y="5454149"/>
            <a:ext cx="409122" cy="0"/>
          </a:xfrm>
          <a:prstGeom prst="straightConnector1">
            <a:avLst/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9" name="직선 화살표 연결선 118"/>
          <p:cNvCxnSpPr>
            <a:stCxn id="100" idx="3"/>
            <a:endCxn id="102" idx="1"/>
          </p:cNvCxnSpPr>
          <p:nvPr/>
        </p:nvCxnSpPr>
        <p:spPr>
          <a:xfrm>
            <a:off x="2045872" y="3178167"/>
            <a:ext cx="409122" cy="0"/>
          </a:xfrm>
          <a:prstGeom prst="straightConnector1">
            <a:avLst/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20" name="직선 화살표 연결선 119"/>
          <p:cNvCxnSpPr>
            <a:stCxn id="95" idx="3"/>
            <a:endCxn id="97" idx="1"/>
          </p:cNvCxnSpPr>
          <p:nvPr/>
        </p:nvCxnSpPr>
        <p:spPr>
          <a:xfrm>
            <a:off x="7344949" y="3178167"/>
            <a:ext cx="378874" cy="0"/>
          </a:xfrm>
          <a:prstGeom prst="straightConnector1">
            <a:avLst/>
          </a:prstGeom>
          <a:noFill/>
          <a:ln w="9525" cap="flat" cmpd="sng" algn="ctr">
            <a:solidFill>
              <a:srgbClr val="038CDC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121" name="모서리가 둥근 직사각형 120"/>
          <p:cNvSpPr/>
          <p:nvPr/>
        </p:nvSpPr>
        <p:spPr bwMode="ltGray">
          <a:xfrm>
            <a:off x="494978" y="5839015"/>
            <a:ext cx="1701862" cy="362293"/>
          </a:xfrm>
          <a:prstGeom prst="roundRect">
            <a:avLst/>
          </a:prstGeom>
          <a:noFill/>
          <a:ln w="12700" cap="flat" cmpd="sng" algn="ctr">
            <a:solidFill>
              <a:srgbClr val="60232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018712">
              <a:defRPr/>
            </a:pPr>
            <a:r>
              <a:rPr lang="en-US" altLang="ko-KR" sz="1300" kern="0" spc="-15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 </a:t>
            </a:r>
            <a:r>
              <a:rPr lang="ko-KR" altLang="en-US" sz="1300" kern="0" spc="-15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 평가 방안 구성</a:t>
            </a:r>
            <a:endParaRPr lang="en-US" altLang="ko-KR" sz="1300" kern="0" spc="-150" dirty="0" smtClean="0"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2" name="모서리가 둥근 직사각형 121"/>
          <p:cNvSpPr/>
          <p:nvPr/>
        </p:nvSpPr>
        <p:spPr bwMode="ltGray">
          <a:xfrm>
            <a:off x="2261242" y="5839015"/>
            <a:ext cx="3480756" cy="354610"/>
          </a:xfrm>
          <a:prstGeom prst="roundRect">
            <a:avLst/>
          </a:prstGeom>
          <a:noFill/>
          <a:ln w="12700" cap="flat" cmpd="sng" algn="ctr">
            <a:solidFill>
              <a:srgbClr val="60232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018712">
              <a:defRPr/>
            </a:pPr>
            <a:r>
              <a:rPr lang="ko-KR" altLang="en-US" sz="1400" kern="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점 </a:t>
            </a:r>
            <a:r>
              <a:rPr lang="en-US" altLang="ko-KR" sz="1400" kern="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 </a:t>
            </a:r>
            <a:r>
              <a:rPr lang="ko-KR" altLang="en-US" sz="1400" kern="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평가 </a:t>
            </a:r>
            <a:r>
              <a:rPr lang="en-US" altLang="ko-KR" sz="1400" kern="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Workbook</a:t>
            </a:r>
          </a:p>
        </p:txBody>
      </p:sp>
      <p:sp>
        <p:nvSpPr>
          <p:cNvPr id="123" name="모서리가 둥근 직사각형 122"/>
          <p:cNvSpPr/>
          <p:nvPr/>
        </p:nvSpPr>
        <p:spPr bwMode="ltGray">
          <a:xfrm>
            <a:off x="5806400" y="5839015"/>
            <a:ext cx="3468222" cy="354610"/>
          </a:xfrm>
          <a:prstGeom prst="roundRect">
            <a:avLst/>
          </a:prstGeom>
          <a:noFill/>
          <a:ln w="12700" cap="flat" cmpd="sng" algn="ctr">
            <a:solidFill>
              <a:srgbClr val="60232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018712">
              <a:defRPr/>
            </a:pPr>
            <a:r>
              <a:rPr lang="en-US" altLang="ko-KR" sz="1400" kern="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ML</a:t>
            </a:r>
            <a:r>
              <a:rPr lang="ko-KR" altLang="en-US" sz="1400" kern="0" dirty="0" smtClean="0"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평가 보고서</a:t>
            </a:r>
            <a:endParaRPr lang="en-US" altLang="ko-KR" sz="1400" kern="0" dirty="0" smtClean="0"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4" name="오각형 123"/>
          <p:cNvSpPr/>
          <p:nvPr/>
        </p:nvSpPr>
        <p:spPr bwMode="ltGray">
          <a:xfrm>
            <a:off x="658387" y="4099171"/>
            <a:ext cx="1387485" cy="433972"/>
          </a:xfrm>
          <a:prstGeom prst="homePlate">
            <a:avLst>
              <a:gd name="adj" fmla="val 0"/>
            </a:avLst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 평가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algn="ctr"/>
            <a:r>
              <a:rPr lang="ko-KR" altLang="en-US" sz="12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방법론</a:t>
            </a:r>
            <a:endParaRPr lang="en-US" altLang="ko-KR" sz="12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5" name="직선 화살표 연결선 124"/>
          <p:cNvCxnSpPr>
            <a:stCxn id="124" idx="0"/>
          </p:cNvCxnSpPr>
          <p:nvPr/>
        </p:nvCxnSpPr>
        <p:spPr>
          <a:xfrm flipV="1">
            <a:off x="1352129" y="3395153"/>
            <a:ext cx="0" cy="704018"/>
          </a:xfrm>
          <a:prstGeom prst="straightConnector1">
            <a:avLst/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26" name="직선 화살표 연결선 125"/>
          <p:cNvCxnSpPr>
            <a:endCxn id="124" idx="2"/>
          </p:cNvCxnSpPr>
          <p:nvPr/>
        </p:nvCxnSpPr>
        <p:spPr>
          <a:xfrm flipV="1">
            <a:off x="1352129" y="4533144"/>
            <a:ext cx="0" cy="704020"/>
          </a:xfrm>
          <a:prstGeom prst="straightConnector1">
            <a:avLst/>
          </a:prstGeom>
          <a:noFill/>
          <a:ln w="9525" cap="flat" cmpd="sng" algn="ctr">
            <a:solidFill>
              <a:srgbClr val="038CDC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6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68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9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32153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10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4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2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52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0.3.1 </a:t>
            </a:r>
            <a:r>
              <a:rPr lang="ko-KR" altLang="en-US" dirty="0" smtClean="0"/>
              <a:t>자금세탁방지</a:t>
            </a:r>
            <a:r>
              <a:rPr lang="en-US" altLang="ko-KR" dirty="0" smtClean="0"/>
              <a:t> </a:t>
            </a:r>
            <a:r>
              <a:rPr lang="ko-KR" altLang="en-US" dirty="0"/>
              <a:t>교육체계 수립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0"/>
            <a:ext cx="4119718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직급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직무 別 상황에 맞는 교육 프로그램과 업무 수행 절차를 정의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금세탁방지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교육체계 수립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5" name="직사각형 14"/>
          <p:cNvSpPr/>
          <p:nvPr/>
        </p:nvSpPr>
        <p:spPr>
          <a:xfrm>
            <a:off x="345281" y="2080563"/>
            <a:ext cx="9215437" cy="431505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" name="직사각형 20"/>
          <p:cNvSpPr/>
          <p:nvPr/>
        </p:nvSpPr>
        <p:spPr bwMode="ltGray">
          <a:xfrm>
            <a:off x="616674" y="2532367"/>
            <a:ext cx="4209019" cy="3641703"/>
          </a:xfrm>
          <a:prstGeom prst="rect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-88053" algn="ctr" defTabSz="85962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20859" algn="l"/>
              </a:tabLst>
              <a:defRPr/>
            </a:pPr>
            <a:r>
              <a:rPr kumimoji="0" lang="en-US" altLang="ko-KR" sz="13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맑은 고딕"/>
                <a:cs typeface="+mn-cs"/>
              </a:rPr>
              <a:t>1st  Line of Defense</a:t>
            </a:r>
            <a:endParaRPr kumimoji="0" lang="ko-KR" altLang="en-US" sz="1300" b="1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맑은 고딕"/>
              <a:cs typeface="+mn-cs"/>
            </a:endParaRPr>
          </a:p>
        </p:txBody>
      </p:sp>
      <p:sp>
        <p:nvSpPr>
          <p:cNvPr id="22" name="직사각형 21"/>
          <p:cNvSpPr/>
          <p:nvPr/>
        </p:nvSpPr>
        <p:spPr bwMode="ltGray">
          <a:xfrm>
            <a:off x="5065675" y="2532367"/>
            <a:ext cx="4243809" cy="3641703"/>
          </a:xfrm>
          <a:prstGeom prst="rect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-88053" algn="ctr" defTabSz="85962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20859" algn="l"/>
              </a:tabLst>
              <a:defRPr/>
            </a:pPr>
            <a:r>
              <a:rPr kumimoji="0" lang="en-US" altLang="ko-KR" sz="13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맑은 고딕"/>
                <a:cs typeface="+mn-cs"/>
              </a:rPr>
              <a:t>1st  Line of Defense</a:t>
            </a:r>
            <a:endParaRPr kumimoji="0" lang="ko-KR" altLang="en-US" sz="1300" b="1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맑은 고딕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96672" y="2813717"/>
            <a:ext cx="4214233" cy="1354551"/>
          </a:xfrm>
          <a:prstGeom prst="rect">
            <a:avLst/>
          </a:prstGeom>
          <a:noFill/>
        </p:spPr>
        <p:txBody>
          <a:bodyPr vert="horz" wrap="square" lIns="67687" tIns="67687" rIns="33844" bIns="0" rtlCol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171627" indent="-171627" defTabSz="914400">
              <a:spcAft>
                <a:spcPts val="369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교육 프로그램 및 업무수행 절차 정의</a:t>
            </a:r>
            <a:endParaRPr lang="en-US" altLang="ko-KR" sz="12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627" indent="-171627" defTabSz="914400">
              <a:spcAft>
                <a:spcPts val="369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법령 및 규제 요건을 충족하며 부산은행의 교육 기준에 부합되는 교육 정책 수립</a:t>
            </a:r>
            <a:endParaRPr lang="en-US" altLang="ko-KR" sz="12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95251" y="2813717"/>
            <a:ext cx="4214233" cy="1354551"/>
          </a:xfrm>
          <a:prstGeom prst="rect">
            <a:avLst/>
          </a:prstGeom>
          <a:noFill/>
        </p:spPr>
        <p:txBody>
          <a:bodyPr vert="horz" wrap="square" lIns="67687" tIns="67687" rIns="33844" bIns="0" rtlCol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171627" indent="-171627" defTabSz="914400">
              <a:spcAft>
                <a:spcPts val="369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교육 및 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Training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프로그램 관련 규제 요건 검토</a:t>
            </a:r>
            <a:endParaRPr lang="en-US" altLang="ko-KR" sz="12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627" indent="-171627" defTabSz="914400">
              <a:spcAft>
                <a:spcPts val="369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직급別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직무別 임직원의 교육 및 </a:t>
            </a:r>
            <a:r>
              <a:rPr lang="en-US" altLang="ko-KR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Training </a:t>
            </a:r>
            <a:r>
              <a:rPr lang="ko-KR" altLang="en-US" sz="1200" dirty="0" smtClean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일정 정의</a:t>
            </a:r>
            <a:endParaRPr lang="en-US" altLang="ko-KR" sz="12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7" name="직사각형 26"/>
          <p:cNvSpPr/>
          <p:nvPr/>
        </p:nvSpPr>
        <p:spPr bwMode="ltGray">
          <a:xfrm>
            <a:off x="950151" y="2312876"/>
            <a:ext cx="3507280" cy="45498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교육프로그램 업무수행 절차 정의</a:t>
            </a:r>
            <a:endParaRPr lang="en-US" altLang="ko-KR" sz="1100" kern="0" dirty="0">
              <a:ln w="0"/>
              <a:solidFill>
                <a:prstClr val="white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KoPubWorld돋움체 Medium" panose="00000600000000000000" pitchFamily="2" charset="-127"/>
            </a:endParaRPr>
          </a:p>
        </p:txBody>
      </p:sp>
      <p:sp>
        <p:nvSpPr>
          <p:cNvPr id="28" name="직사각형 27"/>
          <p:cNvSpPr/>
          <p:nvPr/>
        </p:nvSpPr>
        <p:spPr bwMode="ltGray">
          <a:xfrm>
            <a:off x="5448728" y="2312876"/>
            <a:ext cx="3507280" cy="454980"/>
          </a:xfrm>
          <a:prstGeom prst="rect">
            <a:avLst/>
          </a:prstGeom>
          <a:solidFill>
            <a:srgbClr val="038CDC"/>
          </a:solidFill>
          <a:ln w="6350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/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직급別</a:t>
            </a:r>
            <a:r>
              <a:rPr lang="en-US" altLang="ko-KR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/</a:t>
            </a:r>
            <a:r>
              <a:rPr lang="ko-KR" altLang="en-US" sz="1100" kern="0" dirty="0">
                <a:ln w="0"/>
                <a:solidFill>
                  <a:prstClr val="white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KoPubWorld돋움체 Medium" panose="00000600000000000000" pitchFamily="2" charset="-127"/>
              </a:rPr>
              <a:t>직무別 교육 일정 정의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96672" y="5969100"/>
            <a:ext cx="4214233" cy="20497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 defTabSz="914400">
              <a:spcAft>
                <a:spcPts val="369"/>
              </a:spcAft>
            </a:pPr>
            <a:r>
              <a:rPr lang="en-US" altLang="ko-KR" sz="9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&lt; </a:t>
            </a:r>
            <a:r>
              <a:rPr lang="ko-KR" altLang="en-US" sz="9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교육 프로그램 접근법</a:t>
            </a:r>
            <a:r>
              <a:rPr lang="en-US" altLang="ko-KR" sz="9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&gt;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65673" y="5969100"/>
            <a:ext cx="4243809" cy="20497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 defTabSz="914400">
              <a:spcAft>
                <a:spcPts val="369"/>
              </a:spcAft>
            </a:pPr>
            <a:r>
              <a:rPr lang="en-US" altLang="ko-KR" sz="9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&lt; </a:t>
            </a:r>
            <a:r>
              <a:rPr lang="ko-KR" altLang="en-US" sz="9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교육 스케줄</a:t>
            </a:r>
            <a:r>
              <a:rPr lang="en-US" altLang="ko-KR" sz="900" dirty="0" smtClean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&gt;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490" y="3608058"/>
            <a:ext cx="2975594" cy="1883988"/>
          </a:xfrm>
          <a:prstGeom prst="rect">
            <a:avLst/>
          </a:prstGeom>
          <a:noFill/>
          <a:ln w="9525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344" y="4016276"/>
            <a:ext cx="2995147" cy="1869014"/>
          </a:xfrm>
          <a:prstGeom prst="rect">
            <a:avLst/>
          </a:prstGeom>
          <a:noFill/>
          <a:ln w="9525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190" y="3537012"/>
            <a:ext cx="3293488" cy="2122915"/>
          </a:xfrm>
          <a:prstGeom prst="rect">
            <a:avLst/>
          </a:prstGeom>
          <a:noFill/>
          <a:ln w="9525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627" y="4004689"/>
            <a:ext cx="2949381" cy="1907983"/>
          </a:xfrm>
          <a:prstGeom prst="rect">
            <a:avLst/>
          </a:prstGeom>
          <a:noFill/>
          <a:ln w="9525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8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05234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10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0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 교육체계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3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0663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23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.3.10.3.2 </a:t>
            </a:r>
            <a:r>
              <a:rPr lang="ko-KR" altLang="en-US" dirty="0"/>
              <a:t>자금세탁방지 교육체계</a:t>
            </a:r>
          </a:p>
        </p:txBody>
      </p:sp>
      <p:sp>
        <p:nvSpPr>
          <p:cNvPr id="10" name="Rt1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6" y="1362061"/>
            <a:ext cx="7232749" cy="169277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  <a:defRPr/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담당자의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 역량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강화를 위해 교육 요건을 정의하여 업무 수행에 따른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리스크를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통제 </a:t>
            </a: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관리합니다</a:t>
            </a:r>
            <a:r>
              <a:rPr lang="en-US" altLang="ko-KR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en-US" altLang="ko-KR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Rt3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자금세탁방지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교육체계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71" name="Freeform 186"/>
          <p:cNvSpPr>
            <a:spLocks/>
          </p:cNvSpPr>
          <p:nvPr/>
        </p:nvSpPr>
        <p:spPr bwMode="auto">
          <a:xfrm>
            <a:off x="416497" y="2950739"/>
            <a:ext cx="2810634" cy="1293786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7730 w 10000"/>
              <a:gd name="connsiteY4" fmla="*/ 500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03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29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363 w 10000"/>
              <a:gd name="connsiteY4" fmla="*/ 515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9 w 10000"/>
              <a:gd name="connsiteY4" fmla="*/ 509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291 w 10000"/>
              <a:gd name="connsiteY4" fmla="*/ 491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7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75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0 w 10000"/>
              <a:gd name="connsiteY4" fmla="*/ 486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48 w 10000"/>
              <a:gd name="connsiteY4" fmla="*/ 515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6 w 10000"/>
              <a:gd name="connsiteY4" fmla="*/ 492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10000"/>
                </a:lnTo>
                <a:lnTo>
                  <a:pt x="10000" y="10000"/>
                </a:lnTo>
                <a:lnTo>
                  <a:pt x="8416" y="4920"/>
                </a:lnTo>
                <a:lnTo>
                  <a:pt x="1000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rgbClr val="DC6900">
                <a:lumMod val="50000"/>
              </a:srgbClr>
            </a:solidFill>
            <a:prstDash val="solid"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2" name="Freeform 186"/>
          <p:cNvSpPr>
            <a:spLocks/>
          </p:cNvSpPr>
          <p:nvPr/>
        </p:nvSpPr>
        <p:spPr bwMode="auto">
          <a:xfrm>
            <a:off x="415924" y="4343310"/>
            <a:ext cx="2820865" cy="1293786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7730 w 10000"/>
              <a:gd name="connsiteY4" fmla="*/ 500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03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29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363 w 10000"/>
              <a:gd name="connsiteY4" fmla="*/ 515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9 w 10000"/>
              <a:gd name="connsiteY4" fmla="*/ 509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291 w 10000"/>
              <a:gd name="connsiteY4" fmla="*/ 491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7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75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0 w 10000"/>
              <a:gd name="connsiteY4" fmla="*/ 486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48 w 10000"/>
              <a:gd name="connsiteY4" fmla="*/ 515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6 w 10000"/>
              <a:gd name="connsiteY4" fmla="*/ 492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10000"/>
                </a:lnTo>
                <a:lnTo>
                  <a:pt x="10000" y="10000"/>
                </a:lnTo>
                <a:lnTo>
                  <a:pt x="8416" y="4920"/>
                </a:lnTo>
                <a:lnTo>
                  <a:pt x="1000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3" name="Freeform 156"/>
          <p:cNvSpPr>
            <a:spLocks/>
          </p:cNvSpPr>
          <p:nvPr/>
        </p:nvSpPr>
        <p:spPr bwMode="auto">
          <a:xfrm>
            <a:off x="415924" y="5712388"/>
            <a:ext cx="4191391" cy="624160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8704 w 10000"/>
              <a:gd name="connsiteY3" fmla="*/ 26 h 10000"/>
              <a:gd name="connsiteX4" fmla="*/ 0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8916 w 10000"/>
              <a:gd name="connsiteY3" fmla="*/ 151 h 10000"/>
              <a:gd name="connsiteX4" fmla="*/ 0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98 h 10098"/>
              <a:gd name="connsiteX1" fmla="*/ 0 w 10000"/>
              <a:gd name="connsiteY1" fmla="*/ 10098 h 10098"/>
              <a:gd name="connsiteX2" fmla="*/ 10000 w 10000"/>
              <a:gd name="connsiteY2" fmla="*/ 10098 h 10098"/>
              <a:gd name="connsiteX3" fmla="*/ 8937 w 10000"/>
              <a:gd name="connsiteY3" fmla="*/ 0 h 10098"/>
              <a:gd name="connsiteX4" fmla="*/ 0 w 10000"/>
              <a:gd name="connsiteY4" fmla="*/ 98 h 10098"/>
              <a:gd name="connsiteX5" fmla="*/ 0 w 10000"/>
              <a:gd name="connsiteY5" fmla="*/ 98 h 10098"/>
              <a:gd name="connsiteX0" fmla="*/ 0 w 10000"/>
              <a:gd name="connsiteY0" fmla="*/ 98 h 10098"/>
              <a:gd name="connsiteX1" fmla="*/ 0 w 10000"/>
              <a:gd name="connsiteY1" fmla="*/ 10098 h 10098"/>
              <a:gd name="connsiteX2" fmla="*/ 10000 w 10000"/>
              <a:gd name="connsiteY2" fmla="*/ 10098 h 10098"/>
              <a:gd name="connsiteX3" fmla="*/ 8980 w 10000"/>
              <a:gd name="connsiteY3" fmla="*/ 0 h 10098"/>
              <a:gd name="connsiteX4" fmla="*/ 0 w 10000"/>
              <a:gd name="connsiteY4" fmla="*/ 98 h 10098"/>
              <a:gd name="connsiteX5" fmla="*/ 0 w 10000"/>
              <a:gd name="connsiteY5" fmla="*/ 98 h 10098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9001 w 10000"/>
              <a:gd name="connsiteY3" fmla="*/ 27 h 10000"/>
              <a:gd name="connsiteX4" fmla="*/ 0 w 10000"/>
              <a:gd name="connsiteY4" fmla="*/ 0 h 10000"/>
              <a:gd name="connsiteX5" fmla="*/ 0 w 10000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10000"/>
                </a:lnTo>
                <a:lnTo>
                  <a:pt x="9001" y="2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4" name="Freeform 186"/>
          <p:cNvSpPr>
            <a:spLocks/>
          </p:cNvSpPr>
          <p:nvPr/>
        </p:nvSpPr>
        <p:spPr bwMode="auto">
          <a:xfrm rot="10800000">
            <a:off x="6700199" y="4343306"/>
            <a:ext cx="2796857" cy="1302059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7730 w 10000"/>
              <a:gd name="connsiteY4" fmla="*/ 500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03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29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363 w 10000"/>
              <a:gd name="connsiteY4" fmla="*/ 515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9 w 10000"/>
              <a:gd name="connsiteY4" fmla="*/ 509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291 w 10000"/>
              <a:gd name="connsiteY4" fmla="*/ 491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7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75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0 w 10000"/>
              <a:gd name="connsiteY4" fmla="*/ 486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48 w 10000"/>
              <a:gd name="connsiteY4" fmla="*/ 515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6 w 10000"/>
              <a:gd name="connsiteY4" fmla="*/ 492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10000"/>
                </a:lnTo>
                <a:lnTo>
                  <a:pt x="10000" y="10000"/>
                </a:lnTo>
                <a:lnTo>
                  <a:pt x="8416" y="4920"/>
                </a:lnTo>
                <a:lnTo>
                  <a:pt x="1000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5" name="Freeform 156"/>
          <p:cNvSpPr>
            <a:spLocks/>
          </p:cNvSpPr>
          <p:nvPr/>
        </p:nvSpPr>
        <p:spPr bwMode="auto">
          <a:xfrm rot="10800000">
            <a:off x="5242844" y="2259976"/>
            <a:ext cx="4247230" cy="624160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8704 w 10000"/>
              <a:gd name="connsiteY3" fmla="*/ 26 h 10000"/>
              <a:gd name="connsiteX4" fmla="*/ 0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8916 w 10000"/>
              <a:gd name="connsiteY3" fmla="*/ 151 h 10000"/>
              <a:gd name="connsiteX4" fmla="*/ 0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98 h 10098"/>
              <a:gd name="connsiteX1" fmla="*/ 0 w 10000"/>
              <a:gd name="connsiteY1" fmla="*/ 10098 h 10098"/>
              <a:gd name="connsiteX2" fmla="*/ 10000 w 10000"/>
              <a:gd name="connsiteY2" fmla="*/ 10098 h 10098"/>
              <a:gd name="connsiteX3" fmla="*/ 8937 w 10000"/>
              <a:gd name="connsiteY3" fmla="*/ 0 h 10098"/>
              <a:gd name="connsiteX4" fmla="*/ 0 w 10000"/>
              <a:gd name="connsiteY4" fmla="*/ 98 h 10098"/>
              <a:gd name="connsiteX5" fmla="*/ 0 w 10000"/>
              <a:gd name="connsiteY5" fmla="*/ 98 h 10098"/>
              <a:gd name="connsiteX0" fmla="*/ 0 w 10000"/>
              <a:gd name="connsiteY0" fmla="*/ 98 h 10098"/>
              <a:gd name="connsiteX1" fmla="*/ 0 w 10000"/>
              <a:gd name="connsiteY1" fmla="*/ 10098 h 10098"/>
              <a:gd name="connsiteX2" fmla="*/ 10000 w 10000"/>
              <a:gd name="connsiteY2" fmla="*/ 10098 h 10098"/>
              <a:gd name="connsiteX3" fmla="*/ 8980 w 10000"/>
              <a:gd name="connsiteY3" fmla="*/ 0 h 10098"/>
              <a:gd name="connsiteX4" fmla="*/ 0 w 10000"/>
              <a:gd name="connsiteY4" fmla="*/ 98 h 10098"/>
              <a:gd name="connsiteX5" fmla="*/ 0 w 10000"/>
              <a:gd name="connsiteY5" fmla="*/ 98 h 10098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9001 w 10000"/>
              <a:gd name="connsiteY3" fmla="*/ 27 h 10000"/>
              <a:gd name="connsiteX4" fmla="*/ 0 w 10000"/>
              <a:gd name="connsiteY4" fmla="*/ 0 h 10000"/>
              <a:gd name="connsiteX5" fmla="*/ 0 w 10000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10000"/>
                </a:lnTo>
                <a:lnTo>
                  <a:pt x="9001" y="2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6" name="Freeform 186"/>
          <p:cNvSpPr>
            <a:spLocks/>
          </p:cNvSpPr>
          <p:nvPr/>
        </p:nvSpPr>
        <p:spPr bwMode="auto">
          <a:xfrm rot="10800000">
            <a:off x="6700199" y="2950233"/>
            <a:ext cx="2789875" cy="1293786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7730 w 10000"/>
              <a:gd name="connsiteY4" fmla="*/ 500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03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29 w 10000"/>
              <a:gd name="connsiteY4" fmla="*/ 5047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363 w 10000"/>
              <a:gd name="connsiteY4" fmla="*/ 515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9 w 10000"/>
              <a:gd name="connsiteY4" fmla="*/ 5093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291 w 10000"/>
              <a:gd name="connsiteY4" fmla="*/ 491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7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575 w 10000"/>
              <a:gd name="connsiteY4" fmla="*/ 497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80 w 10000"/>
              <a:gd name="connsiteY4" fmla="*/ 486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48 w 10000"/>
              <a:gd name="connsiteY4" fmla="*/ 5159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10000 h 10000"/>
              <a:gd name="connsiteX3" fmla="*/ 10000 w 10000"/>
              <a:gd name="connsiteY3" fmla="*/ 10000 h 10000"/>
              <a:gd name="connsiteX4" fmla="*/ 8416 w 10000"/>
              <a:gd name="connsiteY4" fmla="*/ 4920 h 10000"/>
              <a:gd name="connsiteX5" fmla="*/ 10000 w 10000"/>
              <a:gd name="connsiteY5" fmla="*/ 0 h 10000"/>
              <a:gd name="connsiteX6" fmla="*/ 0 w 10000"/>
              <a:gd name="connsiteY6" fmla="*/ 0 h 10000"/>
              <a:gd name="connsiteX7" fmla="*/ 0 w 10000"/>
              <a:gd name="connsiteY7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10000"/>
                </a:lnTo>
                <a:lnTo>
                  <a:pt x="10000" y="10000"/>
                </a:lnTo>
                <a:lnTo>
                  <a:pt x="8416" y="4920"/>
                </a:lnTo>
                <a:lnTo>
                  <a:pt x="1000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7" name="Freeform 28"/>
          <p:cNvSpPr>
            <a:spLocks/>
          </p:cNvSpPr>
          <p:nvPr/>
        </p:nvSpPr>
        <p:spPr bwMode="auto">
          <a:xfrm>
            <a:off x="4128563" y="2259975"/>
            <a:ext cx="1678132" cy="1306060"/>
          </a:xfrm>
          <a:custGeom>
            <a:avLst/>
            <a:gdLst/>
            <a:ahLst/>
            <a:cxnLst>
              <a:cxn ang="0">
                <a:pos x="545" y="0"/>
              </a:cxn>
              <a:cxn ang="0">
                <a:pos x="181" y="0"/>
              </a:cxn>
              <a:cxn ang="0">
                <a:pos x="0" y="313"/>
              </a:cxn>
              <a:cxn ang="0">
                <a:pos x="181" y="626"/>
              </a:cxn>
              <a:cxn ang="0">
                <a:pos x="545" y="626"/>
              </a:cxn>
              <a:cxn ang="0">
                <a:pos x="726" y="313"/>
              </a:cxn>
              <a:cxn ang="0">
                <a:pos x="545" y="0"/>
              </a:cxn>
              <a:cxn ang="0">
                <a:pos x="545" y="0"/>
              </a:cxn>
            </a:cxnLst>
            <a:rect l="0" t="0" r="r" b="b"/>
            <a:pathLst>
              <a:path w="726" h="626">
                <a:moveTo>
                  <a:pt x="545" y="0"/>
                </a:moveTo>
                <a:lnTo>
                  <a:pt x="181" y="0"/>
                </a:lnTo>
                <a:lnTo>
                  <a:pt x="0" y="313"/>
                </a:lnTo>
                <a:lnTo>
                  <a:pt x="181" y="626"/>
                </a:lnTo>
                <a:lnTo>
                  <a:pt x="545" y="626"/>
                </a:lnTo>
                <a:lnTo>
                  <a:pt x="726" y="313"/>
                </a:lnTo>
                <a:lnTo>
                  <a:pt x="545" y="0"/>
                </a:lnTo>
                <a:lnTo>
                  <a:pt x="545" y="0"/>
                </a:lnTo>
                <a:close/>
              </a:path>
            </a:pathLst>
          </a:custGeom>
          <a:solidFill>
            <a:srgbClr val="FFE1C5"/>
          </a:solidFill>
          <a:ln w="9525">
            <a:noFill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78" name="Freeform 30"/>
          <p:cNvSpPr>
            <a:spLocks/>
          </p:cNvSpPr>
          <p:nvPr/>
        </p:nvSpPr>
        <p:spPr bwMode="auto">
          <a:xfrm>
            <a:off x="5471800" y="2950735"/>
            <a:ext cx="1678132" cy="1306060"/>
          </a:xfrm>
          <a:custGeom>
            <a:avLst/>
            <a:gdLst/>
            <a:ahLst/>
            <a:cxnLst>
              <a:cxn ang="0">
                <a:pos x="545" y="0"/>
              </a:cxn>
              <a:cxn ang="0">
                <a:pos x="182" y="0"/>
              </a:cxn>
              <a:cxn ang="0">
                <a:pos x="0" y="313"/>
              </a:cxn>
              <a:cxn ang="0">
                <a:pos x="182" y="628"/>
              </a:cxn>
              <a:cxn ang="0">
                <a:pos x="545" y="628"/>
              </a:cxn>
              <a:cxn ang="0">
                <a:pos x="727" y="313"/>
              </a:cxn>
              <a:cxn ang="0">
                <a:pos x="545" y="0"/>
              </a:cxn>
              <a:cxn ang="0">
                <a:pos x="545" y="0"/>
              </a:cxn>
            </a:cxnLst>
            <a:rect l="0" t="0" r="r" b="b"/>
            <a:pathLst>
              <a:path w="727" h="628">
                <a:moveTo>
                  <a:pt x="545" y="0"/>
                </a:moveTo>
                <a:lnTo>
                  <a:pt x="182" y="0"/>
                </a:lnTo>
                <a:lnTo>
                  <a:pt x="0" y="313"/>
                </a:lnTo>
                <a:lnTo>
                  <a:pt x="182" y="628"/>
                </a:lnTo>
                <a:lnTo>
                  <a:pt x="545" y="628"/>
                </a:lnTo>
                <a:lnTo>
                  <a:pt x="727" y="313"/>
                </a:lnTo>
                <a:lnTo>
                  <a:pt x="545" y="0"/>
                </a:lnTo>
                <a:lnTo>
                  <a:pt x="545" y="0"/>
                </a:lnTo>
                <a:close/>
              </a:path>
            </a:pathLst>
          </a:custGeom>
          <a:solidFill>
            <a:srgbClr val="D04A02">
              <a:lumMod val="20000"/>
              <a:lumOff val="8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9" name="Freeform 32"/>
          <p:cNvSpPr>
            <a:spLocks/>
          </p:cNvSpPr>
          <p:nvPr/>
        </p:nvSpPr>
        <p:spPr bwMode="auto">
          <a:xfrm>
            <a:off x="2784577" y="2950739"/>
            <a:ext cx="1678132" cy="1306060"/>
          </a:xfrm>
          <a:custGeom>
            <a:avLst/>
            <a:gdLst/>
            <a:ahLst/>
            <a:cxnLst>
              <a:cxn ang="0">
                <a:pos x="545" y="0"/>
              </a:cxn>
              <a:cxn ang="0">
                <a:pos x="181" y="0"/>
              </a:cxn>
              <a:cxn ang="0">
                <a:pos x="0" y="315"/>
              </a:cxn>
              <a:cxn ang="0">
                <a:pos x="181" y="628"/>
              </a:cxn>
              <a:cxn ang="0">
                <a:pos x="545" y="628"/>
              </a:cxn>
              <a:cxn ang="0">
                <a:pos x="726" y="315"/>
              </a:cxn>
              <a:cxn ang="0">
                <a:pos x="545" y="0"/>
              </a:cxn>
              <a:cxn ang="0">
                <a:pos x="545" y="0"/>
              </a:cxn>
            </a:cxnLst>
            <a:rect l="0" t="0" r="r" b="b"/>
            <a:pathLst>
              <a:path w="726" h="628">
                <a:moveTo>
                  <a:pt x="545" y="0"/>
                </a:moveTo>
                <a:lnTo>
                  <a:pt x="181" y="0"/>
                </a:lnTo>
                <a:lnTo>
                  <a:pt x="0" y="315"/>
                </a:lnTo>
                <a:lnTo>
                  <a:pt x="181" y="628"/>
                </a:lnTo>
                <a:lnTo>
                  <a:pt x="545" y="628"/>
                </a:lnTo>
                <a:lnTo>
                  <a:pt x="726" y="315"/>
                </a:lnTo>
                <a:lnTo>
                  <a:pt x="545" y="0"/>
                </a:lnTo>
                <a:lnTo>
                  <a:pt x="545" y="0"/>
                </a:lnTo>
                <a:close/>
              </a:path>
            </a:pathLst>
          </a:custGeom>
          <a:solidFill>
            <a:srgbClr val="D04A02">
              <a:lumMod val="5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0" name="Freeform 34"/>
          <p:cNvSpPr>
            <a:spLocks/>
          </p:cNvSpPr>
          <p:nvPr/>
        </p:nvSpPr>
        <p:spPr bwMode="auto">
          <a:xfrm>
            <a:off x="5471800" y="4343309"/>
            <a:ext cx="1680294" cy="1302059"/>
          </a:xfrm>
          <a:custGeom>
            <a:avLst/>
            <a:gdLst/>
            <a:ahLst/>
            <a:cxnLst>
              <a:cxn ang="0">
                <a:pos x="546" y="0"/>
              </a:cxn>
              <a:cxn ang="0">
                <a:pos x="182" y="0"/>
              </a:cxn>
              <a:cxn ang="0">
                <a:pos x="0" y="313"/>
              </a:cxn>
              <a:cxn ang="0">
                <a:pos x="182" y="626"/>
              </a:cxn>
              <a:cxn ang="0">
                <a:pos x="546" y="626"/>
              </a:cxn>
              <a:cxn ang="0">
                <a:pos x="728" y="313"/>
              </a:cxn>
              <a:cxn ang="0">
                <a:pos x="546" y="0"/>
              </a:cxn>
              <a:cxn ang="0">
                <a:pos x="546" y="0"/>
              </a:cxn>
            </a:cxnLst>
            <a:rect l="0" t="0" r="r" b="b"/>
            <a:pathLst>
              <a:path w="728" h="626">
                <a:moveTo>
                  <a:pt x="546" y="0"/>
                </a:moveTo>
                <a:lnTo>
                  <a:pt x="182" y="0"/>
                </a:lnTo>
                <a:lnTo>
                  <a:pt x="0" y="313"/>
                </a:lnTo>
                <a:lnTo>
                  <a:pt x="182" y="626"/>
                </a:lnTo>
                <a:lnTo>
                  <a:pt x="546" y="626"/>
                </a:lnTo>
                <a:lnTo>
                  <a:pt x="728" y="313"/>
                </a:lnTo>
                <a:lnTo>
                  <a:pt x="546" y="0"/>
                </a:lnTo>
                <a:lnTo>
                  <a:pt x="546" y="0"/>
                </a:lnTo>
                <a:close/>
              </a:path>
            </a:pathLst>
          </a:custGeom>
          <a:solidFill>
            <a:srgbClr val="D04A02">
              <a:lumMod val="40000"/>
              <a:lumOff val="6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1" name="Freeform 36"/>
          <p:cNvSpPr>
            <a:spLocks/>
          </p:cNvSpPr>
          <p:nvPr/>
        </p:nvSpPr>
        <p:spPr bwMode="auto">
          <a:xfrm>
            <a:off x="2780732" y="4343310"/>
            <a:ext cx="1678132" cy="1306060"/>
          </a:xfrm>
          <a:custGeom>
            <a:avLst/>
            <a:gdLst/>
            <a:ahLst/>
            <a:cxnLst>
              <a:cxn ang="0">
                <a:pos x="545" y="0"/>
              </a:cxn>
              <a:cxn ang="0">
                <a:pos x="182" y="0"/>
              </a:cxn>
              <a:cxn ang="0">
                <a:pos x="0" y="313"/>
              </a:cxn>
              <a:cxn ang="0">
                <a:pos x="182" y="627"/>
              </a:cxn>
              <a:cxn ang="0">
                <a:pos x="545" y="627"/>
              </a:cxn>
              <a:cxn ang="0">
                <a:pos x="727" y="313"/>
              </a:cxn>
              <a:cxn ang="0">
                <a:pos x="545" y="0"/>
              </a:cxn>
              <a:cxn ang="0">
                <a:pos x="545" y="0"/>
              </a:cxn>
            </a:cxnLst>
            <a:rect l="0" t="0" r="r" b="b"/>
            <a:pathLst>
              <a:path w="727" h="627">
                <a:moveTo>
                  <a:pt x="545" y="0"/>
                </a:moveTo>
                <a:lnTo>
                  <a:pt x="182" y="0"/>
                </a:lnTo>
                <a:lnTo>
                  <a:pt x="0" y="313"/>
                </a:lnTo>
                <a:lnTo>
                  <a:pt x="182" y="627"/>
                </a:lnTo>
                <a:lnTo>
                  <a:pt x="545" y="627"/>
                </a:lnTo>
                <a:lnTo>
                  <a:pt x="727" y="313"/>
                </a:lnTo>
                <a:lnTo>
                  <a:pt x="545" y="0"/>
                </a:lnTo>
                <a:lnTo>
                  <a:pt x="545" y="0"/>
                </a:lnTo>
                <a:close/>
              </a:path>
            </a:pathLst>
          </a:custGeom>
          <a:solidFill>
            <a:srgbClr val="D04A02">
              <a:lumMod val="7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2" name="Freeform 38"/>
          <p:cNvSpPr>
            <a:spLocks/>
          </p:cNvSpPr>
          <p:nvPr/>
        </p:nvSpPr>
        <p:spPr bwMode="auto">
          <a:xfrm>
            <a:off x="4128564" y="5039264"/>
            <a:ext cx="1678132" cy="1306060"/>
          </a:xfrm>
          <a:custGeom>
            <a:avLst/>
            <a:gdLst/>
            <a:ahLst/>
            <a:cxnLst>
              <a:cxn ang="0">
                <a:pos x="545" y="0"/>
              </a:cxn>
              <a:cxn ang="0">
                <a:pos x="181" y="0"/>
              </a:cxn>
              <a:cxn ang="0">
                <a:pos x="0" y="315"/>
              </a:cxn>
              <a:cxn ang="0">
                <a:pos x="181" y="628"/>
              </a:cxn>
              <a:cxn ang="0">
                <a:pos x="545" y="628"/>
              </a:cxn>
              <a:cxn ang="0">
                <a:pos x="726" y="315"/>
              </a:cxn>
              <a:cxn ang="0">
                <a:pos x="545" y="0"/>
              </a:cxn>
              <a:cxn ang="0">
                <a:pos x="545" y="0"/>
              </a:cxn>
            </a:cxnLst>
            <a:rect l="0" t="0" r="r" b="b"/>
            <a:pathLst>
              <a:path w="726" h="628">
                <a:moveTo>
                  <a:pt x="545" y="0"/>
                </a:moveTo>
                <a:lnTo>
                  <a:pt x="181" y="0"/>
                </a:lnTo>
                <a:lnTo>
                  <a:pt x="0" y="315"/>
                </a:lnTo>
                <a:lnTo>
                  <a:pt x="181" y="628"/>
                </a:lnTo>
                <a:lnTo>
                  <a:pt x="545" y="628"/>
                </a:lnTo>
                <a:lnTo>
                  <a:pt x="726" y="315"/>
                </a:lnTo>
                <a:lnTo>
                  <a:pt x="545" y="0"/>
                </a:lnTo>
                <a:lnTo>
                  <a:pt x="545" y="0"/>
                </a:lnTo>
                <a:close/>
              </a:path>
            </a:pathLst>
          </a:custGeom>
          <a:solidFill>
            <a:srgbClr val="D04A02">
              <a:lumMod val="60000"/>
              <a:lumOff val="4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88616" tIns="44308" rIns="88616" bIns="443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3" name="Text Box 17"/>
          <p:cNvSpPr txBox="1">
            <a:spLocks noChangeArrowheads="1"/>
          </p:cNvSpPr>
          <p:nvPr/>
        </p:nvSpPr>
        <p:spPr bwMode="blackWhite">
          <a:xfrm>
            <a:off x="4118410" y="2714474"/>
            <a:ext cx="1698440" cy="432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연간교육</a:t>
            </a: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계획수립</a:t>
            </a:r>
            <a:endParaRPr kumimoji="0" lang="en-US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4" name="Text Box 16"/>
          <p:cNvSpPr txBox="1">
            <a:spLocks noChangeArrowheads="1"/>
          </p:cNvSpPr>
          <p:nvPr/>
        </p:nvSpPr>
        <p:spPr bwMode="blackWhite">
          <a:xfrm>
            <a:off x="2876542" y="3518684"/>
            <a:ext cx="1506525" cy="2163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수시 교육</a:t>
            </a:r>
            <a:endParaRPr kumimoji="0" lang="en-GB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5" name="Text Box 18"/>
          <p:cNvSpPr txBox="1">
            <a:spLocks noChangeArrowheads="1"/>
          </p:cNvSpPr>
          <p:nvPr/>
        </p:nvSpPr>
        <p:spPr bwMode="blackWhite">
          <a:xfrm>
            <a:off x="5674345" y="3405234"/>
            <a:ext cx="1273044" cy="432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임직원 인식제고 교육</a:t>
            </a:r>
            <a:endParaRPr kumimoji="0" lang="en-GB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6" name="Text Box 19"/>
          <p:cNvSpPr txBox="1">
            <a:spLocks noChangeArrowheads="1"/>
          </p:cNvSpPr>
          <p:nvPr/>
        </p:nvSpPr>
        <p:spPr bwMode="blackWhite">
          <a:xfrm>
            <a:off x="5671315" y="4795807"/>
            <a:ext cx="1279578" cy="432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조직 및 사업부별 교육</a:t>
            </a:r>
            <a:endParaRPr kumimoji="0" lang="en-GB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7" name="Text Box 20"/>
          <p:cNvSpPr txBox="1">
            <a:spLocks noChangeArrowheads="1"/>
          </p:cNvSpPr>
          <p:nvPr/>
        </p:nvSpPr>
        <p:spPr bwMode="blackWhite">
          <a:xfrm>
            <a:off x="4227983" y="5607209"/>
            <a:ext cx="1479295" cy="2163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교육 이해도 평가</a:t>
            </a:r>
            <a:endParaRPr kumimoji="0" lang="en-GB" altLang="ko-KR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8" name="Text Box 21"/>
          <p:cNvSpPr txBox="1">
            <a:spLocks noChangeArrowheads="1"/>
          </p:cNvSpPr>
          <p:nvPr/>
        </p:nvSpPr>
        <p:spPr bwMode="blackWhite">
          <a:xfrm>
            <a:off x="2781649" y="4797809"/>
            <a:ext cx="1676298" cy="432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교육 수행내역</a:t>
            </a: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/>
            </a:r>
            <a:b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문서화</a:t>
            </a:r>
            <a:endParaRPr kumimoji="0" lang="en-GB" altLang="ko-KR" sz="14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9" name="Text Box 24"/>
          <p:cNvSpPr txBox="1">
            <a:spLocks noChangeArrowheads="1"/>
          </p:cNvSpPr>
          <p:nvPr/>
        </p:nvSpPr>
        <p:spPr bwMode="blackWhite">
          <a:xfrm>
            <a:off x="4068456" y="3883749"/>
            <a:ext cx="1798347" cy="8235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교육 및 연수 프로그램</a:t>
            </a:r>
            <a:endParaRPr kumimoji="0" lang="en-GB" sz="180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0" name="Shape 777"/>
          <p:cNvSpPr/>
          <p:nvPr/>
        </p:nvSpPr>
        <p:spPr>
          <a:xfrm>
            <a:off x="5806695" y="2259975"/>
            <a:ext cx="3683380" cy="624162"/>
          </a:xfrm>
          <a:prstGeom prst="flowChartAlternateProcess">
            <a:avLst/>
          </a:prstGeom>
          <a:noFill/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0" tIns="0" rIns="0" bIns="0" anchor="ctr" anchorCtr="0">
            <a:noAutofit/>
          </a:bodyPr>
          <a:lstStyle/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AML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법령 및 규제변화를 정기적으로 반영한 </a:t>
            </a:r>
            <a:r>
              <a:rPr kumimoji="0" lang="ko-KR" altLang="en-US" sz="12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연간 교육 및 </a:t>
            </a:r>
            <a:r>
              <a:rPr kumimoji="0" lang="en-US" altLang="ko-KR" sz="12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Training</a:t>
            </a:r>
            <a:r>
              <a:rPr kumimoji="0" lang="ko-KR" altLang="en-US" sz="12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계획 수립</a:t>
            </a:r>
            <a:endParaRPr kumimoji="0" lang="en-US" sz="1200" i="0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</p:txBody>
      </p:sp>
      <p:sp>
        <p:nvSpPr>
          <p:cNvPr id="91" name="Shape 777"/>
          <p:cNvSpPr/>
          <p:nvPr/>
        </p:nvSpPr>
        <p:spPr>
          <a:xfrm>
            <a:off x="7149932" y="2961284"/>
            <a:ext cx="2274809" cy="1282735"/>
          </a:xfrm>
          <a:prstGeom prst="flowChartAlternateProcess">
            <a:avLst/>
          </a:prstGeom>
          <a:noFill/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0" tIns="0" rIns="0" bIns="0" anchor="ctr" anchorCtr="0">
            <a:noAutofit/>
          </a:bodyPr>
          <a:lstStyle/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전행 차원의 체계적인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ML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교육 프로그램을 통해 임직원의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ML</a:t>
            </a:r>
            <a:r>
              <a:rPr kumimoji="0" lang="en-US" altLang="ko-KR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kumimoji="0" lang="ko-KR" altLang="en-US" sz="1200" b="1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리스크 및 최근 동향에 관한 인식 제고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교육 수행</a:t>
            </a:r>
          </a:p>
        </p:txBody>
      </p:sp>
      <p:sp>
        <p:nvSpPr>
          <p:cNvPr id="92" name="Shape 777"/>
          <p:cNvSpPr/>
          <p:nvPr/>
        </p:nvSpPr>
        <p:spPr>
          <a:xfrm>
            <a:off x="438203" y="2950739"/>
            <a:ext cx="2338685" cy="1293280"/>
          </a:xfrm>
          <a:prstGeom prst="flowChartAlternateProcess">
            <a:avLst/>
          </a:prstGeom>
          <a:noFill/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0" tIns="0" rIns="0" bIns="0" anchor="ctr" anchorCtr="0">
            <a:noAutofit/>
          </a:bodyPr>
          <a:lstStyle/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새로운 규제 환경 및 관련 출판물과 서비스에 대해 수시 교육 실시</a:t>
            </a:r>
            <a:endParaRPr kumimoji="0" lang="en-US" altLang="ko-KR" sz="1200" b="1" i="0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sym typeface="Arial"/>
            </a:endParaRPr>
          </a:p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QC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프로그램 또는 감사 결과에서 확인된 </a:t>
            </a:r>
            <a:r>
              <a:rPr kumimoji="0" lang="ko-KR" altLang="en-US" sz="1200" b="1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취약점을 확인 하여 수시 교육에 포함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sym typeface="Arial"/>
              </a:rPr>
              <a:t> 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sym typeface="Arial"/>
            </a:endParaRPr>
          </a:p>
        </p:txBody>
      </p:sp>
      <p:sp>
        <p:nvSpPr>
          <p:cNvPr id="93" name="Shape 777"/>
          <p:cNvSpPr/>
          <p:nvPr/>
        </p:nvSpPr>
        <p:spPr>
          <a:xfrm>
            <a:off x="447861" y="4343308"/>
            <a:ext cx="2338685" cy="1310060"/>
          </a:xfrm>
          <a:prstGeom prst="flowChartAlternateProcess">
            <a:avLst/>
          </a:prstGeom>
          <a:noFill/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0" tIns="0" rIns="0" bIns="0" anchor="ctr" anchorCtr="0">
            <a:noAutofit/>
          </a:bodyPr>
          <a:lstStyle/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연간 교육 및 연수 계획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교육일자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교육내용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교육교제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참여자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교육 평가결과 등을 포함한 교육 및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sym typeface="Arial"/>
              </a:rPr>
              <a:t> </a:t>
            </a:r>
            <a:r>
              <a:rPr kumimoji="0" lang="ko-KR" altLang="en-US" sz="12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연수 프로그램과 관련된 모든 수행 내역 문서화</a:t>
            </a:r>
            <a:endParaRPr kumimoji="0" lang="en-US" sz="1200" i="0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</p:txBody>
      </p:sp>
      <p:sp>
        <p:nvSpPr>
          <p:cNvPr id="94" name="Shape 777"/>
          <p:cNvSpPr/>
          <p:nvPr/>
        </p:nvSpPr>
        <p:spPr>
          <a:xfrm>
            <a:off x="438203" y="5712389"/>
            <a:ext cx="3784383" cy="624160"/>
          </a:xfrm>
          <a:prstGeom prst="flowChartAlternateProcess">
            <a:avLst/>
          </a:prstGeom>
          <a:noFill/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0" tIns="0" rIns="0" bIns="0" anchor="ctr" anchorCtr="0">
            <a:noAutofit/>
          </a:bodyPr>
          <a:lstStyle/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교육대상자의 이해도를 평가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하여 교육 내용을 충분히 습득하였는지 검토하고 미이행 대상자는 별도 모니터링을 통해 모든 임직원 이해도 제고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sym typeface="Arial"/>
            </a:endParaRPr>
          </a:p>
        </p:txBody>
      </p:sp>
      <p:sp>
        <p:nvSpPr>
          <p:cNvPr id="95" name="Shape 777"/>
          <p:cNvSpPr/>
          <p:nvPr/>
        </p:nvSpPr>
        <p:spPr>
          <a:xfrm>
            <a:off x="7149932" y="4337009"/>
            <a:ext cx="2274809" cy="1295515"/>
          </a:xfrm>
          <a:prstGeom prst="flowChartAlternateProcess">
            <a:avLst/>
          </a:prstGeom>
          <a:noFill/>
          <a:ln w="127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0" tIns="0" rIns="0" bIns="0" anchor="ctr" anchorCtr="0">
            <a:noAutofit/>
          </a:bodyPr>
          <a:lstStyle/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Bold" panose="00000800000000000000" pitchFamily="2" charset="-127"/>
                <a:ea typeface="KoPub돋움체 Bold" panose="00000800000000000000" pitchFamily="2" charset="-127"/>
                <a:sym typeface="Arial"/>
              </a:rPr>
              <a:t>조직 및 역할에 따른  맞춤형 심화 교육 수행</a:t>
            </a:r>
            <a:endParaRPr kumimoji="0" lang="en-US" altLang="ko-KR" sz="1200" i="0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Bold" panose="00000800000000000000" pitchFamily="2" charset="-127"/>
              <a:ea typeface="KoPub돋움체 Bold" panose="00000800000000000000" pitchFamily="2" charset="-127"/>
              <a:sym typeface="Arial"/>
            </a:endParaRPr>
          </a:p>
          <a:p>
            <a:pPr marL="171450" marR="0" lvl="0" indent="-171450" defTabSz="10187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임원 및 이사회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 /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사업부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/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자금세탁방지부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/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sym typeface="Arial"/>
              </a:rPr>
              <a:t>감사부 等 별도의 심화 교육 진행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sym typeface="Arial"/>
            </a:endParaRPr>
          </a:p>
        </p:txBody>
      </p:sp>
      <p:sp>
        <p:nvSpPr>
          <p:cNvPr id="44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시스템구축</a:t>
            </a:r>
            <a:endParaRPr lang="ko-KR" altLang="en-US" sz="11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BD0032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4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7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505234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ML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구축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.3.10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내부통제 </a:t>
            </a:r>
            <a:r>
              <a:rPr lang="en-US" altLang="ko-KR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3.10.3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자금세탁방지 교육체계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8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4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482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 </a:t>
            </a:r>
            <a:r>
              <a:rPr lang="ko-KR" altLang="en-US" dirty="0"/>
              <a:t>전사 </a:t>
            </a:r>
            <a:r>
              <a:rPr lang="en-US" altLang="ko-KR" dirty="0"/>
              <a:t>RBA </a:t>
            </a:r>
            <a:r>
              <a:rPr lang="ko-KR" altLang="en-US" dirty="0"/>
              <a:t>체계 </a:t>
            </a:r>
            <a:r>
              <a:rPr lang="ko-KR" altLang="en-US" dirty="0" smtClean="0"/>
              <a:t>구축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243567"/>
            <a:ext cx="9433048" cy="406265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반 자금세탁 위험평가체계 구축에서는 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를 위한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평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통제 효과성 평가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위험평가 결과 산출 및 모니터링을 위한 모델을 설계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체계 구축 개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62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163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6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957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6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773820" y="6630514"/>
            <a:ext cx="431208" cy="123111"/>
          </a:xfrm>
        </p:spPr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5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cxnSp>
        <p:nvCxnSpPr>
          <p:cNvPr id="170" name="꺾인 연결선 169"/>
          <p:cNvCxnSpPr>
            <a:stCxn id="181" idx="3"/>
          </p:cNvCxnSpPr>
          <p:nvPr/>
        </p:nvCxnSpPr>
        <p:spPr>
          <a:xfrm>
            <a:off x="5988424" y="4421990"/>
            <a:ext cx="301313" cy="90723"/>
          </a:xfrm>
          <a:prstGeom prst="bentConnector3">
            <a:avLst>
              <a:gd name="adj1" fmla="val 77235"/>
            </a:avLst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꺾인 연결선 170"/>
          <p:cNvCxnSpPr>
            <a:stCxn id="182" idx="3"/>
            <a:endCxn id="181" idx="3"/>
          </p:cNvCxnSpPr>
          <p:nvPr/>
        </p:nvCxnSpPr>
        <p:spPr>
          <a:xfrm flipV="1">
            <a:off x="5988424" y="4421990"/>
            <a:ext cx="12700" cy="1089430"/>
          </a:xfrm>
          <a:prstGeom prst="bentConnector3">
            <a:avLst>
              <a:gd name="adj1" fmla="val 1800000"/>
            </a:avLst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꺾인 연결선 171"/>
          <p:cNvCxnSpPr>
            <a:stCxn id="187" idx="3"/>
            <a:endCxn id="425" idx="1"/>
          </p:cNvCxnSpPr>
          <p:nvPr/>
        </p:nvCxnSpPr>
        <p:spPr>
          <a:xfrm flipV="1">
            <a:off x="5486324" y="2886599"/>
            <a:ext cx="805397" cy="761072"/>
          </a:xfrm>
          <a:prstGeom prst="bentConnector3">
            <a:avLst>
              <a:gd name="adj1" fmla="val 50000"/>
            </a:avLst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직사각형 172"/>
          <p:cNvSpPr/>
          <p:nvPr/>
        </p:nvSpPr>
        <p:spPr>
          <a:xfrm>
            <a:off x="713005" y="2500753"/>
            <a:ext cx="5314949" cy="59338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marR="0" lvl="0" indent="-101591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4" name="직사각형 173"/>
          <p:cNvSpPr/>
          <p:nvPr/>
        </p:nvSpPr>
        <p:spPr>
          <a:xfrm>
            <a:off x="804032" y="2751752"/>
            <a:ext cx="1067698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조직체계정의</a:t>
            </a:r>
          </a:p>
        </p:txBody>
      </p:sp>
      <p:sp>
        <p:nvSpPr>
          <p:cNvPr id="175" name="직사각형 174"/>
          <p:cNvSpPr/>
          <p:nvPr/>
        </p:nvSpPr>
        <p:spPr>
          <a:xfrm>
            <a:off x="2159148" y="2751749"/>
            <a:ext cx="1067698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R&amp;R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정의</a:t>
            </a:r>
          </a:p>
        </p:txBody>
      </p:sp>
      <p:sp>
        <p:nvSpPr>
          <p:cNvPr id="176" name="직사각형 175"/>
          <p:cNvSpPr/>
          <p:nvPr/>
        </p:nvSpPr>
        <p:spPr>
          <a:xfrm>
            <a:off x="3514265" y="2751745"/>
            <a:ext cx="1067698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험관리절차</a:t>
            </a:r>
          </a:p>
        </p:txBody>
      </p:sp>
      <p:sp>
        <p:nvSpPr>
          <p:cNvPr id="177" name="직사각형 176"/>
          <p:cNvSpPr/>
          <p:nvPr/>
        </p:nvSpPr>
        <p:spPr>
          <a:xfrm>
            <a:off x="4869380" y="2751740"/>
            <a:ext cx="1067698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상세일정계획</a:t>
            </a:r>
          </a:p>
        </p:txBody>
      </p:sp>
      <p:sp>
        <p:nvSpPr>
          <p:cNvPr id="178" name="직사각형 177"/>
          <p:cNvSpPr/>
          <p:nvPr/>
        </p:nvSpPr>
        <p:spPr>
          <a:xfrm>
            <a:off x="713005" y="3268424"/>
            <a:ext cx="5325578" cy="2928515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marR="0" lvl="0" indent="-101591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9" name="직사각형 178"/>
          <p:cNvSpPr/>
          <p:nvPr/>
        </p:nvSpPr>
        <p:spPr>
          <a:xfrm>
            <a:off x="804033" y="3507503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ML/TF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험 식별</a:t>
            </a:r>
          </a:p>
        </p:txBody>
      </p:sp>
      <p:sp>
        <p:nvSpPr>
          <p:cNvPr id="180" name="직사각형 179"/>
          <p:cNvSpPr/>
          <p:nvPr/>
        </p:nvSpPr>
        <p:spPr>
          <a:xfrm>
            <a:off x="804024" y="4888102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AML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프로세스 정의</a:t>
            </a:r>
          </a:p>
        </p:txBody>
      </p:sp>
      <p:sp>
        <p:nvSpPr>
          <p:cNvPr id="181" name="직사각형 180"/>
          <p:cNvSpPr/>
          <p:nvPr/>
        </p:nvSpPr>
        <p:spPr>
          <a:xfrm>
            <a:off x="5609428" y="4058772"/>
            <a:ext cx="378996" cy="7264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ML/TF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험</a:t>
            </a:r>
            <a:endParaRPr kumimoji="0" lang="en-US" altLang="ko-KR" sz="8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평가</a:t>
            </a:r>
            <a:endParaRPr kumimoji="0" lang="en-US" altLang="ko-KR" sz="8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182" name="직사각형 181"/>
          <p:cNvSpPr/>
          <p:nvPr/>
        </p:nvSpPr>
        <p:spPr>
          <a:xfrm>
            <a:off x="5609428" y="4921914"/>
            <a:ext cx="378996" cy="1179011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내부통제</a:t>
            </a:r>
            <a:endParaRPr kumimoji="0" lang="en-US" altLang="ko-KR" sz="8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운영</a:t>
            </a:r>
            <a:endParaRPr kumimoji="0" lang="en-US" altLang="ko-KR" sz="8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평가</a:t>
            </a:r>
            <a:endParaRPr kumimoji="0" lang="en-US" altLang="ko-KR" sz="8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183" name="직사각형 182"/>
          <p:cNvSpPr/>
          <p:nvPr/>
        </p:nvSpPr>
        <p:spPr>
          <a:xfrm>
            <a:off x="2009546" y="3507503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ML/TF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험 분석</a:t>
            </a:r>
          </a:p>
        </p:txBody>
      </p:sp>
      <p:sp>
        <p:nvSpPr>
          <p:cNvPr id="184" name="직사각형 183"/>
          <p:cNvSpPr/>
          <p:nvPr/>
        </p:nvSpPr>
        <p:spPr>
          <a:xfrm>
            <a:off x="2009535" y="4888094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ML/TF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취약점 분석</a:t>
            </a:r>
          </a:p>
        </p:txBody>
      </p:sp>
      <p:sp>
        <p:nvSpPr>
          <p:cNvPr id="185" name="직사각형 184"/>
          <p:cNvSpPr/>
          <p:nvPr/>
        </p:nvSpPr>
        <p:spPr>
          <a:xfrm>
            <a:off x="3215057" y="3507503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험평가 지표 정의</a:t>
            </a:r>
          </a:p>
        </p:txBody>
      </p:sp>
      <p:sp>
        <p:nvSpPr>
          <p:cNvPr id="186" name="직사각형 185"/>
          <p:cNvSpPr/>
          <p:nvPr/>
        </p:nvSpPr>
        <p:spPr>
          <a:xfrm>
            <a:off x="3215049" y="4888095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통제활동 설계</a:t>
            </a:r>
          </a:p>
        </p:txBody>
      </p:sp>
      <p:sp>
        <p:nvSpPr>
          <p:cNvPr id="187" name="직사각형 186"/>
          <p:cNvSpPr/>
          <p:nvPr/>
        </p:nvSpPr>
        <p:spPr>
          <a:xfrm>
            <a:off x="4420569" y="3507503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험평가모델정의</a:t>
            </a:r>
          </a:p>
        </p:txBody>
      </p:sp>
      <p:sp>
        <p:nvSpPr>
          <p:cNvPr id="188" name="직사각형 187"/>
          <p:cNvSpPr/>
          <p:nvPr/>
        </p:nvSpPr>
        <p:spPr>
          <a:xfrm>
            <a:off x="4420562" y="4888094"/>
            <a:ext cx="1065755" cy="2803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통제활동 평가방안</a:t>
            </a:r>
          </a:p>
        </p:txBody>
      </p:sp>
      <p:cxnSp>
        <p:nvCxnSpPr>
          <p:cNvPr id="189" name="직선 화살표 연결선 188"/>
          <p:cNvCxnSpPr>
            <a:stCxn id="179" idx="3"/>
            <a:endCxn id="183" idx="1"/>
          </p:cNvCxnSpPr>
          <p:nvPr/>
        </p:nvCxnSpPr>
        <p:spPr>
          <a:xfrm>
            <a:off x="1869788" y="3647671"/>
            <a:ext cx="139757" cy="0"/>
          </a:xfrm>
          <a:prstGeom prst="straightConnector1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직선 화살표 연결선 189"/>
          <p:cNvCxnSpPr>
            <a:stCxn id="183" idx="3"/>
            <a:endCxn id="185" idx="1"/>
          </p:cNvCxnSpPr>
          <p:nvPr/>
        </p:nvCxnSpPr>
        <p:spPr>
          <a:xfrm>
            <a:off x="3075299" y="3647671"/>
            <a:ext cx="139757" cy="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직선 화살표 연결선 190"/>
          <p:cNvCxnSpPr>
            <a:stCxn id="185" idx="3"/>
            <a:endCxn id="187" idx="1"/>
          </p:cNvCxnSpPr>
          <p:nvPr/>
        </p:nvCxnSpPr>
        <p:spPr>
          <a:xfrm>
            <a:off x="4280812" y="3647671"/>
            <a:ext cx="139757" cy="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직선 화살표 연결선 191"/>
          <p:cNvCxnSpPr>
            <a:stCxn id="180" idx="3"/>
            <a:endCxn id="184" idx="1"/>
          </p:cNvCxnSpPr>
          <p:nvPr/>
        </p:nvCxnSpPr>
        <p:spPr>
          <a:xfrm flipV="1">
            <a:off x="1869779" y="5028262"/>
            <a:ext cx="139757" cy="8"/>
          </a:xfrm>
          <a:prstGeom prst="straightConnector1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직선 화살표 연결선 192"/>
          <p:cNvCxnSpPr>
            <a:stCxn id="184" idx="3"/>
            <a:endCxn id="186" idx="1"/>
          </p:cNvCxnSpPr>
          <p:nvPr/>
        </p:nvCxnSpPr>
        <p:spPr>
          <a:xfrm>
            <a:off x="3075291" y="5028262"/>
            <a:ext cx="139757" cy="1"/>
          </a:xfrm>
          <a:prstGeom prst="straightConnector1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직선 화살표 연결선 342"/>
          <p:cNvCxnSpPr>
            <a:stCxn id="186" idx="3"/>
            <a:endCxn id="188" idx="1"/>
          </p:cNvCxnSpPr>
          <p:nvPr/>
        </p:nvCxnSpPr>
        <p:spPr>
          <a:xfrm flipV="1">
            <a:off x="4280801" y="5028262"/>
            <a:ext cx="139758" cy="1"/>
          </a:xfrm>
          <a:prstGeom prst="straightConnector1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꺾인 연결선 343"/>
          <p:cNvCxnSpPr>
            <a:stCxn id="187" idx="3"/>
            <a:endCxn id="181" idx="1"/>
          </p:cNvCxnSpPr>
          <p:nvPr/>
        </p:nvCxnSpPr>
        <p:spPr>
          <a:xfrm>
            <a:off x="5486324" y="3647671"/>
            <a:ext cx="123104" cy="774319"/>
          </a:xfrm>
          <a:prstGeom prst="bentConnector3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꺾인 연결선 344"/>
          <p:cNvCxnSpPr>
            <a:stCxn id="188" idx="3"/>
            <a:endCxn id="182" idx="1"/>
          </p:cNvCxnSpPr>
          <p:nvPr/>
        </p:nvCxnSpPr>
        <p:spPr>
          <a:xfrm>
            <a:off x="5486317" y="5028262"/>
            <a:ext cx="123111" cy="483158"/>
          </a:xfrm>
          <a:prstGeom prst="bentConnector3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직사각형 345"/>
          <p:cNvSpPr/>
          <p:nvPr/>
        </p:nvSpPr>
        <p:spPr>
          <a:xfrm>
            <a:off x="2326892" y="4574394"/>
            <a:ext cx="749975" cy="18733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Risk Factor </a:t>
            </a: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정의</a:t>
            </a:r>
          </a:p>
        </p:txBody>
      </p:sp>
      <p:grpSp>
        <p:nvGrpSpPr>
          <p:cNvPr id="347" name="그룹 346"/>
          <p:cNvGrpSpPr/>
          <p:nvPr/>
        </p:nvGrpSpPr>
        <p:grpSpPr>
          <a:xfrm>
            <a:off x="801796" y="3881912"/>
            <a:ext cx="1065755" cy="878174"/>
            <a:chOff x="2958471" y="3706635"/>
            <a:chExt cx="852727" cy="506272"/>
          </a:xfrm>
        </p:grpSpPr>
        <p:sp>
          <p:nvSpPr>
            <p:cNvPr id="348" name="직사각형 347"/>
            <p:cNvSpPr/>
            <p:nvPr/>
          </p:nvSpPr>
          <p:spPr>
            <a:xfrm>
              <a:off x="2958471" y="3706635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국가</a:t>
              </a:r>
            </a:p>
          </p:txBody>
        </p:sp>
        <p:sp>
          <p:nvSpPr>
            <p:cNvPr id="349" name="직사각형 348"/>
            <p:cNvSpPr/>
            <p:nvPr/>
          </p:nvSpPr>
          <p:spPr>
            <a:xfrm>
              <a:off x="2958471" y="3839392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고객</a:t>
              </a:r>
            </a:p>
          </p:txBody>
        </p:sp>
        <p:sp>
          <p:nvSpPr>
            <p:cNvPr id="350" name="직사각형 349"/>
            <p:cNvSpPr/>
            <p:nvPr/>
          </p:nvSpPr>
          <p:spPr>
            <a:xfrm>
              <a:off x="2958471" y="3972149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상품</a:t>
              </a:r>
            </a:p>
          </p:txBody>
        </p:sp>
        <p:sp>
          <p:nvSpPr>
            <p:cNvPr id="351" name="직사각형 350"/>
            <p:cNvSpPr/>
            <p:nvPr/>
          </p:nvSpPr>
          <p:spPr>
            <a:xfrm>
              <a:off x="2958471" y="4104907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채널</a:t>
              </a:r>
            </a:p>
          </p:txBody>
        </p:sp>
        <p:sp>
          <p:nvSpPr>
            <p:cNvPr id="352" name="직사각형 351"/>
            <p:cNvSpPr/>
            <p:nvPr/>
          </p:nvSpPr>
          <p:spPr>
            <a:xfrm>
              <a:off x="3343198" y="3770714"/>
              <a:ext cx="468000" cy="180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외부사례 분석</a:t>
              </a:r>
            </a:p>
          </p:txBody>
        </p:sp>
        <p:sp>
          <p:nvSpPr>
            <p:cNvPr id="353" name="직사각형 352"/>
            <p:cNvSpPr/>
            <p:nvPr/>
          </p:nvSpPr>
          <p:spPr>
            <a:xfrm>
              <a:off x="3343198" y="3980296"/>
              <a:ext cx="468000" cy="180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STR/CTR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 데이터분석</a:t>
              </a:r>
            </a:p>
          </p:txBody>
        </p:sp>
        <p:cxnSp>
          <p:nvCxnSpPr>
            <p:cNvPr id="354" name="꺾인 연결선 353"/>
            <p:cNvCxnSpPr>
              <a:stCxn id="348" idx="3"/>
              <a:endCxn id="353" idx="1"/>
            </p:cNvCxnSpPr>
            <p:nvPr/>
          </p:nvCxnSpPr>
          <p:spPr>
            <a:xfrm>
              <a:off x="3246471" y="3760635"/>
              <a:ext cx="96727" cy="309661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5" name="꺾인 연결선 354"/>
            <p:cNvCxnSpPr>
              <a:stCxn id="351" idx="3"/>
              <a:endCxn id="352" idx="1"/>
            </p:cNvCxnSpPr>
            <p:nvPr/>
          </p:nvCxnSpPr>
          <p:spPr>
            <a:xfrm flipV="1">
              <a:off x="3246471" y="3860714"/>
              <a:ext cx="96727" cy="298193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6" name="직선 연결선 355"/>
            <p:cNvCxnSpPr/>
            <p:nvPr/>
          </p:nvCxnSpPr>
          <p:spPr>
            <a:xfrm flipV="1">
              <a:off x="3246471" y="3895349"/>
              <a:ext cx="50400" cy="0"/>
            </a:xfrm>
            <a:prstGeom prst="line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7" name="직선 연결선 356"/>
            <p:cNvCxnSpPr/>
            <p:nvPr/>
          </p:nvCxnSpPr>
          <p:spPr>
            <a:xfrm flipV="1">
              <a:off x="3246477" y="4024659"/>
              <a:ext cx="50400" cy="0"/>
            </a:xfrm>
            <a:prstGeom prst="line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358" name="꺾인 연결선 357"/>
          <p:cNvCxnSpPr>
            <a:stCxn id="352" idx="3"/>
            <a:endCxn id="361" idx="1"/>
          </p:cNvCxnSpPr>
          <p:nvPr/>
        </p:nvCxnSpPr>
        <p:spPr>
          <a:xfrm>
            <a:off x="1867548" y="4149174"/>
            <a:ext cx="147269" cy="67665"/>
          </a:xfrm>
          <a:prstGeom prst="bentConnector3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9" name="꺾인 연결선 358"/>
          <p:cNvCxnSpPr>
            <a:stCxn id="353" idx="3"/>
            <a:endCxn id="361" idx="1"/>
          </p:cNvCxnSpPr>
          <p:nvPr/>
        </p:nvCxnSpPr>
        <p:spPr>
          <a:xfrm flipV="1">
            <a:off x="1867548" y="4216839"/>
            <a:ext cx="147269" cy="295874"/>
          </a:xfrm>
          <a:prstGeom prst="bentConnector3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60" name="그룹 359"/>
          <p:cNvGrpSpPr/>
          <p:nvPr/>
        </p:nvGrpSpPr>
        <p:grpSpPr>
          <a:xfrm>
            <a:off x="2014819" y="3901388"/>
            <a:ext cx="1061139" cy="631872"/>
            <a:chOff x="3993184" y="3717864"/>
            <a:chExt cx="967791" cy="364278"/>
          </a:xfrm>
        </p:grpSpPr>
        <p:sp>
          <p:nvSpPr>
            <p:cNvPr id="361" name="직사각형 360"/>
            <p:cNvSpPr/>
            <p:nvPr/>
          </p:nvSpPr>
          <p:spPr>
            <a:xfrm>
              <a:off x="3993184" y="3809723"/>
              <a:ext cx="501624" cy="180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Risk</a:t>
              </a:r>
            </a:p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Event </a:t>
              </a: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정의</a:t>
              </a:r>
            </a:p>
          </p:txBody>
        </p:sp>
        <p:sp>
          <p:nvSpPr>
            <p:cNvPr id="362" name="직사각형 361"/>
            <p:cNvSpPr/>
            <p:nvPr/>
          </p:nvSpPr>
          <p:spPr>
            <a:xfrm>
              <a:off x="4636975" y="3717864"/>
              <a:ext cx="324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고위험</a:t>
              </a:r>
            </a:p>
          </p:txBody>
        </p:sp>
        <p:sp>
          <p:nvSpPr>
            <p:cNvPr id="363" name="직사각형 362"/>
            <p:cNvSpPr/>
            <p:nvPr/>
          </p:nvSpPr>
          <p:spPr>
            <a:xfrm>
              <a:off x="4636975" y="3846003"/>
              <a:ext cx="324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중위험</a:t>
              </a:r>
            </a:p>
          </p:txBody>
        </p:sp>
        <p:sp>
          <p:nvSpPr>
            <p:cNvPr id="364" name="직사각형 363"/>
            <p:cNvSpPr/>
            <p:nvPr/>
          </p:nvSpPr>
          <p:spPr>
            <a:xfrm>
              <a:off x="4636975" y="3974142"/>
              <a:ext cx="324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저위험</a:t>
              </a:r>
            </a:p>
          </p:txBody>
        </p:sp>
        <p:cxnSp>
          <p:nvCxnSpPr>
            <p:cNvPr id="365" name="꺾인 연결선 364"/>
            <p:cNvCxnSpPr>
              <a:stCxn id="364" idx="1"/>
              <a:endCxn id="362" idx="1"/>
            </p:cNvCxnSpPr>
            <p:nvPr/>
          </p:nvCxnSpPr>
          <p:spPr>
            <a:xfrm rot="10800000">
              <a:off x="4636975" y="3771864"/>
              <a:ext cx="12700" cy="256278"/>
            </a:xfrm>
            <a:prstGeom prst="bentConnector3">
              <a:avLst>
                <a:gd name="adj1" fmla="val 709094"/>
              </a:avLst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6" name="직선 연결선 365"/>
            <p:cNvCxnSpPr>
              <a:stCxn id="361" idx="3"/>
              <a:endCxn id="363" idx="1"/>
            </p:cNvCxnSpPr>
            <p:nvPr/>
          </p:nvCxnSpPr>
          <p:spPr>
            <a:xfrm>
              <a:off x="4494808" y="3899723"/>
              <a:ext cx="142167" cy="280"/>
            </a:xfrm>
            <a:prstGeom prst="line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367" name="꺾인 연결선 366"/>
          <p:cNvCxnSpPr>
            <a:stCxn id="346" idx="1"/>
            <a:endCxn id="361" idx="2"/>
          </p:cNvCxnSpPr>
          <p:nvPr/>
        </p:nvCxnSpPr>
        <p:spPr>
          <a:xfrm rot="10800000">
            <a:off x="2208477" y="4372954"/>
            <a:ext cx="118416" cy="295110"/>
          </a:xfrm>
          <a:prstGeom prst="bentConnector2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8" name="직사각형 367"/>
          <p:cNvSpPr/>
          <p:nvPr/>
        </p:nvSpPr>
        <p:spPr>
          <a:xfrm>
            <a:off x="3222756" y="3901388"/>
            <a:ext cx="828920" cy="18733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데이터 가용성 분석</a:t>
            </a:r>
          </a:p>
        </p:txBody>
      </p:sp>
      <p:grpSp>
        <p:nvGrpSpPr>
          <p:cNvPr id="369" name="그룹 368"/>
          <p:cNvGrpSpPr/>
          <p:nvPr/>
        </p:nvGrpSpPr>
        <p:grpSpPr>
          <a:xfrm>
            <a:off x="3508305" y="4126655"/>
            <a:ext cx="784865" cy="631872"/>
            <a:chOff x="4281154" y="3717864"/>
            <a:chExt cx="715821" cy="364278"/>
          </a:xfrm>
        </p:grpSpPr>
        <p:sp>
          <p:nvSpPr>
            <p:cNvPr id="370" name="직사각형 369"/>
            <p:cNvSpPr/>
            <p:nvPr/>
          </p:nvSpPr>
          <p:spPr>
            <a:xfrm>
              <a:off x="4281154" y="3809723"/>
              <a:ext cx="245403" cy="180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지표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정의</a:t>
              </a:r>
            </a:p>
          </p:txBody>
        </p:sp>
        <p:sp>
          <p:nvSpPr>
            <p:cNvPr id="371" name="직사각형 370"/>
            <p:cNvSpPr/>
            <p:nvPr/>
          </p:nvSpPr>
          <p:spPr>
            <a:xfrm>
              <a:off x="4636975" y="3717864"/>
              <a:ext cx="360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거래금액</a:t>
              </a:r>
            </a:p>
          </p:txBody>
        </p:sp>
        <p:sp>
          <p:nvSpPr>
            <p:cNvPr id="372" name="직사각형 371"/>
            <p:cNvSpPr/>
            <p:nvPr/>
          </p:nvSpPr>
          <p:spPr>
            <a:xfrm>
              <a:off x="4636975" y="3846003"/>
              <a:ext cx="360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고객수</a:t>
              </a:r>
            </a:p>
          </p:txBody>
        </p:sp>
        <p:sp>
          <p:nvSpPr>
            <p:cNvPr id="373" name="직사각형 372"/>
            <p:cNvSpPr/>
            <p:nvPr/>
          </p:nvSpPr>
          <p:spPr>
            <a:xfrm>
              <a:off x="4636975" y="3974142"/>
              <a:ext cx="360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비율 등</a:t>
              </a:r>
            </a:p>
          </p:txBody>
        </p:sp>
        <p:cxnSp>
          <p:nvCxnSpPr>
            <p:cNvPr id="374" name="꺾인 연결선 373"/>
            <p:cNvCxnSpPr>
              <a:stCxn id="373" idx="1"/>
              <a:endCxn id="371" idx="1"/>
            </p:cNvCxnSpPr>
            <p:nvPr/>
          </p:nvCxnSpPr>
          <p:spPr>
            <a:xfrm rot="10800000">
              <a:off x="4636975" y="3771864"/>
              <a:ext cx="12700" cy="256278"/>
            </a:xfrm>
            <a:prstGeom prst="bentConnector3">
              <a:avLst>
                <a:gd name="adj1" fmla="val 525000"/>
              </a:avLst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5" name="직선 연결선 374"/>
            <p:cNvCxnSpPr>
              <a:stCxn id="370" idx="3"/>
              <a:endCxn id="372" idx="1"/>
            </p:cNvCxnSpPr>
            <p:nvPr/>
          </p:nvCxnSpPr>
          <p:spPr>
            <a:xfrm>
              <a:off x="4526557" y="3899723"/>
              <a:ext cx="110418" cy="280"/>
            </a:xfrm>
            <a:prstGeom prst="line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376" name="꺾인 연결선 375"/>
          <p:cNvCxnSpPr>
            <a:stCxn id="370" idx="1"/>
          </p:cNvCxnSpPr>
          <p:nvPr/>
        </p:nvCxnSpPr>
        <p:spPr>
          <a:xfrm rot="10800000">
            <a:off x="3390159" y="4088724"/>
            <a:ext cx="118146" cy="353381"/>
          </a:xfrm>
          <a:prstGeom prst="bentConnector2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7" name="꺾인 연결선 376"/>
          <p:cNvCxnSpPr>
            <a:stCxn id="368" idx="1"/>
            <a:endCxn id="346" idx="3"/>
          </p:cNvCxnSpPr>
          <p:nvPr/>
        </p:nvCxnSpPr>
        <p:spPr>
          <a:xfrm rot="10800000" flipV="1">
            <a:off x="3076867" y="3995057"/>
            <a:ext cx="145887" cy="673005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78" name="그룹 377"/>
          <p:cNvGrpSpPr/>
          <p:nvPr/>
        </p:nvGrpSpPr>
        <p:grpSpPr>
          <a:xfrm>
            <a:off x="4420557" y="3950636"/>
            <a:ext cx="1076157" cy="748411"/>
            <a:chOff x="6187289" y="3746255"/>
            <a:chExt cx="981488" cy="431463"/>
          </a:xfrm>
        </p:grpSpPr>
        <p:sp>
          <p:nvSpPr>
            <p:cNvPr id="379" name="직사각형 378"/>
            <p:cNvSpPr/>
            <p:nvPr/>
          </p:nvSpPr>
          <p:spPr>
            <a:xfrm>
              <a:off x="6187289" y="3752013"/>
              <a:ext cx="576000" cy="180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지표 별 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산출 로직 정의</a:t>
              </a:r>
            </a:p>
          </p:txBody>
        </p:sp>
        <p:sp>
          <p:nvSpPr>
            <p:cNvPr id="380" name="직사각형 379"/>
            <p:cNvSpPr/>
            <p:nvPr/>
          </p:nvSpPr>
          <p:spPr>
            <a:xfrm>
              <a:off x="6187289" y="3997718"/>
              <a:ext cx="576000" cy="180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위험평가 모델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가중치 정의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</p:txBody>
        </p:sp>
        <p:sp>
          <p:nvSpPr>
            <p:cNvPr id="381" name="직사각형 380"/>
            <p:cNvSpPr/>
            <p:nvPr/>
          </p:nvSpPr>
          <p:spPr>
            <a:xfrm>
              <a:off x="6916777" y="3746255"/>
              <a:ext cx="252000" cy="418795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위험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평가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산정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모델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endParaRPr>
            </a:p>
          </p:txBody>
        </p:sp>
        <p:cxnSp>
          <p:nvCxnSpPr>
            <p:cNvPr id="382" name="꺾인 연결선 381"/>
            <p:cNvCxnSpPr>
              <a:stCxn id="381" idx="1"/>
              <a:endCxn id="379" idx="3"/>
            </p:cNvCxnSpPr>
            <p:nvPr/>
          </p:nvCxnSpPr>
          <p:spPr>
            <a:xfrm rot="10800000">
              <a:off x="6763289" y="3842013"/>
              <a:ext cx="153488" cy="113640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3" name="꺾인 연결선 382"/>
            <p:cNvCxnSpPr>
              <a:stCxn id="381" idx="1"/>
              <a:endCxn id="380" idx="3"/>
            </p:cNvCxnSpPr>
            <p:nvPr/>
          </p:nvCxnSpPr>
          <p:spPr>
            <a:xfrm rot="10800000" flipV="1">
              <a:off x="6763289" y="3955652"/>
              <a:ext cx="153488" cy="132065"/>
            </a:xfrm>
            <a:prstGeom prst="bentConnector3">
              <a:avLst>
                <a:gd name="adj1" fmla="val 50000"/>
              </a:avLst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384" name="꺾인 연결선 383"/>
          <p:cNvCxnSpPr>
            <a:stCxn id="373" idx="3"/>
            <a:endCxn id="371" idx="3"/>
          </p:cNvCxnSpPr>
          <p:nvPr/>
        </p:nvCxnSpPr>
        <p:spPr>
          <a:xfrm flipV="1">
            <a:off x="4293171" y="4220321"/>
            <a:ext cx="13926" cy="444537"/>
          </a:xfrm>
          <a:prstGeom prst="bentConnector3">
            <a:avLst>
              <a:gd name="adj1" fmla="val 366661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5" name="꺾인 연결선 384"/>
          <p:cNvCxnSpPr>
            <a:stCxn id="372" idx="3"/>
            <a:endCxn id="379" idx="1"/>
          </p:cNvCxnSpPr>
          <p:nvPr/>
        </p:nvCxnSpPr>
        <p:spPr>
          <a:xfrm flipV="1">
            <a:off x="4293171" y="4116736"/>
            <a:ext cx="127385" cy="325855"/>
          </a:xfrm>
          <a:prstGeom prst="bentConnector3">
            <a:avLst>
              <a:gd name="adj1" fmla="val 71863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6" name="직사각형 385"/>
          <p:cNvSpPr/>
          <p:nvPr/>
        </p:nvSpPr>
        <p:spPr>
          <a:xfrm>
            <a:off x="796978" y="5233747"/>
            <a:ext cx="599550" cy="24978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전사위험관리</a:t>
            </a:r>
          </a:p>
        </p:txBody>
      </p:sp>
      <p:sp>
        <p:nvSpPr>
          <p:cNvPr id="387" name="직사각형 386"/>
          <p:cNvSpPr/>
          <p:nvPr/>
        </p:nvSpPr>
        <p:spPr>
          <a:xfrm>
            <a:off x="1446556" y="5233747"/>
            <a:ext cx="426568" cy="24978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CDD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sp>
        <p:nvSpPr>
          <p:cNvPr id="388" name="직사각형 387"/>
          <p:cNvSpPr/>
          <p:nvPr/>
        </p:nvSpPr>
        <p:spPr>
          <a:xfrm>
            <a:off x="801627" y="5546350"/>
            <a:ext cx="599550" cy="24978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고객위험평가</a:t>
            </a:r>
          </a:p>
        </p:txBody>
      </p:sp>
      <p:sp>
        <p:nvSpPr>
          <p:cNvPr id="389" name="직사각형 388"/>
          <p:cNvSpPr/>
          <p:nvPr/>
        </p:nvSpPr>
        <p:spPr>
          <a:xfrm>
            <a:off x="1451203" y="5546350"/>
            <a:ext cx="426568" cy="24978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내부통제</a:t>
            </a:r>
          </a:p>
        </p:txBody>
      </p:sp>
      <p:sp>
        <p:nvSpPr>
          <p:cNvPr id="390" name="직사각형 389"/>
          <p:cNvSpPr/>
          <p:nvPr/>
        </p:nvSpPr>
        <p:spPr>
          <a:xfrm>
            <a:off x="801621" y="5866308"/>
            <a:ext cx="599550" cy="24978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거래모니터링</a:t>
            </a:r>
          </a:p>
        </p:txBody>
      </p:sp>
      <p:sp>
        <p:nvSpPr>
          <p:cNvPr id="391" name="직사각형 390"/>
          <p:cNvSpPr/>
          <p:nvPr/>
        </p:nvSpPr>
        <p:spPr>
          <a:xfrm>
            <a:off x="1451199" y="5866308"/>
            <a:ext cx="426568" cy="24978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보안관리</a:t>
            </a:r>
          </a:p>
        </p:txBody>
      </p:sp>
      <p:sp>
        <p:nvSpPr>
          <p:cNvPr id="392" name="직사각형 391"/>
          <p:cNvSpPr/>
          <p:nvPr/>
        </p:nvSpPr>
        <p:spPr>
          <a:xfrm>
            <a:off x="2800326" y="5316050"/>
            <a:ext cx="276307" cy="726436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취약점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도출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및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평가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cxnSp>
        <p:nvCxnSpPr>
          <p:cNvPr id="393" name="꺾인 연결선 392"/>
          <p:cNvCxnSpPr>
            <a:stCxn id="392" idx="1"/>
            <a:endCxn id="418" idx="3"/>
          </p:cNvCxnSpPr>
          <p:nvPr/>
        </p:nvCxnSpPr>
        <p:spPr>
          <a:xfrm rot="10800000">
            <a:off x="2689345" y="5358637"/>
            <a:ext cx="110982" cy="32063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4" name="꺾인 연결선 393"/>
          <p:cNvCxnSpPr>
            <a:stCxn id="392" idx="1"/>
            <a:endCxn id="420" idx="3"/>
          </p:cNvCxnSpPr>
          <p:nvPr/>
        </p:nvCxnSpPr>
        <p:spPr>
          <a:xfrm rot="10800000" flipV="1">
            <a:off x="2689345" y="5679268"/>
            <a:ext cx="110982" cy="311929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95" name="그룹 394"/>
          <p:cNvGrpSpPr/>
          <p:nvPr/>
        </p:nvGrpSpPr>
        <p:grpSpPr>
          <a:xfrm>
            <a:off x="3851637" y="5236899"/>
            <a:ext cx="434196" cy="878174"/>
            <a:chOff x="2958471" y="3706635"/>
            <a:chExt cx="288000" cy="506272"/>
          </a:xfrm>
        </p:grpSpPr>
        <p:sp>
          <p:nvSpPr>
            <p:cNvPr id="396" name="직사각형 395"/>
            <p:cNvSpPr/>
            <p:nvPr/>
          </p:nvSpPr>
          <p:spPr>
            <a:xfrm>
              <a:off x="2958471" y="3706635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자동통제</a:t>
              </a:r>
            </a:p>
          </p:txBody>
        </p:sp>
        <p:sp>
          <p:nvSpPr>
            <p:cNvPr id="397" name="직사각형 396"/>
            <p:cNvSpPr/>
            <p:nvPr/>
          </p:nvSpPr>
          <p:spPr>
            <a:xfrm>
              <a:off x="2958471" y="3839392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수기통제</a:t>
              </a:r>
            </a:p>
          </p:txBody>
        </p:sp>
        <p:sp>
          <p:nvSpPr>
            <p:cNvPr id="398" name="직사각형 397"/>
            <p:cNvSpPr/>
            <p:nvPr/>
          </p:nvSpPr>
          <p:spPr>
            <a:xfrm>
              <a:off x="2958471" y="3972149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공통통제</a:t>
              </a:r>
            </a:p>
          </p:txBody>
        </p:sp>
        <p:sp>
          <p:nvSpPr>
            <p:cNvPr id="399" name="직사각형 398"/>
            <p:cNvSpPr/>
            <p:nvPr/>
          </p:nvSpPr>
          <p:spPr>
            <a:xfrm>
              <a:off x="2958471" y="4104907"/>
              <a:ext cx="288000" cy="108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개별통제</a:t>
              </a:r>
            </a:p>
          </p:txBody>
        </p:sp>
      </p:grpSp>
      <p:sp>
        <p:nvSpPr>
          <p:cNvPr id="400" name="직사각형 399"/>
          <p:cNvSpPr/>
          <p:nvPr/>
        </p:nvSpPr>
        <p:spPr>
          <a:xfrm>
            <a:off x="3230036" y="5314870"/>
            <a:ext cx="473669" cy="31222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활동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식별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sp>
        <p:nvSpPr>
          <p:cNvPr id="401" name="직사각형 400"/>
          <p:cNvSpPr/>
          <p:nvPr/>
        </p:nvSpPr>
        <p:spPr>
          <a:xfrm>
            <a:off x="3230036" y="5741066"/>
            <a:ext cx="473669" cy="31222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취약점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개선</a:t>
            </a:r>
            <a:endParaRPr kumimoji="0" lang="en-US" altLang="ko-KR" sz="80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cxnSp>
        <p:nvCxnSpPr>
          <p:cNvPr id="402" name="꺾인 연결선 401"/>
          <p:cNvCxnSpPr>
            <a:stCxn id="400" idx="1"/>
            <a:endCxn id="392" idx="3"/>
          </p:cNvCxnSpPr>
          <p:nvPr/>
        </p:nvCxnSpPr>
        <p:spPr>
          <a:xfrm rot="10800000" flipV="1">
            <a:off x="3076634" y="5470982"/>
            <a:ext cx="153403" cy="208285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3" name="직선 연결선 402"/>
          <p:cNvCxnSpPr>
            <a:stCxn id="400" idx="2"/>
            <a:endCxn id="401" idx="0"/>
          </p:cNvCxnSpPr>
          <p:nvPr/>
        </p:nvCxnSpPr>
        <p:spPr>
          <a:xfrm>
            <a:off x="3466871" y="5627096"/>
            <a:ext cx="0" cy="113971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4" name="꺾인 연결선 403"/>
          <p:cNvCxnSpPr>
            <a:stCxn id="401" idx="3"/>
            <a:endCxn id="396" idx="1"/>
          </p:cNvCxnSpPr>
          <p:nvPr/>
        </p:nvCxnSpPr>
        <p:spPr>
          <a:xfrm flipV="1">
            <a:off x="3703703" y="5330567"/>
            <a:ext cx="147931" cy="566614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5" name="꺾인 연결선 404"/>
          <p:cNvCxnSpPr>
            <a:stCxn id="400" idx="3"/>
            <a:endCxn id="399" idx="1"/>
          </p:cNvCxnSpPr>
          <p:nvPr/>
        </p:nvCxnSpPr>
        <p:spPr>
          <a:xfrm>
            <a:off x="3703703" y="5470982"/>
            <a:ext cx="147931" cy="55042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6" name="직선 연결선 405"/>
          <p:cNvCxnSpPr/>
          <p:nvPr/>
        </p:nvCxnSpPr>
        <p:spPr>
          <a:xfrm flipH="1" flipV="1">
            <a:off x="3776249" y="5551790"/>
            <a:ext cx="74997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7" name="직선 연결선 406"/>
          <p:cNvCxnSpPr>
            <a:stCxn id="398" idx="1"/>
          </p:cNvCxnSpPr>
          <p:nvPr/>
        </p:nvCxnSpPr>
        <p:spPr>
          <a:xfrm flipH="1">
            <a:off x="3776249" y="5791123"/>
            <a:ext cx="75387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8" name="직사각형 407"/>
          <p:cNvSpPr/>
          <p:nvPr/>
        </p:nvSpPr>
        <p:spPr>
          <a:xfrm>
            <a:off x="4423535" y="5241517"/>
            <a:ext cx="1065755" cy="18733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평가 </a:t>
            </a:r>
            <a: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template </a:t>
            </a: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작성</a:t>
            </a:r>
          </a:p>
        </p:txBody>
      </p:sp>
      <p:sp>
        <p:nvSpPr>
          <p:cNvPr id="409" name="직사각형 408"/>
          <p:cNvSpPr/>
          <p:nvPr/>
        </p:nvSpPr>
        <p:spPr>
          <a:xfrm>
            <a:off x="4423535" y="5930728"/>
            <a:ext cx="1065755" cy="18733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통제 운영 효과성 산정</a:t>
            </a:r>
          </a:p>
        </p:txBody>
      </p:sp>
      <p:sp>
        <p:nvSpPr>
          <p:cNvPr id="410" name="직사각형 409"/>
          <p:cNvSpPr/>
          <p:nvPr/>
        </p:nvSpPr>
        <p:spPr>
          <a:xfrm>
            <a:off x="4423535" y="5600281"/>
            <a:ext cx="1065755" cy="18733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" tIns="45699" rIns="3600" bIns="45699" anchor="ctr"/>
          <a:lstStyle/>
          <a:p>
            <a:pPr marL="0" marR="0" lvl="0" indent="0" algn="ctr" defTabSz="1018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ko-KR" altLang="en-US" sz="79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필요 데이터</a:t>
            </a:r>
            <a:r>
              <a:rPr kumimoji="0" lang="en-US" altLang="ko-KR" sz="79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/sample</a:t>
            </a:r>
            <a:r>
              <a:rPr kumimoji="0" lang="ko-KR" altLang="en-US" sz="790" b="0" i="0" u="none" strike="noStrike" kern="0" cap="none" spc="0" normalizeH="0" baseline="0" noProof="0" dirty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 </a:t>
            </a:r>
            <a:r>
              <a:rPr kumimoji="0" lang="ko-KR" altLang="en-US" sz="790" b="0" i="0" u="none" strike="noStrike" kern="0" cap="none" spc="0" normalizeH="0" baseline="0" noProof="0" dirty="0" smtClean="0">
                <a:ln>
                  <a:noFill/>
                </a:ln>
                <a:solidFill>
                  <a:srgbClr val="1B1112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Arial" pitchFamily="34" charset="0"/>
              </a:rPr>
              <a:t>정의</a:t>
            </a:r>
            <a:endParaRPr kumimoji="0" lang="ko-KR" altLang="en-US" sz="790" b="0" i="0" u="none" strike="noStrike" kern="0" cap="none" spc="0" normalizeH="0" baseline="0" noProof="0" dirty="0">
              <a:ln>
                <a:noFill/>
              </a:ln>
              <a:solidFill>
                <a:srgbClr val="1B1112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Arial" pitchFamily="34" charset="0"/>
            </a:endParaRPr>
          </a:p>
        </p:txBody>
      </p:sp>
      <p:cxnSp>
        <p:nvCxnSpPr>
          <p:cNvPr id="411" name="직선 연결선 410"/>
          <p:cNvCxnSpPr>
            <a:stCxn id="410" idx="0"/>
            <a:endCxn id="408" idx="2"/>
          </p:cNvCxnSpPr>
          <p:nvPr/>
        </p:nvCxnSpPr>
        <p:spPr>
          <a:xfrm flipV="1">
            <a:off x="4956412" y="5428852"/>
            <a:ext cx="0" cy="171429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2" name="직선 연결선 411"/>
          <p:cNvCxnSpPr>
            <a:stCxn id="409" idx="0"/>
            <a:endCxn id="410" idx="2"/>
          </p:cNvCxnSpPr>
          <p:nvPr/>
        </p:nvCxnSpPr>
        <p:spPr>
          <a:xfrm flipV="1">
            <a:off x="4956412" y="5787617"/>
            <a:ext cx="0" cy="143112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3" name="꺾인 연결선 412"/>
          <p:cNvCxnSpPr>
            <a:stCxn id="396" idx="3"/>
            <a:endCxn id="399" idx="3"/>
          </p:cNvCxnSpPr>
          <p:nvPr/>
        </p:nvCxnSpPr>
        <p:spPr>
          <a:xfrm>
            <a:off x="4285833" y="5330567"/>
            <a:ext cx="13926" cy="690837"/>
          </a:xfrm>
          <a:prstGeom prst="bentConnector3">
            <a:avLst>
              <a:gd name="adj1" fmla="val 450000"/>
            </a:avLst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4" name="직선 연결선 413"/>
          <p:cNvCxnSpPr/>
          <p:nvPr/>
        </p:nvCxnSpPr>
        <p:spPr>
          <a:xfrm flipH="1" flipV="1">
            <a:off x="4280159" y="5551792"/>
            <a:ext cx="67103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5" name="직선 연결선 414"/>
          <p:cNvCxnSpPr/>
          <p:nvPr/>
        </p:nvCxnSpPr>
        <p:spPr>
          <a:xfrm flipH="1">
            <a:off x="4280159" y="5791127"/>
            <a:ext cx="67103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6" name="직선 연결선 415"/>
          <p:cNvCxnSpPr/>
          <p:nvPr/>
        </p:nvCxnSpPr>
        <p:spPr>
          <a:xfrm flipH="1" flipV="1">
            <a:off x="4349785" y="5333451"/>
            <a:ext cx="73750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17" name="그룹 416"/>
          <p:cNvGrpSpPr/>
          <p:nvPr/>
        </p:nvGrpSpPr>
        <p:grpSpPr>
          <a:xfrm>
            <a:off x="2018315" y="5233747"/>
            <a:ext cx="671031" cy="882342"/>
            <a:chOff x="3996372" y="4765377"/>
            <a:chExt cx="612000" cy="508675"/>
          </a:xfrm>
        </p:grpSpPr>
        <p:sp>
          <p:nvSpPr>
            <p:cNvPr id="418" name="직사각형 417"/>
            <p:cNvSpPr/>
            <p:nvPr/>
          </p:nvSpPr>
          <p:spPr>
            <a:xfrm>
              <a:off x="3996372" y="4765377"/>
              <a:ext cx="612000" cy="144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금융사고분석</a:t>
              </a:r>
            </a:p>
          </p:txBody>
        </p:sp>
        <p:sp>
          <p:nvSpPr>
            <p:cNvPr id="419" name="직사각형 418"/>
            <p:cNvSpPr/>
            <p:nvPr/>
          </p:nvSpPr>
          <p:spPr>
            <a:xfrm>
              <a:off x="3996372" y="4945595"/>
              <a:ext cx="612000" cy="144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서비스특성분석</a:t>
              </a:r>
            </a:p>
          </p:txBody>
        </p:sp>
        <p:sp>
          <p:nvSpPr>
            <p:cNvPr id="420" name="직사각형 419"/>
            <p:cNvSpPr/>
            <p:nvPr/>
          </p:nvSpPr>
          <p:spPr>
            <a:xfrm>
              <a:off x="3996372" y="5130052"/>
              <a:ext cx="612000" cy="144000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" tIns="45699" rIns="3600" bIns="45699" anchor="ctr"/>
            <a:lstStyle/>
            <a:p>
              <a:pPr marL="0" marR="0" lvl="0" indent="0" algn="ctr" defTabSz="1018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B1112"/>
                  </a:solidFill>
                  <a:effectLst/>
                  <a:uLnTx/>
                  <a:uFillTx/>
                  <a:latin typeface="KoPub돋움체 Light" panose="00000300000000000000" pitchFamily="2" charset="-127"/>
                  <a:ea typeface="KoPub돋움체 Light" panose="00000300000000000000" pitchFamily="2" charset="-127"/>
                  <a:cs typeface="Arial" pitchFamily="34" charset="0"/>
                </a:rPr>
                <a:t>프로세스분석</a:t>
              </a:r>
            </a:p>
          </p:txBody>
        </p:sp>
      </p:grpSp>
      <p:cxnSp>
        <p:nvCxnSpPr>
          <p:cNvPr id="421" name="직선 연결선 420"/>
          <p:cNvCxnSpPr>
            <a:stCxn id="419" idx="3"/>
          </p:cNvCxnSpPr>
          <p:nvPr/>
        </p:nvCxnSpPr>
        <p:spPr>
          <a:xfrm flipV="1">
            <a:off x="2689345" y="5654513"/>
            <a:ext cx="5526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2" name="직사각형 421"/>
          <p:cNvSpPr/>
          <p:nvPr/>
        </p:nvSpPr>
        <p:spPr>
          <a:xfrm>
            <a:off x="8690611" y="3606465"/>
            <a:ext cx="378000" cy="7211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ML/TF 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매뉴얼</a:t>
            </a:r>
          </a:p>
        </p:txBody>
      </p:sp>
      <p:sp>
        <p:nvSpPr>
          <p:cNvPr id="423" name="직사각형 422"/>
          <p:cNvSpPr/>
          <p:nvPr/>
        </p:nvSpPr>
        <p:spPr>
          <a:xfrm>
            <a:off x="8690611" y="2751740"/>
            <a:ext cx="378000" cy="721136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AML 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규정</a:t>
            </a:r>
            <a:endParaRPr kumimoji="0" lang="en-US" altLang="ko-KR" sz="8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/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지침</a:t>
            </a:r>
          </a:p>
        </p:txBody>
      </p:sp>
      <p:sp>
        <p:nvSpPr>
          <p:cNvPr id="424" name="직사각형 423"/>
          <p:cNvSpPr/>
          <p:nvPr/>
        </p:nvSpPr>
        <p:spPr>
          <a:xfrm>
            <a:off x="6173340" y="2497773"/>
            <a:ext cx="3019655" cy="246747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marR="0" lvl="0" indent="-101591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25" name="직사각형 424"/>
          <p:cNvSpPr/>
          <p:nvPr/>
        </p:nvSpPr>
        <p:spPr>
          <a:xfrm>
            <a:off x="6291721" y="2751740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KRI 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정의</a:t>
            </a:r>
          </a:p>
        </p:txBody>
      </p:sp>
      <p:sp>
        <p:nvSpPr>
          <p:cNvPr id="426" name="직사각형 425"/>
          <p:cNvSpPr/>
          <p:nvPr/>
        </p:nvSpPr>
        <p:spPr>
          <a:xfrm>
            <a:off x="7205661" y="2751740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KRI 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모니터링</a:t>
            </a:r>
          </a:p>
        </p:txBody>
      </p:sp>
      <p:sp>
        <p:nvSpPr>
          <p:cNvPr id="427" name="직사각형 426"/>
          <p:cNvSpPr/>
          <p:nvPr/>
        </p:nvSpPr>
        <p:spPr>
          <a:xfrm>
            <a:off x="7205661" y="3078276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KRI 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대응체계</a:t>
            </a:r>
          </a:p>
        </p:txBody>
      </p:sp>
      <p:sp>
        <p:nvSpPr>
          <p:cNvPr id="428" name="직사각형 427"/>
          <p:cNvSpPr/>
          <p:nvPr/>
        </p:nvSpPr>
        <p:spPr>
          <a:xfrm>
            <a:off x="6291721" y="4384418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잔여위험산출</a:t>
            </a:r>
          </a:p>
        </p:txBody>
      </p:sp>
      <p:sp>
        <p:nvSpPr>
          <p:cNvPr id="429" name="직사각형 428"/>
          <p:cNvSpPr/>
          <p:nvPr/>
        </p:nvSpPr>
        <p:spPr>
          <a:xfrm>
            <a:off x="7205661" y="3404811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임점모니터링</a:t>
            </a:r>
          </a:p>
        </p:txBody>
      </p:sp>
      <p:sp>
        <p:nvSpPr>
          <p:cNvPr id="430" name="직사각형 429"/>
          <p:cNvSpPr/>
          <p:nvPr/>
        </p:nvSpPr>
        <p:spPr>
          <a:xfrm>
            <a:off x="7205661" y="3731347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교육</a:t>
            </a:r>
          </a:p>
        </p:txBody>
      </p:sp>
      <p:sp>
        <p:nvSpPr>
          <p:cNvPr id="431" name="직사각형 430"/>
          <p:cNvSpPr/>
          <p:nvPr/>
        </p:nvSpPr>
        <p:spPr>
          <a:xfrm>
            <a:off x="7205661" y="4057882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STR </a:t>
            </a: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모니터링</a:t>
            </a:r>
          </a:p>
        </p:txBody>
      </p:sp>
      <p:sp>
        <p:nvSpPr>
          <p:cNvPr id="432" name="직사각형 431"/>
          <p:cNvSpPr/>
          <p:nvPr/>
        </p:nvSpPr>
        <p:spPr>
          <a:xfrm>
            <a:off x="6291721" y="3731347"/>
            <a:ext cx="663884" cy="269718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평가결과대응</a:t>
            </a:r>
          </a:p>
        </p:txBody>
      </p:sp>
      <p:sp>
        <p:nvSpPr>
          <p:cNvPr id="433" name="직사각형 432"/>
          <p:cNvSpPr/>
          <p:nvPr/>
        </p:nvSpPr>
        <p:spPr>
          <a:xfrm>
            <a:off x="6296958" y="4710951"/>
            <a:ext cx="2143599" cy="19230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시스템 요건 도출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cxnSp>
        <p:nvCxnSpPr>
          <p:cNvPr id="434" name="직선 화살표 연결선 433"/>
          <p:cNvCxnSpPr>
            <a:stCxn id="428" idx="0"/>
            <a:endCxn id="432" idx="2"/>
          </p:cNvCxnSpPr>
          <p:nvPr/>
        </p:nvCxnSpPr>
        <p:spPr>
          <a:xfrm flipV="1">
            <a:off x="6623663" y="4001065"/>
            <a:ext cx="0" cy="38335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" name="꺾인 연결선 443"/>
          <p:cNvCxnSpPr>
            <a:stCxn id="425" idx="3"/>
            <a:endCxn id="426" idx="1"/>
          </p:cNvCxnSpPr>
          <p:nvPr/>
        </p:nvCxnSpPr>
        <p:spPr>
          <a:xfrm>
            <a:off x="6955605" y="2886599"/>
            <a:ext cx="250055" cy="0"/>
          </a:xfrm>
          <a:prstGeom prst="straightConnector1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" name="꺾인 연결선 435"/>
          <p:cNvCxnSpPr>
            <a:stCxn id="425" idx="3"/>
            <a:endCxn id="427" idx="1"/>
          </p:cNvCxnSpPr>
          <p:nvPr/>
        </p:nvCxnSpPr>
        <p:spPr>
          <a:xfrm>
            <a:off x="6955605" y="2886599"/>
            <a:ext cx="250055" cy="326536"/>
          </a:xfrm>
          <a:prstGeom prst="bentConnector3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꺾인 연결선 436"/>
          <p:cNvCxnSpPr/>
          <p:nvPr/>
        </p:nvCxnSpPr>
        <p:spPr>
          <a:xfrm flipV="1">
            <a:off x="6955605" y="3539670"/>
            <a:ext cx="250055" cy="326536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꺾인 연결선 437"/>
          <p:cNvCxnSpPr>
            <a:stCxn id="432" idx="3"/>
            <a:endCxn id="431" idx="1"/>
          </p:cNvCxnSpPr>
          <p:nvPr/>
        </p:nvCxnSpPr>
        <p:spPr>
          <a:xfrm>
            <a:off x="6955605" y="3866206"/>
            <a:ext cx="250055" cy="326536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직선 화살표 연결선 438"/>
          <p:cNvCxnSpPr/>
          <p:nvPr/>
        </p:nvCxnSpPr>
        <p:spPr>
          <a:xfrm>
            <a:off x="7077190" y="3866206"/>
            <a:ext cx="128470" cy="0"/>
          </a:xfrm>
          <a:prstGeom prst="straightConnector1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" name="직사각형 439"/>
          <p:cNvSpPr/>
          <p:nvPr/>
        </p:nvSpPr>
        <p:spPr>
          <a:xfrm>
            <a:off x="8119601" y="2751741"/>
            <a:ext cx="320957" cy="157585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거</a:t>
            </a: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버넌스 </a:t>
            </a:r>
            <a:endParaRPr kumimoji="0" lang="en-US" altLang="ko-KR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요구사항 도출</a:t>
            </a:r>
            <a:endParaRPr kumimoji="0" lang="en-US" altLang="ko-KR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cxnSp>
        <p:nvCxnSpPr>
          <p:cNvPr id="441" name="꺾인 연결선 440"/>
          <p:cNvCxnSpPr>
            <a:stCxn id="426" idx="3"/>
            <a:endCxn id="440" idx="1"/>
          </p:cNvCxnSpPr>
          <p:nvPr/>
        </p:nvCxnSpPr>
        <p:spPr>
          <a:xfrm>
            <a:off x="7869545" y="2886599"/>
            <a:ext cx="250055" cy="653073"/>
          </a:xfrm>
          <a:prstGeom prst="bentConnector3">
            <a:avLst>
              <a:gd name="adj1" fmla="val 50000"/>
            </a:avLst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꺾인 연결선 441"/>
          <p:cNvCxnSpPr>
            <a:stCxn id="431" idx="3"/>
            <a:endCxn id="440" idx="1"/>
          </p:cNvCxnSpPr>
          <p:nvPr/>
        </p:nvCxnSpPr>
        <p:spPr>
          <a:xfrm flipV="1">
            <a:off x="7869545" y="3539671"/>
            <a:ext cx="250055" cy="653070"/>
          </a:xfrm>
          <a:prstGeom prst="bentConnector3">
            <a:avLst>
              <a:gd name="adj1" fmla="val 50000"/>
            </a:avLst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직선 연결선 442"/>
          <p:cNvCxnSpPr/>
          <p:nvPr/>
        </p:nvCxnSpPr>
        <p:spPr>
          <a:xfrm>
            <a:off x="7871262" y="3866206"/>
            <a:ext cx="120469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4" name="직사각형 443"/>
          <p:cNvSpPr/>
          <p:nvPr/>
        </p:nvSpPr>
        <p:spPr>
          <a:xfrm>
            <a:off x="7205661" y="4423125"/>
            <a:ext cx="792000" cy="19230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취약점 도출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cxnSp>
        <p:nvCxnSpPr>
          <p:cNvPr id="445" name="직선 화살표 연결선 444"/>
          <p:cNvCxnSpPr>
            <a:stCxn id="428" idx="3"/>
            <a:endCxn id="444" idx="1"/>
          </p:cNvCxnSpPr>
          <p:nvPr/>
        </p:nvCxnSpPr>
        <p:spPr>
          <a:xfrm>
            <a:off x="6955605" y="4519277"/>
            <a:ext cx="250056" cy="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꺾인 연결선 445"/>
          <p:cNvCxnSpPr>
            <a:stCxn id="440" idx="3"/>
            <a:endCxn id="423" idx="1"/>
          </p:cNvCxnSpPr>
          <p:nvPr/>
        </p:nvCxnSpPr>
        <p:spPr>
          <a:xfrm flipV="1">
            <a:off x="8440558" y="3112308"/>
            <a:ext cx="250053" cy="427363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꺾인 연결선 446"/>
          <p:cNvCxnSpPr>
            <a:stCxn id="440" idx="3"/>
            <a:endCxn id="422" idx="1"/>
          </p:cNvCxnSpPr>
          <p:nvPr/>
        </p:nvCxnSpPr>
        <p:spPr>
          <a:xfrm>
            <a:off x="8440558" y="3539671"/>
            <a:ext cx="250053" cy="42736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꺾인 연결선 447"/>
          <p:cNvCxnSpPr>
            <a:stCxn id="444" idx="3"/>
            <a:endCxn id="440" idx="2"/>
          </p:cNvCxnSpPr>
          <p:nvPr/>
        </p:nvCxnSpPr>
        <p:spPr>
          <a:xfrm flipV="1">
            <a:off x="7997661" y="4327600"/>
            <a:ext cx="282419" cy="191677"/>
          </a:xfrm>
          <a:prstGeom prst="bentConnector2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직선 연결선 448"/>
          <p:cNvCxnSpPr/>
          <p:nvPr/>
        </p:nvCxnSpPr>
        <p:spPr>
          <a:xfrm>
            <a:off x="7871262" y="3539670"/>
            <a:ext cx="120469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0" name="직선 연결선 449"/>
          <p:cNvCxnSpPr/>
          <p:nvPr/>
        </p:nvCxnSpPr>
        <p:spPr>
          <a:xfrm>
            <a:off x="7871262" y="3213135"/>
            <a:ext cx="120469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1" name="직사각형 450"/>
          <p:cNvSpPr/>
          <p:nvPr/>
        </p:nvSpPr>
        <p:spPr>
          <a:xfrm>
            <a:off x="6173338" y="5184012"/>
            <a:ext cx="3019657" cy="1012926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1591" marR="0" lvl="0" indent="-101591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2" name="직사각형 451"/>
          <p:cNvSpPr/>
          <p:nvPr/>
        </p:nvSpPr>
        <p:spPr>
          <a:xfrm>
            <a:off x="6260583" y="5358313"/>
            <a:ext cx="1027762" cy="260874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지표별 이행수준 진단</a:t>
            </a:r>
          </a:p>
        </p:txBody>
      </p:sp>
      <p:sp>
        <p:nvSpPr>
          <p:cNvPr id="453" name="직사각형 452"/>
          <p:cNvSpPr/>
          <p:nvPr/>
        </p:nvSpPr>
        <p:spPr>
          <a:xfrm>
            <a:off x="7444798" y="5358313"/>
            <a:ext cx="1027762" cy="260874"/>
          </a:xfrm>
          <a:prstGeom prst="rect">
            <a:avLst/>
          </a:prstGeom>
          <a:solidFill>
            <a:srgbClr val="ABDDFB"/>
          </a:solidFill>
          <a:ln w="6350">
            <a:solidFill>
              <a:srgbClr val="79C9F9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개선 요건 도출</a:t>
            </a:r>
          </a:p>
        </p:txBody>
      </p:sp>
      <p:cxnSp>
        <p:nvCxnSpPr>
          <p:cNvPr id="454" name="꺾인 연결선 334"/>
          <p:cNvCxnSpPr>
            <a:stCxn id="452" idx="3"/>
            <a:endCxn id="453" idx="1"/>
          </p:cNvCxnSpPr>
          <p:nvPr/>
        </p:nvCxnSpPr>
        <p:spPr>
          <a:xfrm>
            <a:off x="7288345" y="5488750"/>
            <a:ext cx="156453" cy="0"/>
          </a:xfrm>
          <a:prstGeom prst="straightConnector1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5" name="직사각형 454"/>
          <p:cNvSpPr/>
          <p:nvPr/>
        </p:nvSpPr>
        <p:spPr>
          <a:xfrm>
            <a:off x="8627702" y="5353599"/>
            <a:ext cx="469914" cy="78247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관리 프로세스</a:t>
            </a:r>
            <a:endParaRPr kumimoji="0" lang="en-US" altLang="ko-KR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수립</a:t>
            </a:r>
            <a:endParaRPr kumimoji="0" lang="en-US" altLang="ko-KR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456" name="직사각형 455"/>
          <p:cNvSpPr/>
          <p:nvPr/>
        </p:nvSpPr>
        <p:spPr>
          <a:xfrm>
            <a:off x="6260583" y="5700974"/>
            <a:ext cx="1023393" cy="187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고유위험 지표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457" name="직사각형 456"/>
          <p:cNvSpPr/>
          <p:nvPr/>
        </p:nvSpPr>
        <p:spPr>
          <a:xfrm>
            <a:off x="6260583" y="5951168"/>
            <a:ext cx="1023393" cy="187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운영위험 지표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458" name="직사각형 457"/>
          <p:cNvSpPr/>
          <p:nvPr/>
        </p:nvSpPr>
        <p:spPr>
          <a:xfrm>
            <a:off x="7449167" y="5700974"/>
            <a:ext cx="1023393" cy="187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Process </a:t>
            </a: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개선요건 도출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sp>
        <p:nvSpPr>
          <p:cNvPr id="459" name="직사각형 458"/>
          <p:cNvSpPr/>
          <p:nvPr/>
        </p:nvSpPr>
        <p:spPr>
          <a:xfrm>
            <a:off x="7449167" y="5951168"/>
            <a:ext cx="1023393" cy="18733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042959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System </a:t>
            </a:r>
            <a:r>
              <a:rPr kumimoji="0" lang="ko-KR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개선요건 도출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KoPub돋움체 Light" panose="02020603020101020101" pitchFamily="18" charset="-127"/>
              <a:ea typeface="KoPub돋움체 Light" panose="02020603020101020101" pitchFamily="18" charset="-127"/>
              <a:cs typeface="+mn-cs"/>
            </a:endParaRPr>
          </a:p>
        </p:txBody>
      </p:sp>
      <p:cxnSp>
        <p:nvCxnSpPr>
          <p:cNvPr id="460" name="꺾인 연결선 459"/>
          <p:cNvCxnSpPr>
            <a:stCxn id="459" idx="1"/>
            <a:endCxn id="456" idx="3"/>
          </p:cNvCxnSpPr>
          <p:nvPr/>
        </p:nvCxnSpPr>
        <p:spPr>
          <a:xfrm rot="10800000">
            <a:off x="7283976" y="5794641"/>
            <a:ext cx="165191" cy="250194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꺾인 연결선 460"/>
          <p:cNvCxnSpPr>
            <a:stCxn id="457" idx="3"/>
            <a:endCxn id="458" idx="1"/>
          </p:cNvCxnSpPr>
          <p:nvPr/>
        </p:nvCxnSpPr>
        <p:spPr>
          <a:xfrm flipV="1">
            <a:off x="7283976" y="5794641"/>
            <a:ext cx="165191" cy="250194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꺾인 연결선 461"/>
          <p:cNvCxnSpPr>
            <a:stCxn id="458" idx="3"/>
            <a:endCxn id="455" idx="1"/>
          </p:cNvCxnSpPr>
          <p:nvPr/>
        </p:nvCxnSpPr>
        <p:spPr>
          <a:xfrm flipV="1">
            <a:off x="8472560" y="5744834"/>
            <a:ext cx="155142" cy="49808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꺾인 연결선 462"/>
          <p:cNvCxnSpPr>
            <a:stCxn id="459" idx="3"/>
            <a:endCxn id="455" idx="1"/>
          </p:cNvCxnSpPr>
          <p:nvPr/>
        </p:nvCxnSpPr>
        <p:spPr>
          <a:xfrm flipV="1">
            <a:off x="8472560" y="5744834"/>
            <a:ext cx="155142" cy="30000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50000"/>
              </a:schemeClr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4" name="TextBox 463"/>
          <p:cNvSpPr txBox="1"/>
          <p:nvPr/>
        </p:nvSpPr>
        <p:spPr>
          <a:xfrm>
            <a:off x="1804889" y="2364204"/>
            <a:ext cx="3168000" cy="25200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전사 </a:t>
            </a:r>
            <a:r>
              <a:rPr kumimoji="0" lang="en-US" altLang="ko-KR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ML/TF </a:t>
            </a:r>
            <a:r>
              <a:rPr kumimoji="0" lang="ko-KR" altLang="en-US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위험관리 전략 수립</a:t>
            </a:r>
            <a:endParaRPr kumimoji="0" lang="ko-KR" altLang="en-US" sz="10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465" name="TextBox 464"/>
          <p:cNvSpPr txBox="1"/>
          <p:nvPr/>
        </p:nvSpPr>
        <p:spPr>
          <a:xfrm>
            <a:off x="1804889" y="3146184"/>
            <a:ext cx="3168000" cy="25200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전사 </a:t>
            </a:r>
            <a:r>
              <a:rPr kumimoji="0" lang="en-US" altLang="ko-KR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ML/TF </a:t>
            </a:r>
            <a:r>
              <a:rPr kumimoji="0" lang="ko-KR" altLang="en-US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위험평가 모델 정의</a:t>
            </a:r>
            <a:endParaRPr kumimoji="0" lang="ko-KR" altLang="en-US" sz="10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466" name="TextBox 465"/>
          <p:cNvSpPr txBox="1"/>
          <p:nvPr/>
        </p:nvSpPr>
        <p:spPr>
          <a:xfrm>
            <a:off x="6398470" y="2364204"/>
            <a:ext cx="2593954" cy="25200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RBA </a:t>
            </a:r>
            <a:r>
              <a:rPr kumimoji="0" lang="ko-KR" altLang="en-US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내부통제 강화방안 마련</a:t>
            </a:r>
            <a:endParaRPr kumimoji="0" lang="ko-KR" altLang="en-US" sz="1000" b="0" i="0" u="none" strike="noStrike" kern="1200" cap="none" spc="-5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+mn-cs"/>
            </a:endParaRPr>
          </a:p>
        </p:txBody>
      </p:sp>
      <p:sp>
        <p:nvSpPr>
          <p:cNvPr id="467" name="TextBox 466"/>
          <p:cNvSpPr txBox="1"/>
          <p:nvPr/>
        </p:nvSpPr>
        <p:spPr>
          <a:xfrm>
            <a:off x="6507069" y="5059892"/>
            <a:ext cx="2376755" cy="25200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000" spc="-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-50" normalizeH="0" baseline="0" noProof="0" dirty="0" smtClean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KoFIU </a:t>
            </a:r>
            <a:r>
              <a:rPr kumimoji="0" lang="ko-KR" altLang="en-US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지표 대응 체계 수립</a:t>
            </a:r>
          </a:p>
        </p:txBody>
      </p:sp>
      <p:sp>
        <p:nvSpPr>
          <p:cNvPr id="468" name="TextBox 467"/>
          <p:cNvSpPr txBox="1"/>
          <p:nvPr/>
        </p:nvSpPr>
        <p:spPr>
          <a:xfrm>
            <a:off x="1759657" y="2293870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marL="0" marR="0" lvl="0" indent="-27432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1</a:t>
            </a:r>
            <a:endParaRPr kumimoji="0" lang="ko-KR" altLang="en-US" sz="11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469" name="TextBox 468"/>
          <p:cNvSpPr txBox="1"/>
          <p:nvPr/>
        </p:nvSpPr>
        <p:spPr>
          <a:xfrm>
            <a:off x="1756544" y="3099279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marL="0" marR="0" lvl="0" indent="-27432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2</a:t>
            </a:r>
            <a:endParaRPr kumimoji="0" lang="ko-KR" altLang="en-US" sz="11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470" name="TextBox 469"/>
          <p:cNvSpPr txBox="1"/>
          <p:nvPr/>
        </p:nvSpPr>
        <p:spPr>
          <a:xfrm>
            <a:off x="6327069" y="2302861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marL="0" marR="0" lvl="0" indent="-27432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3</a:t>
            </a:r>
            <a:endParaRPr kumimoji="0" lang="ko-KR" altLang="en-US" sz="11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  <p:sp>
        <p:nvSpPr>
          <p:cNvPr id="471" name="TextBox 470"/>
          <p:cNvSpPr txBox="1"/>
          <p:nvPr/>
        </p:nvSpPr>
        <p:spPr>
          <a:xfrm>
            <a:off x="6452364" y="5005216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marL="0" marR="0" lvl="0" indent="-27432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4</a:t>
            </a:r>
            <a:endParaRPr kumimoji="0" lang="ko-KR" altLang="en-US" sz="11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0123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 </a:t>
            </a:r>
            <a:r>
              <a:rPr lang="ko-KR" altLang="en-US" dirty="0"/>
              <a:t>전사 </a:t>
            </a:r>
            <a:r>
              <a:rPr lang="en-US" altLang="ko-KR" dirty="0"/>
              <a:t>RBA </a:t>
            </a:r>
            <a:r>
              <a:rPr lang="ko-KR" altLang="en-US" dirty="0"/>
              <a:t>체계 구축 </a:t>
            </a:r>
            <a:r>
              <a:rPr lang="en-US" altLang="ko-KR" dirty="0" smtClean="0"/>
              <a:t>(2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[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영역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]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과제의 구성 및 주요 수행 내용은 다음과 같습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 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체계 구축 개요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2" name="그룹 1"/>
          <p:cNvGrpSpPr/>
          <p:nvPr/>
        </p:nvGrpSpPr>
        <p:grpSpPr>
          <a:xfrm>
            <a:off x="452376" y="2240868"/>
            <a:ext cx="9037128" cy="4068451"/>
            <a:chOff x="880332" y="2605373"/>
            <a:chExt cx="8330659" cy="3362067"/>
          </a:xfrm>
        </p:grpSpPr>
        <p:sp>
          <p:nvSpPr>
            <p:cNvPr id="163" name="직사각형 162"/>
            <p:cNvSpPr>
              <a:spLocks noChangeArrowheads="1"/>
            </p:cNvSpPr>
            <p:nvPr/>
          </p:nvSpPr>
          <p:spPr bwMode="auto">
            <a:xfrm>
              <a:off x="880332" y="2605374"/>
              <a:ext cx="1192348" cy="3362066"/>
            </a:xfrm>
            <a:prstGeom prst="rect">
              <a:avLst/>
            </a:prstGeom>
            <a:solidFill>
              <a:srgbClr val="ABDDFB"/>
            </a:solidFill>
            <a:ln w="6350">
              <a:solidFill>
                <a:srgbClr val="79C9F9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RBA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체계 구축</a:t>
              </a:r>
            </a:p>
          </p:txBody>
        </p:sp>
        <p:sp>
          <p:nvSpPr>
            <p:cNvPr id="164" name="직사각형 163"/>
            <p:cNvSpPr>
              <a:spLocks noChangeArrowheads="1"/>
            </p:cNvSpPr>
            <p:nvPr/>
          </p:nvSpPr>
          <p:spPr bwMode="auto">
            <a:xfrm>
              <a:off x="880332" y="2605374"/>
              <a:ext cx="538376" cy="189713"/>
            </a:xfrm>
            <a:prstGeom prst="rect">
              <a:avLst/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영역</a:t>
              </a:r>
              <a:r>
                <a:rPr lang="en-US" altLang="ko-KR" sz="1000" b="1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</a:t>
              </a:r>
              <a:endParaRPr lang="ko-KR" altLang="en-US" sz="10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165" name="직사각형 164"/>
            <p:cNvSpPr>
              <a:spLocks noChangeArrowheads="1"/>
            </p:cNvSpPr>
            <p:nvPr/>
          </p:nvSpPr>
          <p:spPr bwMode="auto">
            <a:xfrm>
              <a:off x="2111253" y="2605373"/>
              <a:ext cx="2070117" cy="79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indent="288000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위험관리 전략  수립</a:t>
              </a:r>
            </a:p>
          </p:txBody>
        </p:sp>
        <p:sp>
          <p:nvSpPr>
            <p:cNvPr id="166" name="직사각형 165"/>
            <p:cNvSpPr>
              <a:spLocks noChangeArrowheads="1"/>
            </p:cNvSpPr>
            <p:nvPr/>
          </p:nvSpPr>
          <p:spPr bwMode="auto">
            <a:xfrm>
              <a:off x="4222040" y="2605373"/>
              <a:ext cx="4983871" cy="792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관리 체계를 운영하기 위한 위험대응 전략을 수립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직 및 프로세스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연간 운영계획을 수립</a:t>
              </a:r>
            </a:p>
          </p:txBody>
        </p:sp>
        <p:sp>
          <p:nvSpPr>
            <p:cNvPr id="174" name="직사각형 173"/>
            <p:cNvSpPr>
              <a:spLocks noChangeArrowheads="1"/>
            </p:cNvSpPr>
            <p:nvPr/>
          </p:nvSpPr>
          <p:spPr bwMode="auto">
            <a:xfrm>
              <a:off x="2111253" y="3462062"/>
              <a:ext cx="2070117" cy="79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indent="288000"/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전사 </a:t>
              </a:r>
              <a:r>
                <a:rPr lang="en-US" altLang="ko-KR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ML/TF </a:t>
              </a:r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위험평가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모델 정의</a:t>
              </a:r>
            </a:p>
          </p:txBody>
        </p:sp>
        <p:sp>
          <p:nvSpPr>
            <p:cNvPr id="175" name="직사각형 174"/>
            <p:cNvSpPr>
              <a:spLocks noChangeArrowheads="1"/>
            </p:cNvSpPr>
            <p:nvPr/>
          </p:nvSpPr>
          <p:spPr bwMode="auto">
            <a:xfrm>
              <a:off x="4222040" y="3462062"/>
              <a:ext cx="4983871" cy="792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을 식별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분석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하고 내부통제 효과성을 평가</a:t>
              </a:r>
            </a:p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산정 평가 모델을 수립</a:t>
              </a:r>
            </a:p>
          </p:txBody>
        </p:sp>
        <p:sp>
          <p:nvSpPr>
            <p:cNvPr id="177" name="직사각형 176"/>
            <p:cNvSpPr>
              <a:spLocks noChangeArrowheads="1"/>
            </p:cNvSpPr>
            <p:nvPr/>
          </p:nvSpPr>
          <p:spPr bwMode="auto">
            <a:xfrm>
              <a:off x="2111253" y="4318751"/>
              <a:ext cx="2070117" cy="79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indent="288000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RBA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 내부통제 강화방안 마련</a:t>
              </a:r>
            </a:p>
          </p:txBody>
        </p:sp>
        <p:sp>
          <p:nvSpPr>
            <p:cNvPr id="178" name="직사각형 177"/>
            <p:cNvSpPr>
              <a:spLocks noChangeArrowheads="1"/>
            </p:cNvSpPr>
            <p:nvPr/>
          </p:nvSpPr>
          <p:spPr bwMode="auto">
            <a:xfrm>
              <a:off x="4227120" y="4318751"/>
              <a:ext cx="4983871" cy="792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영역에 대한 대응방안 수립</a:t>
              </a:r>
            </a:p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관련 규정 및 지침 개정과 매뉴얼을 통한 내부통제 강화 방안 마련</a:t>
              </a:r>
            </a:p>
          </p:txBody>
        </p:sp>
        <p:sp>
          <p:nvSpPr>
            <p:cNvPr id="180" name="직사각형 179"/>
            <p:cNvSpPr>
              <a:spLocks noChangeArrowheads="1"/>
            </p:cNvSpPr>
            <p:nvPr/>
          </p:nvSpPr>
          <p:spPr bwMode="auto">
            <a:xfrm>
              <a:off x="2111253" y="5175440"/>
              <a:ext cx="2070117" cy="792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indent="288000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KoFIU </a:t>
              </a:r>
              <a:r>
                <a:rPr lang="ko-KR" altLang="en-US" sz="1100" spc="-50" dirty="0" smtClean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지표 대응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체계 수립</a:t>
              </a:r>
            </a:p>
          </p:txBody>
        </p:sp>
        <p:sp>
          <p:nvSpPr>
            <p:cNvPr id="181" name="직사각형 180"/>
            <p:cNvSpPr>
              <a:spLocks noChangeArrowheads="1"/>
            </p:cNvSpPr>
            <p:nvPr/>
          </p:nvSpPr>
          <p:spPr bwMode="auto">
            <a:xfrm>
              <a:off x="4227120" y="5175440"/>
              <a:ext cx="4983871" cy="792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C2C2C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D9D9D9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표 별 이행 수준을 진단</a:t>
              </a:r>
            </a:p>
            <a:p>
              <a:pPr marL="171450" indent="-8640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 지표 별 대응을 위한 프로세스 및 시스템 개선 방안 및 관리 프로세스를 수립</a:t>
              </a:r>
            </a:p>
          </p:txBody>
        </p:sp>
      </p:grpSp>
      <p:sp>
        <p:nvSpPr>
          <p:cNvPr id="23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5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6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957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6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81821" y="2240868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endParaRPr lang="ko-KR" altLang="en-US" sz="1100" b="1" dirty="0" smtClean="0">
              <a:solidFill>
                <a:srgbClr val="FFFFFF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781821" y="3288905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</a:t>
            </a:r>
            <a:endParaRPr lang="ko-KR" altLang="en-US" sz="1100" b="1" dirty="0" smtClean="0">
              <a:solidFill>
                <a:srgbClr val="FFFFFF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81821" y="4314234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</a:t>
            </a:r>
            <a:endParaRPr lang="ko-KR" altLang="en-US" sz="1100" b="1" dirty="0" smtClean="0">
              <a:solidFill>
                <a:srgbClr val="FFFFFF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781821" y="5350917"/>
            <a:ext cx="180000" cy="18977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US" altLang="ko-KR" sz="1100" b="1" dirty="0" smtClean="0">
                <a:solidFill>
                  <a:srgbClr val="FFFFFF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4</a:t>
            </a:r>
            <a:endParaRPr lang="ko-KR" altLang="en-US" sz="1100" b="1" dirty="0" smtClean="0">
              <a:solidFill>
                <a:srgbClr val="FFFFFF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5131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직사각형 122"/>
          <p:cNvSpPr/>
          <p:nvPr/>
        </p:nvSpPr>
        <p:spPr bwMode="ltGray">
          <a:xfrm>
            <a:off x="452376" y="2240868"/>
            <a:ext cx="9001123" cy="406087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69" spc="-100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 </a:t>
            </a:r>
            <a:r>
              <a:rPr lang="ko-KR" altLang="en-US" dirty="0"/>
              <a:t>전사 </a:t>
            </a:r>
            <a:r>
              <a:rPr lang="en-US" altLang="ko-KR" dirty="0"/>
              <a:t>RBA </a:t>
            </a:r>
            <a:r>
              <a:rPr lang="ko-KR" altLang="en-US" dirty="0"/>
              <a:t>체계 구축 </a:t>
            </a:r>
            <a:r>
              <a:rPr lang="en-US" altLang="ko-KR" dirty="0" smtClean="0"/>
              <a:t>(3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에서는 회사의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과 통제 효과성을 평가하고 고위험 영역에 대한 대응 방안을 제시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en-US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체계 구축 개요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69" name="직사각형 68"/>
          <p:cNvSpPr/>
          <p:nvPr/>
        </p:nvSpPr>
        <p:spPr bwMode="ltGray">
          <a:xfrm>
            <a:off x="812541" y="2456892"/>
            <a:ext cx="2318272" cy="28800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[</a:t>
            </a:r>
            <a:r>
              <a:rPr lang="ko-KR" altLang="en-US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과제</a:t>
            </a:r>
            <a:r>
              <a:rPr lang="en-US" altLang="ko-KR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] </a:t>
            </a:r>
            <a:r>
              <a:rPr lang="ko-KR" altLang="en-US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전사 </a:t>
            </a:r>
            <a:r>
              <a:rPr lang="en-US" altLang="ko-KR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ML/TF </a:t>
            </a:r>
            <a:r>
              <a:rPr lang="ko-KR" altLang="en-US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위험관리 전략  </a:t>
            </a:r>
            <a:r>
              <a:rPr lang="ko-KR" altLang="en-US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수립</a:t>
            </a:r>
          </a:p>
        </p:txBody>
      </p:sp>
      <p:sp>
        <p:nvSpPr>
          <p:cNvPr id="71" name="직사각형 70"/>
          <p:cNvSpPr/>
          <p:nvPr/>
        </p:nvSpPr>
        <p:spPr bwMode="ltGray">
          <a:xfrm>
            <a:off x="2000513" y="5589452"/>
            <a:ext cx="7135813" cy="553613"/>
          </a:xfrm>
          <a:prstGeom prst="rect">
            <a:avLst/>
          </a:prstGeom>
          <a:noFill/>
          <a:ln w="317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indent="-274320" algn="ctr"/>
            <a:endParaRPr lang="ko-KR" altLang="en-US" sz="1200" b="1" kern="0" spc="-100" dirty="0"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  <a:cs typeface="Arial" pitchFamily="34" charset="0"/>
            </a:endParaRPr>
          </a:p>
        </p:txBody>
      </p:sp>
      <p:sp>
        <p:nvSpPr>
          <p:cNvPr id="72" name="오른쪽 화살표 71"/>
          <p:cNvSpPr/>
          <p:nvPr/>
        </p:nvSpPr>
        <p:spPr bwMode="ltGray">
          <a:xfrm>
            <a:off x="1543314" y="2900289"/>
            <a:ext cx="1905000" cy="2423628"/>
          </a:xfrm>
          <a:prstGeom prst="rightArrow">
            <a:avLst>
              <a:gd name="adj1" fmla="val 76944"/>
              <a:gd name="adj2" fmla="val 9579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73" name="그룹 72"/>
          <p:cNvGrpSpPr/>
          <p:nvPr/>
        </p:nvGrpSpPr>
        <p:grpSpPr>
          <a:xfrm>
            <a:off x="2651446" y="5668258"/>
            <a:ext cx="6323712" cy="396000"/>
            <a:chOff x="2236467" y="5703741"/>
            <a:chExt cx="6797194" cy="396000"/>
          </a:xfrm>
        </p:grpSpPr>
        <p:sp>
          <p:nvSpPr>
            <p:cNvPr id="74" name="직사각형 73"/>
            <p:cNvSpPr/>
            <p:nvPr/>
          </p:nvSpPr>
          <p:spPr>
            <a:xfrm>
              <a:off x="2236467" y="5703741"/>
              <a:ext cx="1332000" cy="396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위험평가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협의체 운영</a:t>
              </a:r>
            </a:p>
          </p:txBody>
        </p:sp>
        <p:sp>
          <p:nvSpPr>
            <p:cNvPr id="75" name="직사각형 74"/>
            <p:cNvSpPr/>
            <p:nvPr/>
          </p:nvSpPr>
          <p:spPr>
            <a:xfrm>
              <a:off x="4058198" y="5703741"/>
              <a:ext cx="1332000" cy="396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위험평가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일정 관리</a:t>
              </a:r>
            </a:p>
          </p:txBody>
        </p:sp>
        <p:sp>
          <p:nvSpPr>
            <p:cNvPr id="76" name="직사각형 75"/>
            <p:cNvSpPr/>
            <p:nvPr/>
          </p:nvSpPr>
          <p:spPr>
            <a:xfrm>
              <a:off x="5879929" y="5703741"/>
              <a:ext cx="1332000" cy="396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평가 결과 및 취약점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Feedback</a:t>
              </a:r>
            </a:p>
          </p:txBody>
        </p:sp>
        <p:sp>
          <p:nvSpPr>
            <p:cNvPr id="77" name="직사각형 76"/>
            <p:cNvSpPr/>
            <p:nvPr/>
          </p:nvSpPr>
          <p:spPr>
            <a:xfrm>
              <a:off x="7701661" y="5703741"/>
              <a:ext cx="1332000" cy="396000"/>
            </a:xfrm>
            <a:prstGeom prst="rect">
              <a:avLst/>
            </a:prstGeom>
            <a:solidFill>
              <a:srgbClr val="CFD6DB"/>
            </a:solidFill>
            <a:ln w="6350">
              <a:solidFill>
                <a:srgbClr val="B5BF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KoFIU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지표 및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endParaRPr>
            </a:p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Medium" panose="02020603020101020101" pitchFamily="18" charset="-127"/>
                  <a:ea typeface="KoPub돋움체 Medium" panose="02020603020101020101" pitchFamily="18" charset="-127"/>
                </a:rPr>
                <a:t>평가 결과 보고</a:t>
              </a:r>
            </a:p>
          </p:txBody>
        </p:sp>
        <p:cxnSp>
          <p:nvCxnSpPr>
            <p:cNvPr id="78" name="직선 화살표 연결선 77"/>
            <p:cNvCxnSpPr>
              <a:stCxn id="74" idx="3"/>
              <a:endCxn id="75" idx="1"/>
            </p:cNvCxnSpPr>
            <p:nvPr/>
          </p:nvCxnSpPr>
          <p:spPr>
            <a:xfrm>
              <a:off x="3568467" y="5901741"/>
              <a:ext cx="489731" cy="0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oval" w="sm" len="sm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직선 화살표 연결선 78"/>
            <p:cNvCxnSpPr>
              <a:stCxn id="75" idx="3"/>
              <a:endCxn id="76" idx="1"/>
            </p:cNvCxnSpPr>
            <p:nvPr/>
          </p:nvCxnSpPr>
          <p:spPr>
            <a:xfrm>
              <a:off x="5390198" y="5901741"/>
              <a:ext cx="489731" cy="0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oval" w="sm" len="sm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화살표 연결선 79"/>
            <p:cNvCxnSpPr>
              <a:stCxn id="76" idx="3"/>
              <a:endCxn id="77" idx="1"/>
            </p:cNvCxnSpPr>
            <p:nvPr/>
          </p:nvCxnSpPr>
          <p:spPr>
            <a:xfrm>
              <a:off x="7211929" y="5901741"/>
              <a:ext cx="489732" cy="0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headEnd type="oval" w="sm" len="sm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오각형 80"/>
          <p:cNvSpPr/>
          <p:nvPr/>
        </p:nvSpPr>
        <p:spPr bwMode="ltGray">
          <a:xfrm>
            <a:off x="3485890" y="2747080"/>
            <a:ext cx="5650435" cy="273777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90000" tIns="46800" rIns="90000" bIns="46800"/>
          <a:lstStyle/>
          <a:p>
            <a:pPr marL="177800" indent="-177800" defTabSz="914400">
              <a:spcBef>
                <a:spcPct val="30000"/>
              </a:spcBef>
              <a:buClr>
                <a:srgbClr val="000000"/>
              </a:buClr>
              <a:buFontTx/>
              <a:buChar char="•"/>
            </a:pPr>
            <a:endParaRPr lang="ko-KR" altLang="en-US" sz="1800" kern="0" spc="-10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82" name="직사각형 81"/>
          <p:cNvSpPr/>
          <p:nvPr/>
        </p:nvSpPr>
        <p:spPr bwMode="ltGray">
          <a:xfrm>
            <a:off x="3485890" y="2459080"/>
            <a:ext cx="5650435" cy="288000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[</a:t>
            </a:r>
            <a:r>
              <a:rPr lang="ko-KR" altLang="en-US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과제</a:t>
            </a:r>
            <a:r>
              <a:rPr lang="en-US" altLang="ko-KR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] </a:t>
            </a:r>
            <a:r>
              <a:rPr lang="en-US" altLang="ko-KR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RBA </a:t>
            </a:r>
            <a:r>
              <a:rPr lang="ko-KR" altLang="en-US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내부통제 강화방안 마련</a:t>
            </a:r>
            <a:endParaRPr lang="ko-KR" altLang="en-US" sz="11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83" name="오각형 82"/>
          <p:cNvSpPr/>
          <p:nvPr/>
        </p:nvSpPr>
        <p:spPr bwMode="ltGray">
          <a:xfrm>
            <a:off x="812541" y="2744892"/>
            <a:ext cx="2318272" cy="273777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90000" tIns="46800" rIns="90000" bIns="46800"/>
          <a:lstStyle/>
          <a:p>
            <a:pPr marL="177800" indent="-177800" defTabSz="914400">
              <a:spcBef>
                <a:spcPct val="30000"/>
              </a:spcBef>
              <a:buClr>
                <a:srgbClr val="000000"/>
              </a:buClr>
              <a:buFontTx/>
              <a:buChar char="•"/>
            </a:pPr>
            <a:endParaRPr lang="ko-KR" altLang="en-US" sz="1800" kern="0" spc="-100" dirty="0">
              <a:solidFill>
                <a:sysClr val="windowText" lastClr="00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pSp>
        <p:nvGrpSpPr>
          <p:cNvPr id="84" name="그룹 83"/>
          <p:cNvGrpSpPr/>
          <p:nvPr/>
        </p:nvGrpSpPr>
        <p:grpSpPr>
          <a:xfrm>
            <a:off x="6203609" y="2860213"/>
            <a:ext cx="2904536" cy="2572899"/>
            <a:chOff x="6566694" y="2440513"/>
            <a:chExt cx="2791370" cy="3145255"/>
          </a:xfrm>
        </p:grpSpPr>
        <p:sp>
          <p:nvSpPr>
            <p:cNvPr id="85" name="사각형 설명선 84"/>
            <p:cNvSpPr/>
            <p:nvPr/>
          </p:nvSpPr>
          <p:spPr bwMode="ltGray">
            <a:xfrm rot="5400000">
              <a:off x="6353693" y="2653514"/>
              <a:ext cx="3124597" cy="2698596"/>
            </a:xfrm>
            <a:prstGeom prst="wedgeRectCallou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0" rtlCol="0" anchor="t" anchorCtr="0"/>
            <a:lstStyle/>
            <a:p>
              <a:pPr marL="171450" indent="-171450" algn="ctr" latinLnBrk="0">
                <a:buFont typeface="Wingdings" panose="05000000000000000000" pitchFamily="2" charset="2"/>
                <a:buChar char="§"/>
              </a:pPr>
              <a:endParaRPr lang="ko-KR" altLang="en-US" sz="10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86" name="직사각형 85"/>
            <p:cNvSpPr/>
            <p:nvPr/>
          </p:nvSpPr>
          <p:spPr>
            <a:xfrm>
              <a:off x="6804321" y="2488511"/>
              <a:ext cx="2257943" cy="3762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914400" eaLnBrk="0" hangingPunct="0">
                <a:spcBef>
                  <a:spcPct val="20000"/>
                </a:spcBef>
                <a:defRPr/>
              </a:pPr>
              <a:r>
                <a:rPr lang="ko-KR" altLang="en-US" sz="1400" b="1" kern="0" spc="-100" dirty="0" smtClean="0">
                  <a:solidFill>
                    <a:srgbClr val="C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내부통제 강화 방안 </a:t>
              </a:r>
              <a:endParaRPr lang="ko-KR" altLang="en-US" sz="200" b="1" kern="0" spc="-100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grpSp>
          <p:nvGrpSpPr>
            <p:cNvPr id="87" name="그룹 86"/>
            <p:cNvGrpSpPr/>
            <p:nvPr/>
          </p:nvGrpSpPr>
          <p:grpSpPr>
            <a:xfrm>
              <a:off x="6795344" y="3028054"/>
              <a:ext cx="2562720" cy="798270"/>
              <a:chOff x="6795344" y="3028054"/>
              <a:chExt cx="2562720" cy="798270"/>
            </a:xfrm>
          </p:grpSpPr>
          <p:sp>
            <p:nvSpPr>
              <p:cNvPr id="94" name="직사각형 93"/>
              <p:cNvSpPr/>
              <p:nvPr/>
            </p:nvSpPr>
            <p:spPr bwMode="ltGray">
              <a:xfrm>
                <a:off x="6795344" y="3028054"/>
                <a:ext cx="2318026" cy="308059"/>
              </a:xfrm>
              <a:prstGeom prst="rect">
                <a:avLst/>
              </a:prstGeom>
              <a:solidFill>
                <a:srgbClr val="22A8F0"/>
              </a:solidFill>
              <a:ln w="6350">
                <a:solidFill>
                  <a:srgbClr val="038CDC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ko-KR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</a:rPr>
                  <a:t>CDD/EDD </a:t>
                </a:r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</a:rPr>
                  <a:t>검증 강화</a:t>
                </a:r>
              </a:p>
            </p:txBody>
          </p:sp>
          <p:sp>
            <p:nvSpPr>
              <p:cNvPr id="95" name="직사각형 94"/>
              <p:cNvSpPr/>
              <p:nvPr/>
            </p:nvSpPr>
            <p:spPr>
              <a:xfrm>
                <a:off x="6838064" y="3337207"/>
                <a:ext cx="2520000" cy="489117"/>
              </a:xfrm>
              <a:prstGeom prst="rect">
                <a:avLst/>
              </a:prstGeom>
            </p:spPr>
            <p:txBody>
              <a:bodyPr wrap="square" lIns="72000">
                <a:spAutoFit/>
              </a:bodyPr>
              <a:lstStyle/>
              <a:p>
                <a:pPr marL="88900" indent="-88900" latinLnBrk="0">
                  <a:buFont typeface="Arial" pitchFamily="34" charset="0"/>
                  <a:buChar char="•"/>
                </a:pPr>
                <a:r>
                  <a:rPr lang="ko-KR" altLang="en-US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위험 부점</a:t>
                </a:r>
                <a:r>
                  <a:rPr lang="en-US" altLang="ko-KR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 </a:t>
                </a:r>
                <a:r>
                  <a:rPr lang="ko-KR" altLang="en-US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및 고위험군 검증 수행</a:t>
                </a:r>
                <a:endParaRPr lang="en-US" altLang="ko-KR" sz="1000" spc="-100" dirty="0" smtClean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  <a:p>
                <a:pPr marL="88900" indent="-88900" latinLnBrk="0">
                  <a:buFont typeface="Arial" pitchFamily="34" charset="0"/>
                  <a:buChar char="•"/>
                </a:pPr>
                <a:r>
                  <a:rPr lang="ko-KR" altLang="en-US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임점 모니터링 체계 강화</a:t>
                </a:r>
                <a:endParaRPr lang="ko-KR" altLang="en-US" sz="1000" spc="-100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88" name="그룹 87"/>
            <p:cNvGrpSpPr/>
            <p:nvPr/>
          </p:nvGrpSpPr>
          <p:grpSpPr>
            <a:xfrm>
              <a:off x="6795344" y="3903542"/>
              <a:ext cx="2562719" cy="802508"/>
              <a:chOff x="6795344" y="4170243"/>
              <a:chExt cx="2562719" cy="802508"/>
            </a:xfrm>
          </p:grpSpPr>
          <p:sp>
            <p:nvSpPr>
              <p:cNvPr id="92" name="직사각형 91"/>
              <p:cNvSpPr/>
              <p:nvPr/>
            </p:nvSpPr>
            <p:spPr bwMode="ltGray">
              <a:xfrm>
                <a:off x="6795344" y="4170243"/>
                <a:ext cx="2318026" cy="308059"/>
              </a:xfrm>
              <a:prstGeom prst="rect">
                <a:avLst/>
              </a:prstGeom>
              <a:solidFill>
                <a:srgbClr val="22A8F0"/>
              </a:solidFill>
              <a:ln w="6350">
                <a:solidFill>
                  <a:srgbClr val="038CDC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</a:rPr>
                  <a:t>고위험 </a:t>
                </a:r>
                <a:r>
                  <a:rPr lang="en-US" altLang="ko-KR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</a:rPr>
                  <a:t>STR </a:t>
                </a:r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</a:rPr>
                  <a:t>테마 모니터링 수행</a:t>
                </a:r>
              </a:p>
            </p:txBody>
          </p:sp>
          <p:sp>
            <p:nvSpPr>
              <p:cNvPr id="93" name="직사각형 92"/>
              <p:cNvSpPr/>
              <p:nvPr/>
            </p:nvSpPr>
            <p:spPr>
              <a:xfrm>
                <a:off x="6838063" y="4483634"/>
                <a:ext cx="2520000" cy="48911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88900" indent="-88900" latinLnBrk="0">
                  <a:buFont typeface="Arial" pitchFamily="34" charset="0"/>
                  <a:buChar char="•"/>
                </a:pPr>
                <a:r>
                  <a:rPr lang="ko-KR" altLang="en-US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위험 고객 및 상품에 대한 </a:t>
                </a:r>
                <a:r>
                  <a:rPr lang="en-US" altLang="ko-KR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STR </a:t>
                </a:r>
                <a:r>
                  <a:rPr lang="ko-KR" altLang="en-US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미보고 건에 대하여 사후 점검 및 재보고 수행</a:t>
                </a:r>
                <a:endParaRPr lang="ko-KR" altLang="en-US" sz="1000" spc="-100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  <p:grpSp>
          <p:nvGrpSpPr>
            <p:cNvPr id="89" name="그룹 88"/>
            <p:cNvGrpSpPr/>
            <p:nvPr/>
          </p:nvGrpSpPr>
          <p:grpSpPr>
            <a:xfrm>
              <a:off x="6795344" y="4779030"/>
              <a:ext cx="2332249" cy="806738"/>
              <a:chOff x="6795344" y="5303967"/>
              <a:chExt cx="2332249" cy="806738"/>
            </a:xfrm>
          </p:grpSpPr>
          <p:sp>
            <p:nvSpPr>
              <p:cNvPr id="90" name="직사각형 89"/>
              <p:cNvSpPr/>
              <p:nvPr/>
            </p:nvSpPr>
            <p:spPr bwMode="ltGray">
              <a:xfrm>
                <a:off x="6795344" y="5303967"/>
                <a:ext cx="2318026" cy="308059"/>
              </a:xfrm>
              <a:prstGeom prst="rect">
                <a:avLst/>
              </a:prstGeom>
              <a:solidFill>
                <a:srgbClr val="22A8F0"/>
              </a:solidFill>
              <a:ln w="6350">
                <a:solidFill>
                  <a:srgbClr val="038CDC"/>
                </a:solidFill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82B5CD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ko-KR" altLang="en-US" sz="1200" spc="-50" dirty="0">
                    <a:ln>
                      <a:solidFill>
                        <a:schemeClr val="accent1">
                          <a:shade val="50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KoPub돋움체 Medium" panose="02020603020101020101" pitchFamily="18" charset="-127"/>
                    <a:ea typeface="KoPub돋움체 Medium" panose="02020603020101020101" pitchFamily="18" charset="-127"/>
                  </a:rPr>
                  <a:t>자가점검 및 교육 강화</a:t>
                </a:r>
              </a:p>
            </p:txBody>
          </p:sp>
          <p:sp>
            <p:nvSpPr>
              <p:cNvPr id="91" name="직사각형 90"/>
              <p:cNvSpPr/>
              <p:nvPr/>
            </p:nvSpPr>
            <p:spPr>
              <a:xfrm>
                <a:off x="6844166" y="5621589"/>
                <a:ext cx="2283427" cy="489116"/>
              </a:xfrm>
              <a:prstGeom prst="rect">
                <a:avLst/>
              </a:prstGeom>
            </p:spPr>
            <p:txBody>
              <a:bodyPr wrap="square" lIns="36000" rIns="36000">
                <a:spAutoFit/>
              </a:bodyPr>
              <a:lstStyle/>
              <a:p>
                <a:pPr marL="88900" indent="-88900" latinLnBrk="0">
                  <a:buFont typeface="Arial" pitchFamily="34" charset="0"/>
                  <a:buChar char="•"/>
                </a:pPr>
                <a:r>
                  <a:rPr lang="ko-KR" altLang="en-US" sz="1000" spc="-100" dirty="0" smtClean="0">
                    <a:latin typeface="KoPub돋움체 Light" panose="02020603020101020101" pitchFamily="18" charset="-127"/>
                    <a:ea typeface="KoPub돋움체 Light" panose="02020603020101020101" pitchFamily="18" charset="-127"/>
                  </a:rPr>
                  <a:t>고위험 부점에 대한 자가 점검 및 교육 수행 결과 관리 강화</a:t>
                </a:r>
                <a:endParaRPr lang="ko-KR" altLang="en-US" sz="1000" spc="-100" dirty="0">
                  <a:latin typeface="KoPub돋움체 Light" panose="02020603020101020101" pitchFamily="18" charset="-127"/>
                  <a:ea typeface="KoPub돋움체 Light" panose="02020603020101020101" pitchFamily="18" charset="-127"/>
                </a:endParaRPr>
              </a:p>
            </p:txBody>
          </p:sp>
        </p:grpSp>
      </p:grpSp>
      <p:grpSp>
        <p:nvGrpSpPr>
          <p:cNvPr id="96" name="Group 50"/>
          <p:cNvGrpSpPr>
            <a:grpSpLocks/>
          </p:cNvGrpSpPr>
          <p:nvPr/>
        </p:nvGrpSpPr>
        <p:grpSpPr bwMode="auto">
          <a:xfrm>
            <a:off x="3671680" y="2882711"/>
            <a:ext cx="2304000" cy="265112"/>
            <a:chOff x="313" y="1433"/>
            <a:chExt cx="5722" cy="167"/>
          </a:xfrm>
        </p:grpSpPr>
        <p:sp>
          <p:nvSpPr>
            <p:cNvPr id="97" name="Text Box 51"/>
            <p:cNvSpPr txBox="1">
              <a:spLocks noChangeArrowheads="1"/>
            </p:cNvSpPr>
            <p:nvPr/>
          </p:nvSpPr>
          <p:spPr bwMode="auto">
            <a:xfrm>
              <a:off x="340" y="1433"/>
              <a:ext cx="568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HY견고딕" pitchFamily="18" charset="-127"/>
                </a:defRPr>
              </a:lvl9pPr>
            </a:lstStyle>
            <a:p>
              <a:pPr algn="ctr" latinLnBrk="0">
                <a:spcBef>
                  <a:spcPct val="20000"/>
                </a:spcBef>
                <a:defRPr/>
              </a:pPr>
              <a:r>
                <a:rPr lang="en-US" altLang="ko-KR" b="1" kern="0" spc="-100" dirty="0" smtClean="0">
                  <a:solidFill>
                    <a:srgbClr val="000000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  <a:cs typeface="Arial" pitchFamily="34" charset="0"/>
                </a:rPr>
                <a:t>Risk Matrix Positioning</a:t>
              </a:r>
              <a:endParaRPr lang="ko-KR" altLang="en-US" sz="200" b="1" kern="0" spc="-100" dirty="0" smtClean="0">
                <a:solidFill>
                  <a:srgbClr val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98" name="Line 52"/>
            <p:cNvSpPr>
              <a:spLocks noChangeShapeType="1"/>
            </p:cNvSpPr>
            <p:nvPr/>
          </p:nvSpPr>
          <p:spPr bwMode="auto">
            <a:xfrm>
              <a:off x="313" y="1600"/>
              <a:ext cx="5722" cy="0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b"/>
            <a:lstStyle/>
            <a:p>
              <a:pPr latinLnBrk="0">
                <a:defRPr/>
              </a:pPr>
              <a:endParaRPr lang="ko-KR" altLang="en-US" kern="0" spc="-100" dirty="0" smtClean="0">
                <a:solidFill>
                  <a:sysClr val="windowText" lastClr="0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  <p:sp>
        <p:nvSpPr>
          <p:cNvPr id="99" name="Text Box 124"/>
          <p:cNvSpPr txBox="1">
            <a:spLocks noChangeArrowheads="1"/>
          </p:cNvSpPr>
          <p:nvPr/>
        </p:nvSpPr>
        <p:spPr bwMode="auto">
          <a:xfrm rot="16200000">
            <a:off x="2767244" y="4217416"/>
            <a:ext cx="2088232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r" eaLnBrk="0" latinLnBrk="0" hangingPunct="0"/>
            <a:r>
              <a:rPr lang="ko-KR" altLang="en-US" sz="1050" b="1" spc="-1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유위험</a:t>
            </a:r>
            <a:endParaRPr lang="ko-KR" altLang="en-US" sz="1050" b="1" spc="-100" dirty="0">
              <a:solidFill>
                <a:srgbClr val="000000">
                  <a:lumMod val="75000"/>
                  <a:lumOff val="25000"/>
                </a:srgb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graphicFrame>
        <p:nvGraphicFramePr>
          <p:cNvPr id="100" name="표 99"/>
          <p:cNvGraphicFramePr>
            <a:graphicFrameLocks noGrp="1"/>
          </p:cNvGraphicFramePr>
          <p:nvPr>
            <p:extLst/>
          </p:nvPr>
        </p:nvGraphicFramePr>
        <p:xfrm>
          <a:off x="3941494" y="3253954"/>
          <a:ext cx="1800000" cy="1800000"/>
        </p:xfrm>
        <a:graphic>
          <a:graphicData uri="http://schemas.openxmlformats.org/drawingml/2006/table">
            <a:tbl>
              <a:tblPr/>
              <a:tblGrid>
                <a:gridCol w="1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10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9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8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7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6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5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4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3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2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0" anchor="ctr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1" i="1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A3202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1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0" marT="0" marB="18000" anchor="b">
                    <a:lnL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2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3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4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5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6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7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8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6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9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49443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89888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48327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797770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47212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696655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146096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595539" algn="l" defTabSz="898885" rtl="0" eaLnBrk="1" latinLnBrk="1" hangingPunct="1">
                        <a:defRPr sz="1764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7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10</a:t>
                      </a:r>
                      <a:endParaRPr lang="en-US" sz="700" b="1" i="1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1800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536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01" name="Text Box 124"/>
          <p:cNvSpPr txBox="1">
            <a:spLocks noChangeArrowheads="1"/>
          </p:cNvSpPr>
          <p:nvPr/>
        </p:nvSpPr>
        <p:spPr bwMode="auto">
          <a:xfrm>
            <a:off x="3684401" y="5061590"/>
            <a:ext cx="2088232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r" eaLnBrk="0" latinLnBrk="0" hangingPunct="0"/>
            <a:r>
              <a:rPr lang="ko-KR" altLang="en-US" sz="1050" b="1" spc="-1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통제활동</a:t>
            </a:r>
            <a:endParaRPr lang="ko-KR" altLang="en-US" sz="1050" b="1" spc="-100" dirty="0">
              <a:solidFill>
                <a:srgbClr val="000000">
                  <a:lumMod val="75000"/>
                  <a:lumOff val="25000"/>
                </a:srgbClr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cxnSp>
        <p:nvCxnSpPr>
          <p:cNvPr id="102" name="직선 화살표 연결선 101"/>
          <p:cNvCxnSpPr/>
          <p:nvPr/>
        </p:nvCxnSpPr>
        <p:spPr bwMode="auto">
          <a:xfrm flipV="1">
            <a:off x="3928379" y="5062536"/>
            <a:ext cx="1900800" cy="3797"/>
          </a:xfrm>
          <a:prstGeom prst="straightConnector1">
            <a:avLst/>
          </a:prstGeom>
          <a:noFill/>
          <a:ln w="19050">
            <a:solidFill>
              <a:srgbClr val="000000">
                <a:lumMod val="50000"/>
                <a:lumOff val="50000"/>
              </a:srgbClr>
            </a:solidFill>
            <a:round/>
            <a:headEnd/>
            <a:tailEnd type="triangle" w="med" len="med"/>
          </a:ln>
        </p:spPr>
      </p:cxnSp>
      <p:cxnSp>
        <p:nvCxnSpPr>
          <p:cNvPr id="103" name="직선 화살표 연결선 102"/>
          <p:cNvCxnSpPr/>
          <p:nvPr/>
        </p:nvCxnSpPr>
        <p:spPr bwMode="auto">
          <a:xfrm flipH="1" flipV="1">
            <a:off x="3933556" y="3178290"/>
            <a:ext cx="4274" cy="1890000"/>
          </a:xfrm>
          <a:prstGeom prst="straightConnector1">
            <a:avLst/>
          </a:prstGeom>
          <a:noFill/>
          <a:ln w="19050">
            <a:solidFill>
              <a:srgbClr val="000000">
                <a:lumMod val="50000"/>
                <a:lumOff val="50000"/>
              </a:srgbClr>
            </a:solidFill>
            <a:round/>
            <a:headEnd/>
            <a:tailEnd type="triangle" w="med" len="med"/>
          </a:ln>
        </p:spPr>
      </p:cxnSp>
      <p:sp>
        <p:nvSpPr>
          <p:cNvPr id="104" name="Oval 120"/>
          <p:cNvSpPr>
            <a:spLocks noChangeArrowheads="1"/>
          </p:cNvSpPr>
          <p:nvPr/>
        </p:nvSpPr>
        <p:spPr bwMode="auto">
          <a:xfrm>
            <a:off x="5159898" y="3336062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7</a:t>
            </a:r>
          </a:p>
        </p:txBody>
      </p:sp>
      <p:sp>
        <p:nvSpPr>
          <p:cNvPr id="105" name="Oval 120"/>
          <p:cNvSpPr>
            <a:spLocks noChangeArrowheads="1"/>
          </p:cNvSpPr>
          <p:nvPr/>
        </p:nvSpPr>
        <p:spPr bwMode="auto">
          <a:xfrm>
            <a:off x="4955241" y="3432999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</a:t>
            </a:r>
          </a:p>
        </p:txBody>
      </p:sp>
      <p:sp>
        <p:nvSpPr>
          <p:cNvPr id="106" name="Oval 120"/>
          <p:cNvSpPr>
            <a:spLocks noChangeArrowheads="1"/>
          </p:cNvSpPr>
          <p:nvPr/>
        </p:nvSpPr>
        <p:spPr bwMode="auto">
          <a:xfrm>
            <a:off x="5455670" y="3284458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4</a:t>
            </a:r>
          </a:p>
        </p:txBody>
      </p:sp>
      <p:sp>
        <p:nvSpPr>
          <p:cNvPr id="107" name="Oval 120"/>
          <p:cNvSpPr>
            <a:spLocks noChangeArrowheads="1"/>
          </p:cNvSpPr>
          <p:nvPr/>
        </p:nvSpPr>
        <p:spPr bwMode="auto">
          <a:xfrm>
            <a:off x="5334165" y="3556535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9</a:t>
            </a:r>
          </a:p>
        </p:txBody>
      </p:sp>
      <p:sp>
        <p:nvSpPr>
          <p:cNvPr id="108" name="Oval 120"/>
          <p:cNvSpPr>
            <a:spLocks noChangeArrowheads="1"/>
          </p:cNvSpPr>
          <p:nvPr/>
        </p:nvSpPr>
        <p:spPr bwMode="auto">
          <a:xfrm>
            <a:off x="4813602" y="3906180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6</a:t>
            </a:r>
          </a:p>
        </p:txBody>
      </p:sp>
      <p:sp>
        <p:nvSpPr>
          <p:cNvPr id="109" name="Oval 120"/>
          <p:cNvSpPr>
            <a:spLocks noChangeArrowheads="1"/>
          </p:cNvSpPr>
          <p:nvPr/>
        </p:nvSpPr>
        <p:spPr bwMode="auto">
          <a:xfrm>
            <a:off x="4496529" y="4185859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6</a:t>
            </a:r>
          </a:p>
        </p:txBody>
      </p:sp>
      <p:sp>
        <p:nvSpPr>
          <p:cNvPr id="110" name="Oval 120"/>
          <p:cNvSpPr>
            <a:spLocks noChangeArrowheads="1"/>
          </p:cNvSpPr>
          <p:nvPr/>
        </p:nvSpPr>
        <p:spPr bwMode="auto">
          <a:xfrm>
            <a:off x="5162137" y="3866375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7</a:t>
            </a:r>
          </a:p>
        </p:txBody>
      </p:sp>
      <p:sp>
        <p:nvSpPr>
          <p:cNvPr id="111" name="Oval 120"/>
          <p:cNvSpPr>
            <a:spLocks noChangeArrowheads="1"/>
          </p:cNvSpPr>
          <p:nvPr/>
        </p:nvSpPr>
        <p:spPr bwMode="auto">
          <a:xfrm>
            <a:off x="5474414" y="4081581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0</a:t>
            </a:r>
          </a:p>
        </p:txBody>
      </p:sp>
      <p:sp>
        <p:nvSpPr>
          <p:cNvPr id="112" name="Oval 120"/>
          <p:cNvSpPr>
            <a:spLocks noChangeArrowheads="1"/>
          </p:cNvSpPr>
          <p:nvPr/>
        </p:nvSpPr>
        <p:spPr bwMode="auto">
          <a:xfrm>
            <a:off x="4387525" y="3635675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2</a:t>
            </a:r>
          </a:p>
        </p:txBody>
      </p:sp>
      <p:sp>
        <p:nvSpPr>
          <p:cNvPr id="113" name="Oval 120"/>
          <p:cNvSpPr>
            <a:spLocks noChangeArrowheads="1"/>
          </p:cNvSpPr>
          <p:nvPr/>
        </p:nvSpPr>
        <p:spPr bwMode="auto">
          <a:xfrm>
            <a:off x="4116805" y="3325963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1</a:t>
            </a:r>
          </a:p>
        </p:txBody>
      </p:sp>
      <p:sp>
        <p:nvSpPr>
          <p:cNvPr id="114" name="Oval 120"/>
          <p:cNvSpPr>
            <a:spLocks noChangeArrowheads="1"/>
          </p:cNvSpPr>
          <p:nvPr/>
        </p:nvSpPr>
        <p:spPr bwMode="auto">
          <a:xfrm>
            <a:off x="4683297" y="3584071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3</a:t>
            </a:r>
          </a:p>
        </p:txBody>
      </p:sp>
      <p:sp>
        <p:nvSpPr>
          <p:cNvPr id="115" name="Oval 120"/>
          <p:cNvSpPr>
            <a:spLocks noChangeArrowheads="1"/>
          </p:cNvSpPr>
          <p:nvPr/>
        </p:nvSpPr>
        <p:spPr bwMode="auto">
          <a:xfrm>
            <a:off x="4174199" y="3919033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3</a:t>
            </a:r>
          </a:p>
        </p:txBody>
      </p:sp>
      <p:sp>
        <p:nvSpPr>
          <p:cNvPr id="116" name="Oval 120"/>
          <p:cNvSpPr>
            <a:spLocks noChangeArrowheads="1"/>
          </p:cNvSpPr>
          <p:nvPr/>
        </p:nvSpPr>
        <p:spPr bwMode="auto">
          <a:xfrm>
            <a:off x="4489455" y="4504380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5</a:t>
            </a:r>
          </a:p>
        </p:txBody>
      </p:sp>
      <p:sp>
        <p:nvSpPr>
          <p:cNvPr id="117" name="Oval 120"/>
          <p:cNvSpPr>
            <a:spLocks noChangeArrowheads="1"/>
          </p:cNvSpPr>
          <p:nvPr/>
        </p:nvSpPr>
        <p:spPr bwMode="auto">
          <a:xfrm>
            <a:off x="4182868" y="4460400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9</a:t>
            </a:r>
          </a:p>
        </p:txBody>
      </p:sp>
      <p:sp>
        <p:nvSpPr>
          <p:cNvPr id="118" name="Oval 120"/>
          <p:cNvSpPr>
            <a:spLocks noChangeArrowheads="1"/>
          </p:cNvSpPr>
          <p:nvPr/>
        </p:nvSpPr>
        <p:spPr bwMode="auto">
          <a:xfrm>
            <a:off x="4683297" y="4311859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18</a:t>
            </a:r>
          </a:p>
        </p:txBody>
      </p:sp>
      <p:sp>
        <p:nvSpPr>
          <p:cNvPr id="119" name="Oval 120"/>
          <p:cNvSpPr>
            <a:spLocks noChangeArrowheads="1"/>
          </p:cNvSpPr>
          <p:nvPr/>
        </p:nvSpPr>
        <p:spPr bwMode="auto">
          <a:xfrm>
            <a:off x="4952741" y="4333581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20</a:t>
            </a:r>
          </a:p>
        </p:txBody>
      </p:sp>
      <p:sp>
        <p:nvSpPr>
          <p:cNvPr id="120" name="Oval 120"/>
          <p:cNvSpPr>
            <a:spLocks noChangeArrowheads="1"/>
          </p:cNvSpPr>
          <p:nvPr/>
        </p:nvSpPr>
        <p:spPr bwMode="auto">
          <a:xfrm>
            <a:off x="5294805" y="4639055"/>
            <a:ext cx="216000" cy="216000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부점</a:t>
            </a:r>
            <a:r>
              <a:rPr kumimoji="0" lang="en-US" altLang="ko-KR" sz="700" b="1" i="0" u="none" strike="noStrike" kern="0" cap="none" spc="-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5</a:t>
            </a:r>
          </a:p>
        </p:txBody>
      </p:sp>
      <p:sp>
        <p:nvSpPr>
          <p:cNvPr id="70" name="직사각형 69"/>
          <p:cNvSpPr/>
          <p:nvPr/>
        </p:nvSpPr>
        <p:spPr bwMode="ltGray">
          <a:xfrm>
            <a:off x="812540" y="5589453"/>
            <a:ext cx="1673421" cy="553613"/>
          </a:xfrm>
          <a:prstGeom prst="rect">
            <a:avLst/>
          </a:prstGeom>
          <a:solidFill>
            <a:srgbClr val="038CDC"/>
          </a:solidFill>
          <a:ln w="6350">
            <a:solidFill>
              <a:srgbClr val="007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[</a:t>
            </a:r>
            <a:r>
              <a:rPr lang="ko-KR" altLang="en-US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과제</a:t>
            </a:r>
            <a:r>
              <a:rPr lang="en-US" altLang="ko-KR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] </a:t>
            </a:r>
            <a:r>
              <a:rPr lang="ko-KR" altLang="en-US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전사 </a:t>
            </a:r>
            <a:r>
              <a:rPr lang="en-US" altLang="ko-KR" sz="1100" b="1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ML/TF </a:t>
            </a:r>
            <a:endParaRPr lang="en-US" altLang="ko-KR" sz="1100" b="1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ctr"/>
            <a:r>
              <a:rPr lang="ko-KR" altLang="en-US" sz="1100" b="1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위험평가 모델 정의</a:t>
            </a:r>
          </a:p>
        </p:txBody>
      </p:sp>
      <p:sp>
        <p:nvSpPr>
          <p:cNvPr id="66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67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122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957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042" y="2776986"/>
            <a:ext cx="2239317" cy="2698647"/>
          </a:xfrm>
          <a:prstGeom prst="rect">
            <a:avLst/>
          </a:prstGeom>
        </p:spPr>
      </p:pic>
      <p:pic>
        <p:nvPicPr>
          <p:cNvPr id="68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2937138" y="2296328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88" descr="예시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28177">
            <a:off x="5674376" y="2917057"/>
            <a:ext cx="3873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7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23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 </a:t>
            </a:r>
            <a:r>
              <a:rPr lang="ko-KR" altLang="en-US" dirty="0"/>
              <a:t>전사 </a:t>
            </a:r>
            <a:r>
              <a:rPr lang="en-US" altLang="ko-KR" dirty="0"/>
              <a:t>RBA </a:t>
            </a:r>
            <a:r>
              <a:rPr lang="ko-KR" altLang="en-US" dirty="0"/>
              <a:t>체계 구축 </a:t>
            </a:r>
            <a:r>
              <a:rPr lang="en-US" altLang="ko-KR" dirty="0" smtClean="0"/>
              <a:t>(4/4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가 지표 개발 경험과 타사 컨설팅 경험을 활용하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KoFIU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운영위험지표 평가에서 높은 점수를 획득하기 위한 전략을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  <a:endParaRPr lang="ko-KR" altLang="en-US" sz="1100" dirty="0"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RBA </a:t>
              </a:r>
              <a:r>
                <a:rPr lang="ko-KR" altLang="en-US" sz="1100" dirty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체계 구축 개요</a:t>
              </a: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sp>
        <p:nvSpPr>
          <p:cNvPr id="14" name="오른쪽 화살표 13"/>
          <p:cNvSpPr/>
          <p:nvPr/>
        </p:nvSpPr>
        <p:spPr bwMode="ltGray">
          <a:xfrm>
            <a:off x="1567655" y="2834166"/>
            <a:ext cx="2763494" cy="2493562"/>
          </a:xfrm>
          <a:prstGeom prst="rightArrow">
            <a:avLst>
              <a:gd name="adj1" fmla="val 71209"/>
              <a:gd name="adj2" fmla="val 13197"/>
            </a:avLst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pic>
        <p:nvPicPr>
          <p:cNvPr id="16" name="Picture 297" descr="Untitled-8"/>
          <p:cNvPicPr>
            <a:picLocks noChangeAspect="1" noChangeArrowheads="1"/>
          </p:cNvPicPr>
          <p:nvPr/>
        </p:nvPicPr>
        <p:blipFill>
          <a:blip r:embed="rId2" cstate="print"/>
          <a:srcRect l="19576" t="10301" r="19672" b="21574"/>
          <a:stretch>
            <a:fillRect/>
          </a:stretch>
        </p:blipFill>
        <p:spPr bwMode="auto">
          <a:xfrm rot="4304226">
            <a:off x="7367591" y="3441706"/>
            <a:ext cx="2145895" cy="2025363"/>
          </a:xfrm>
          <a:prstGeom prst="rect">
            <a:avLst/>
          </a:prstGeom>
          <a:noFill/>
        </p:spPr>
      </p:pic>
      <p:sp>
        <p:nvSpPr>
          <p:cNvPr id="18" name="타원 17"/>
          <p:cNvSpPr/>
          <p:nvPr/>
        </p:nvSpPr>
        <p:spPr bwMode="ltGray">
          <a:xfrm>
            <a:off x="8013129" y="2573599"/>
            <a:ext cx="1274506" cy="1040438"/>
          </a:xfrm>
          <a:prstGeom prst="ellipse">
            <a:avLst/>
          </a:prstGeom>
          <a:solidFill>
            <a:srgbClr val="99A7B1"/>
          </a:solidFill>
          <a:ln w="6350">
            <a:solidFill>
              <a:srgbClr val="7C8E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bg1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136954" y="2668527"/>
            <a:ext cx="1029671" cy="898222"/>
          </a:xfrm>
          <a:prstGeom prst="rect">
            <a:avLst/>
          </a:prstGeom>
          <a:noFill/>
        </p:spPr>
        <p:txBody>
          <a:bodyPr vert="horz" wrap="square" lIns="0" tIns="0" rIns="36000" bIns="0" rtlCol="0" anchor="ctr">
            <a:noAutofit/>
          </a:bodyPr>
          <a:lstStyle/>
          <a:p>
            <a:pPr indent="-274320" algn="ctr" latinLnBrk="0"/>
            <a:r>
              <a:rPr lang="en-US" altLang="ko-KR" sz="1400" i="1" spc="-1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KoFIU </a:t>
            </a:r>
            <a:r>
              <a:rPr lang="ko-KR" altLang="en-US" sz="1400" i="1" spc="-1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지표</a:t>
            </a:r>
            <a:endParaRPr lang="en-US" altLang="ko-KR" sz="1400" i="1" spc="-10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indent="-274320" algn="ctr" latinLnBrk="0"/>
            <a:r>
              <a:rPr lang="ko-KR" altLang="en-US" sz="1400" i="1" spc="-1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행평가</a:t>
            </a:r>
            <a:endParaRPr lang="en-US" altLang="ko-KR" sz="1400" i="1" spc="-10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indent="-274320" algn="ctr" latinLnBrk="0"/>
            <a:r>
              <a:rPr lang="ko-KR" altLang="en-US" sz="1400" i="1" spc="-1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완벽 대비</a:t>
            </a:r>
            <a:endParaRPr lang="en-US" altLang="ko-KR" sz="1400" i="1" spc="-10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" name="Rectangle 30"/>
          <p:cNvSpPr>
            <a:spLocks noChangeArrowheads="1"/>
          </p:cNvSpPr>
          <p:nvPr/>
        </p:nvSpPr>
        <p:spPr bwMode="auto">
          <a:xfrm>
            <a:off x="796714" y="2132856"/>
            <a:ext cx="2988506" cy="2925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5994" tIns="35994" rIns="35994" bIns="35994" anchor="ctr"/>
          <a:lstStyle/>
          <a:p>
            <a:pPr marL="82526" indent="-82526" algn="ctr" defTabSz="956977">
              <a:lnSpc>
                <a:spcPts val="1800"/>
              </a:lnSpc>
              <a:spcBef>
                <a:spcPct val="50000"/>
              </a:spcBef>
              <a:defRPr/>
            </a:pPr>
            <a:r>
              <a:rPr lang="en-US" altLang="ko-KR" sz="1400" u="sng" kern="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KoFIU </a:t>
            </a:r>
            <a:r>
              <a:rPr lang="ko-KR" altLang="en-US" sz="1400" u="sng" kern="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운영위험지표 구성 및 특징</a:t>
            </a:r>
            <a:endParaRPr lang="en-US" altLang="ko-KR" sz="1400" u="sng" kern="0" spc="-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Wingdings" pitchFamily="2" charset="2"/>
            </a:endParaRPr>
          </a:p>
        </p:txBody>
      </p:sp>
      <p:sp>
        <p:nvSpPr>
          <p:cNvPr id="21" name="직사각형 20"/>
          <p:cNvSpPr/>
          <p:nvPr/>
        </p:nvSpPr>
        <p:spPr bwMode="ltGray">
          <a:xfrm>
            <a:off x="718946" y="2494473"/>
            <a:ext cx="3145483" cy="382393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80000" rIns="144000" bIns="144000" rtlCol="0" anchor="t" anchorCtr="0"/>
          <a:lstStyle/>
          <a:p>
            <a:pPr marL="179388" indent="-179388">
              <a:buFont typeface="Wingdings" panose="05000000000000000000" pitchFamily="2" charset="2"/>
              <a:buChar char="§"/>
            </a:pPr>
            <a:r>
              <a:rPr lang="en-US" altLang="ko-KR" sz="12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KoFIU </a:t>
            </a:r>
            <a:r>
              <a:rPr lang="ko-KR" altLang="en-US" sz="12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운영위험지표는 금융회사의 </a:t>
            </a:r>
            <a:r>
              <a:rPr lang="ko-KR" altLang="en-US" sz="1200" u="sng" spc="-100" dirty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 수준을 측정</a:t>
            </a:r>
            <a:r>
              <a:rPr lang="ko-KR" altLang="en-US" sz="12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하는 </a:t>
            </a:r>
            <a:r>
              <a:rPr lang="ko-KR" altLang="en-US" sz="12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지표</a:t>
            </a: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2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ko-KR" altLang="en-US" sz="1200" spc="-100" dirty="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운영위험지표는 </a:t>
            </a:r>
            <a:r>
              <a:rPr lang="ko-KR" altLang="en-US" sz="12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내부통제와 고객확인</a:t>
            </a:r>
            <a:r>
              <a:rPr lang="ko-KR" altLang="en-US" sz="1200" u="sng" spc="-100" dirty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의 비중이 가장 높으며</a:t>
            </a:r>
            <a:r>
              <a:rPr lang="en-US" altLang="ko-KR" sz="1200" u="sng" spc="-100" dirty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200" u="sng" spc="-100" dirty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세부 업무로는 </a:t>
            </a:r>
            <a:r>
              <a:rPr lang="ko-KR" altLang="en-US" sz="1200" u="sng" spc="-100" dirty="0" smtClean="0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회사의 </a:t>
            </a:r>
            <a:r>
              <a:rPr lang="en-US" altLang="ko-KR" sz="1200" b="1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ML/TF </a:t>
            </a:r>
            <a:r>
              <a:rPr lang="ko-KR" altLang="en-US" sz="1200" b="1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위험관리 절차에 대한 배점 비중이 </a:t>
            </a:r>
            <a:r>
              <a:rPr lang="ko-KR" altLang="en-US" sz="1200" b="1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가장 </a:t>
            </a:r>
            <a:r>
              <a:rPr lang="ko-KR" altLang="en-US" sz="1200" b="1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높음</a:t>
            </a:r>
            <a:endParaRPr lang="en-US" altLang="ko-KR" sz="1200" b="1" u="sng" spc="-10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ko-KR" altLang="en-US" sz="1200" spc="-100" dirty="0">
              <a:solidFill>
                <a:srgbClr val="FFFFFF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3" name="직사각형 22"/>
          <p:cNvSpPr/>
          <p:nvPr/>
        </p:nvSpPr>
        <p:spPr bwMode="ltGray">
          <a:xfrm>
            <a:off x="4892254" y="2494473"/>
            <a:ext cx="2956346" cy="61248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179388" indent="-179388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사회 및 경영진에 대한 보고 및 교육 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강화 </a:t>
            </a:r>
            <a:r>
              <a: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</a:t>
            </a:r>
            <a:r>
              <a: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보고 시 병행 교육 실시 방안 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도입</a:t>
            </a:r>
            <a:endParaRPr lang="ko-KR" altLang="en-US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" name="직사각형 24"/>
          <p:cNvSpPr/>
          <p:nvPr/>
        </p:nvSpPr>
        <p:spPr bwMode="ltGray">
          <a:xfrm>
            <a:off x="4402849" y="2494473"/>
            <a:ext cx="445953" cy="61248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사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제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책</a:t>
            </a:r>
          </a:p>
        </p:txBody>
      </p:sp>
      <p:sp>
        <p:nvSpPr>
          <p:cNvPr id="26" name="직사각형 25"/>
          <p:cNvSpPr/>
          <p:nvPr/>
        </p:nvSpPr>
        <p:spPr bwMode="ltGray">
          <a:xfrm>
            <a:off x="4887724" y="3168618"/>
            <a:ext cx="2956346" cy="61248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</a:t>
            </a:r>
            <a:r>
              <a: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확대 및 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 실적 관리</a:t>
            </a:r>
            <a:endParaRPr lang="en-US" altLang="ko-KR" sz="1100" spc="-100" dirty="0" smtClean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임점 점검 결과 취약점에 대한 개선 </a:t>
            </a:r>
            <a:r>
              <a:rPr lang="ko-KR" altLang="en-US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관리</a:t>
            </a:r>
            <a:endParaRPr lang="en-US" altLang="ko-KR" sz="1100" u="sng" spc="-10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7" name="직사각형 26"/>
          <p:cNvSpPr/>
          <p:nvPr/>
        </p:nvSpPr>
        <p:spPr bwMode="ltGray">
          <a:xfrm>
            <a:off x="4398319" y="3168618"/>
            <a:ext cx="445953" cy="61248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내부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제</a:t>
            </a:r>
          </a:p>
        </p:txBody>
      </p:sp>
      <p:sp>
        <p:nvSpPr>
          <p:cNvPr id="28" name="직사각형 27"/>
          <p:cNvSpPr/>
          <p:nvPr/>
        </p:nvSpPr>
        <p:spPr bwMode="ltGray">
          <a:xfrm>
            <a:off x="4892254" y="3837690"/>
            <a:ext cx="2956346" cy="61248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고객 </a:t>
            </a:r>
            <a:r>
              <a:rPr lang="ko-KR" altLang="en-US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실소유자 확인 및 검증</a:t>
            </a:r>
            <a:r>
              <a:rPr lang="ko-KR" altLang="en-US" sz="1100" u="sng" spc="-100" dirty="0">
                <a:solidFill>
                  <a:schemeClr val="accent5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강화</a:t>
            </a:r>
            <a:r>
              <a: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제</a:t>
            </a:r>
            <a:r>
              <a:rPr lang="en-US" altLang="ko-KR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</a:t>
            </a:r>
            <a:r>
              <a:rPr lang="ko-KR" altLang="en-US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자 검증 체계 수립 및 운영 </a:t>
            </a:r>
            <a:endParaRPr lang="ko-KR" altLang="en-US" sz="1100" spc="-10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직사각형 28"/>
          <p:cNvSpPr/>
          <p:nvPr/>
        </p:nvSpPr>
        <p:spPr bwMode="ltGray">
          <a:xfrm>
            <a:off x="4402849" y="3837690"/>
            <a:ext cx="445953" cy="61248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</a:t>
            </a:r>
            <a:endParaRPr lang="en-US" altLang="ko-KR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확인</a:t>
            </a:r>
          </a:p>
        </p:txBody>
      </p:sp>
      <p:sp>
        <p:nvSpPr>
          <p:cNvPr id="30" name="직사각형 29"/>
          <p:cNvSpPr/>
          <p:nvPr/>
        </p:nvSpPr>
        <p:spPr bwMode="ltGray">
          <a:xfrm>
            <a:off x="4887724" y="4511836"/>
            <a:ext cx="2956346" cy="61248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전사</a:t>
            </a:r>
            <a:r>
              <a: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L/TF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</a:t>
            </a:r>
            <a:r>
              <a:rPr lang="ko-KR" altLang="en-US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연 </a:t>
            </a:r>
            <a:r>
              <a:rPr lang="en-US" altLang="ko-KR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</a:t>
            </a:r>
            <a:r>
              <a:rPr lang="ko-KR" altLang="en-US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회 이상 수행</a:t>
            </a:r>
            <a:endParaRPr lang="en-US" altLang="ko-KR" sz="1100" u="sng" spc="-10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위험평가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결과 </a:t>
            </a:r>
            <a:r>
              <a:rPr lang="ko-KR" altLang="en-US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발견된 취약점에 대한 개선 강화</a:t>
            </a:r>
          </a:p>
        </p:txBody>
      </p:sp>
      <p:sp>
        <p:nvSpPr>
          <p:cNvPr id="31" name="직사각형 30"/>
          <p:cNvSpPr/>
          <p:nvPr/>
        </p:nvSpPr>
        <p:spPr bwMode="ltGray">
          <a:xfrm>
            <a:off x="4398319" y="4511836"/>
            <a:ext cx="445953" cy="61248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험</a:t>
            </a:r>
            <a:endParaRPr lang="en-US" altLang="ko-KR" sz="1000" spc="-50" dirty="0" smtClean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spc="-5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리</a:t>
            </a:r>
            <a:endParaRPr lang="ko-KR" altLang="en-US" sz="1000" spc="-5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rgbClr val="333333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/>
          <p:cNvSpPr/>
          <p:nvPr/>
        </p:nvSpPr>
        <p:spPr bwMode="ltGray">
          <a:xfrm>
            <a:off x="4892254" y="5178159"/>
            <a:ext cx="2956346" cy="61248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현장 </a:t>
            </a:r>
            <a:r>
              <a:rPr lang="ko-KR" altLang="en-US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직접보고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의 건수 및 적정성 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</a:t>
            </a:r>
            <a:endParaRPr lang="en-US" altLang="ko-KR" sz="1100" spc="-100" dirty="0">
              <a:solidFill>
                <a:schemeClr val="tx1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171450" indent="-171450" latinLnBrk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운영 </a:t>
            </a:r>
            <a:r>
              <a: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Rule </a:t>
            </a:r>
            <a:r>
              <a:rPr lang="ko-KR" altLang="en-US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갯수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및 </a:t>
            </a:r>
            <a:r>
              <a:rPr lang="en-US" altLang="ko-KR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Rule</a:t>
            </a:r>
            <a:r>
              <a:rPr lang="ko-KR" altLang="en-US" sz="11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에 대한 개정 이력 관리</a:t>
            </a:r>
            <a:r>
              <a:rPr lang="ko-KR" altLang="en-US" sz="1100" spc="-100" dirty="0">
                <a:solidFill>
                  <a:srgbClr val="C0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강화</a:t>
            </a:r>
          </a:p>
        </p:txBody>
      </p:sp>
      <p:sp>
        <p:nvSpPr>
          <p:cNvPr id="33" name="직사각형 32"/>
          <p:cNvSpPr/>
          <p:nvPr/>
        </p:nvSpPr>
        <p:spPr bwMode="ltGray">
          <a:xfrm>
            <a:off x="4402849" y="5178159"/>
            <a:ext cx="445953" cy="612481"/>
          </a:xfrm>
          <a:prstGeom prst="rect">
            <a:avLst/>
          </a:prstGeom>
          <a:solidFill>
            <a:srgbClr val="D3EDFD"/>
          </a:solidFill>
          <a:ln w="6350">
            <a:solidFill>
              <a:srgbClr val="ABDDFB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26941" dir="2700000" algn="ctr" rotWithShape="0">
                    <a:srgbClr val="82B5CD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니터링</a:t>
            </a:r>
          </a:p>
        </p:txBody>
      </p:sp>
      <p:sp>
        <p:nvSpPr>
          <p:cNvPr id="34" name="Rectangle 30"/>
          <p:cNvSpPr>
            <a:spLocks noChangeArrowheads="1"/>
          </p:cNvSpPr>
          <p:nvPr/>
        </p:nvSpPr>
        <p:spPr bwMode="auto">
          <a:xfrm>
            <a:off x="4639566" y="2132856"/>
            <a:ext cx="2988506" cy="2925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5994" tIns="35994" rIns="35994" bIns="35994" anchor="ctr"/>
          <a:lstStyle/>
          <a:p>
            <a:pPr marL="82526" indent="-82526" algn="ctr" defTabSz="956977">
              <a:lnSpc>
                <a:spcPts val="1800"/>
              </a:lnSpc>
              <a:spcBef>
                <a:spcPct val="50000"/>
              </a:spcBef>
              <a:defRPr/>
            </a:pPr>
            <a:r>
              <a:rPr lang="en-US" altLang="ko-KR" sz="1400" u="sng" kern="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KoFIU </a:t>
            </a:r>
            <a:r>
              <a:rPr lang="ko-KR" altLang="en-US" sz="1400" u="sng" kern="0" spc="-100" dirty="0">
                <a:solidFill>
                  <a:srgbClr val="0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itchFamily="2" charset="2"/>
              </a:rPr>
              <a:t>운영위험지표 고득점 전략</a:t>
            </a:r>
            <a:endParaRPr lang="en-US" altLang="ko-KR" sz="1400" u="sng" kern="0" spc="-100" dirty="0">
              <a:solidFill>
                <a:srgbClr val="0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Wingdings" pitchFamily="2" charset="2"/>
            </a:endParaRPr>
          </a:p>
        </p:txBody>
      </p:sp>
      <p:graphicFrame>
        <p:nvGraphicFramePr>
          <p:cNvPr id="35" name="표 34"/>
          <p:cNvGraphicFramePr>
            <a:graphicFrameLocks noGrp="1"/>
          </p:cNvGraphicFramePr>
          <p:nvPr>
            <p:extLst/>
          </p:nvPr>
        </p:nvGraphicFramePr>
        <p:xfrm>
          <a:off x="1006551" y="3231297"/>
          <a:ext cx="2667674" cy="1796081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1472368">
                  <a:extLst>
                    <a:ext uri="{9D8B030D-6E8A-4147-A177-3AD203B41FA5}">
                      <a16:colId xmlns:a16="http://schemas.microsoft.com/office/drawing/2014/main" val="1418268526"/>
                    </a:ext>
                  </a:extLst>
                </a:gridCol>
                <a:gridCol w="530165">
                  <a:extLst>
                    <a:ext uri="{9D8B030D-6E8A-4147-A177-3AD203B41FA5}">
                      <a16:colId xmlns:a16="http://schemas.microsoft.com/office/drawing/2014/main" val="2474119911"/>
                    </a:ext>
                  </a:extLst>
                </a:gridCol>
                <a:gridCol w="6651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6583"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ko-KR" altLang="en-US" sz="1000" b="0" spc="0" baseline="0" dirty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평가 영역</a:t>
                      </a:r>
                      <a:endParaRPr lang="en-US" sz="10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8E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ko-KR" altLang="en-US" sz="1000" b="0" spc="0" baseline="0" dirty="0" smtClean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배점</a:t>
                      </a:r>
                      <a:endParaRPr lang="en-US" sz="10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8E9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ko-KR" altLang="en-US" sz="1000" b="0" spc="0" baseline="0" dirty="0">
                          <a:solidFill>
                            <a:schemeClr val="bg1"/>
                          </a:solidFill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배점비중</a:t>
                      </a:r>
                      <a:endParaRPr lang="en-US" sz="1000" b="0" spc="0" baseline="0" dirty="0">
                        <a:solidFill>
                          <a:schemeClr val="bg1"/>
                        </a:solidFill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8E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908365"/>
                  </a:ext>
                </a:extLst>
              </a:tr>
              <a:tr h="2565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kern="1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전사통제정책</a:t>
                      </a:r>
                      <a:endParaRPr lang="ko-KR" altLang="en-US" sz="900" b="0" i="0" u="none" strike="noStrike" kern="100" spc="0" baseline="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45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766716"/>
                  </a:ext>
                </a:extLst>
              </a:tr>
              <a:tr h="2565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kern="1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부통제</a:t>
                      </a:r>
                      <a:endParaRPr lang="ko-KR" altLang="en-US" sz="900" b="0" i="0" u="none" strike="noStrike" kern="100" spc="0" baseline="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1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9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169426"/>
                  </a:ext>
                </a:extLst>
              </a:tr>
              <a:tr h="2565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kern="1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확인</a:t>
                      </a:r>
                      <a:endParaRPr lang="ko-KR" altLang="en-US" sz="900" b="0" i="0" u="none" strike="noStrike" kern="100" spc="0" baseline="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4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35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92820"/>
                  </a:ext>
                </a:extLst>
              </a:tr>
              <a:tr h="2565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kern="1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위험관리</a:t>
                      </a:r>
                      <a:endParaRPr lang="ko-KR" altLang="en-US" sz="900" b="0" i="0" u="none" strike="noStrike" kern="100" spc="0" baseline="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87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21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64343"/>
                  </a:ext>
                </a:extLst>
              </a:tr>
              <a:tr h="2565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kern="100" spc="0" baseline="0" dirty="0" smtClean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모니터링 및 보고관리</a:t>
                      </a:r>
                      <a:endParaRPr lang="ko-KR" altLang="en-US" sz="900" b="0" i="0" u="none" strike="noStrike" kern="100" spc="0" baseline="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7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59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spc="0" baseline="0" dirty="0">
                          <a:solidFill>
                            <a:srgbClr val="000000"/>
                          </a:solidFill>
                          <a:effectLst/>
                          <a:latin typeface="KoPub돋움체 Light" panose="02020603020101020101" pitchFamily="18" charset="-127"/>
                          <a:ea typeface="KoPub돋움체 Light" panose="02020603020101020101" pitchFamily="18" charset="-127"/>
                        </a:rPr>
                        <a:t>14%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589483"/>
                  </a:ext>
                </a:extLst>
              </a:tr>
              <a:tr h="25658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kern="100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합계</a:t>
                      </a:r>
                      <a:endParaRPr lang="ko-KR" altLang="en-US" sz="1000" b="0" i="0" u="none" strike="noStrike" kern="100" spc="0" baseline="0" dirty="0">
                        <a:solidFill>
                          <a:schemeClr val="bg1"/>
                        </a:solidFill>
                        <a:effectLst/>
                        <a:latin typeface="KoPub돋움체 Bold" panose="00000800000000000000" pitchFamily="2" charset="-127"/>
                        <a:ea typeface="KoPub돋움체 Bold" panose="00000800000000000000" pitchFamily="2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8E9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416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8E9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pc="0" baseline="0" dirty="0" smtClean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100%</a:t>
                      </a:r>
                      <a:r>
                        <a:rPr lang="ko-KR" altLang="en-US" sz="1000" b="0" i="0" u="none" strike="noStrike" spc="0" baseline="0" dirty="0">
                          <a:solidFill>
                            <a:schemeClr val="bg1"/>
                          </a:solidFill>
                          <a:effectLst/>
                          <a:latin typeface="KoPub돋움체 Bold" panose="00000800000000000000" pitchFamily="2" charset="-127"/>
                          <a:ea typeface="KoPub돋움체 Bold" panose="00000800000000000000" pitchFamily="2" charset="-127"/>
                        </a:rPr>
                        <a:t>　</a:t>
                      </a: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8E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702624"/>
                  </a:ext>
                </a:extLst>
              </a:tr>
            </a:tbl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4398319" y="5911872"/>
            <a:ext cx="3445751" cy="46059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85750" indent="-285750" algn="ctr">
              <a:buFont typeface="Wingdings" panose="05000000000000000000" pitchFamily="2" charset="2"/>
              <a:buChar char="à"/>
            </a:pPr>
            <a:r>
              <a:rPr lang="ko-KR" altLang="en-US" sz="13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배점이 </a:t>
            </a:r>
            <a:r>
              <a:rPr lang="ko-KR" altLang="en-US" sz="13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높은 지표에 대한</a:t>
            </a:r>
            <a:r>
              <a:rPr lang="en-US" altLang="ko-KR" sz="13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 </a:t>
            </a:r>
            <a:r>
              <a:rPr lang="ko-KR" altLang="en-US" sz="13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고득점을 위하여 </a:t>
            </a:r>
            <a:endParaRPr lang="en-US" altLang="ko-KR" sz="1300" u="sng" spc="-100" dirty="0" smtClean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sym typeface="Wingdings" panose="05000000000000000000" pitchFamily="2" charset="2"/>
            </a:endParaRPr>
          </a:p>
          <a:p>
            <a:pPr algn="ctr">
              <a:spcAft>
                <a:spcPts val="900"/>
              </a:spcAft>
            </a:pPr>
            <a:r>
              <a:rPr lang="ko-KR" altLang="en-US" sz="1300" u="sng" spc="-100" dirty="0" smtClean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부산은행의 </a:t>
            </a:r>
            <a:r>
              <a:rPr lang="ko-KR" altLang="en-US" sz="1300" u="sng" spc="-100" dirty="0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맞춤 전략 제시</a:t>
            </a:r>
            <a:endParaRPr lang="ko-KR" altLang="en-US" sz="1300" u="sng" spc="-10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7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44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45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8957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</a:t>
            </a:r>
            <a:endParaRPr lang="ko-KR" altLang="en-US" sz="1000" spc="-40" dirty="0">
              <a:ln w="1270">
                <a:solidFill>
                  <a:schemeClr val="accent1">
                    <a:alpha val="0"/>
                  </a:schemeClr>
                </a:solidFill>
              </a:ln>
              <a:solidFill>
                <a:srgbClr val="333333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8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7812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LcS4">
            <a:extLst>
              <a:ext uri="{FF2B5EF4-FFF2-40B4-BE49-F238E27FC236}">
                <a16:creationId xmlns:a16="http://schemas.microsoft.com/office/drawing/2014/main" id="{C1CCFF57-CDCE-471A-845A-2EFA0175D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>
              <a:spcBef>
                <a:spcPct val="50000"/>
              </a:spcBef>
            </a:pPr>
            <a:r>
              <a:rPr lang="en-US" altLang="ko-KR" dirty="0"/>
              <a:t>2.2.4.1 </a:t>
            </a:r>
            <a:r>
              <a:rPr lang="ko-KR" altLang="en-US" dirty="0" smtClean="0"/>
              <a:t>전사 </a:t>
            </a:r>
            <a:r>
              <a:rPr lang="en-US" altLang="ko-KR" dirty="0"/>
              <a:t>ML/TF </a:t>
            </a:r>
            <a:r>
              <a:rPr lang="ko-KR" altLang="en-US" dirty="0"/>
              <a:t>위험관리 전략 </a:t>
            </a:r>
            <a:r>
              <a:rPr lang="ko-KR" altLang="en-US" dirty="0" smtClean="0"/>
              <a:t>수립</a:t>
            </a:r>
            <a:r>
              <a:rPr lang="ko-KR" altLang="en-US" dirty="0"/>
              <a:t> </a:t>
            </a:r>
            <a:r>
              <a:rPr lang="en-US" altLang="ko-KR" dirty="0" smtClean="0"/>
              <a:t>(1/5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LcS5">
            <a:extLst>
              <a:ext uri="{FF2B5EF4-FFF2-40B4-BE49-F238E27FC236}">
                <a16:creationId xmlns:a16="http://schemas.microsoft.com/office/drawing/2014/main" id="{E9BE73A6-6FBF-4E8E-BB01-BBD63BF9F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6477" y="1345132"/>
            <a:ext cx="9433048" cy="203133"/>
          </a:xfrm>
          <a:prstGeom prst="rect">
            <a:avLst/>
          </a:prstGeom>
          <a:noFill/>
          <a:ln w="1651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just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</a:pPr>
            <a:r>
              <a:rPr lang="ko-KR" altLang="en-US" sz="1100" dirty="0" smtClean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향후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L/TF </a:t>
            </a:r>
            <a:r>
              <a:rPr lang="ko-KR" altLang="en-US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위험관리 체계를 운영하기 위한 위험대응 전략을 수립하고 위험관리 조직 및 위험관리 프로세스를 수립합니다</a:t>
            </a:r>
            <a:r>
              <a:rPr lang="en-US" altLang="ko-KR" sz="1100" dirty="0"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.</a:t>
            </a:r>
          </a:p>
        </p:txBody>
      </p:sp>
      <p:grpSp>
        <p:nvGrpSpPr>
          <p:cNvPr id="12" name="LcS10">
            <a:extLst>
              <a:ext uri="{FF2B5EF4-FFF2-40B4-BE49-F238E27FC236}">
                <a16:creationId xmlns:a16="http://schemas.microsoft.com/office/drawing/2014/main" id="{DF2A4D68-48F5-4F85-BAF4-58896BE5ACE2}"/>
              </a:ext>
            </a:extLst>
          </p:cNvPr>
          <p:cNvGrpSpPr/>
          <p:nvPr/>
        </p:nvGrpSpPr>
        <p:grpSpPr>
          <a:xfrm>
            <a:off x="236476" y="1772816"/>
            <a:ext cx="9433048" cy="216024"/>
            <a:chOff x="236476" y="1628800"/>
            <a:chExt cx="9433048" cy="216024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7277A3B6-5E4B-4776-A4EE-1D9CFD127956}"/>
                </a:ext>
              </a:extLst>
            </p:cNvPr>
            <p:cNvSpPr/>
            <p:nvPr/>
          </p:nvSpPr>
          <p:spPr>
            <a:xfrm>
              <a:off x="236476" y="1628800"/>
              <a:ext cx="9433048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pPr>
                <a:defRPr/>
              </a:pP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전사 </a:t>
              </a:r>
              <a:r>
                <a:rPr lang="en-US" altLang="ko-KR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ML/TF </a:t>
              </a:r>
              <a:r>
                <a:rPr lang="ko-KR" altLang="en-US" sz="1100" dirty="0" smtClean="0">
                  <a:ln w="1270"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rgbClr val="00000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위험관리 전략 수립</a:t>
              </a:r>
              <a:endParaRPr lang="ko-KR" altLang="en-US" sz="110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F9FA5B82-A6A7-4157-8DDA-4FA19F83954A}"/>
                </a:ext>
              </a:extLst>
            </p:cNvPr>
            <p:cNvGrpSpPr/>
            <p:nvPr/>
          </p:nvGrpSpPr>
          <p:grpSpPr>
            <a:xfrm>
              <a:off x="236476" y="1628862"/>
              <a:ext cx="215901" cy="215900"/>
              <a:chOff x="720291" y="2322364"/>
              <a:chExt cx="215901" cy="215900"/>
            </a:xfrm>
          </p:grpSpPr>
          <p:sp>
            <p:nvSpPr>
              <p:cNvPr id="41" name="AutoShape 1602">
                <a:extLst>
                  <a:ext uri="{FF2B5EF4-FFF2-40B4-BE49-F238E27FC236}">
                    <a16:creationId xmlns:a16="http://schemas.microsoft.com/office/drawing/2014/main" id="{599C1B19-8B39-4A16-8382-E6FD9A23D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91" y="2322364"/>
                <a:ext cx="215900" cy="215900"/>
              </a:xfrm>
              <a:prstGeom prst="roundRect">
                <a:avLst>
                  <a:gd name="adj" fmla="val 0"/>
                </a:avLst>
              </a:prstGeom>
              <a:solidFill>
                <a:srgbClr val="BD003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ko-KR" sz="1463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Freeform 1603">
                <a:extLst>
                  <a:ext uri="{FF2B5EF4-FFF2-40B4-BE49-F238E27FC236}">
                    <a16:creationId xmlns:a16="http://schemas.microsoft.com/office/drawing/2014/main" id="{996E7A9C-E8EB-46B9-B837-8713A9E4597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29829" y="2322364"/>
                <a:ext cx="106363" cy="185738"/>
              </a:xfrm>
              <a:custGeom>
                <a:avLst/>
                <a:gdLst>
                  <a:gd name="T0" fmla="*/ 78 w 90"/>
                  <a:gd name="T1" fmla="*/ 137 h 158"/>
                  <a:gd name="T2" fmla="*/ 0 w 90"/>
                  <a:gd name="T3" fmla="*/ 84 h 158"/>
                  <a:gd name="T4" fmla="*/ 0 w 90"/>
                  <a:gd name="T5" fmla="*/ 0 h 158"/>
                  <a:gd name="T6" fmla="*/ 78 w 90"/>
                  <a:gd name="T7" fmla="*/ 0 h 158"/>
                  <a:gd name="T8" fmla="*/ 78 w 90"/>
                  <a:gd name="T9" fmla="*/ 137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0" h="158">
                    <a:moveTo>
                      <a:pt x="90" y="158"/>
                    </a:moveTo>
                    <a:lnTo>
                      <a:pt x="0" y="97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15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3" name="AutoShape 1604">
                <a:extLst>
                  <a:ext uri="{FF2B5EF4-FFF2-40B4-BE49-F238E27FC236}">
                    <a16:creationId xmlns:a16="http://schemas.microsoft.com/office/drawing/2014/main" id="{CB9540EE-E693-4533-98F1-8F7294641F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266" y="2376339"/>
                <a:ext cx="107950" cy="107950"/>
              </a:xfrm>
              <a:prstGeom prst="chevron">
                <a:avLst>
                  <a:gd name="adj" fmla="val 42667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A6B4BA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6941" dir="2700000" algn="ctr" rotWithShape="0">
                        <a:srgbClr val="B5C5CC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marR="0" lvl="0" indent="0" algn="ctr" defTabSz="1259586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ko-KR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고도 B" panose="02000503000000020004" pitchFamily="2" charset="-127"/>
                  <a:ea typeface="고도 B" panose="02000503000000020004" pitchFamily="2" charset="-127"/>
                  <a:cs typeface="+mn-cs"/>
                </a:endParaRPr>
              </a:p>
            </p:txBody>
          </p:sp>
        </p:grpSp>
      </p:grpSp>
      <p:grpSp>
        <p:nvGrpSpPr>
          <p:cNvPr id="48" name="그룹 47"/>
          <p:cNvGrpSpPr/>
          <p:nvPr/>
        </p:nvGrpSpPr>
        <p:grpSpPr>
          <a:xfrm>
            <a:off x="434405" y="2240868"/>
            <a:ext cx="9019095" cy="3996444"/>
            <a:chOff x="899558" y="2481666"/>
            <a:chExt cx="6217238" cy="3564414"/>
          </a:xfrm>
        </p:grpSpPr>
        <p:sp>
          <p:nvSpPr>
            <p:cNvPr id="49" name="직사각형 48"/>
            <p:cNvSpPr/>
            <p:nvPr/>
          </p:nvSpPr>
          <p:spPr>
            <a:xfrm>
              <a:off x="978636" y="3061880"/>
              <a:ext cx="1842369" cy="279671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266700" indent="-266700" algn="l" defTabSz="1042959" eaLnBrk="0" latin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KoFIU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융회사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처리 기준 및 해설서 요구 사항 분석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365125" lvl="1" indent="-98425" algn="l" defTabSz="1042959" eaLnBrk="0" latin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업무규정 상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5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의 통제 영역과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3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 항목 도출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365125" lvl="1" indent="-98425" algn="l" defTabSz="1042959" eaLnBrk="0" latin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중점 관리 영역 및 위험평가 모델 방향성 수립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365125" lvl="1" indent="-98425" algn="l" defTabSz="1042959" eaLnBrk="0" latin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World Bank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금융회사 평가모델  등의 자료를 참조하여 전사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대응 전략 수립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 defTabSz="1042959" eaLnBrk="0" latinLnBrk="0" hangingPunct="0">
                <a:spcBef>
                  <a:spcPts val="15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목표 및 평가 단위 정의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latin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에 이용될 위험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과 통제 효과성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(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내부통제 평가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)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를 고려하여 각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점별 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잔여위험을 산출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50" name="오각형 49"/>
            <p:cNvSpPr/>
            <p:nvPr/>
          </p:nvSpPr>
          <p:spPr bwMode="ltGray">
            <a:xfrm>
              <a:off x="899558" y="2494005"/>
              <a:ext cx="2081916" cy="432630"/>
            </a:xfrm>
            <a:prstGeom prst="homePlate">
              <a:avLst>
                <a:gd name="adj" fmla="val 23753"/>
              </a:avLst>
            </a:prstGeom>
            <a:solidFill>
              <a:srgbClr val="D3EDFD"/>
            </a:solidFill>
            <a:ln w="6350">
              <a:solidFill>
                <a:srgbClr val="ABDDFB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위험 대응 전략 수립</a:t>
              </a:r>
              <a:endParaRPr lang="en-US" altLang="ko-KR" sz="1100" spc="-5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28172" y="2541479"/>
              <a:ext cx="270379" cy="2975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b="1" i="1" spc="-10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1</a:t>
              </a:r>
              <a:endParaRPr lang="ko-KR" altLang="en-US" sz="2400" b="1" i="1" spc="-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52" name="갈매기형 수장 51"/>
            <p:cNvSpPr/>
            <p:nvPr/>
          </p:nvSpPr>
          <p:spPr bwMode="ltGray">
            <a:xfrm>
              <a:off x="2997006" y="2494005"/>
              <a:ext cx="2054879" cy="432630"/>
            </a:xfrm>
            <a:prstGeom prst="chevron">
              <a:avLst>
                <a:gd name="adj" fmla="val 23752"/>
              </a:avLst>
            </a:prstGeom>
            <a:solidFill>
              <a:srgbClr val="79C9F9"/>
            </a:solidFill>
            <a:ln w="6350">
              <a:solidFill>
                <a:srgbClr val="22A8F0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26941" dir="2700000" algn="ctr" rotWithShape="0">
                      <a:srgbClr val="82B5CD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위험평가 조직체계 수립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3024081" y="2541479"/>
              <a:ext cx="270379" cy="2975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b="1" i="1" spc="-100" dirty="0" smtClean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2</a:t>
              </a:r>
              <a:endParaRPr lang="ko-KR" altLang="en-US" sz="2400" b="1" i="1" spc="-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55" name="직사각형 54"/>
            <p:cNvSpPr/>
            <p:nvPr/>
          </p:nvSpPr>
          <p:spPr>
            <a:xfrm>
              <a:off x="3119509" y="3061880"/>
              <a:ext cx="1838575" cy="279671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171450" indent="-171450" algn="l" defTabSz="1042959" eaLnBrk="0" latinLnBrk="0" hangingPunct="0">
                <a:spcBef>
                  <a:spcPts val="15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BA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처리기준 해설서 상의 위험관리 조직체계를 고려하여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To-Be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직 정의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latin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산은행의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업무 담당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조직과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자금세탁방지업무 담당 부서의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R&amp;R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려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latinLnBrk="0" hangingPunct="0"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준법감시부와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IT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획부의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역할 및 책임을 재정의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latinLnBrk="0" hangingPunct="0"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독립적인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감사 수행에 대한 역할 및 책임을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재정의</a:t>
              </a:r>
              <a:endParaRPr lang="en-US" altLang="ko-KR" sz="1100" spc="-100" dirty="0" smtClean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latinLnBrk="0" hangingPunct="0">
                <a:buSzPct val="140000"/>
                <a:buFont typeface="Arial" panose="020B0604020202020204" pitchFamily="34" charset="0"/>
                <a:buChar char="-"/>
              </a:pP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171450" indent="-171450" algn="l" defTabSz="1042959" eaLnBrk="0" latinLnBrk="0" hangingPunct="0">
                <a:spcBef>
                  <a:spcPts val="15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부산은행 별로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및 통제활동 평가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고위험 영역에 대한 후속조치 수행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보고 체계를 정의</a:t>
              </a:r>
            </a:p>
          </p:txBody>
        </p:sp>
        <p:cxnSp>
          <p:nvCxnSpPr>
            <p:cNvPr id="56" name="직선 연결선 55"/>
            <p:cNvCxnSpPr/>
            <p:nvPr/>
          </p:nvCxnSpPr>
          <p:spPr>
            <a:xfrm>
              <a:off x="2954138" y="3022080"/>
              <a:ext cx="0" cy="302400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갈매기형 수장 56"/>
            <p:cNvSpPr/>
            <p:nvPr/>
          </p:nvSpPr>
          <p:spPr bwMode="ltGray">
            <a:xfrm>
              <a:off x="5061918" y="2481666"/>
              <a:ext cx="2054878" cy="432630"/>
            </a:xfrm>
            <a:prstGeom prst="chevron">
              <a:avLst>
                <a:gd name="adj" fmla="val 23752"/>
              </a:avLst>
            </a:prstGeom>
            <a:solidFill>
              <a:srgbClr val="038CDC"/>
            </a:solidFill>
            <a:ln w="6350">
              <a:solidFill>
                <a:srgbClr val="0074C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전사 </a:t>
              </a:r>
              <a:r>
                <a:rPr lang="en-US" altLang="ko-KR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ML/TF </a:t>
              </a:r>
              <a:r>
                <a:rPr lang="ko-KR" altLang="en-US" sz="1100" spc="-50" dirty="0">
                  <a:ln>
                    <a:solidFill>
                      <a:schemeClr val="accent1">
                        <a:shade val="50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위험관리 프로세스 수립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065017" y="2541479"/>
              <a:ext cx="270379" cy="2975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274320" algn="ctr" latinLnBrk="0">
                <a:spcAft>
                  <a:spcPts val="900"/>
                </a:spcAft>
              </a:pPr>
              <a:r>
                <a:rPr lang="en-US" altLang="ko-KR" sz="2400" b="1" i="1" spc="-100" dirty="0">
                  <a:solidFill>
                    <a:schemeClr val="bg1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3</a:t>
              </a:r>
              <a:endParaRPr lang="ko-KR" altLang="en-US" sz="2400" b="1" i="1" spc="-100" dirty="0" smtClean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5200705" y="3061880"/>
              <a:ext cx="1838575" cy="279671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t" anchorCtr="0"/>
            <a:lstStyle/>
            <a:p>
              <a:pPr marL="171450" indent="-171450" algn="l" defTabSz="1042959" eaLnBrk="0" latinLnBrk="0" hangingPunct="0">
                <a:spcBef>
                  <a:spcPts val="1200"/>
                </a:spcBef>
                <a:buSzPct val="140000"/>
                <a:buFont typeface="Arial" panose="020B0604020202020204" pitchFamily="34" charset="0"/>
                <a:buChar char="•"/>
              </a:pP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관리 프로세스 및 평가 결과에 대한 지속적인 모니터링 체계 수립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latin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프로세스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전사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 관리 프로세스를 계획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평가 및 모니터링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,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결과 보고의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3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단계로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구분하여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각각의 세부 업무를 효과적으로 수행할 수 있도록 상세 절차 수립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  <a:p>
              <a:pPr marL="266700" lvl="1" indent="-88900" algn="l" defTabSz="1042959" eaLnBrk="0" latinLnBrk="0" hangingPunct="0">
                <a:spcBef>
                  <a:spcPts val="600"/>
                </a:spcBef>
                <a:buSzPct val="140000"/>
                <a:buFont typeface="Arial" panose="020B0604020202020204" pitchFamily="34" charset="0"/>
                <a:buChar char="-"/>
              </a:pP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지속적인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모니터링 </a:t>
              </a:r>
              <a:r>
                <a:rPr lang="en-US" altLang="ko-KR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: </a:t>
              </a:r>
              <a:r>
                <a:rPr lang="en-US" altLang="ko-KR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ML/TF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위험평가 결과 잔여위험이 높은 업무에 대하여 추가적인 개선 및 피드백이 가능하도록 취약점 </a:t>
              </a:r>
              <a:r>
                <a:rPr lang="ko-KR" altLang="en-US" sz="1100" spc="-100" dirty="0" smtClean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식별과 개선 </a:t>
              </a:r>
              <a:r>
                <a:rPr lang="ko-KR" altLang="en-US" sz="1100" spc="-100" dirty="0">
                  <a:solidFill>
                    <a:schemeClr val="tx1"/>
                  </a:solidFill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절차를 상세 정의</a:t>
              </a:r>
              <a:endParaRPr lang="en-US" altLang="ko-KR" sz="1100" spc="-100" dirty="0">
                <a:solidFill>
                  <a:schemeClr val="tx1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cxnSp>
          <p:nvCxnSpPr>
            <p:cNvPr id="60" name="직선 연결선 59"/>
            <p:cNvCxnSpPr/>
            <p:nvPr/>
          </p:nvCxnSpPr>
          <p:spPr>
            <a:xfrm>
              <a:off x="5017363" y="3013114"/>
              <a:ext cx="0" cy="302400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t10">
            <a:extLst>
              <a:ext uri="{FF2B5EF4-FFF2-40B4-BE49-F238E27FC236}">
                <a16:creationId xmlns:a16="http://schemas.microsoft.com/office/drawing/2014/main" id="{E6BDB82E-19E0-4854-A5B9-C066CBD16246}"/>
              </a:ext>
            </a:extLst>
          </p:cNvPr>
          <p:cNvSpPr txBox="1">
            <a:spLocks/>
          </p:cNvSpPr>
          <p:nvPr/>
        </p:nvSpPr>
        <p:spPr bwMode="auto">
          <a:xfrm>
            <a:off x="546831" y="365086"/>
            <a:ext cx="688256" cy="1692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none" lIns="0" tIns="0" rIns="72000" bIns="0" rtlCol="0" anchor="t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ko-KR" altLang="en-US" sz="11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BD003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rPr>
              <a:t>시스템구축</a:t>
            </a:r>
          </a:p>
        </p:txBody>
      </p:sp>
      <p:sp>
        <p:nvSpPr>
          <p:cNvPr id="26" name="Rt5">
            <a:extLst>
              <a:ext uri="{FF2B5EF4-FFF2-40B4-BE49-F238E27FC236}">
                <a16:creationId xmlns:a16="http://schemas.microsoft.com/office/drawing/2014/main" id="{D1977CA0-3642-4E5B-9CD2-41CAA38CC5A2}"/>
              </a:ext>
            </a:extLst>
          </p:cNvPr>
          <p:cNvSpPr txBox="1">
            <a:spLocks/>
          </p:cNvSpPr>
          <p:nvPr/>
        </p:nvSpPr>
        <p:spPr bwMode="auto">
          <a:xfrm>
            <a:off x="188839" y="0"/>
            <a:ext cx="340478" cy="6771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 defTabSz="935038" rtl="0" eaLnBrk="1" fontAlgn="base" latinLnBrk="0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lang="en-US" altLang="en-US" sz="1400" b="0" kern="1200" spc="-50" baseline="0" dirty="0">
                <a:ln>
                  <a:solidFill>
                    <a:srgbClr val="FF99FF">
                      <a:alpha val="0"/>
                    </a:srgbClr>
                  </a:solidFill>
                </a:ln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2pPr>
            <a:lvl3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3pPr>
            <a:lvl4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4pPr>
            <a:lvl5pPr algn="l" defTabSz="935038" rtl="0" eaLnBrk="0" fontAlgn="base" latinLnBrk="1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5pPr>
            <a:lvl6pPr marL="457109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6pPr>
            <a:lvl7pPr marL="914217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7pPr>
            <a:lvl8pPr marL="1371326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8pPr>
            <a:lvl9pPr marL="1828434" algn="l" defTabSz="936438" rtl="0" fontAlgn="base" latinLnBrk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굴림" panose="020B0600000101010101" pitchFamily="50" charset="-127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altLang="ko-KR" sz="4400" spc="-70" baseline="0" dirty="0" smtClean="0">
                <a:solidFill>
                  <a:srgbClr val="BD0032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</a:t>
            </a:r>
            <a:endParaRPr lang="ko-KR" altLang="en-US" sz="4400" spc="-70" baseline="0" dirty="0">
              <a:solidFill>
                <a:srgbClr val="BD0032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28" name="LcS6">
            <a:extLst>
              <a:ext uri="{FF2B5EF4-FFF2-40B4-BE49-F238E27FC236}">
                <a16:creationId xmlns:a16="http://schemas.microsoft.com/office/drawing/2014/main" id="{A8090357-3C46-4F0F-94A5-8246A4187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476" y="656692"/>
            <a:ext cx="23249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.2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업무 </a:t>
            </a:r>
            <a:r>
              <a:rPr lang="ko-KR" altLang="en-US" sz="1000" spc="-40" dirty="0" smtClean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방안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&gt; 2.2.4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사 </a:t>
            </a:r>
            <a:r>
              <a:rPr lang="en-US" altLang="ko-KR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RBA </a:t>
            </a:r>
            <a:r>
              <a:rPr lang="ko-KR" altLang="en-US" sz="1000" spc="-40" dirty="0">
                <a:ln w="1270">
                  <a:solidFill>
                    <a:schemeClr val="accent1">
                      <a:alpha val="0"/>
                    </a:schemeClr>
                  </a:solidFill>
                </a:ln>
                <a:solidFill>
                  <a:srgbClr val="333333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계 구축 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BD0032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Ⅲ </a:t>
            </a:r>
            <a:r>
              <a:rPr kumimoji="0" lang="en-US" altLang="ko-KR" sz="800" b="0" i="0" u="none" strike="noStrike" kern="1200" cap="none" spc="0" normalizeH="0" baseline="0" noProof="0" dirty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t>- </a:t>
            </a:r>
            <a:fld id="{FB38E40C-4F93-4E56-877A-C28EC1FFA5A5}" type="slidenum">
              <a:rPr kumimoji="0" lang="en-US" altLang="ko-KR" sz="800" b="0" i="0" u="none" strike="noStrike" kern="1200" cap="none" spc="0" normalizeH="0" baseline="0" noProof="0" smtClean="0">
                <a:ln w="1270">
                  <a:solidFill>
                    <a:srgbClr val="4472C4">
                      <a:alpha val="0"/>
                    </a:srgbClr>
                  </a:solidFill>
                </a:ln>
                <a:solidFill>
                  <a:srgbClr val="5F5F5F"/>
                </a:solidFill>
                <a:effectLst/>
                <a:uLnTx/>
                <a:uFillTx/>
                <a:latin typeface="나눔스퀘어" panose="020B0600000101010101" pitchFamily="50" charset="-127"/>
                <a:ea typeface="나눔스퀘어" panose="020B0600000101010101" pitchFamily="50" charset="-127"/>
                <a:cs typeface="+mn-cs"/>
              </a:rPr>
              <a:pPr/>
              <a:t>99</a:t>
            </a:fld>
            <a:endParaRPr kumimoji="0" lang="ko-KR" altLang="en-US" sz="800" b="0" i="0" u="none" strike="noStrike" kern="1200" cap="none" spc="0" normalizeH="0" baseline="0" noProof="0" dirty="0" smtClean="0">
              <a:ln w="1270">
                <a:solidFill>
                  <a:srgbClr val="4472C4">
                    <a:alpha val="0"/>
                  </a:srgbClr>
                </a:solidFill>
              </a:ln>
              <a:solidFill>
                <a:srgbClr val="5F5F5F"/>
              </a:solidFill>
              <a:effectLst/>
              <a:uLnTx/>
              <a:uFillTx/>
              <a:latin typeface="나눔스퀘어" panose="020B0600000101010101" pitchFamily="50" charset="-127"/>
              <a:ea typeface="나눔스퀘어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08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_45Me8X0iC9gQwRnTc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_45Me8X0iC9gQwRnTc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_45Me8X0iC9gQwRnTc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_45Me8X0iC9gQwRnT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_45Me8X0iC9gQwRnTc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_45Me8X0iC9gQwRnTcmQ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255</TotalTime>
  <Words>39122</Words>
  <Application>Microsoft Office PowerPoint</Application>
  <PresentationFormat>A4 용지(210x297mm)</PresentationFormat>
  <Paragraphs>10161</Paragraphs>
  <Slides>220</Slides>
  <Notes>24</Notes>
  <HiddenSlides>0</HiddenSlides>
  <MMClips>0</MMClips>
  <ScaleCrop>false</ScaleCrop>
  <HeadingPairs>
    <vt:vector size="6" baseType="variant">
      <vt:variant>
        <vt:lpstr>사용한 글꼴</vt:lpstr>
      </vt:variant>
      <vt:variant>
        <vt:i4>3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20</vt:i4>
      </vt:variant>
    </vt:vector>
  </HeadingPairs>
  <TitlesOfParts>
    <vt:vector size="257" baseType="lpstr">
      <vt:lpstr>Yoon 윤고딕 520_TT</vt:lpstr>
      <vt:lpstr>굴림</vt:lpstr>
      <vt:lpstr>Arial</vt:lpstr>
      <vt:lpstr>Times New Roman</vt:lpstr>
      <vt:lpstr>나눔고딕</vt:lpstr>
      <vt:lpstr>KoPubWorld돋움체 Medium</vt:lpstr>
      <vt:lpstr>Wingdings</vt:lpstr>
      <vt:lpstr>Juice ITC</vt:lpstr>
      <vt:lpstr>kopub</vt:lpstr>
      <vt:lpstr>HY헤드라인M</vt:lpstr>
      <vt:lpstr>KoPubWorld돋움체 Bold</vt:lpstr>
      <vt:lpstr>Georgia</vt:lpstr>
      <vt:lpstr>Monotype Sorts</vt:lpstr>
      <vt:lpstr>산돌고딕 M</vt:lpstr>
      <vt:lpstr>Calibri</vt:lpstr>
      <vt:lpstr>뫼비우스 Regular</vt:lpstr>
      <vt:lpstr>나눔스퀘어</vt:lpstr>
      <vt:lpstr>Wingdings 2</vt:lpstr>
      <vt:lpstr>Rix고딕 L</vt:lpstr>
      <vt:lpstr>고도 B</vt:lpstr>
      <vt:lpstr>함초롬돋움</vt:lpstr>
      <vt:lpstr>Jokerman</vt:lpstr>
      <vt:lpstr>Tahoma</vt:lpstr>
      <vt:lpstr>맑은 고딕</vt:lpstr>
      <vt:lpstr>나눔바른고딕</vt:lpstr>
      <vt:lpstr>나눔스퀘어 Bold</vt:lpstr>
      <vt:lpstr>산돌고딕 L</vt:lpstr>
      <vt:lpstr>Symbol</vt:lpstr>
      <vt:lpstr>나눔스퀘어 ExtraBold</vt:lpstr>
      <vt:lpstr>KoPub돋움체 Bold</vt:lpstr>
      <vt:lpstr>Javanese Text</vt:lpstr>
      <vt:lpstr>KoPub돋움체 Medium</vt:lpstr>
      <vt:lpstr>한컴돋움</vt:lpstr>
      <vt:lpstr>Arial Unicode MS</vt:lpstr>
      <vt:lpstr>KoPub돋움체 Light</vt:lpstr>
      <vt:lpstr>하나 L</vt:lpstr>
      <vt:lpstr>Office 테마</vt:lpstr>
      <vt:lpstr>1.1 구축목표 및 구축방안</vt:lpstr>
      <vt:lpstr>1.2 목표 시스템 구성도</vt:lpstr>
      <vt:lpstr>1.3 향후 시스템 발전방향</vt:lpstr>
      <vt:lpstr>1.4 수행 방법론 적용 방안</vt:lpstr>
      <vt:lpstr>2.1.1 시스템 구성방안</vt:lpstr>
      <vt:lpstr>2.1.2 고가용성 및 안정성 확보 방안 (1/4)</vt:lpstr>
      <vt:lpstr>2.1.2 고가용성 및 안정성 확보 방안 (2/4)</vt:lpstr>
      <vt:lpstr>2.1.2 고가용성 및 안정성 확보 방안 (3/4)</vt:lpstr>
      <vt:lpstr>2.1.2 고가용성 및 안정성 확보 방안 (4/4)</vt:lpstr>
      <vt:lpstr>2.1.3 소프트웨어 구성 방안</vt:lpstr>
      <vt:lpstr>2.1.4.1 하드웨어 구성 명세</vt:lpstr>
      <vt:lpstr>2.1.4.2 소프트웨어 구성 명세</vt:lpstr>
      <vt:lpstr>2.2.1 구축 개요</vt:lpstr>
      <vt:lpstr>2.2.2 구축 범위 (1/2)</vt:lpstr>
      <vt:lpstr>2.2.2 구축 범위 (2/2)</vt:lpstr>
      <vt:lpstr>2.2.3 AML 업무 구축</vt:lpstr>
      <vt:lpstr>2.2.3.1 고객확인 프로세스 구축</vt:lpstr>
      <vt:lpstr>2.2.3.1.1 최신 법령 개정 사항 반영</vt:lpstr>
      <vt:lpstr>2.2.3.1.2 고객확인 프로세스 현황 분석</vt:lpstr>
      <vt:lpstr>2.2.3.1.3 TO-BE 고객확인 프로세스 수립 (1/3)</vt:lpstr>
      <vt:lpstr>2.2.3.1.3 TO-BE 고객확인 프로세스 수립 (2/3)</vt:lpstr>
      <vt:lpstr>2.2.3.1.3 TO-BE 고객확인 프로세스 수립 (3/3)</vt:lpstr>
      <vt:lpstr>2.2.3.1.4 기타 고위험군에 관한 TO-BE 고객확인 프로세스 수립 (1/2)</vt:lpstr>
      <vt:lpstr>2.2.3.1.4 기타 고위험군에 관한 TO-BE 고객확인 프로세스 수립 (2/2)</vt:lpstr>
      <vt:lpstr>2.2.3.1.5 고객확인 프로세스 상세 정의 &gt; 신원확인 및 검증절차 개선</vt:lpstr>
      <vt:lpstr>2.2.3.1.5 고객확인 프로세스 상세 정의 &gt; 법인〮단체 실제소유자 확인 (1/2)</vt:lpstr>
      <vt:lpstr>2.2.3.1.5 고객확인 프로세스 상세 정의 &gt; 법인〮단체 실제소유자 확인 (2/2)</vt:lpstr>
      <vt:lpstr>2.2.3.1.5 고객확인 프로세스 상세 정의 &gt; 고객수용 정책 수립</vt:lpstr>
      <vt:lpstr>2.2.3.1.6.1 KYC 수행 프로세스</vt:lpstr>
      <vt:lpstr>2.2.3.1.6.2 KYC 신규/변경 프로세스 적용</vt:lpstr>
      <vt:lpstr>2.2.3.1.6.3 고객확인 수행정보 3자 검증 (1/2)</vt:lpstr>
      <vt:lpstr>2.2.3.1.6.3 고객확인 수행정보 3자 검증 (2/2)</vt:lpstr>
      <vt:lpstr>2.2.3.1.6.4 주요기능 (1/2) &gt; KYC 수행 현황</vt:lpstr>
      <vt:lpstr>2.2.3.1.6.4 주요기능 (2/2) &gt; 재확인주기도래고객리스트</vt:lpstr>
      <vt:lpstr>2.2.3.2 고객위험평가 구축</vt:lpstr>
      <vt:lpstr>2.2.3.2.1 고객위험평가 구축 절차</vt:lpstr>
      <vt:lpstr>2.2.3.2.2 기존 모델 유효성 검증 방안</vt:lpstr>
      <vt:lpstr>2.2.3.2.3 고객위험평가 TO-BE 모델 설계</vt:lpstr>
      <vt:lpstr>2.2.3.2.4 고객위험평가 모델 적합성 검증 및 시뮬레이션</vt:lpstr>
      <vt:lpstr>2.2.3.2.5 고객위험평가 모델 적용 방안</vt:lpstr>
      <vt:lpstr>2.2.3.2.6 신상품 위험평가</vt:lpstr>
      <vt:lpstr>2.2.3.2.7 주요기능 (1/3) &gt; 위험평가 모델관리 기능</vt:lpstr>
      <vt:lpstr>2.2.3.2.7 주요기능 (2/3) &gt; 위험평가 모델 적합성 검증 기능</vt:lpstr>
      <vt:lpstr>2.2.3.2.7 주요기능 (3/3) &gt; 위험평가 시뮬레이션 기능</vt:lpstr>
      <vt:lpstr>2.2.3.3 요주의리스트 필터링 구축</vt:lpstr>
      <vt:lpstr>2.2.3.3.1 요주의리스트 필터링 대상 및 이벤트 정의</vt:lpstr>
      <vt:lpstr>2.2.3.3.2 요주의리스트 필터링 데이터 수집 방안</vt:lpstr>
      <vt:lpstr>2.2.3.3.3.1 요주의리스트 필터링 성능 관리 기능</vt:lpstr>
      <vt:lpstr>2.2.3.3.3.2 WLF Alert Investigation &amp; Reporting</vt:lpstr>
      <vt:lpstr>2.2.3.3.4 주요기능 (1/2) - 요주의리스트 관리 기능</vt:lpstr>
      <vt:lpstr>2.2.3.3.4 주요기능 (2/2) - 요주의리스트 관리 기능</vt:lpstr>
      <vt:lpstr>2.2.3.4 고객 프로파일 구축</vt:lpstr>
      <vt:lpstr>2.2.3.4.1 고객 프로파일 및 코드 관리</vt:lpstr>
      <vt:lpstr>2.2.3.4.2 고객거래확인서 개정</vt:lpstr>
      <vt:lpstr>2.2.3.5.1 환거래 은행 관리 절차 수립</vt:lpstr>
      <vt:lpstr>2.2.3.5.2 환거래 은행 무역거래 위험 평가</vt:lpstr>
      <vt:lpstr>2.2.3.5.3 환거래 은행 무역거래 위험 평가 모델 Framework</vt:lpstr>
      <vt:lpstr>2.2.3.5.4 환거래 은행 무역거래 위험 평가 모델 구성</vt:lpstr>
      <vt:lpstr>2.2.3.5.5 무역거래 Sanctions Screening 구성 방안</vt:lpstr>
      <vt:lpstr>2.2.3.5.6 무역거래 Sanctions Screening 시나리오 구성</vt:lpstr>
      <vt:lpstr>2.2.3.5.7 무역거래 Sanctions Screening 대상 정의</vt:lpstr>
      <vt:lpstr>2.2.3.5.8 무역거래 Screening Scenario 구성</vt:lpstr>
      <vt:lpstr>2.2.3.6 의심거래 모니터링 구축</vt:lpstr>
      <vt:lpstr>2.2.3.6.1 의심거래 모니터링을 위한 룰 모델 진단</vt:lpstr>
      <vt:lpstr>2.2.3.6.2 보유 룰 현황분석</vt:lpstr>
      <vt:lpstr>2.2.3.6.3 보유 룰 유효성 검증</vt:lpstr>
      <vt:lpstr>2.2.3.6.4 룰 최적화 방안 도출</vt:lpstr>
      <vt:lpstr>2.2.3.6.5 룰 최적화에 대한 결과 분석 및 근거 마련</vt:lpstr>
      <vt:lpstr>2.2.3.6.6 신규 룰 추가</vt:lpstr>
      <vt:lpstr>2.2.3.6.7 STR 보고 프로세스 개선</vt:lpstr>
      <vt:lpstr>2.2.3.6.8 위험평가 결과에 따른 모니터링</vt:lpstr>
      <vt:lpstr>2.2.3.6.9 이상거래탐지시스템(FDS)에 의한 거래 보고 검토 절차</vt:lpstr>
      <vt:lpstr>2.2.3.6.10.1 의심거래보고(STR) 수행 프로세스</vt:lpstr>
      <vt:lpstr>2.2.3.6.10.2 업무 경감을 위한 자동화 적용 방안</vt:lpstr>
      <vt:lpstr>2.2.3.6.10.3 위험평가결과(RA) 거래모니터링 적용 방안</vt:lpstr>
      <vt:lpstr>2.2.3.6.10.4 임의보고</vt:lpstr>
      <vt:lpstr>2.2.3.6.10.5 주요기능 (1/4) &gt; 점검대상 모니터링</vt:lpstr>
      <vt:lpstr>2.2.3.6.10.5 주요기능 (2/4) &gt; STR상세조회</vt:lpstr>
      <vt:lpstr>2.2.3.6.10.5 주요기능 (3/4) &gt; STR보고서 작성</vt:lpstr>
      <vt:lpstr>2.2.3.6.10.5 주요기능 (4/4) &gt; 룰 시뮬레이션 및 룰 관리</vt:lpstr>
      <vt:lpstr>2.2.3.7 고액현금거래 모니터링 구축</vt:lpstr>
      <vt:lpstr>2.2.3.7.1.1 고액현금거래보고(CTR) 수행 프로세스</vt:lpstr>
      <vt:lpstr>2.2.3.7.1.2 CTR 대량 거래 보고 누락 방지 기능</vt:lpstr>
      <vt:lpstr>2.2.3.7.1.3 CTR Rule 관리</vt:lpstr>
      <vt:lpstr>2.2.3.7.1.4 주요기능 (1/2) &gt; CTR 조회</vt:lpstr>
      <vt:lpstr>2.2.3.7.1.4 주요기능 (2/2) &gt; CTR 상세조회</vt:lpstr>
      <vt:lpstr>2.2.3.8 직원알기제도</vt:lpstr>
      <vt:lpstr>2.2.3.9.1 해외지점 자금세탁 방지 글로벌 기준 수립 방안</vt:lpstr>
      <vt:lpstr>2.2.3.9.2 해외지점 자금세탁 방지 업무 보고 절차 수립</vt:lpstr>
      <vt:lpstr>2.2.3.9.3 해외지점 자금세탁 방지 업무 보고 절차 </vt:lpstr>
      <vt:lpstr>2.2.3.10.1 자금세탁방지 내부통제 이행 상황 평가 방안</vt:lpstr>
      <vt:lpstr>2.2.3.10.2 영업점 자금세탁방지 이행 평가 절차</vt:lpstr>
      <vt:lpstr>2.2.3.10.3.1 자금세탁방지 교육체계 수립</vt:lpstr>
      <vt:lpstr>2.2.3.10.3.2 자금세탁방지 교육체계</vt:lpstr>
      <vt:lpstr>2.2.4 전사 RBA 체계 구축 (1/4)</vt:lpstr>
      <vt:lpstr>2.2.4 전사 RBA 체계 구축 (2/4)</vt:lpstr>
      <vt:lpstr>2.2.4 전사 RBA 체계 구축 (3/4)</vt:lpstr>
      <vt:lpstr>2.2.4 전사 RBA 체계 구축 (4/4)</vt:lpstr>
      <vt:lpstr>2.2.4.1 전사 ML/TF 위험관리 전략 수립 (1/5)</vt:lpstr>
      <vt:lpstr>2.2.4.1 전사 ML/TF 위험관리 전략 수립 (2/5)</vt:lpstr>
      <vt:lpstr>2.2.4.1 전사 ML/TF 위험관리 전략 수립 (3/5)</vt:lpstr>
      <vt:lpstr>2.2.4.1 전사 ML/TF 위험관리 전략 수립 (4/5)</vt:lpstr>
      <vt:lpstr>2.2.4.1 전사 ML/TF 위험관리 전략 수립 (5/5)</vt:lpstr>
      <vt:lpstr>2.2.4.2 전사 ML/TF 위험평가 모델 정의 (1/9)</vt:lpstr>
      <vt:lpstr>2.2.4.2 전사 ML/TF 위험평가 모델 정의 (2/9)</vt:lpstr>
      <vt:lpstr>2.2.4.2 전사 ML/TF 위험평가 모델 정의 (3/9)</vt:lpstr>
      <vt:lpstr>2.2.4.2 전사 ML/TF 위험평가 모델 정의 (4/9)</vt:lpstr>
      <vt:lpstr>2.2.4.2 전사 ML/TF 위험평가 모델 정의 (5/9)</vt:lpstr>
      <vt:lpstr>2.2.4.2 전사 ML/TF 위험평가 모델 정의 (6/9)</vt:lpstr>
      <vt:lpstr>2.2.4.2 전사 ML/TF 위험평가 모델 정의 (7/9)</vt:lpstr>
      <vt:lpstr>2.2.4.2 전사 ML/TF 위험평가 모델 정의 (8/9)</vt:lpstr>
      <vt:lpstr>2.2.4.2 전사 ML/TF 위험평가 모델 정의 (9/9)</vt:lpstr>
      <vt:lpstr>2.2.4.3 RBA 내부통제 강화방안 마련 (1/10)</vt:lpstr>
      <vt:lpstr>2.2.4.3 RBA 내부통제 강화방안 마련 (2/10)</vt:lpstr>
      <vt:lpstr>2.2.4.3 RBA 내부통제 강화방안 마련 (3/10)</vt:lpstr>
      <vt:lpstr>2.2.4.3 RBA 내부통제 강화방안 마련 (4/10)</vt:lpstr>
      <vt:lpstr>2.2.4.3 RBA 내부통제 강화방안 마련 (5/10)</vt:lpstr>
      <vt:lpstr>2.2.4.3 RBA 내부통제 강화방안 마련 (6/10)</vt:lpstr>
      <vt:lpstr>2.2.4.3 RBA 내부통제 강화방안 마련 (7/10)</vt:lpstr>
      <vt:lpstr>2.2.4.3 RBA 내부통제 강화방안 마련 (8/10)</vt:lpstr>
      <vt:lpstr>2.2.4.3 RBA 내부통제 강화방안 마련 (9/10)</vt:lpstr>
      <vt:lpstr>2.2.4.3 RBA 내부통제 강화방안 마련 (10/10)</vt:lpstr>
      <vt:lpstr>2.2.4.4 KoFIU 지표 대응 체계 수립 (1/4)</vt:lpstr>
      <vt:lpstr>2.2.4.4 KoFIU 지표 대응 체계 수립 (2/4)</vt:lpstr>
      <vt:lpstr>2.2.4.4 KoFIU 지표 대응 체계 수립 (3/4)</vt:lpstr>
      <vt:lpstr>2.2.4.4 KoFIU 지표 대응 체계 수립 (4/4)</vt:lpstr>
      <vt:lpstr>2.2.4.5.1 RBA 구성</vt:lpstr>
      <vt:lpstr>2.2.4.5.2 RBA 프로세스</vt:lpstr>
      <vt:lpstr>2.2.4.5.3 RBA 메뉴 구성</vt:lpstr>
      <vt:lpstr>2.2.4.5.4 RBA 프로그램 목록 (1/2)</vt:lpstr>
      <vt:lpstr>2.2.4.5.4 RBA 프로그램 목록 (2/2)</vt:lpstr>
      <vt:lpstr>2.2.4.5.5 RBA 기능 구현 방안 (1/3)</vt:lpstr>
      <vt:lpstr>2.2.4.5.5 RBA 기능 구현 방안 (2/3)</vt:lpstr>
      <vt:lpstr>2.2.4.5.5 RBA 기능 구현 방안 (3/3)</vt:lpstr>
      <vt:lpstr>2.2.4.5.5.1 기준정보 및 계획 관리 (1/4)</vt:lpstr>
      <vt:lpstr>2.2.4.5.5.1 기준정보 및 계획 관리 (2/4)</vt:lpstr>
      <vt:lpstr>2.2.4.5.5.1 기준정보 및 계획 관리 (3/4)</vt:lpstr>
      <vt:lpstr>2.2.4.5.5.1 기준정보 및 계획 관리 (4/4)</vt:lpstr>
      <vt:lpstr>2.2.4.5.5.2 자금세탁 위험 식별 (1/3)</vt:lpstr>
      <vt:lpstr>2.2.4.5.5.2 자금세탁 위험 식별 (2/3)</vt:lpstr>
      <vt:lpstr>2.2.4.5.5.2 자금세탁 위험 식별 (3/3)</vt:lpstr>
      <vt:lpstr>2.2.4.5.5.3 ML/TF 위험분석 및 평가 (1/4)</vt:lpstr>
      <vt:lpstr>2.2.4.5.5.3 ML/TF 위험분석 및 평가 (2/4)</vt:lpstr>
      <vt:lpstr>2.2.4.5.5.3 ML/TF 위험분석 및 평가 (3/4)</vt:lpstr>
      <vt:lpstr>2.2.4.5.5.3 ML/TF 위험분석 및 평가 (4/4)</vt:lpstr>
      <vt:lpstr>2.2.4.5.5.4 내부통제 효과성 평가 (1/4)</vt:lpstr>
      <vt:lpstr>2.2.4.5.5.4 내부통제 효과성 평가 (2/4)</vt:lpstr>
      <vt:lpstr>2.2.4.5.5.4 내부통제 효과성 평가 (3/4)</vt:lpstr>
      <vt:lpstr>2.2.4.5.5.4 내부통제 효과성 평가 (4/4)</vt:lpstr>
      <vt:lpstr>2.2.4.5.5.5 개선조치 관리 (1/4)</vt:lpstr>
      <vt:lpstr>2.2.4.5.5.5 개선조치 관리 (2/4)</vt:lpstr>
      <vt:lpstr>2.2.4.5.5.5 개선조치 관리 (3/4)</vt:lpstr>
      <vt:lpstr>2.2.4.5.5.5 개선조치 관리 (4/4)</vt:lpstr>
      <vt:lpstr>2.2.4.5.5.6 KRI 관리 (1/4)</vt:lpstr>
      <vt:lpstr>2.2.4.5.5.6 KRI 관리 (2/4)</vt:lpstr>
      <vt:lpstr>2.2.4.5.5.6 KRI 관리 (3/4)</vt:lpstr>
      <vt:lpstr>2.2.4.5.5.6 KRI 관리 (4/4)</vt:lpstr>
      <vt:lpstr>2.2.4.5.5.7 위험평가결과 관리 (1/4)</vt:lpstr>
      <vt:lpstr>2.2.4.5.5.7 위험평가결과 관리 (2/4)</vt:lpstr>
      <vt:lpstr>2.2.4.5.5.7 위험평가결과 관리 (3/4)</vt:lpstr>
      <vt:lpstr>2.2.4.5.5.7 위험평가결과 관리 (4/4)</vt:lpstr>
      <vt:lpstr>2.2.4.5.5.8 FIU 지표 관리 (1/4)</vt:lpstr>
      <vt:lpstr>2.2.4.5.5.8 FIU 지표 관리 (2/4)</vt:lpstr>
      <vt:lpstr>2.2.4.5.5.8 FIU 지표 관리 (3/4)</vt:lpstr>
      <vt:lpstr>2.2.4.5.5.8 FIU 지표 관리 (4/4)</vt:lpstr>
      <vt:lpstr>2.2.5.1.1 사용자권한 및 메뉴관리</vt:lpstr>
      <vt:lpstr>2.2.5.1.2 코드정보 및 메세지관리</vt:lpstr>
      <vt:lpstr>2.2.5.1.3 사용현황 및 배치모니터링</vt:lpstr>
      <vt:lpstr>2.2.5.1.4 정보관리 (1/2)</vt:lpstr>
      <vt:lpstr>2.2.5.1.4 정보관리 (2/2)</vt:lpstr>
      <vt:lpstr>2.2.5.2.1 유지보수 현황 관리</vt:lpstr>
      <vt:lpstr>2.2.5.2.2 시스템 내 전자결재 처리</vt:lpstr>
      <vt:lpstr>2.2.5.2.3 통계 및 보고서 기능 강화</vt:lpstr>
      <vt:lpstr>2.2.5.2.4 자금세탁방지 운영 현황 보고서 관리 기능</vt:lpstr>
      <vt:lpstr>2.2.6.1 데이터 마트 구축 전략</vt:lpstr>
      <vt:lpstr>2.2.6.2 업무별 마트 세분화 전략</vt:lpstr>
      <vt:lpstr>2.2.6.3 데이터 마트 구성도</vt:lpstr>
      <vt:lpstr>2.2.6.4 Data Lineage</vt:lpstr>
      <vt:lpstr>2.2.7.1 외부기관 연계</vt:lpstr>
      <vt:lpstr>2.2.7.2 CTR 대량 연계 보고</vt:lpstr>
      <vt:lpstr>2.2.7.3 타 시스템 연계</vt:lpstr>
      <vt:lpstr>2.2.8.1 표준화 개요</vt:lpstr>
      <vt:lpstr>2.2.8.2 표준화 절차 및 대상</vt:lpstr>
      <vt:lpstr>2.2.8.3.1 코드 표준화</vt:lpstr>
      <vt:lpstr>2.2.8.3.2 데이터 표준화</vt:lpstr>
      <vt:lpstr>2.2.8.4 명명 규칙 표준화</vt:lpstr>
      <vt:lpstr>2.2.8.5 사용자 인터페이스 표준화 방안</vt:lpstr>
      <vt:lpstr>2.2.8.6 시스템 인터페이스 표준화 방안 (1/2)</vt:lpstr>
      <vt:lpstr>2.2.8.6 시스템 인터페이스 표준화 방안 (2/2)</vt:lpstr>
      <vt:lpstr>3.1.1 테스트 전략</vt:lpstr>
      <vt:lpstr>3.1.2 테스트 관리 방안</vt:lpstr>
      <vt:lpstr>3.1.3 테스트 조직</vt:lpstr>
      <vt:lpstr>3.1.4 테스트 절차</vt:lpstr>
      <vt:lpstr>3.1.5 결함 통제 절차</vt:lpstr>
      <vt:lpstr>3.2.1 테스트 단계 구성</vt:lpstr>
      <vt:lpstr>3.2.2 단위 테스트</vt:lpstr>
      <vt:lpstr>3.2.3 통합 테스트</vt:lpstr>
      <vt:lpstr>3.2.4 사용자 인수 테스트</vt:lpstr>
      <vt:lpstr>3.3.1 성능 테스트 개요 </vt:lpstr>
      <vt:lpstr>3.3.2 성능 테스트 구성 방안</vt:lpstr>
      <vt:lpstr>3.3.3 성능 테스트 수행 방안</vt:lpstr>
      <vt:lpstr>3.3.4 성능 테스트 검증 방안</vt:lpstr>
      <vt:lpstr>3.3.5 성능 최적화 방안</vt:lpstr>
      <vt:lpstr>4.1 제안사 최적의 이행 방안</vt:lpstr>
      <vt:lpstr>4.2.1 데이터 이행 개요</vt:lpstr>
      <vt:lpstr>4.2.2 데이터 이행 절차</vt:lpstr>
      <vt:lpstr>4.2.3 데이터 이행을 위한 매핑 방안</vt:lpstr>
      <vt:lpstr>4.2.4 최적의 데이터 이행 방안</vt:lpstr>
      <vt:lpstr>4.2.5 데이터 검증 방안 (1/4)</vt:lpstr>
      <vt:lpstr>4.2.5 데이터 검증 방안 (2/4)</vt:lpstr>
      <vt:lpstr>4.2.5 데이터 검증 방안 (3/4)</vt:lpstr>
      <vt:lpstr>4.2.5 데이터 검증 방안 (4/4)</vt:lpstr>
      <vt:lpstr>4.2.6 데이터 이행 시 개인정보 보안성 확보방안</vt:lpstr>
      <vt:lpstr>4.3.1 성공적인 본 이행을 위한 방안 (1/3)</vt:lpstr>
      <vt:lpstr>4.3.1 성공적인 본 이행을 위한 방안 (2/3)</vt:lpstr>
      <vt:lpstr>4.3.1 성공적인 본 이행을 위한 방안 (3/3)</vt:lpstr>
      <vt:lpstr>4.3.2 비상계획 대응 방안 (1/2)</vt:lpstr>
      <vt:lpstr>4.3.2 비상계획 대응 방안 (2/2)</vt:lpstr>
      <vt:lpstr>4.3.3 이행 조직 및 R&amp;R</vt:lpstr>
      <vt:lpstr>4.3.4 미이행 시 대응 방안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JK</dc:creator>
  <cp:lastModifiedBy>finan</cp:lastModifiedBy>
  <cp:revision>581</cp:revision>
  <cp:lastPrinted>2019-07-14T13:19:28Z</cp:lastPrinted>
  <dcterms:created xsi:type="dcterms:W3CDTF">2019-05-30T06:18:26Z</dcterms:created>
  <dcterms:modified xsi:type="dcterms:W3CDTF">2019-07-15T10:15:59Z</dcterms:modified>
</cp:coreProperties>
</file>